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ms-powerpoint.presentation.macroEnabled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0.xml" ContentType="application/vnd.openxmlformats-officedocument.customXmlProperties+xml"/>
  <Override PartName="/customXml/itemProps51.xml" ContentType="application/vnd.openxmlformats-officedocument.customXmlProperties+xml"/>
  <Override PartName="/customXml/itemProps52.xml" ContentType="application/vnd.openxmlformats-officedocument.customXmlProperties+xml"/>
  <Override PartName="/customXml/itemProps53.xml" ContentType="application/vnd.openxmlformats-officedocument.customXmlProperties+xml"/>
  <Override PartName="/customXml/itemProps54.xml" ContentType="application/vnd.openxmlformats-officedocument.customXmlProperties+xml"/>
  <Override PartName="/customXml/itemProps55.xml" ContentType="application/vnd.openxmlformats-officedocument.customXmlProperties+xml"/>
  <Override PartName="/customXml/itemProps56.xml" ContentType="application/vnd.openxmlformats-officedocument.customXmlProperties+xml"/>
  <Override PartName="/customXml/itemProps57.xml" ContentType="application/vnd.openxmlformats-officedocument.customXmlProperties+xml"/>
  <Override PartName="/customXml/itemProps58.xml" ContentType="application/vnd.openxmlformats-officedocument.customXmlProperties+xml"/>
  <Override PartName="/customXml/itemProps59.xml" ContentType="application/vnd.openxmlformats-officedocument.customXmlProperties+xml"/>
  <Override PartName="/customXml/itemProps60.xml" ContentType="application/vnd.openxmlformats-officedocument.customXmlProperties+xml"/>
  <Override PartName="/customXml/itemProps61.xml" ContentType="application/vnd.openxmlformats-officedocument.customXmlProperties+xml"/>
  <Override PartName="/customXml/itemProps62.xml" ContentType="application/vnd.openxmlformats-officedocument.customXmlProperties+xml"/>
  <Override PartName="/customXml/itemProps63.xml" ContentType="application/vnd.openxmlformats-officedocument.customXmlProperties+xml"/>
  <Override PartName="/customXml/itemProps64.xml" ContentType="application/vnd.openxmlformats-officedocument.customXmlProperties+xml"/>
  <Override PartName="/customXml/itemProps65.xml" ContentType="application/vnd.openxmlformats-officedocument.customXmlProperties+xml"/>
  <Override PartName="/customXml/itemProps66.xml" ContentType="application/vnd.openxmlformats-officedocument.customXmlProperties+xml"/>
  <Override PartName="/customXml/itemProps67.xml" ContentType="application/vnd.openxmlformats-officedocument.customXmlProperties+xml"/>
  <Override PartName="/customXml/itemProps68.xml" ContentType="application/vnd.openxmlformats-officedocument.customXmlProperties+xml"/>
  <Override PartName="/customXml/itemProps69.xml" ContentType="application/vnd.openxmlformats-officedocument.customXmlProperties+xml"/>
  <Override PartName="/customXml/itemProps70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omments/comment1.xml" ContentType="application/vnd.openxmlformats-officedocument.presentationml.comment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71"/>
  </p:sldMasterIdLst>
  <p:notesMasterIdLst>
    <p:notesMasterId r:id="rId97"/>
  </p:notesMasterIdLst>
  <p:handoutMasterIdLst>
    <p:handoutMasterId r:id="rId98"/>
  </p:handoutMasterIdLst>
  <p:sldIdLst>
    <p:sldId id="256" r:id="rId72"/>
    <p:sldId id="263" r:id="rId73"/>
    <p:sldId id="354" r:id="rId74"/>
    <p:sldId id="359" r:id="rId75"/>
    <p:sldId id="355" r:id="rId76"/>
    <p:sldId id="360" r:id="rId77"/>
    <p:sldId id="356" r:id="rId78"/>
    <p:sldId id="361" r:id="rId79"/>
    <p:sldId id="339" r:id="rId80"/>
    <p:sldId id="342" r:id="rId81"/>
    <p:sldId id="345" r:id="rId82"/>
    <p:sldId id="272" r:id="rId83"/>
    <p:sldId id="358" r:id="rId84"/>
    <p:sldId id="364" r:id="rId85"/>
    <p:sldId id="362" r:id="rId86"/>
    <p:sldId id="308" r:id="rId87"/>
    <p:sldId id="363" r:id="rId88"/>
    <p:sldId id="346" r:id="rId89"/>
    <p:sldId id="347" r:id="rId90"/>
    <p:sldId id="348" r:id="rId91"/>
    <p:sldId id="317" r:id="rId92"/>
    <p:sldId id="353" r:id="rId93"/>
    <p:sldId id="351" r:id="rId94"/>
    <p:sldId id="352" r:id="rId95"/>
    <p:sldId id="259" r:id="rId96"/>
  </p:sldIdLst>
  <p:sldSz cx="12192000" cy="6858000"/>
  <p:notesSz cx="6858000" cy="9144000"/>
  <p:custDataLst>
    <p:custData r:id="rId35"/>
    <p:tags r:id="rId99"/>
  </p:custDataLst>
  <p:defaultTextStyle>
    <a:defPPr>
      <a:defRPr lang="en-GB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ringer, Adam" initials="SA" lastIdx="13" clrIdx="0">
    <p:extLst>
      <p:ext uri="{19B8F6BF-5375-455C-9EA6-DF929625EA0E}">
        <p15:presenceInfo xmlns:p15="http://schemas.microsoft.com/office/powerpoint/2012/main" userId="S::adam.stringer@lippincott.com::7e8bf982-08f3-4205-8544-04909412e746" providerId="AD"/>
      </p:ext>
    </p:extLst>
  </p:cmAuthor>
  <p:cmAuthor id="2" name="Gutierrez de Quevedo, Miguel" initials="GdQM" lastIdx="5" clrIdx="1">
    <p:extLst>
      <p:ext uri="{19B8F6BF-5375-455C-9EA6-DF929625EA0E}">
        <p15:presenceInfo xmlns:p15="http://schemas.microsoft.com/office/powerpoint/2012/main" userId="Gutierrez de Quevedo, Miguel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C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C1A551C0-2021-AC11-E31C-4D4D43000001}">
  <a:tblStyle styleId="{C1A551C0-2021-AC11-E31C-4D4D43000001}" styleName="MMC 2021 Brand Table 1">
    <a:wholeTbl>
      <a:tcTxStyle>
        <a:fontRef idx="minor">
          <a:schemeClr val="dk1"/>
        </a:fontRef>
        <a:schemeClr val="dk1"/>
      </a:tcTxStyle>
      <a:tcStyle>
        <a:tcBdr>
          <a:left>
            <a:ln w="12700" cmpd="sng">
              <a:noFill/>
            </a:ln>
          </a:left>
          <a:right>
            <a:ln w="12700" cmpd="sng">
              <a:noFill/>
            </a:ln>
          </a:right>
          <a:top>
            <a:ln w="12700" cmpd="sng">
              <a:noFill/>
            </a:ln>
          </a:top>
          <a:bottom>
            <a:ln w="12700" cmpd="sng">
              <a:noFill/>
            </a:ln>
          </a:bottom>
          <a:insideH>
            <a:ln w="12700" cmpd="sng">
              <a:solidFill>
                <a:srgbClr val="949494"/>
              </a:solidFill>
            </a:ln>
          </a:insideH>
          <a:insideV>
            <a:ln w="12700" cmpd="sng">
              <a:noFill/>
            </a:ln>
          </a:insideV>
        </a:tcBdr>
        <a:fill>
          <a:solidFill>
            <a:schemeClr val="lt1">
              <a:tint val="100000"/>
            </a:schemeClr>
          </a:solidFill>
        </a:fill>
      </a:tcStyle>
    </a:wholeTbl>
    <a:band1H>
      <a:tcStyle>
        <a:tcBdr>
          <a:left>
            <a:ln w="12700" cmpd="sng">
              <a:noFill/>
            </a:ln>
          </a:left>
          <a:right>
            <a:ln w="12700" cmpd="sng">
              <a:noFill/>
            </a:ln>
          </a:right>
          <a:top>
            <a:ln w="12700" cmpd="sng">
              <a:noFill/>
            </a:ln>
          </a:top>
          <a:bottom>
            <a:ln w="12700" cmpd="sng">
              <a:noFill/>
            </a:ln>
          </a:bottom>
          <a:insideH>
            <a:ln w="12700" cmpd="sng">
              <a:noFill/>
            </a:ln>
          </a:insideH>
          <a:insideV>
            <a:ln w="12700" cmpd="sng">
              <a:noFill/>
            </a:ln>
          </a:insideV>
        </a:tcBdr>
        <a:fill>
          <a:solidFill>
            <a:srgbClr val="F0F0F0"/>
          </a:solidFill>
        </a:fill>
      </a:tcStyle>
    </a:band1H>
    <a:band2H>
      <a:tcStyle>
        <a:tcBdr>
          <a:left>
            <a:ln w="12700" cmpd="sng">
              <a:noFill/>
            </a:ln>
          </a:left>
          <a:right>
            <a:ln w="12700" cmpd="sng">
              <a:noFill/>
            </a:ln>
          </a:right>
          <a:top>
            <a:ln w="12700" cmpd="sng">
              <a:noFill/>
            </a:ln>
          </a:top>
          <a:bottom>
            <a:ln w="12700" cmpd="sng">
              <a:noFill/>
            </a:ln>
          </a:bottom>
          <a:insideH>
            <a:ln w="12700" cmpd="sng">
              <a:noFill/>
            </a:ln>
          </a:insideH>
          <a:insideV>
            <a:ln w="12700" cmpd="sng">
              <a:noFill/>
            </a:ln>
          </a:insideV>
        </a:tcBdr>
      </a:tcStyle>
    </a:band2H>
    <a:band1V>
      <a:tcStyle>
        <a:tcBdr/>
        <a:fill>
          <a:solidFill>
            <a:srgbClr val="F0F0F0"/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bg1"/>
      </a:tcTxStyle>
      <a:tcStyle>
        <a:tcBdr>
          <a:insideH>
            <a:ln w="12700" cmpd="sng">
              <a:solidFill>
                <a:srgbClr val="FFFFFF"/>
              </a:solidFill>
            </a:ln>
          </a:insideH>
        </a:tcBdr>
        <a:fill>
          <a:solidFill>
            <a:schemeClr val="accent1">
              <a:tint val="100000"/>
            </a:schemeClr>
          </a:solidFill>
        </a:fill>
      </a:tcStyle>
    </a:lastCol>
    <a:firstCol>
      <a:tcTxStyle b="on">
        <a:fontRef idx="minor">
          <a:prstClr val="black"/>
        </a:fontRef>
        <a:schemeClr val="bg1"/>
      </a:tcTxStyle>
      <a:tcStyle>
        <a:tcBdr>
          <a:insideH>
            <a:ln w="12700" cmpd="sng">
              <a:solidFill>
                <a:srgbClr val="FFFFFF"/>
              </a:solidFill>
            </a:ln>
          </a:insideH>
        </a:tcBdr>
        <a:fill>
          <a:solidFill>
            <a:schemeClr val="accent1"/>
          </a:solidFill>
        </a:fill>
      </a:tcStyle>
    </a:firstCol>
    <a:lastRow>
      <a:tcTxStyle b="on">
        <a:fontRef idx="minor">
          <a:schemeClr val="bg1"/>
        </a:fontRef>
        <a:schemeClr val="bg1"/>
      </a:tcTxStyle>
      <a:tcStyle>
        <a:tcBdr/>
        <a:fill>
          <a:solidFill>
            <a:srgbClr val="565656"/>
          </a:solidFill>
        </a:fill>
      </a:tcStyle>
    </a:lastRow>
    <a:firstRow>
      <a:tcTxStyle b="on">
        <a:fontRef idx="minor">
          <a:schemeClr val="bg1"/>
        </a:fontRef>
        <a:schemeClr val="bg1"/>
      </a:tcTxStyle>
      <a:tcStyle>
        <a:tcBdr/>
        <a:fill>
          <a:solidFill>
            <a:srgbClr val="002C77"/>
          </a:solidFill>
        </a:fill>
      </a:tcStyle>
    </a:firstRow>
  </a:tblStyle>
  <a:tblStyle styleId="{C1A551C0-2021-AC11-E31C-4D4D43000002}" styleName="MMC 2021 Brand Table 2">
    <a:wholeTbl>
      <a:tcTxStyle>
        <a:fontRef idx="minor">
          <a:schemeClr val="dk1"/>
        </a:fontRef>
        <a:schemeClr val="dk1"/>
      </a:tcTxStyle>
      <a:tcStyle>
        <a:tcBdr>
          <a:left>
            <a:ln w="12700" cmpd="sng">
              <a:noFill/>
            </a:ln>
          </a:left>
          <a:right>
            <a:ln w="12700" cmpd="sng">
              <a:noFill/>
            </a:ln>
          </a:right>
          <a:top>
            <a:ln w="12700" cmpd="sng">
              <a:noFill/>
            </a:ln>
          </a:top>
          <a:bottom>
            <a:ln w="12700" cmpd="sng">
              <a:noFill/>
            </a:ln>
          </a:bottom>
          <a:insideH>
            <a:ln w="12700" cmpd="sng">
              <a:solidFill>
                <a:srgbClr val="949494"/>
              </a:solidFill>
            </a:ln>
          </a:insideH>
          <a:insideV>
            <a:ln w="12700" cmpd="sng">
              <a:noFill/>
            </a:ln>
          </a:insideV>
        </a:tcBdr>
        <a:fill>
          <a:solidFill>
            <a:schemeClr val="lt1">
              <a:tint val="100000"/>
            </a:schemeClr>
          </a:solidFill>
        </a:fill>
      </a:tcStyle>
    </a:wholeTbl>
    <a:lastCol>
      <a:tcTxStyle b="on">
        <a:fontRef idx="minor">
          <a:prstClr val="black"/>
        </a:fontRef>
        <a:schemeClr val="dk1"/>
      </a:tcTxStyle>
      <a:tcStyle>
        <a:tcBdr/>
        <a:fill>
          <a:solidFill>
            <a:schemeClr val="lt1">
              <a:tint val="100000"/>
            </a:schemeClr>
          </a:solidFill>
        </a:fill>
      </a:tcStyle>
    </a:lastCol>
    <a:firstCol>
      <a:tcTxStyle b="on">
        <a:fontRef idx="minor">
          <a:prstClr val="black"/>
        </a:fontRef>
        <a:schemeClr val="dk1"/>
      </a:tcTxStyle>
      <a:tcStyle>
        <a:tcBdr/>
        <a:fill>
          <a:solidFill>
            <a:schemeClr val="lt1">
              <a:tint val="100000"/>
            </a:schemeClr>
          </a:solidFill>
        </a:fill>
      </a:tcStyle>
    </a:firstCol>
    <a:lastRow>
      <a:tcTxStyle>
        <a:fontRef idx="minor">
          <a:prstClr val="black"/>
        </a:fontRef>
        <a:schemeClr val="dk1"/>
      </a:tcTxStyle>
      <a:tcStyle>
        <a:tcBdr>
          <a:left>
            <a:ln w="12700" cmpd="sng">
              <a:noFill/>
            </a:ln>
          </a:left>
          <a:right>
            <a:ln w="12700" cmpd="sng">
              <a:noFill/>
            </a:ln>
          </a:right>
          <a:top>
            <a:ln w="28575" cmpd="sng">
              <a:solidFill>
                <a:srgbClr val="565656"/>
              </a:solidFill>
            </a:ln>
          </a:top>
          <a:bottom>
            <a:ln w="28575" cmpd="sng">
              <a:solidFill>
                <a:srgbClr val="565656"/>
              </a:solidFill>
            </a:ln>
          </a:bottom>
          <a:insideH>
            <a:ln w="28575" cmpd="sng">
              <a:solidFill>
                <a:srgbClr val="565656"/>
              </a:solidFill>
            </a:ln>
          </a:insideH>
          <a:insideV>
            <a:ln w="12700" cmpd="sng">
              <a:noFill/>
            </a:ln>
          </a:insideV>
        </a:tcBdr>
        <a:fill>
          <a:solidFill>
            <a:schemeClr val="lt1">
              <a:tint val="100000"/>
            </a:schemeClr>
          </a:solidFill>
        </a:fill>
      </a:tcStyle>
    </a:lastRow>
    <a:firstRow>
      <a:tcTxStyle b="on">
        <a:fontRef idx="minor">
          <a:schemeClr val="bg1"/>
        </a:fontRef>
        <a:srgbClr val="002C77"/>
      </a:tcTxStyle>
      <a:tcStyle>
        <a:tcBdr/>
        <a:fill>
          <a:solidFill>
            <a:schemeClr val="lt1">
              <a:tint val="10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87653" autoAdjust="0"/>
  </p:normalViewPr>
  <p:slideViewPr>
    <p:cSldViewPr snapToGrid="0" snapToObjects="1">
      <p:cViewPr>
        <p:scale>
          <a:sx n="108" d="100"/>
          <a:sy n="108" d="100"/>
        </p:scale>
        <p:origin x="700" y="284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>
      <p:cViewPr varScale="1">
        <p:scale>
          <a:sx n="100" d="100"/>
          <a:sy n="100" d="100"/>
        </p:scale>
        <p:origin x="3336" y="1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customXml" Target="../customXml/item26.xml"/><Relationship Id="rId21" Type="http://schemas.openxmlformats.org/officeDocument/2006/relationships/customXml" Target="../customXml/item21.xml"/><Relationship Id="rId42" Type="http://schemas.openxmlformats.org/officeDocument/2006/relationships/customXml" Target="../customXml/item42.xml"/><Relationship Id="rId47" Type="http://schemas.openxmlformats.org/officeDocument/2006/relationships/customXml" Target="../customXml/item47.xml"/><Relationship Id="rId63" Type="http://schemas.openxmlformats.org/officeDocument/2006/relationships/customXml" Target="../customXml/item63.xml"/><Relationship Id="rId68" Type="http://schemas.openxmlformats.org/officeDocument/2006/relationships/customXml" Target="../customXml/item68.xml"/><Relationship Id="rId84" Type="http://schemas.openxmlformats.org/officeDocument/2006/relationships/slide" Target="slides/slide13.xml"/><Relationship Id="rId89" Type="http://schemas.openxmlformats.org/officeDocument/2006/relationships/slide" Target="slides/slide18.xml"/><Relationship Id="rId7" Type="http://schemas.openxmlformats.org/officeDocument/2006/relationships/customXml" Target="../customXml/item7.xml"/><Relationship Id="rId71" Type="http://schemas.openxmlformats.org/officeDocument/2006/relationships/slideMaster" Target="slideMasters/slideMaster1.xml"/><Relationship Id="rId92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customXml" Target="../customXml/item29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40" Type="http://schemas.openxmlformats.org/officeDocument/2006/relationships/customXml" Target="../customXml/item40.xml"/><Relationship Id="rId45" Type="http://schemas.openxmlformats.org/officeDocument/2006/relationships/customXml" Target="../customXml/item45.xml"/><Relationship Id="rId53" Type="http://schemas.openxmlformats.org/officeDocument/2006/relationships/customXml" Target="../customXml/item53.xml"/><Relationship Id="rId58" Type="http://schemas.openxmlformats.org/officeDocument/2006/relationships/customXml" Target="../customXml/item58.xml"/><Relationship Id="rId66" Type="http://schemas.openxmlformats.org/officeDocument/2006/relationships/customXml" Target="../customXml/item66.xml"/><Relationship Id="rId74" Type="http://schemas.openxmlformats.org/officeDocument/2006/relationships/slide" Target="slides/slide3.xml"/><Relationship Id="rId79" Type="http://schemas.openxmlformats.org/officeDocument/2006/relationships/slide" Target="slides/slide8.xml"/><Relationship Id="rId87" Type="http://schemas.openxmlformats.org/officeDocument/2006/relationships/slide" Target="slides/slide16.xml"/><Relationship Id="rId102" Type="http://schemas.openxmlformats.org/officeDocument/2006/relationships/viewProps" Target="viewProps.xml"/><Relationship Id="rId5" Type="http://schemas.openxmlformats.org/officeDocument/2006/relationships/customXml" Target="../customXml/item5.xml"/><Relationship Id="rId61" Type="http://schemas.openxmlformats.org/officeDocument/2006/relationships/customXml" Target="../customXml/item61.xml"/><Relationship Id="rId82" Type="http://schemas.openxmlformats.org/officeDocument/2006/relationships/slide" Target="slides/slide11.xml"/><Relationship Id="rId90" Type="http://schemas.openxmlformats.org/officeDocument/2006/relationships/slide" Target="slides/slide19.xml"/><Relationship Id="rId95" Type="http://schemas.openxmlformats.org/officeDocument/2006/relationships/slide" Target="slides/slide24.xml"/><Relationship Id="rId19" Type="http://schemas.openxmlformats.org/officeDocument/2006/relationships/customXml" Target="../customXml/item1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43" Type="http://schemas.openxmlformats.org/officeDocument/2006/relationships/customXml" Target="../customXml/item43.xml"/><Relationship Id="rId48" Type="http://schemas.openxmlformats.org/officeDocument/2006/relationships/customXml" Target="../customXml/item48.xml"/><Relationship Id="rId56" Type="http://schemas.openxmlformats.org/officeDocument/2006/relationships/customXml" Target="../customXml/item56.xml"/><Relationship Id="rId64" Type="http://schemas.openxmlformats.org/officeDocument/2006/relationships/customXml" Target="../customXml/item64.xml"/><Relationship Id="rId69" Type="http://schemas.openxmlformats.org/officeDocument/2006/relationships/customXml" Target="../customXml/item69.xml"/><Relationship Id="rId77" Type="http://schemas.openxmlformats.org/officeDocument/2006/relationships/slide" Target="slides/slide6.xml"/><Relationship Id="rId100" Type="http://schemas.openxmlformats.org/officeDocument/2006/relationships/commentAuthors" Target="commentAuthors.xml"/><Relationship Id="rId8" Type="http://schemas.openxmlformats.org/officeDocument/2006/relationships/customXml" Target="../customXml/item8.xml"/><Relationship Id="rId51" Type="http://schemas.openxmlformats.org/officeDocument/2006/relationships/customXml" Target="../customXml/item51.xml"/><Relationship Id="rId72" Type="http://schemas.openxmlformats.org/officeDocument/2006/relationships/slide" Target="slides/slide1.xml"/><Relationship Id="rId80" Type="http://schemas.openxmlformats.org/officeDocument/2006/relationships/slide" Target="slides/slide9.xml"/><Relationship Id="rId85" Type="http://schemas.openxmlformats.org/officeDocument/2006/relationships/slide" Target="slides/slide14.xml"/><Relationship Id="rId93" Type="http://schemas.openxmlformats.org/officeDocument/2006/relationships/slide" Target="slides/slide22.xml"/><Relationship Id="rId9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46" Type="http://schemas.openxmlformats.org/officeDocument/2006/relationships/customXml" Target="../customXml/item46.xml"/><Relationship Id="rId59" Type="http://schemas.openxmlformats.org/officeDocument/2006/relationships/customXml" Target="../customXml/item59.xml"/><Relationship Id="rId67" Type="http://schemas.openxmlformats.org/officeDocument/2006/relationships/customXml" Target="../customXml/item67.xml"/><Relationship Id="rId103" Type="http://schemas.openxmlformats.org/officeDocument/2006/relationships/theme" Target="theme/theme1.xml"/><Relationship Id="rId20" Type="http://schemas.openxmlformats.org/officeDocument/2006/relationships/customXml" Target="../customXml/item20.xml"/><Relationship Id="rId41" Type="http://schemas.openxmlformats.org/officeDocument/2006/relationships/customXml" Target="../customXml/item41.xml"/><Relationship Id="rId54" Type="http://schemas.openxmlformats.org/officeDocument/2006/relationships/customXml" Target="../customXml/item54.xml"/><Relationship Id="rId62" Type="http://schemas.openxmlformats.org/officeDocument/2006/relationships/customXml" Target="../customXml/item62.xml"/><Relationship Id="rId70" Type="http://schemas.openxmlformats.org/officeDocument/2006/relationships/customXml" Target="../customXml/item70.xml"/><Relationship Id="rId75" Type="http://schemas.openxmlformats.org/officeDocument/2006/relationships/slide" Target="slides/slide4.xml"/><Relationship Id="rId83" Type="http://schemas.openxmlformats.org/officeDocument/2006/relationships/slide" Target="slides/slide12.xml"/><Relationship Id="rId88" Type="http://schemas.openxmlformats.org/officeDocument/2006/relationships/slide" Target="slides/slide17.xml"/><Relationship Id="rId91" Type="http://schemas.openxmlformats.org/officeDocument/2006/relationships/slide" Target="slides/slide20.xml"/><Relationship Id="rId96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customXml" Target="../customXml/item36.xml"/><Relationship Id="rId49" Type="http://schemas.openxmlformats.org/officeDocument/2006/relationships/customXml" Target="../customXml/item49.xml"/><Relationship Id="rId57" Type="http://schemas.openxmlformats.org/officeDocument/2006/relationships/customXml" Target="../customXml/item57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44" Type="http://schemas.openxmlformats.org/officeDocument/2006/relationships/customXml" Target="../customXml/item44.xml"/><Relationship Id="rId52" Type="http://schemas.openxmlformats.org/officeDocument/2006/relationships/customXml" Target="../customXml/item52.xml"/><Relationship Id="rId60" Type="http://schemas.openxmlformats.org/officeDocument/2006/relationships/customXml" Target="../customXml/item60.xml"/><Relationship Id="rId65" Type="http://schemas.openxmlformats.org/officeDocument/2006/relationships/customXml" Target="../customXml/item65.xml"/><Relationship Id="rId73" Type="http://schemas.openxmlformats.org/officeDocument/2006/relationships/slide" Target="slides/slide2.xml"/><Relationship Id="rId78" Type="http://schemas.openxmlformats.org/officeDocument/2006/relationships/slide" Target="slides/slide7.xml"/><Relationship Id="rId81" Type="http://schemas.openxmlformats.org/officeDocument/2006/relationships/slide" Target="slides/slide10.xml"/><Relationship Id="rId86" Type="http://schemas.openxmlformats.org/officeDocument/2006/relationships/slide" Target="slides/slide15.xml"/><Relationship Id="rId94" Type="http://schemas.openxmlformats.org/officeDocument/2006/relationships/slide" Target="slides/slide23.xml"/><Relationship Id="rId99" Type="http://schemas.openxmlformats.org/officeDocument/2006/relationships/tags" Target="tags/tag1.xml"/><Relationship Id="rId101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39" Type="http://schemas.openxmlformats.org/officeDocument/2006/relationships/customXml" Target="../customXml/item39.xml"/><Relationship Id="rId34" Type="http://schemas.openxmlformats.org/officeDocument/2006/relationships/customXml" Target="../customXml/item34.xml"/><Relationship Id="rId50" Type="http://schemas.openxmlformats.org/officeDocument/2006/relationships/customXml" Target="../customXml/item50.xml"/><Relationship Id="rId55" Type="http://schemas.openxmlformats.org/officeDocument/2006/relationships/customXml" Target="../customXml/item55.xml"/><Relationship Id="rId76" Type="http://schemas.openxmlformats.org/officeDocument/2006/relationships/slide" Target="slides/slide5.xml"/><Relationship Id="rId97" Type="http://schemas.openxmlformats.org/officeDocument/2006/relationships/notesMaster" Target="notesMasters/notesMaster1.xml"/><Relationship Id="rId10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EU.AD.GUYCARP.COM\CURRENT\KnowledgeShare\41_Working%20Groups\26%20Climate%20Change\Broker%20survey\January%202021%20and%202022%20Renewal%20%20Climate%20Change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EU.AD.GUYCARP.COM\CURRENT\KnowledgeShare\41_Working%20Groups\26%20Climate%20Change\Broker%20survey\January%202021%20and%202022%20Renewal%20%20Climate%20Change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b="1" dirty="0">
                <a:solidFill>
                  <a:schemeClr val="tx1"/>
                </a:solidFill>
              </a:rPr>
              <a:t>2022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markets!$L$1</c:f>
              <c:strCache>
                <c:ptCount val="1"/>
                <c:pt idx="0">
                  <c:v>Instances 202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5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F1D-4970-BD47-2E9E95B07AAB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F1D-4970-BD47-2E9E95B07AAB}"/>
              </c:ext>
            </c:extLst>
          </c:dPt>
          <c:cat>
            <c:strRef>
              <c:f>markets!$J$2:$J$19</c:f>
              <c:strCache>
                <c:ptCount val="18"/>
                <c:pt idx="0">
                  <c:v>Sompo</c:v>
                </c:pt>
                <c:pt idx="1">
                  <c:v>Partner Re</c:v>
                </c:pt>
                <c:pt idx="2">
                  <c:v>Validus</c:v>
                </c:pt>
                <c:pt idx="3">
                  <c:v>Amlin</c:v>
                </c:pt>
                <c:pt idx="4">
                  <c:v>Liberty</c:v>
                </c:pt>
                <c:pt idx="5">
                  <c:v>Hiscox</c:v>
                </c:pt>
                <c:pt idx="6">
                  <c:v>Axis</c:v>
                </c:pt>
                <c:pt idx="7">
                  <c:v>Trans Re</c:v>
                </c:pt>
                <c:pt idx="8">
                  <c:v>Everest</c:v>
                </c:pt>
                <c:pt idx="9">
                  <c:v>Lloyds / London</c:v>
                </c:pt>
                <c:pt idx="10">
                  <c:v>AXAXL</c:v>
                </c:pt>
                <c:pt idx="11">
                  <c:v>Hannover</c:v>
                </c:pt>
                <c:pt idx="12">
                  <c:v>Fidelis</c:v>
                </c:pt>
                <c:pt idx="13">
                  <c:v>SCOR</c:v>
                </c:pt>
                <c:pt idx="14">
                  <c:v>Ren Re</c:v>
                </c:pt>
                <c:pt idx="15">
                  <c:v>None</c:v>
                </c:pt>
                <c:pt idx="16">
                  <c:v>Munich Re</c:v>
                </c:pt>
                <c:pt idx="17">
                  <c:v>Swiss Re</c:v>
                </c:pt>
              </c:strCache>
            </c:strRef>
          </c:cat>
          <c:val>
            <c:numRef>
              <c:f>markets!$L$2:$L$19</c:f>
              <c:numCache>
                <c:formatCode>General</c:formatCode>
                <c:ptCount val="18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  <c:pt idx="5">
                  <c:v>4</c:v>
                </c:pt>
                <c:pt idx="6">
                  <c:v>4</c:v>
                </c:pt>
                <c:pt idx="7">
                  <c:v>5</c:v>
                </c:pt>
                <c:pt idx="8">
                  <c:v>7</c:v>
                </c:pt>
                <c:pt idx="9">
                  <c:v>9</c:v>
                </c:pt>
                <c:pt idx="10">
                  <c:v>13</c:v>
                </c:pt>
                <c:pt idx="11">
                  <c:v>14</c:v>
                </c:pt>
                <c:pt idx="12">
                  <c:v>22</c:v>
                </c:pt>
                <c:pt idx="13">
                  <c:v>23</c:v>
                </c:pt>
                <c:pt idx="14">
                  <c:v>23</c:v>
                </c:pt>
                <c:pt idx="15">
                  <c:v>31</c:v>
                </c:pt>
                <c:pt idx="16">
                  <c:v>36</c:v>
                </c:pt>
                <c:pt idx="17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F1D-4970-BD47-2E9E95B07A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45"/>
        <c:axId val="937812120"/>
        <c:axId val="2053818951"/>
      </c:barChart>
      <c:catAx>
        <c:axId val="93781212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53818951"/>
        <c:crosses val="autoZero"/>
        <c:auto val="1"/>
        <c:lblAlgn val="ctr"/>
        <c:lblOffset val="100"/>
        <c:noMultiLvlLbl val="0"/>
      </c:catAx>
      <c:valAx>
        <c:axId val="2053818951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378121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b="1" dirty="0">
                <a:solidFill>
                  <a:schemeClr val="tx1"/>
                </a:solidFill>
              </a:rPr>
              <a:t>2021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7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773-4E64-A085-ECBBEDDBD773}"/>
              </c:ext>
            </c:extLst>
          </c:dPt>
          <c:cat>
            <c:strRef>
              <c:f>markets!$F$2:$F$9</c:f>
              <c:strCache>
                <c:ptCount val="8"/>
                <c:pt idx="0">
                  <c:v>AXAXL</c:v>
                </c:pt>
                <c:pt idx="1">
                  <c:v>Hiscox</c:v>
                </c:pt>
                <c:pt idx="2">
                  <c:v>Everest</c:v>
                </c:pt>
                <c:pt idx="3">
                  <c:v>SCOR</c:v>
                </c:pt>
                <c:pt idx="4">
                  <c:v>Ren Re</c:v>
                </c:pt>
                <c:pt idx="5">
                  <c:v>Munich Re</c:v>
                </c:pt>
                <c:pt idx="6">
                  <c:v>Swiss Re</c:v>
                </c:pt>
                <c:pt idx="7">
                  <c:v>None</c:v>
                </c:pt>
              </c:strCache>
            </c:strRef>
          </c:cat>
          <c:val>
            <c:numRef>
              <c:f>markets!$G$2:$G$9</c:f>
              <c:numCache>
                <c:formatCode>General</c:formatCode>
                <c:ptCount val="8"/>
                <c:pt idx="0">
                  <c:v>3</c:v>
                </c:pt>
                <c:pt idx="1">
                  <c:v>4</c:v>
                </c:pt>
                <c:pt idx="2">
                  <c:v>6</c:v>
                </c:pt>
                <c:pt idx="3">
                  <c:v>6</c:v>
                </c:pt>
                <c:pt idx="4">
                  <c:v>7</c:v>
                </c:pt>
                <c:pt idx="5">
                  <c:v>16</c:v>
                </c:pt>
                <c:pt idx="6">
                  <c:v>23</c:v>
                </c:pt>
                <c:pt idx="7">
                  <c:v>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773-4E64-A085-ECBBEDDBD7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937812120"/>
        <c:axId val="2053818951"/>
      </c:barChart>
      <c:catAx>
        <c:axId val="93781212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53818951"/>
        <c:crosses val="autoZero"/>
        <c:auto val="1"/>
        <c:lblAlgn val="ctr"/>
        <c:lblOffset val="100"/>
        <c:noMultiLvlLbl val="0"/>
      </c:catAx>
      <c:valAx>
        <c:axId val="2053818951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378121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2-08-03T00:46:38.910" idx="1">
    <p:pos x="10" y="10"/>
    <p:text>Sugiero que la definición de riesgo sea el segundo tema y evento el tercero.</p:text>
    <p:extLst>
      <p:ext uri="{C676402C-5697-4E1C-873F-D02D1690AC5C}">
        <p15:threadingInfo xmlns:p15="http://schemas.microsoft.com/office/powerpoint/2012/main" timeZoneBias="30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D4C70C6-87E9-BC42-B371-929C77B72D0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767FFED-7486-4848-A427-7FAAAC65065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E9D273-C17F-144C-9C13-E365762DD79B}" type="datetimeFigureOut">
              <a:rPr lang="en-GB" smtClean="0"/>
              <a:t>30/08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A27765-63BC-A54C-A741-3E43D81DC37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0BB550-5806-6245-BFED-BC3F97BD75B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5A3036-A3D1-1D40-85ED-227DB44E2B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97837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58C79A-4752-7040-A133-91C74992C31D}" type="datetimeFigureOut">
              <a:rPr lang="en-GB" smtClean="0"/>
              <a:t>30/08/2022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BF5AC0-C4B3-464D-8E9B-9D86370B7879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86239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BF5AC0-C4B3-464D-8E9B-9D86370B7879}" type="slidenum">
              <a:rPr lang="en-GB" smtClean="0"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07183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customXml" Target="../../customXml/item11.xml"/><Relationship Id="rId7" Type="http://schemas.openxmlformats.org/officeDocument/2006/relationships/customXml" Target="../../customXml/item17.xml"/><Relationship Id="rId2" Type="http://schemas.openxmlformats.org/officeDocument/2006/relationships/customXml" Target="../../customXml/item37.xml"/><Relationship Id="rId1" Type="http://schemas.openxmlformats.org/officeDocument/2006/relationships/customXml" Target="../../customXml/item40.xml"/><Relationship Id="rId6" Type="http://schemas.openxmlformats.org/officeDocument/2006/relationships/customXml" Target="../../customXml/item31.xml"/><Relationship Id="rId11" Type="http://schemas.openxmlformats.org/officeDocument/2006/relationships/image" Target="../media/image5.png"/><Relationship Id="rId5" Type="http://schemas.openxmlformats.org/officeDocument/2006/relationships/customXml" Target="../../customXml/item44.xml"/><Relationship Id="rId10" Type="http://schemas.openxmlformats.org/officeDocument/2006/relationships/image" Target="../media/image4.png"/><Relationship Id="rId4" Type="http://schemas.openxmlformats.org/officeDocument/2006/relationships/customXml" Target="../../customXml/item42.xml"/><Relationship Id="rId9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customXml" Target="../../customXml/item4.xml"/><Relationship Id="rId7" Type="http://schemas.openxmlformats.org/officeDocument/2006/relationships/image" Target="../media/image6.png"/><Relationship Id="rId2" Type="http://schemas.openxmlformats.org/officeDocument/2006/relationships/customXml" Target="../../customXml/item35.xml"/><Relationship Id="rId1" Type="http://schemas.openxmlformats.org/officeDocument/2006/relationships/customXml" Target="../../customXml/item33.xml"/><Relationship Id="rId6" Type="http://schemas.openxmlformats.org/officeDocument/2006/relationships/slideMaster" Target="../slideMasters/slideMaster1.xml"/><Relationship Id="rId5" Type="http://schemas.openxmlformats.org/officeDocument/2006/relationships/customXml" Target="../../customXml/item6.xml"/><Relationship Id="rId4" Type="http://schemas.openxmlformats.org/officeDocument/2006/relationships/customXml" Target="../../customXml/item39.xml"/><Relationship Id="rId9" Type="http://schemas.openxmlformats.org/officeDocument/2006/relationships/image" Target="../media/image5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36.xml"/><Relationship Id="rId2" Type="http://schemas.openxmlformats.org/officeDocument/2006/relationships/customXml" Target="../../customXml/item13.xml"/><Relationship Id="rId1" Type="http://schemas.openxmlformats.org/officeDocument/2006/relationships/customXml" Target="../../customXml/item54.xml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70.xml"/><Relationship Id="rId2" Type="http://schemas.openxmlformats.org/officeDocument/2006/relationships/customXml" Target="../../customXml/item69.xml"/><Relationship Id="rId1" Type="http://schemas.openxmlformats.org/officeDocument/2006/relationships/customXml" Target="../../customXml/item68.xml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29.xml"/><Relationship Id="rId2" Type="http://schemas.openxmlformats.org/officeDocument/2006/relationships/customXml" Target="../../customXml/item62.xml"/><Relationship Id="rId1" Type="http://schemas.openxmlformats.org/officeDocument/2006/relationships/customXml" Target="../../customXml/item38.xml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customXml" Target="../../customXml/item53.xml"/><Relationship Id="rId1" Type="http://schemas.openxmlformats.org/officeDocument/2006/relationships/customXml" Target="../../customXml/item2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47.xml"/><Relationship Id="rId2" Type="http://schemas.openxmlformats.org/officeDocument/2006/relationships/customXml" Target="../../customXml/item55.xml"/><Relationship Id="rId1" Type="http://schemas.openxmlformats.org/officeDocument/2006/relationships/customXml" Target="../../customXml/item14.xml"/><Relationship Id="rId5" Type="http://schemas.openxmlformats.org/officeDocument/2006/relationships/slideMaster" Target="../slideMasters/slideMaster1.xml"/><Relationship Id="rId4" Type="http://schemas.openxmlformats.org/officeDocument/2006/relationships/customXml" Target="../../customXml/item5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18.xml"/><Relationship Id="rId2" Type="http://schemas.openxmlformats.org/officeDocument/2006/relationships/customXml" Target="../../customXml/item5.xml"/><Relationship Id="rId1" Type="http://schemas.openxmlformats.org/officeDocument/2006/relationships/customXml" Target="../../customXml/item19.xml"/><Relationship Id="rId6" Type="http://schemas.openxmlformats.org/officeDocument/2006/relationships/slideMaster" Target="../slideMasters/slideMaster1.xml"/><Relationship Id="rId5" Type="http://schemas.openxmlformats.org/officeDocument/2006/relationships/customXml" Target="../../customXml/item10.xml"/><Relationship Id="rId4" Type="http://schemas.openxmlformats.org/officeDocument/2006/relationships/customXml" Target="../../customXml/item3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28.xml"/><Relationship Id="rId2" Type="http://schemas.openxmlformats.org/officeDocument/2006/relationships/customXml" Target="../../customXml/item57.xml"/><Relationship Id="rId1" Type="http://schemas.openxmlformats.org/officeDocument/2006/relationships/customXml" Target="../../customXml/item15.xml"/><Relationship Id="rId6" Type="http://schemas.openxmlformats.org/officeDocument/2006/relationships/slideMaster" Target="../slideMasters/slideMaster1.xml"/><Relationship Id="rId5" Type="http://schemas.openxmlformats.org/officeDocument/2006/relationships/customXml" Target="../../customXml/item1.xml"/><Relationship Id="rId4" Type="http://schemas.openxmlformats.org/officeDocument/2006/relationships/customXml" Target="../../customXml/item6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customXml" Target="../../customXml/item6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customXml" Target="../../customXml/item48.xml"/><Relationship Id="rId1" Type="http://schemas.openxmlformats.org/officeDocument/2006/relationships/customXml" Target="../../customXml/item64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>
          <a:blip r:embed="rId9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  <p:custDataLst>
              <p:custData r:id="rId2"/>
            </p:custDataLst>
          </p:nvPr>
        </p:nvSpPr>
        <p:spPr>
          <a:xfrm>
            <a:off x="449961" y="1907921"/>
            <a:ext cx="9359900" cy="1601978"/>
          </a:xfrm>
        </p:spPr>
        <p:txBody>
          <a:bodyPr vert="horz"/>
          <a:lstStyle>
            <a:lvl1pPr>
              <a:lnSpc>
                <a:spcPct val="90000"/>
              </a:lnSpc>
              <a:defRPr sz="6000" b="1" i="0" cap="all" baseline="0">
                <a:solidFill>
                  <a:schemeClr val="accent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r>
              <a:rPr lang="en-GB" dirty="0" smtClean="0"/>
              <a:t>Main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custData r:id="rId3"/>
            </p:custDataLst>
          </p:nvPr>
        </p:nvSpPr>
        <p:spPr>
          <a:xfrm>
            <a:off x="467995" y="3708019"/>
            <a:ext cx="9323959" cy="791972"/>
          </a:xfrm>
        </p:spPr>
        <p:txBody>
          <a:bodyPr anchor="t"/>
          <a:lstStyle>
            <a:lvl1pPr marL="0" indent="0" algn="l">
              <a:buNone/>
              <a:defRPr sz="2400" cap="none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ubtitle</a:t>
            </a:r>
            <a:endParaRPr lang="en-GB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C5380E5-0D04-B449-9282-B817A683373F}"/>
              </a:ext>
            </a:extLst>
          </p:cNvPr>
          <p:cNvSpPr>
            <a:spLocks noGrp="1"/>
          </p:cNvSpPr>
          <p:nvPr>
            <p:ph type="body" sz="half" idx="2" hasCustomPrompt="1"/>
            <p:custDataLst>
              <p:custData r:id="rId4"/>
            </p:custDataLst>
          </p:nvPr>
        </p:nvSpPr>
        <p:spPr>
          <a:xfrm>
            <a:off x="485775" y="4870800"/>
            <a:ext cx="7400925" cy="1038525"/>
          </a:xfrm>
        </p:spPr>
        <p:txBody>
          <a:bodyPr anchor="b" anchorCtr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GB" sz="1400">
                <a:solidFill>
                  <a:schemeClr val="accent1"/>
                </a:solidFill>
                <a:effectLst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 dirty="0">
                <a:effectLst/>
                <a:latin typeface="Arial" panose="020B0604020202020204" pitchFamily="34" charset="0"/>
              </a:rPr>
              <a:t>Client name (optional)</a:t>
            </a:r>
            <a:br>
              <a:rPr lang="en-GB" dirty="0">
                <a:effectLst/>
                <a:latin typeface="Arial" panose="020B0604020202020204" pitchFamily="34" charset="0"/>
              </a:rPr>
            </a:br>
            <a:r>
              <a:rPr lang="en-GB" dirty="0">
                <a:effectLst/>
                <a:latin typeface="Arial" panose="020B0604020202020204" pitchFamily="34" charset="0"/>
              </a:rPr>
              <a:t>Month 00, 20XX</a:t>
            </a:r>
            <a:br>
              <a:rPr lang="en-GB" dirty="0">
                <a:effectLst/>
                <a:latin typeface="Arial" panose="020B0604020202020204" pitchFamily="34" charset="0"/>
              </a:rPr>
            </a:br>
            <a:r>
              <a:rPr lang="en-GB" dirty="0">
                <a:effectLst/>
                <a:latin typeface="Arial" panose="020B0604020202020204" pitchFamily="34" charset="0"/>
              </a:rPr>
              <a:t>Presenter1, Job Title, location  |  Presenter2, Job Title, location</a:t>
            </a:r>
            <a:br>
              <a:rPr lang="en-GB" dirty="0">
                <a:effectLst/>
                <a:latin typeface="Arial" panose="020B0604020202020204" pitchFamily="34" charset="0"/>
              </a:rPr>
            </a:br>
            <a:r>
              <a:rPr lang="en-GB" dirty="0">
                <a:effectLst/>
                <a:latin typeface="Arial" panose="020B0604020202020204" pitchFamily="34" charset="0"/>
              </a:rPr>
              <a:t/>
            </a:r>
            <a:br>
              <a:rPr lang="en-GB" dirty="0">
                <a:effectLst/>
                <a:latin typeface="Arial" panose="020B0604020202020204" pitchFamily="34" charset="0"/>
              </a:rPr>
            </a:br>
            <a:r>
              <a:rPr lang="en-GB" dirty="0">
                <a:effectLst/>
                <a:latin typeface="Arial" panose="020B0604020202020204" pitchFamily="34" charset="0"/>
              </a:rPr>
              <a:t>Tagline (optional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A000828-AFAC-3B45-BED9-82169A449934}"/>
              </a:ext>
            </a:extLst>
          </p:cNvPr>
          <p:cNvSpPr/>
          <p:nvPr userDrawn="1">
            <p:custDataLst>
              <p:custData r:id="rId5"/>
            </p:custDataLst>
          </p:nvPr>
        </p:nvSpPr>
        <p:spPr>
          <a:xfrm>
            <a:off x="485775" y="6257135"/>
            <a:ext cx="1785745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GB" sz="1000" dirty="0" smtClean="0">
                <a:solidFill>
                  <a:schemeClr val="accent1"/>
                </a:solidFill>
                <a:effectLst/>
                <a:latin typeface="Arial" panose="020B0604020202020204" pitchFamily="34" charset="0"/>
              </a:rPr>
              <a:t>A business of Marsh McLennan</a:t>
            </a:r>
            <a:endParaRPr lang="en-GB" sz="1000" dirty="0">
              <a:solidFill>
                <a:schemeClr val="accent1"/>
              </a:solidFill>
            </a:endParaRPr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F5DB60D4-C4BB-8C4C-A2A4-B0EC5B5139BB}"/>
              </a:ext>
            </a:extLst>
          </p:cNvPr>
          <p:cNvSpPr txBox="1">
            <a:spLocks/>
          </p:cNvSpPr>
          <p:nvPr userDrawn="1">
            <p:custDataLst>
              <p:custData r:id="rId6"/>
            </p:custDataLst>
          </p:nvPr>
        </p:nvSpPr>
        <p:spPr>
          <a:xfrm>
            <a:off x="6210300" y="5909325"/>
            <a:ext cx="5499100" cy="4699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r" defTabSz="457200" rtl="0" eaLnBrk="1" latinLnBrk="0" hangingPunct="1">
              <a:spcBef>
                <a:spcPts val="900"/>
              </a:spcBef>
              <a:buFont typeface="Arial"/>
              <a:buNone/>
              <a:defRPr sz="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spcBef>
                <a:spcPts val="750"/>
              </a:spcBef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ts val="600"/>
              </a:spcBef>
              <a:buFont typeface="Arial"/>
              <a:buNone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ts val="600"/>
              </a:spcBef>
              <a:buFont typeface="System Font Regular"/>
              <a:buNone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ts val="600"/>
              </a:spcBef>
              <a:buFont typeface="Arial"/>
              <a:buNone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ts val="600"/>
              </a:spcBef>
              <a:buFont typeface="System Font Regular"/>
              <a:buNone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4" name="Tagline" hidden="1"/>
          <p:cNvSpPr txBox="1"/>
          <p:nvPr userDrawn="1">
            <p:custDataLst>
              <p:custData r:id="rId7"/>
            </p:custDataLst>
          </p:nvPr>
        </p:nvSpPr>
        <p:spPr>
          <a:xfrm>
            <a:off x="8128000" y="363600"/>
            <a:ext cx="35814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endParaRPr lang="en-GB" sz="1600" dirty="0">
              <a:solidFill>
                <a:schemeClr val="lt1"/>
              </a:solidFill>
            </a:endParaRPr>
          </a:p>
        </p:txBody>
      </p:sp>
      <p:pic>
        <p:nvPicPr>
          <p:cNvPr id="5" name="CoverMainLogo_WHITE" hidden="1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86029" y="345567"/>
            <a:ext cx="3044958" cy="335281"/>
          </a:xfrm>
          <a:prstGeom prst="rect">
            <a:avLst/>
          </a:prstGeom>
        </p:spPr>
      </p:pic>
      <p:pic>
        <p:nvPicPr>
          <p:cNvPr id="7" name="CoverMainLogo_COLOUR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86029" y="345567"/>
            <a:ext cx="3044958" cy="335281"/>
          </a:xfrm>
          <a:prstGeom prst="rect">
            <a:avLst/>
          </a:prstGeom>
        </p:spPr>
      </p:pic>
    </p:spTree>
    <p:custDataLst>
      <p:custData r:id="rId1"/>
    </p:custDataLst>
    <p:extLst>
      <p:ext uri="{BB962C8B-B14F-4D97-AF65-F5344CB8AC3E}">
        <p14:creationId xmlns:p14="http://schemas.microsoft.com/office/powerpoint/2010/main" val="15831947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">
    <p:bg>
      <p:bgPr>
        <a:blipFill>
          <a:blip r:embed="rId7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AFC753E0-B94D-2E44-B2BB-5A42BBF574D5}"/>
              </a:ext>
            </a:extLst>
          </p:cNvPr>
          <p:cNvSpPr txBox="1"/>
          <p:nvPr>
            <p:custDataLst>
              <p:custData r:id="rId2"/>
            </p:custDataLst>
          </p:nvPr>
        </p:nvSpPr>
        <p:spPr>
          <a:xfrm>
            <a:off x="474201" y="5360804"/>
            <a:ext cx="5936537" cy="53579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kern="1200" dirty="0">
              <a:solidFill>
                <a:schemeClr val="lt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DB97647A-7060-6441-95B5-4F3CABC168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5775" y="1609200"/>
            <a:ext cx="11223625" cy="3200400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400"/>
              </a:spcBef>
              <a:buNone/>
              <a:defRPr sz="800">
                <a:solidFill>
                  <a:schemeClr val="lt1"/>
                </a:solidFill>
              </a:defRPr>
            </a:lvl1pPr>
          </a:lstStyle>
          <a:p>
            <a:pPr lvl="0"/>
            <a:r>
              <a:rPr lang="en-GB" dirty="0" smtClean="0"/>
              <a:t>Click to add optional disclaimer</a:t>
            </a:r>
            <a:endParaRPr lang="en-GB" dirty="0"/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09BA50B2-6484-EC4D-AF6E-8573FB70C5FE}"/>
              </a:ext>
            </a:extLst>
          </p:cNvPr>
          <p:cNvSpPr txBox="1"/>
          <p:nvPr userDrawn="1">
            <p:custDataLst>
              <p:custData r:id="rId3"/>
            </p:custDataLst>
          </p:nvPr>
        </p:nvSpPr>
        <p:spPr>
          <a:xfrm>
            <a:off x="7174800" y="6094800"/>
            <a:ext cx="4532400" cy="30960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indent="-457200" algn="r">
              <a:spcBef>
                <a:spcPts val="1800"/>
              </a:spcBef>
            </a:pPr>
            <a:r>
              <a:rPr lang="en-GB" sz="800" dirty="0" smtClean="0">
                <a:solidFill>
                  <a:schemeClr val="lt1"/>
                </a:solidFill>
              </a:rPr>
              <a:t>Copyright © 2022 Guy Carpenter &amp; Company Limited. All rights reserved.</a:t>
            </a:r>
            <a:endParaRPr lang="en-GB" sz="800" dirty="0">
              <a:solidFill>
                <a:schemeClr val="lt1"/>
              </a:solidFill>
            </a:endParaRPr>
          </a:p>
        </p:txBody>
      </p:sp>
      <p:sp>
        <p:nvSpPr>
          <p:cNvPr id="6" name="FileRef" hidden="1">
            <a:extLst>
              <a:ext uri="{FF2B5EF4-FFF2-40B4-BE49-F238E27FC236}">
                <a16:creationId xmlns:a16="http://schemas.microsoft.com/office/drawing/2014/main" id="{09BA50B2-6484-EC4D-AF6E-8573FB70C5FE}"/>
              </a:ext>
            </a:extLst>
          </p:cNvPr>
          <p:cNvSpPr txBox="1"/>
          <p:nvPr userDrawn="1">
            <p:custDataLst>
              <p:custData r:id="rId4"/>
            </p:custDataLst>
          </p:nvPr>
        </p:nvSpPr>
        <p:spPr>
          <a:xfrm>
            <a:off x="7174800" y="5727600"/>
            <a:ext cx="4532400" cy="39600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indent="-457200" algn="r">
              <a:spcBef>
                <a:spcPts val="1800"/>
              </a:spcBef>
            </a:pPr>
            <a:r>
              <a:rPr lang="en-GB" sz="800" dirty="0" smtClean="0">
                <a:solidFill>
                  <a:schemeClr val="lt1"/>
                </a:solidFill>
              </a:rPr>
              <a:t>{</a:t>
            </a:r>
            <a:r>
              <a:rPr lang="en-GB" sz="800" dirty="0" err="1" smtClean="0">
                <a:solidFill>
                  <a:schemeClr val="lt1"/>
                </a:solidFill>
              </a:rPr>
              <a:t>FileRef</a:t>
            </a:r>
            <a:r>
              <a:rPr lang="en-GB" sz="800" dirty="0" smtClean="0">
                <a:solidFill>
                  <a:schemeClr val="lt1"/>
                </a:solidFill>
              </a:rPr>
              <a:t>}</a:t>
            </a:r>
            <a:endParaRPr lang="en-GB" sz="800" dirty="0">
              <a:solidFill>
                <a:schemeClr val="lt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FC753E0-B94D-2E44-B2BB-5A42BBF574D5}"/>
              </a:ext>
            </a:extLst>
          </p:cNvPr>
          <p:cNvSpPr txBox="1"/>
          <p:nvPr userDrawn="1">
            <p:custDataLst>
              <p:custData r:id="rId5"/>
            </p:custDataLst>
          </p:nvPr>
        </p:nvSpPr>
        <p:spPr>
          <a:xfrm>
            <a:off x="475200" y="6206400"/>
            <a:ext cx="5936537" cy="21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kern="1200" dirty="0" smtClean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A business of Marsh McLennan</a:t>
            </a:r>
            <a:endParaRPr lang="en-GB" sz="1400" kern="1200" dirty="0">
              <a:solidFill>
                <a:schemeClr val="lt1"/>
              </a:solidFill>
              <a:effectLst/>
              <a:latin typeface="+mn-lt"/>
              <a:ea typeface="+mn-ea"/>
              <a:cs typeface="+mn-cs"/>
            </a:endParaRPr>
          </a:p>
        </p:txBody>
      </p:sp>
      <p:pic>
        <p:nvPicPr>
          <p:cNvPr id="2" name="MainBackLogo_WHITE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86029" y="345567"/>
            <a:ext cx="3044958" cy="335281"/>
          </a:xfrm>
          <a:prstGeom prst="rect">
            <a:avLst/>
          </a:prstGeom>
        </p:spPr>
      </p:pic>
      <p:pic>
        <p:nvPicPr>
          <p:cNvPr id="3" name="MainBackLogo_COLOUR" hidden="1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86029" y="345567"/>
            <a:ext cx="3044958" cy="335281"/>
          </a:xfrm>
          <a:prstGeom prst="rect">
            <a:avLst/>
          </a:prstGeom>
        </p:spPr>
      </p:pic>
    </p:spTree>
    <p:custDataLst>
      <p:custData r:id="rId1"/>
    </p:custDataLst>
    <p:extLst>
      <p:ext uri="{BB962C8B-B14F-4D97-AF65-F5344CB8AC3E}">
        <p14:creationId xmlns:p14="http://schemas.microsoft.com/office/powerpoint/2010/main" val="41339955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+ 1u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5AFEB67-91FA-AF46-907B-E0F184EFDD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4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5AFEB67-91FA-AF46-907B-E0F184EFDD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AED69B9-B4F1-004C-A77F-27A6FA2E5B9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85777" y="1609725"/>
            <a:ext cx="7400923" cy="4519867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35B67BB-4145-CB43-9042-99F21E43E2E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128001" y="119959"/>
            <a:ext cx="3940174" cy="6618082"/>
          </a:xfrm>
          <a:solidFill>
            <a:srgbClr val="F0F0F0"/>
          </a:solidFill>
        </p:spPr>
        <p:txBody>
          <a:bodyPr/>
          <a:lstStyle>
            <a:lvl1pPr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Click icon to add picture. Use “Crop” feature on “Format” tab to resize or reposition picture once added. Reset slide layout if needed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AEFB055-FB93-6449-B5E1-10B3AB4A19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355601"/>
            <a:ext cx="7429500" cy="495299"/>
          </a:xfrm>
        </p:spPr>
        <p:txBody>
          <a:bodyPr vert="horz"/>
          <a:lstStyle/>
          <a:p>
            <a:r>
              <a:rPr lang="en-US" dirty="0"/>
              <a:t>Click to add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243AFB7-5041-9B4B-8CEB-9A5E8F8695E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85776" y="806807"/>
            <a:ext cx="7410633" cy="318476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8172812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5AFEB67-91FA-AF46-907B-E0F184EFDD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8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5AFEB67-91FA-AF46-907B-E0F184EFDD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773DA736-E5DF-844D-B5DD-D8BB742411F8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6210301" y="6388100"/>
            <a:ext cx="4546600" cy="247650"/>
          </a:xfrm>
        </p:spPr>
        <p:txBody>
          <a:bodyPr anchor="b"/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a footnot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6C7917B-E936-2847-936C-8884185B001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85776" y="1612900"/>
            <a:ext cx="11223624" cy="451669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3DD64E3-026E-A04D-AC24-029A817E82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55601"/>
            <a:ext cx="11252199" cy="495299"/>
          </a:xfrm>
        </p:spPr>
        <p:txBody>
          <a:bodyPr vert="horz"/>
          <a:lstStyle/>
          <a:p>
            <a:r>
              <a:rPr lang="en-US" dirty="0"/>
              <a:t>Click to add tit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F2D0924E-7A15-6045-86EA-6E2333478DE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85776" y="806807"/>
            <a:ext cx="11223624" cy="318476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7966926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065FBC-B738-C54B-9BC4-18152E8240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2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065FBC-B738-C54B-9BC4-18152E8240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3D6335A-B440-264A-ADCF-510226FDCEF3}"/>
              </a:ext>
            </a:extLst>
          </p:cNvPr>
          <p:cNvSpPr>
            <a:spLocks noGrp="1"/>
          </p:cNvSpPr>
          <p:nvPr>
            <p:ph type="body" sz="half" idx="15" hasCustomPrompt="1"/>
          </p:nvPr>
        </p:nvSpPr>
        <p:spPr>
          <a:xfrm>
            <a:off x="6210301" y="6388100"/>
            <a:ext cx="4546600" cy="247650"/>
          </a:xfrm>
        </p:spPr>
        <p:txBody>
          <a:bodyPr anchor="b"/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a footnot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54D9E00-BE79-044E-880B-B336004BBA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55601"/>
            <a:ext cx="11252199" cy="495299"/>
          </a:xfrm>
        </p:spPr>
        <p:txBody>
          <a:bodyPr vert="horz"/>
          <a:lstStyle/>
          <a:p>
            <a:r>
              <a:rPr lang="en-US" dirty="0"/>
              <a:t>Click to add 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3740D47-97C5-7046-A0ED-2FDCEE545EC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85776" y="806807"/>
            <a:ext cx="11223624" cy="318476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2699156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custData r:id="rId1"/>
            </p:custDataLst>
          </p:nvPr>
        </p:nvSpPr>
        <p:spPr/>
        <p:txBody>
          <a:bodyPr/>
          <a:lstStyle/>
          <a:p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custData r:id="rId2"/>
            </p:custDataLst>
          </p:nvPr>
        </p:nvSpPr>
        <p:spPr/>
        <p:txBody>
          <a:bodyPr/>
          <a:lstStyle/>
          <a:p>
            <a:pPr lvl="0"/>
            <a:r>
              <a:rPr lang="en-US" dirty="0"/>
              <a:t>Click to </a:t>
            </a:r>
            <a:r>
              <a:rPr lang="en-US"/>
              <a:t>add tex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US" smtClean="0"/>
              <a:pPr algn="r"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spcAft>
                <a:spcPts val="600"/>
              </a:spcAft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  <p:custDataLst>
              <p:custData r:id="rId3"/>
            </p:custDataLst>
          </p:nvPr>
        </p:nvSpPr>
        <p:spPr>
          <a:xfrm>
            <a:off x="485776" y="806400"/>
            <a:ext cx="11226800" cy="320400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30886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custData r:id="rId1"/>
            </p:custDataLst>
          </p:nvPr>
        </p:nvSpPr>
        <p:spPr/>
        <p:txBody>
          <a:bodyPr/>
          <a:lstStyle/>
          <a:p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custData r:id="rId2"/>
            </p:custDataLst>
          </p:nvPr>
        </p:nvSpPr>
        <p:spPr/>
        <p:txBody>
          <a:bodyPr/>
          <a:lstStyle/>
          <a:p>
            <a:pPr lvl="0"/>
            <a:r>
              <a:rPr lang="en-US" dirty="0"/>
              <a:t>Click to </a:t>
            </a:r>
            <a:r>
              <a:rPr lang="en-US"/>
              <a:t>add tex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US" smtClean="0"/>
              <a:pPr algn="r"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spcAft>
                <a:spcPts val="600"/>
              </a:spcAft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  <p:custDataLst>
              <p:custData r:id="rId3"/>
            </p:custDataLst>
          </p:nvPr>
        </p:nvSpPr>
        <p:spPr>
          <a:xfrm>
            <a:off x="485776" y="806400"/>
            <a:ext cx="11226800" cy="320400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28170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custData r:id="rId1"/>
            </p:custDataLst>
          </p:nvPr>
        </p:nvSpPr>
        <p:spPr/>
        <p:txBody>
          <a:bodyPr/>
          <a:lstStyle/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custData r:id="rId2"/>
            </p:custDataLst>
          </p:nvPr>
        </p:nvSpPr>
        <p:spPr/>
        <p:txBody>
          <a:bodyPr/>
          <a:lstStyle/>
          <a:p>
            <a:pPr lvl="0"/>
            <a:r>
              <a:rPr lang="en-GB" dirty="0" smtClean="0"/>
              <a:t>Click to add text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spcAft>
                <a:spcPts val="600"/>
              </a:spcAft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  <p:custDataLst>
              <p:custData r:id="rId3"/>
            </p:custDataLst>
          </p:nvPr>
        </p:nvSpPr>
        <p:spPr>
          <a:xfrm>
            <a:off x="485776" y="806400"/>
            <a:ext cx="11226800" cy="320400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00072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custData r:id="rId1"/>
            </p:custDataLst>
          </p:nvPr>
        </p:nvSpPr>
        <p:spPr/>
        <p:txBody>
          <a:bodyPr/>
          <a:lstStyle/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spcAft>
                <a:spcPts val="600"/>
              </a:spcAft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  <p:custDataLst>
              <p:custData r:id="rId2"/>
            </p:custDataLst>
          </p:nvPr>
        </p:nvSpPr>
        <p:spPr>
          <a:xfrm>
            <a:off x="485775" y="806400"/>
            <a:ext cx="11225025" cy="320400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46865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1342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custData r:id="rId1"/>
            </p:custDataLst>
          </p:nvPr>
        </p:nvSpPr>
        <p:spPr/>
        <p:txBody>
          <a:bodyPr/>
          <a:lstStyle/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  <p:custDataLst>
              <p:custData r:id="rId2"/>
            </p:custDataLst>
          </p:nvPr>
        </p:nvSpPr>
        <p:spPr>
          <a:xfrm>
            <a:off x="485775" y="1609725"/>
            <a:ext cx="5495925" cy="4514850"/>
          </a:xfrm>
        </p:spPr>
        <p:txBody>
          <a:bodyPr/>
          <a:lstStyle/>
          <a:p>
            <a:pPr lvl="0"/>
            <a:r>
              <a:rPr lang="en-GB" dirty="0" smtClean="0"/>
              <a:t>Click to add text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  <p:custDataLst>
              <p:custData r:id="rId3"/>
            </p:custDataLst>
          </p:nvPr>
        </p:nvSpPr>
        <p:spPr>
          <a:xfrm>
            <a:off x="6210300" y="1609725"/>
            <a:ext cx="5499100" cy="4514850"/>
          </a:xfrm>
        </p:spPr>
        <p:txBody>
          <a:bodyPr/>
          <a:lstStyle/>
          <a:p>
            <a:pPr lvl="0"/>
            <a:r>
              <a:rPr lang="en-GB" dirty="0" smtClean="0"/>
              <a:t>Click to add tex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spcAft>
                <a:spcPts val="600"/>
              </a:spcAft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  <p:custDataLst>
              <p:custData r:id="rId4"/>
            </p:custDataLst>
          </p:nvPr>
        </p:nvSpPr>
        <p:spPr>
          <a:xfrm>
            <a:off x="485776" y="806400"/>
            <a:ext cx="11225023" cy="320400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06062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custData r:id="rId1"/>
            </p:custDataLst>
          </p:nvPr>
        </p:nvSpPr>
        <p:spPr/>
        <p:txBody>
          <a:bodyPr/>
          <a:lstStyle/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 hasCustomPrompt="1"/>
            <p:custDataLst>
              <p:custData r:id="rId2"/>
            </p:custDataLst>
          </p:nvPr>
        </p:nvSpPr>
        <p:spPr>
          <a:xfrm>
            <a:off x="482601" y="1609725"/>
            <a:ext cx="3581400" cy="4514850"/>
          </a:xfrm>
        </p:spPr>
        <p:txBody>
          <a:bodyPr/>
          <a:lstStyle/>
          <a:p>
            <a:pPr lvl="0"/>
            <a:r>
              <a:rPr lang="en-GB" dirty="0" smtClean="0"/>
              <a:t>Click to add text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 hasCustomPrompt="1"/>
            <p:custDataLst>
              <p:custData r:id="rId3"/>
            </p:custDataLst>
          </p:nvPr>
        </p:nvSpPr>
        <p:spPr>
          <a:xfrm>
            <a:off x="4305300" y="1609726"/>
            <a:ext cx="3581400" cy="4514850"/>
          </a:xfrm>
        </p:spPr>
        <p:txBody>
          <a:bodyPr/>
          <a:lstStyle/>
          <a:p>
            <a:pPr lvl="0"/>
            <a:r>
              <a:rPr lang="en-GB" dirty="0" smtClean="0"/>
              <a:t>Click to add text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3" hasCustomPrompt="1"/>
            <p:custDataLst>
              <p:custData r:id="rId4"/>
            </p:custDataLst>
          </p:nvPr>
        </p:nvSpPr>
        <p:spPr>
          <a:xfrm>
            <a:off x="8128000" y="1609725"/>
            <a:ext cx="3581400" cy="4514850"/>
          </a:xfrm>
        </p:spPr>
        <p:txBody>
          <a:bodyPr/>
          <a:lstStyle/>
          <a:p>
            <a:pPr lvl="0"/>
            <a:r>
              <a:rPr lang="en-GB" dirty="0" smtClean="0"/>
              <a:t>Click to add text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spcAft>
                <a:spcPts val="600"/>
              </a:spcAft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  <p:custDataLst>
              <p:custData r:id="rId5"/>
            </p:custDataLst>
          </p:nvPr>
        </p:nvSpPr>
        <p:spPr>
          <a:xfrm>
            <a:off x="485775" y="806400"/>
            <a:ext cx="11223623" cy="320400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63273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 hasCustomPrompt="1"/>
            <p:custDataLst>
              <p:custData r:id="rId1"/>
            </p:custDataLst>
          </p:nvPr>
        </p:nvSpPr>
        <p:spPr/>
        <p:txBody>
          <a:bodyPr/>
          <a:lstStyle/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 hasCustomPrompt="1"/>
            <p:custDataLst>
              <p:custData r:id="rId2"/>
            </p:custDataLst>
          </p:nvPr>
        </p:nvSpPr>
        <p:spPr>
          <a:xfrm>
            <a:off x="485775" y="1609725"/>
            <a:ext cx="2625725" cy="4511675"/>
          </a:xfrm>
        </p:spPr>
        <p:txBody>
          <a:bodyPr/>
          <a:lstStyle/>
          <a:p>
            <a:pPr lvl="0"/>
            <a:r>
              <a:rPr lang="en-GB" dirty="0" smtClean="0"/>
              <a:t>Click to add text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 hasCustomPrompt="1"/>
            <p:custDataLst>
              <p:custData r:id="rId3"/>
            </p:custDataLst>
          </p:nvPr>
        </p:nvSpPr>
        <p:spPr>
          <a:xfrm>
            <a:off x="3352800" y="1609725"/>
            <a:ext cx="2628900" cy="4511675"/>
          </a:xfrm>
        </p:spPr>
        <p:txBody>
          <a:bodyPr/>
          <a:lstStyle/>
          <a:p>
            <a:pPr lvl="0"/>
            <a:r>
              <a:rPr lang="en-GB" dirty="0" smtClean="0"/>
              <a:t>Click to add text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 hasCustomPrompt="1"/>
            <p:custDataLst>
              <p:custData r:id="rId4"/>
            </p:custDataLst>
          </p:nvPr>
        </p:nvSpPr>
        <p:spPr>
          <a:xfrm>
            <a:off x="6210300" y="1609726"/>
            <a:ext cx="2628900" cy="4514850"/>
          </a:xfrm>
        </p:spPr>
        <p:txBody>
          <a:bodyPr/>
          <a:lstStyle/>
          <a:p>
            <a:pPr lvl="0"/>
            <a:r>
              <a:rPr lang="en-GB" dirty="0" smtClean="0"/>
              <a:t>Click to add text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9080500" y="1609726"/>
            <a:ext cx="2628900" cy="4514850"/>
          </a:xfrm>
        </p:spPr>
        <p:txBody>
          <a:bodyPr/>
          <a:lstStyle/>
          <a:p>
            <a:pPr lvl="0"/>
            <a:r>
              <a:rPr lang="en-GB" dirty="0" smtClean="0"/>
              <a:t>Click to add text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spcAft>
                <a:spcPts val="600"/>
              </a:spcAft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  <p:custDataLst>
              <p:custData r:id="rId5"/>
            </p:custDataLst>
          </p:nvPr>
        </p:nvSpPr>
        <p:spPr>
          <a:xfrm>
            <a:off x="485777" y="806400"/>
            <a:ext cx="11223622" cy="320400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75052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blipFill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BFED26F-A95B-E44E-8707-E9C9C09E6F9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5775" y="362464"/>
            <a:ext cx="5495925" cy="5758935"/>
          </a:xfrm>
        </p:spPr>
        <p:txBody>
          <a:bodyPr/>
          <a:lstStyle>
            <a:lvl1pPr marL="233363" indent="-233363">
              <a:lnSpc>
                <a:spcPct val="90000"/>
              </a:lnSpc>
              <a:spcBef>
                <a:spcPts val="900"/>
              </a:spcBef>
              <a:buFont typeface="+mj-lt"/>
              <a:buAutoNum type="arabicPeriod"/>
              <a:tabLst/>
              <a:defRPr>
                <a:solidFill>
                  <a:schemeClr val="lt1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GB" dirty="0" smtClean="0"/>
              <a:t>Click to add topic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  <p:custDataLst>
              <p:custData r:id="rId1"/>
            </p:custDataLst>
          </p:nvPr>
        </p:nvSpPr>
        <p:spPr>
          <a:xfrm>
            <a:off x="486000" y="4896000"/>
            <a:ext cx="11224800" cy="1846800"/>
          </a:xfrm>
        </p:spPr>
        <p:txBody>
          <a:bodyPr/>
          <a:lstStyle>
            <a:lvl1pPr marL="0" indent="0" algn="r">
              <a:buNone/>
              <a:defRPr sz="12000" b="1">
                <a:solidFill>
                  <a:schemeClr val="lt1"/>
                </a:solidFill>
              </a:defRPr>
            </a:lvl1pPr>
          </a:lstStyle>
          <a:p>
            <a:pPr lvl="0"/>
            <a:r>
              <a:rPr lang="en-GB" dirty="0" smtClean="0"/>
              <a:t>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49379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Divider Slide">
    <p:bg>
      <p:bgPr>
        <a:blipFill>
          <a:blip r:embed="rId4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custData r:id="rId1"/>
            </p:custDataLst>
          </p:nvPr>
        </p:nvSpPr>
        <p:spPr>
          <a:xfrm>
            <a:off x="482600" y="358774"/>
            <a:ext cx="8308600" cy="5762626"/>
          </a:xfrm>
        </p:spPr>
        <p:txBody>
          <a:bodyPr anchor="t" anchorCtr="0"/>
          <a:lstStyle>
            <a:lvl1pPr>
              <a:defRPr sz="5400" b="1">
                <a:solidFill>
                  <a:schemeClr val="lt1"/>
                </a:solidFill>
                <a:latin typeface="+mj-lt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  <p:custDataLst>
              <p:custData r:id="rId2"/>
            </p:custDataLst>
          </p:nvPr>
        </p:nvSpPr>
        <p:spPr>
          <a:xfrm>
            <a:off x="7869600" y="630000"/>
            <a:ext cx="4320000" cy="6228000"/>
          </a:xfrm>
        </p:spPr>
        <p:txBody>
          <a:bodyPr wrap="none" lIns="0" tIns="46800" rIns="216000" bIns="0"/>
          <a:lstStyle>
            <a:lvl1pPr marL="0" indent="0" algn="r">
              <a:buNone/>
              <a:defRPr sz="50000" b="1">
                <a:solidFill>
                  <a:schemeClr val="l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0904864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customXml" Target="../../customXml/item15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customXml" Target="../../customXml/item5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customXml" Target="../../customXml/item4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customXml" Target="../../customXml/item2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  <p:custDataLst>
              <p:custData r:id="rId18"/>
            </p:custDataLst>
          </p:nvPr>
        </p:nvSpPr>
        <p:spPr>
          <a:xfrm>
            <a:off x="485776" y="355601"/>
            <a:ext cx="11223623" cy="4952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smtClean="0"/>
              <a:t>Click to add 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5776" y="1609725"/>
            <a:ext cx="11223624" cy="451430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GB" smtClean="0"/>
              <a:t>Click to add text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  <p:custDataLst>
              <p:custData r:id="rId19"/>
            </p:custDataLst>
          </p:nvPr>
        </p:nvSpPr>
        <p:spPr>
          <a:xfrm>
            <a:off x="11430000" y="6516000"/>
            <a:ext cx="2808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en-GB" sz="800" smtClean="0">
                <a:effectLst/>
              </a:defRPr>
            </a:lvl1pPr>
          </a:lstStyle>
          <a:p>
            <a:pPr algn="r"/>
            <a:fld id="{DF66040D-6F20-4F4B-8995-856BEECD84BE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custData r:id="rId20"/>
            </p:custDataLst>
          </p:nvPr>
        </p:nvSpPr>
        <p:spPr>
          <a:xfrm>
            <a:off x="6210000" y="6390000"/>
            <a:ext cx="4546800" cy="2484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lang="en-GB" sz="800" b="0"/>
            </a:lvl1pPr>
          </a:lstStyle>
          <a:p>
            <a:pPr algn="r">
              <a:spcAft>
                <a:spcPts val="600"/>
              </a:spcAft>
              <a:buFont typeface="Arial" panose="020B0604020202020204" pitchFamily="34" charset="0"/>
              <a:buNone/>
            </a:pPr>
            <a:endParaRPr lang="en-GB" dirty="0"/>
          </a:p>
        </p:txBody>
      </p:sp>
      <p:pic>
        <p:nvPicPr>
          <p:cNvPr id="6" name="ContentLogo_WHITE" hidden="1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86029" y="6515989"/>
            <a:ext cx="1240539" cy="137160"/>
          </a:xfrm>
          <a:prstGeom prst="rect">
            <a:avLst/>
          </a:prstGeom>
        </p:spPr>
      </p:pic>
      <p:pic>
        <p:nvPicPr>
          <p:cNvPr id="7" name="ContentLogo_COLOUR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86029" y="6515989"/>
            <a:ext cx="1240539" cy="137160"/>
          </a:xfrm>
          <a:prstGeom prst="rect">
            <a:avLst/>
          </a:prstGeom>
        </p:spPr>
      </p:pic>
    </p:spTree>
    <p:custDataLst>
      <p:custData r:id="rId17"/>
    </p:custDataLst>
    <p:extLst>
      <p:ext uri="{BB962C8B-B14F-4D97-AF65-F5344CB8AC3E}">
        <p14:creationId xmlns:p14="http://schemas.microsoft.com/office/powerpoint/2010/main" val="577282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15" r:id="rId2"/>
    <p:sldLayoutId id="2147483719" r:id="rId3"/>
    <p:sldLayoutId id="2147483672" r:id="rId4"/>
    <p:sldLayoutId id="2147483716" r:id="rId5"/>
    <p:sldLayoutId id="2147483717" r:id="rId6"/>
    <p:sldLayoutId id="2147483718" r:id="rId7"/>
    <p:sldLayoutId id="2147483688" r:id="rId8"/>
    <p:sldLayoutId id="2147483713" r:id="rId9"/>
    <p:sldLayoutId id="2147483710" r:id="rId10"/>
    <p:sldLayoutId id="2147483720" r:id="rId11"/>
    <p:sldLayoutId id="2147483721" r:id="rId12"/>
    <p:sldLayoutId id="2147483722" r:id="rId13"/>
    <p:sldLayoutId id="2147483723" r:id="rId14"/>
    <p:sldLayoutId id="2147483724" r:id="rId15"/>
  </p:sldLayoutIdLst>
  <p:hf hdr="0" ftr="0" dt="0"/>
  <p:txStyles>
    <p:titleStyle>
      <a:lvl1pPr algn="l" defTabSz="457200" rtl="0" eaLnBrk="1" latinLnBrk="0" hangingPunct="1">
        <a:lnSpc>
          <a:spcPct val="80000"/>
        </a:lnSpc>
        <a:spcBef>
          <a:spcPct val="0"/>
        </a:spcBef>
        <a:buNone/>
        <a:defRPr sz="3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3838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tabLst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3838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371600" indent="-223838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600200" indent="-228600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828800" indent="-223838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indent="-228600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GB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7376">
          <p15:clr>
            <a:srgbClr val="F26B43"/>
          </p15:clr>
        </p15:guide>
        <p15:guide id="7" pos="3912">
          <p15:clr>
            <a:srgbClr val="F26B43"/>
          </p15:clr>
        </p15:guide>
        <p15:guide id="13" pos="304">
          <p15:clr>
            <a:srgbClr val="F26B43"/>
          </p15:clr>
        </p15:guide>
        <p15:guide id="19" pos="3768">
          <p15:clr>
            <a:srgbClr val="F26B43"/>
          </p15:clr>
        </p15:guide>
        <p15:guide id="27" orient="horz" pos="4168">
          <p15:clr>
            <a:srgbClr val="F26B43"/>
          </p15:clr>
        </p15:guide>
        <p15:guide id="29" orient="horz" pos="4016">
          <p15:clr>
            <a:srgbClr val="F26B43"/>
          </p15:clr>
        </p15:guide>
        <p15:guide id="30" orient="horz" pos="226">
          <p15:clr>
            <a:srgbClr val="F26B43"/>
          </p15:clr>
        </p15:guide>
        <p15:guide id="31" orient="horz" pos="540">
          <p15:clr>
            <a:srgbClr val="F26B43"/>
          </p15:clr>
        </p15:guide>
        <p15:guide id="32" orient="horz" pos="698">
          <p15:clr>
            <a:srgbClr val="F26B43"/>
          </p15:clr>
        </p15:guide>
        <p15:guide id="35" orient="horz" pos="1014">
          <p15:clr>
            <a:srgbClr val="F26B43"/>
          </p15:clr>
        </p15:guide>
        <p15:guide id="38" orient="horz" pos="3856">
          <p15:clr>
            <a:srgbClr val="F26B43"/>
          </p15:clr>
        </p15:guide>
        <p15:guide id="39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9.xml"/><Relationship Id="rId2" Type="http://schemas.openxmlformats.org/officeDocument/2006/relationships/customXml" Target="../../customXml/item7.xml"/><Relationship Id="rId1" Type="http://schemas.openxmlformats.org/officeDocument/2006/relationships/customXml" Target="../../customXml/item16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customXml" Target="../../customXml/item4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customXml" Target="../../customXml/item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15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24.svg"/><Relationship Id="rId4" Type="http://schemas.openxmlformats.org/officeDocument/2006/relationships/image" Target="../media/image16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1.xml"/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5.bin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0.xml"/><Relationship Id="rId1" Type="http://schemas.openxmlformats.org/officeDocument/2006/relationships/customXml" Target="../../customXml/item2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customXml" Target="../../customXml/item5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  <p:custDataLst>
              <p:custData r:id="rId1"/>
            </p:custDataLst>
          </p:nvPr>
        </p:nvSpPr>
        <p:spPr>
          <a:xfrm>
            <a:off x="449960" y="1907921"/>
            <a:ext cx="10076273" cy="1749680"/>
          </a:xfrm>
        </p:spPr>
        <p:txBody>
          <a:bodyPr/>
          <a:lstStyle/>
          <a:p>
            <a:r>
              <a:rPr lang="es-ES" sz="4000" dirty="0"/>
              <a:t>PERSPECTIVAS DE LA INDUSTRIA DE SEGUROS Y ESTRATEGIAS PARA FORTALECER SU CRECIMIENTO EN UN MERCADO CAMBIANTE</a:t>
            </a:r>
            <a:r>
              <a:rPr lang="en-GB" dirty="0" smtClean="0"/>
              <a:t/>
            </a:r>
            <a:br>
              <a:rPr lang="en-GB" dirty="0" smtClean="0"/>
            </a:br>
            <a:r>
              <a:rPr lang="en-GB" sz="4400" b="0" dirty="0" smtClean="0"/>
              <a:t/>
            </a:r>
            <a:br>
              <a:rPr lang="en-GB" sz="4400" b="0" dirty="0" smtClean="0"/>
            </a:br>
            <a:endParaRPr lang="en-GB" sz="4400" dirty="0"/>
          </a:p>
        </p:txBody>
      </p:sp>
      <p:sp>
        <p:nvSpPr>
          <p:cNvPr id="4" name="PresenterDetails"/>
          <p:cNvSpPr>
            <a:spLocks noGrp="1"/>
          </p:cNvSpPr>
          <p:nvPr>
            <p:ph type="body" sz="half" idx="2"/>
            <p:custDataLst>
              <p:custData r:id="rId2"/>
            </p:custDataLst>
          </p:nvPr>
        </p:nvSpPr>
        <p:spPr>
          <a:xfrm>
            <a:off x="485775" y="4772197"/>
            <a:ext cx="2387281" cy="1152470"/>
          </a:xfrm>
        </p:spPr>
        <p:txBody>
          <a:bodyPr/>
          <a:lstStyle/>
          <a:p>
            <a:endParaRPr lang="en-GB" dirty="0" smtClean="0"/>
          </a:p>
          <a:p>
            <a:r>
              <a:rPr lang="en-GB" dirty="0"/>
              <a:t>8</a:t>
            </a:r>
            <a:r>
              <a:rPr lang="en-GB" dirty="0" smtClean="0"/>
              <a:t> de </a:t>
            </a:r>
            <a:r>
              <a:rPr lang="en-GB" dirty="0" err="1" smtClean="0"/>
              <a:t>septiembre</a:t>
            </a:r>
            <a:r>
              <a:rPr lang="en-GB" dirty="0" smtClean="0"/>
              <a:t> de 2022</a:t>
            </a:r>
          </a:p>
          <a:p>
            <a:endParaRPr lang="en-GB" dirty="0" smtClean="0"/>
          </a:p>
          <a:p>
            <a:r>
              <a:rPr lang="en-GB" dirty="0" smtClean="0"/>
              <a:t>Anthony Phillips</a:t>
            </a:r>
          </a:p>
        </p:txBody>
      </p:sp>
      <p:sp>
        <p:nvSpPr>
          <p:cNvPr id="5" name="ClientLogo" hidden="1"/>
          <p:cNvSpPr/>
          <p:nvPr>
            <p:custDataLst>
              <p:custData r:id="rId3"/>
            </p:custDataLst>
          </p:nvPr>
        </p:nvSpPr>
        <p:spPr>
          <a:xfrm>
            <a:off x="8132400" y="363600"/>
            <a:ext cx="3574800" cy="496800"/>
          </a:xfrm>
          <a:prstGeom prst="rect">
            <a:avLst/>
          </a:prstGeom>
          <a:solidFill>
            <a:srgbClr val="14853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 smtClean="0">
                <a:solidFill>
                  <a:schemeClr val="bg1"/>
                </a:solidFill>
              </a:rPr>
              <a:t>Placeholder for optional client logo</a:t>
            </a:r>
          </a:p>
        </p:txBody>
      </p:sp>
    </p:spTree>
    <p:extLst>
      <p:ext uri="{BB962C8B-B14F-4D97-AF65-F5344CB8AC3E}">
        <p14:creationId xmlns:p14="http://schemas.microsoft.com/office/powerpoint/2010/main" val="1644816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US" smtClean="0"/>
              <a:pPr algn="r"/>
              <a:t>10</a:t>
            </a:fld>
            <a:endParaRPr lang="en-US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2045043" y="2491253"/>
            <a:ext cx="1589147" cy="0"/>
          </a:xfrm>
          <a:prstGeom prst="line">
            <a:avLst/>
          </a:prstGeom>
          <a:ln w="38100">
            <a:solidFill>
              <a:schemeClr val="accent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6"/>
          <p:cNvSpPr/>
          <p:nvPr/>
        </p:nvSpPr>
        <p:spPr>
          <a:xfrm>
            <a:off x="3634190" y="1293507"/>
            <a:ext cx="184048" cy="2333201"/>
          </a:xfrm>
          <a:custGeom>
            <a:avLst/>
            <a:gdLst>
              <a:gd name="connsiteX0" fmla="*/ 335756 w 338138"/>
              <a:gd name="connsiteY0" fmla="*/ 0 h 1600200"/>
              <a:gd name="connsiteX1" fmla="*/ 0 w 338138"/>
              <a:gd name="connsiteY1" fmla="*/ 0 h 1600200"/>
              <a:gd name="connsiteX2" fmla="*/ 0 w 338138"/>
              <a:gd name="connsiteY2" fmla="*/ 1600200 h 1600200"/>
              <a:gd name="connsiteX3" fmla="*/ 338138 w 338138"/>
              <a:gd name="connsiteY3" fmla="*/ 1600200 h 160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8138" h="1600200">
                <a:moveTo>
                  <a:pt x="335756" y="0"/>
                </a:moveTo>
                <a:lnTo>
                  <a:pt x="0" y="0"/>
                </a:lnTo>
                <a:lnTo>
                  <a:pt x="0" y="1600200"/>
                </a:lnTo>
                <a:lnTo>
                  <a:pt x="338138" y="1600200"/>
                </a:lnTo>
              </a:path>
            </a:pathLst>
          </a:cu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chemeClr val="tx1"/>
              </a:solidFill>
              <a:latin typeface="Arial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5009039"/>
              </p:ext>
            </p:extLst>
          </p:nvPr>
        </p:nvGraphicFramePr>
        <p:xfrm>
          <a:off x="3875842" y="1293506"/>
          <a:ext cx="7986644" cy="2333202"/>
        </p:xfrm>
        <a:graphic>
          <a:graphicData uri="http://schemas.openxmlformats.org/drawingml/2006/table">
            <a:tbl>
              <a:tblPr firstRow="1" bandRow="1"/>
              <a:tblGrid>
                <a:gridCol w="7986644">
                  <a:extLst>
                    <a:ext uri="{9D8B030D-6E8A-4147-A177-3AD203B41FA5}">
                      <a16:colId xmlns:a16="http://schemas.microsoft.com/office/drawing/2014/main" val="2867811268"/>
                    </a:ext>
                  </a:extLst>
                </a:gridCol>
              </a:tblGrid>
              <a:tr h="777734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s-ES" sz="1600" b="1" dirty="0" smtClean="0">
                          <a:solidFill>
                            <a:schemeClr val="accent2"/>
                          </a:solidFill>
                        </a:rPr>
                        <a:t>Falta de oportunidades económicas y bajos estándares de vida</a:t>
                      </a:r>
                      <a:endParaRPr lang="en-US" sz="1600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0184169"/>
                  </a:ext>
                </a:extLst>
              </a:tr>
              <a:tr h="777734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s-ES" sz="1600" b="1" dirty="0" smtClean="0">
                          <a:solidFill>
                            <a:schemeClr val="accent2"/>
                          </a:solidFill>
                        </a:rPr>
                        <a:t>Eventos climatológicos extremos relacionados con el cambio climático</a:t>
                      </a:r>
                      <a:endParaRPr 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9595354"/>
                  </a:ext>
                </a:extLst>
              </a:tr>
              <a:tr h="777734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9DE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olencia</a:t>
                      </a:r>
                      <a:endParaRPr kumimoji="0" 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9DE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2047846"/>
                  </a:ext>
                </a:extLst>
              </a:tr>
            </a:tbl>
          </a:graphicData>
        </a:graphic>
      </p:graphicFrame>
      <p:grpSp>
        <p:nvGrpSpPr>
          <p:cNvPr id="9" name="Group 8"/>
          <p:cNvGrpSpPr/>
          <p:nvPr/>
        </p:nvGrpSpPr>
        <p:grpSpPr>
          <a:xfrm>
            <a:off x="667382" y="1630332"/>
            <a:ext cx="1828683" cy="1973664"/>
            <a:chOff x="370840" y="2347570"/>
            <a:chExt cx="2382520" cy="2784586"/>
          </a:xfrm>
        </p:grpSpPr>
        <p:sp>
          <p:nvSpPr>
            <p:cNvPr id="10" name="Freeform 5"/>
            <p:cNvSpPr>
              <a:spLocks/>
            </p:cNvSpPr>
            <p:nvPr/>
          </p:nvSpPr>
          <p:spPr bwMode="auto">
            <a:xfrm>
              <a:off x="370840" y="2347570"/>
              <a:ext cx="2382520" cy="2784586"/>
            </a:xfrm>
            <a:custGeom>
              <a:avLst/>
              <a:gdLst>
                <a:gd name="T0" fmla="*/ 101 w 115"/>
                <a:gd name="T1" fmla="*/ 23 h 134"/>
                <a:gd name="T2" fmla="*/ 27 w 115"/>
                <a:gd name="T3" fmla="*/ 19 h 134"/>
                <a:gd name="T4" fmla="*/ 10 w 115"/>
                <a:gd name="T5" fmla="*/ 58 h 134"/>
                <a:gd name="T6" fmla="*/ 10 w 115"/>
                <a:gd name="T7" fmla="*/ 61 h 134"/>
                <a:gd name="T8" fmla="*/ 0 w 115"/>
                <a:gd name="T9" fmla="*/ 82 h 134"/>
                <a:gd name="T10" fmla="*/ 2 w 115"/>
                <a:gd name="T11" fmla="*/ 87 h 134"/>
                <a:gd name="T12" fmla="*/ 10 w 115"/>
                <a:gd name="T13" fmla="*/ 92 h 134"/>
                <a:gd name="T14" fmla="*/ 10 w 115"/>
                <a:gd name="T15" fmla="*/ 106 h 134"/>
                <a:gd name="T16" fmla="*/ 26 w 115"/>
                <a:gd name="T17" fmla="*/ 122 h 134"/>
                <a:gd name="T18" fmla="*/ 42 w 115"/>
                <a:gd name="T19" fmla="*/ 122 h 134"/>
                <a:gd name="T20" fmla="*/ 42 w 115"/>
                <a:gd name="T21" fmla="*/ 130 h 134"/>
                <a:gd name="T22" fmla="*/ 46 w 115"/>
                <a:gd name="T23" fmla="*/ 134 h 134"/>
                <a:gd name="T24" fmla="*/ 50 w 115"/>
                <a:gd name="T25" fmla="*/ 130 h 134"/>
                <a:gd name="T26" fmla="*/ 50 w 115"/>
                <a:gd name="T27" fmla="*/ 118 h 134"/>
                <a:gd name="T28" fmla="*/ 46 w 115"/>
                <a:gd name="T29" fmla="*/ 114 h 134"/>
                <a:gd name="T30" fmla="*/ 26 w 115"/>
                <a:gd name="T31" fmla="*/ 114 h 134"/>
                <a:gd name="T32" fmla="*/ 18 w 115"/>
                <a:gd name="T33" fmla="*/ 106 h 134"/>
                <a:gd name="T34" fmla="*/ 18 w 115"/>
                <a:gd name="T35" fmla="*/ 90 h 134"/>
                <a:gd name="T36" fmla="*/ 16 w 115"/>
                <a:gd name="T37" fmla="*/ 87 h 134"/>
                <a:gd name="T38" fmla="*/ 9 w 115"/>
                <a:gd name="T39" fmla="*/ 82 h 134"/>
                <a:gd name="T40" fmla="*/ 18 w 115"/>
                <a:gd name="T41" fmla="*/ 64 h 134"/>
                <a:gd name="T42" fmla="*/ 18 w 115"/>
                <a:gd name="T43" fmla="*/ 62 h 134"/>
                <a:gd name="T44" fmla="*/ 18 w 115"/>
                <a:gd name="T45" fmla="*/ 58 h 134"/>
                <a:gd name="T46" fmla="*/ 33 w 115"/>
                <a:gd name="T47" fmla="*/ 25 h 134"/>
                <a:gd name="T48" fmla="*/ 95 w 115"/>
                <a:gd name="T49" fmla="*/ 29 h 134"/>
                <a:gd name="T50" fmla="*/ 106 w 115"/>
                <a:gd name="T51" fmla="*/ 60 h 134"/>
                <a:gd name="T52" fmla="*/ 91 w 115"/>
                <a:gd name="T53" fmla="*/ 91 h 134"/>
                <a:gd name="T54" fmla="*/ 90 w 115"/>
                <a:gd name="T55" fmla="*/ 94 h 134"/>
                <a:gd name="T56" fmla="*/ 90 w 115"/>
                <a:gd name="T57" fmla="*/ 130 h 134"/>
                <a:gd name="T58" fmla="*/ 94 w 115"/>
                <a:gd name="T59" fmla="*/ 134 h 134"/>
                <a:gd name="T60" fmla="*/ 98 w 115"/>
                <a:gd name="T61" fmla="*/ 130 h 134"/>
                <a:gd name="T62" fmla="*/ 98 w 115"/>
                <a:gd name="T63" fmla="*/ 95 h 134"/>
                <a:gd name="T64" fmla="*/ 114 w 115"/>
                <a:gd name="T65" fmla="*/ 61 h 134"/>
                <a:gd name="T66" fmla="*/ 101 w 115"/>
                <a:gd name="T67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5" h="134">
                  <a:moveTo>
                    <a:pt x="101" y="23"/>
                  </a:moveTo>
                  <a:cubicBezTo>
                    <a:pt x="82" y="2"/>
                    <a:pt x="49" y="0"/>
                    <a:pt x="27" y="19"/>
                  </a:cubicBezTo>
                  <a:cubicBezTo>
                    <a:pt x="16" y="29"/>
                    <a:pt x="10" y="43"/>
                    <a:pt x="10" y="58"/>
                  </a:cubicBezTo>
                  <a:cubicBezTo>
                    <a:pt x="10" y="61"/>
                    <a:pt x="10" y="61"/>
                    <a:pt x="10" y="61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84"/>
                    <a:pt x="0" y="86"/>
                    <a:pt x="2" y="87"/>
                  </a:cubicBezTo>
                  <a:cubicBezTo>
                    <a:pt x="10" y="92"/>
                    <a:pt x="10" y="92"/>
                    <a:pt x="10" y="92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15"/>
                    <a:pt x="17" y="122"/>
                    <a:pt x="26" y="122"/>
                  </a:cubicBezTo>
                  <a:cubicBezTo>
                    <a:pt x="42" y="122"/>
                    <a:pt x="42" y="122"/>
                    <a:pt x="42" y="122"/>
                  </a:cubicBezTo>
                  <a:cubicBezTo>
                    <a:pt x="42" y="130"/>
                    <a:pt x="42" y="130"/>
                    <a:pt x="42" y="130"/>
                  </a:cubicBezTo>
                  <a:cubicBezTo>
                    <a:pt x="42" y="132"/>
                    <a:pt x="44" y="134"/>
                    <a:pt x="46" y="134"/>
                  </a:cubicBezTo>
                  <a:cubicBezTo>
                    <a:pt x="48" y="134"/>
                    <a:pt x="50" y="132"/>
                    <a:pt x="50" y="130"/>
                  </a:cubicBezTo>
                  <a:cubicBezTo>
                    <a:pt x="50" y="118"/>
                    <a:pt x="50" y="118"/>
                    <a:pt x="50" y="118"/>
                  </a:cubicBezTo>
                  <a:cubicBezTo>
                    <a:pt x="50" y="116"/>
                    <a:pt x="48" y="114"/>
                    <a:pt x="46" y="114"/>
                  </a:cubicBezTo>
                  <a:cubicBezTo>
                    <a:pt x="26" y="114"/>
                    <a:pt x="26" y="114"/>
                    <a:pt x="26" y="114"/>
                  </a:cubicBezTo>
                  <a:cubicBezTo>
                    <a:pt x="22" y="114"/>
                    <a:pt x="18" y="110"/>
                    <a:pt x="18" y="106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18" y="89"/>
                    <a:pt x="17" y="87"/>
                    <a:pt x="16" y="87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18" y="64"/>
                    <a:pt x="18" y="64"/>
                    <a:pt x="18" y="64"/>
                  </a:cubicBezTo>
                  <a:cubicBezTo>
                    <a:pt x="18" y="63"/>
                    <a:pt x="18" y="63"/>
                    <a:pt x="18" y="62"/>
                  </a:cubicBezTo>
                  <a:cubicBezTo>
                    <a:pt x="18" y="58"/>
                    <a:pt x="18" y="58"/>
                    <a:pt x="18" y="58"/>
                  </a:cubicBezTo>
                  <a:cubicBezTo>
                    <a:pt x="18" y="46"/>
                    <a:pt x="23" y="34"/>
                    <a:pt x="33" y="25"/>
                  </a:cubicBezTo>
                  <a:cubicBezTo>
                    <a:pt x="51" y="9"/>
                    <a:pt x="79" y="11"/>
                    <a:pt x="95" y="29"/>
                  </a:cubicBezTo>
                  <a:cubicBezTo>
                    <a:pt x="103" y="37"/>
                    <a:pt x="107" y="49"/>
                    <a:pt x="106" y="60"/>
                  </a:cubicBezTo>
                  <a:cubicBezTo>
                    <a:pt x="105" y="72"/>
                    <a:pt x="100" y="83"/>
                    <a:pt x="91" y="91"/>
                  </a:cubicBezTo>
                  <a:cubicBezTo>
                    <a:pt x="90" y="91"/>
                    <a:pt x="90" y="93"/>
                    <a:pt x="90" y="94"/>
                  </a:cubicBezTo>
                  <a:cubicBezTo>
                    <a:pt x="90" y="130"/>
                    <a:pt x="90" y="130"/>
                    <a:pt x="90" y="130"/>
                  </a:cubicBezTo>
                  <a:cubicBezTo>
                    <a:pt x="90" y="132"/>
                    <a:pt x="92" y="134"/>
                    <a:pt x="94" y="134"/>
                  </a:cubicBezTo>
                  <a:cubicBezTo>
                    <a:pt x="96" y="134"/>
                    <a:pt x="98" y="132"/>
                    <a:pt x="98" y="130"/>
                  </a:cubicBezTo>
                  <a:cubicBezTo>
                    <a:pt x="98" y="95"/>
                    <a:pt x="98" y="95"/>
                    <a:pt x="98" y="95"/>
                  </a:cubicBezTo>
                  <a:cubicBezTo>
                    <a:pt x="108" y="86"/>
                    <a:pt x="113" y="74"/>
                    <a:pt x="114" y="61"/>
                  </a:cubicBezTo>
                  <a:cubicBezTo>
                    <a:pt x="115" y="47"/>
                    <a:pt x="110" y="34"/>
                    <a:pt x="101" y="2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11" name="Freeform 6"/>
            <p:cNvSpPr>
              <a:spLocks noEditPoints="1"/>
            </p:cNvSpPr>
            <p:nvPr/>
          </p:nvSpPr>
          <p:spPr bwMode="auto">
            <a:xfrm>
              <a:off x="1070705" y="2972985"/>
              <a:ext cx="1176369" cy="1161485"/>
            </a:xfrm>
            <a:custGeom>
              <a:avLst/>
              <a:gdLst>
                <a:gd name="T0" fmla="*/ 52 w 56"/>
                <a:gd name="T1" fmla="*/ 24 h 56"/>
                <a:gd name="T2" fmla="*/ 48 w 56"/>
                <a:gd name="T3" fmla="*/ 24 h 56"/>
                <a:gd name="T4" fmla="*/ 45 w 56"/>
                <a:gd name="T5" fmla="*/ 17 h 56"/>
                <a:gd name="T6" fmla="*/ 48 w 56"/>
                <a:gd name="T7" fmla="*/ 14 h 56"/>
                <a:gd name="T8" fmla="*/ 48 w 56"/>
                <a:gd name="T9" fmla="*/ 8 h 56"/>
                <a:gd name="T10" fmla="*/ 42 w 56"/>
                <a:gd name="T11" fmla="*/ 8 h 56"/>
                <a:gd name="T12" fmla="*/ 39 w 56"/>
                <a:gd name="T13" fmla="*/ 11 h 56"/>
                <a:gd name="T14" fmla="*/ 32 w 56"/>
                <a:gd name="T15" fmla="*/ 8 h 56"/>
                <a:gd name="T16" fmla="*/ 32 w 56"/>
                <a:gd name="T17" fmla="*/ 4 h 56"/>
                <a:gd name="T18" fmla="*/ 28 w 56"/>
                <a:gd name="T19" fmla="*/ 0 h 56"/>
                <a:gd name="T20" fmla="*/ 24 w 56"/>
                <a:gd name="T21" fmla="*/ 4 h 56"/>
                <a:gd name="T22" fmla="*/ 24 w 56"/>
                <a:gd name="T23" fmla="*/ 8 h 56"/>
                <a:gd name="T24" fmla="*/ 17 w 56"/>
                <a:gd name="T25" fmla="*/ 11 h 56"/>
                <a:gd name="T26" fmla="*/ 14 w 56"/>
                <a:gd name="T27" fmla="*/ 8 h 56"/>
                <a:gd name="T28" fmla="*/ 8 w 56"/>
                <a:gd name="T29" fmla="*/ 8 h 56"/>
                <a:gd name="T30" fmla="*/ 8 w 56"/>
                <a:gd name="T31" fmla="*/ 14 h 56"/>
                <a:gd name="T32" fmla="*/ 11 w 56"/>
                <a:gd name="T33" fmla="*/ 17 h 56"/>
                <a:gd name="T34" fmla="*/ 8 w 56"/>
                <a:gd name="T35" fmla="*/ 24 h 56"/>
                <a:gd name="T36" fmla="*/ 4 w 56"/>
                <a:gd name="T37" fmla="*/ 24 h 56"/>
                <a:gd name="T38" fmla="*/ 0 w 56"/>
                <a:gd name="T39" fmla="*/ 28 h 56"/>
                <a:gd name="T40" fmla="*/ 4 w 56"/>
                <a:gd name="T41" fmla="*/ 32 h 56"/>
                <a:gd name="T42" fmla="*/ 8 w 56"/>
                <a:gd name="T43" fmla="*/ 32 h 56"/>
                <a:gd name="T44" fmla="*/ 11 w 56"/>
                <a:gd name="T45" fmla="*/ 39 h 56"/>
                <a:gd name="T46" fmla="*/ 8 w 56"/>
                <a:gd name="T47" fmla="*/ 42 h 56"/>
                <a:gd name="T48" fmla="*/ 8 w 56"/>
                <a:gd name="T49" fmla="*/ 48 h 56"/>
                <a:gd name="T50" fmla="*/ 11 w 56"/>
                <a:gd name="T51" fmla="*/ 49 h 56"/>
                <a:gd name="T52" fmla="*/ 14 w 56"/>
                <a:gd name="T53" fmla="*/ 48 h 56"/>
                <a:gd name="T54" fmla="*/ 17 w 56"/>
                <a:gd name="T55" fmla="*/ 45 h 56"/>
                <a:gd name="T56" fmla="*/ 24 w 56"/>
                <a:gd name="T57" fmla="*/ 48 h 56"/>
                <a:gd name="T58" fmla="*/ 24 w 56"/>
                <a:gd name="T59" fmla="*/ 52 h 56"/>
                <a:gd name="T60" fmla="*/ 28 w 56"/>
                <a:gd name="T61" fmla="*/ 56 h 56"/>
                <a:gd name="T62" fmla="*/ 32 w 56"/>
                <a:gd name="T63" fmla="*/ 52 h 56"/>
                <a:gd name="T64" fmla="*/ 32 w 56"/>
                <a:gd name="T65" fmla="*/ 48 h 56"/>
                <a:gd name="T66" fmla="*/ 39 w 56"/>
                <a:gd name="T67" fmla="*/ 45 h 56"/>
                <a:gd name="T68" fmla="*/ 42 w 56"/>
                <a:gd name="T69" fmla="*/ 48 h 56"/>
                <a:gd name="T70" fmla="*/ 45 w 56"/>
                <a:gd name="T71" fmla="*/ 49 h 56"/>
                <a:gd name="T72" fmla="*/ 48 w 56"/>
                <a:gd name="T73" fmla="*/ 48 h 56"/>
                <a:gd name="T74" fmla="*/ 48 w 56"/>
                <a:gd name="T75" fmla="*/ 42 h 56"/>
                <a:gd name="T76" fmla="*/ 45 w 56"/>
                <a:gd name="T77" fmla="*/ 39 h 56"/>
                <a:gd name="T78" fmla="*/ 48 w 56"/>
                <a:gd name="T79" fmla="*/ 32 h 56"/>
                <a:gd name="T80" fmla="*/ 52 w 56"/>
                <a:gd name="T81" fmla="*/ 32 h 56"/>
                <a:gd name="T82" fmla="*/ 56 w 56"/>
                <a:gd name="T83" fmla="*/ 28 h 56"/>
                <a:gd name="T84" fmla="*/ 52 w 56"/>
                <a:gd name="T85" fmla="*/ 24 h 56"/>
                <a:gd name="T86" fmla="*/ 28 w 56"/>
                <a:gd name="T87" fmla="*/ 40 h 56"/>
                <a:gd name="T88" fmla="*/ 16 w 56"/>
                <a:gd name="T89" fmla="*/ 28 h 56"/>
                <a:gd name="T90" fmla="*/ 28 w 56"/>
                <a:gd name="T91" fmla="*/ 16 h 56"/>
                <a:gd name="T92" fmla="*/ 40 w 56"/>
                <a:gd name="T93" fmla="*/ 28 h 56"/>
                <a:gd name="T94" fmla="*/ 28 w 56"/>
                <a:gd name="T95" fmla="*/ 4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6" h="56">
                  <a:moveTo>
                    <a:pt x="52" y="24"/>
                  </a:moveTo>
                  <a:cubicBezTo>
                    <a:pt x="48" y="24"/>
                    <a:pt x="48" y="24"/>
                    <a:pt x="48" y="24"/>
                  </a:cubicBezTo>
                  <a:cubicBezTo>
                    <a:pt x="47" y="21"/>
                    <a:pt x="46" y="19"/>
                    <a:pt x="45" y="17"/>
                  </a:cubicBezTo>
                  <a:cubicBezTo>
                    <a:pt x="48" y="14"/>
                    <a:pt x="48" y="14"/>
                    <a:pt x="48" y="14"/>
                  </a:cubicBezTo>
                  <a:cubicBezTo>
                    <a:pt x="49" y="12"/>
                    <a:pt x="49" y="10"/>
                    <a:pt x="48" y="8"/>
                  </a:cubicBezTo>
                  <a:cubicBezTo>
                    <a:pt x="46" y="7"/>
                    <a:pt x="44" y="7"/>
                    <a:pt x="42" y="8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7" y="10"/>
                    <a:pt x="35" y="9"/>
                    <a:pt x="32" y="8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2" y="2"/>
                    <a:pt x="30" y="0"/>
                    <a:pt x="28" y="0"/>
                  </a:cubicBezTo>
                  <a:cubicBezTo>
                    <a:pt x="26" y="0"/>
                    <a:pt x="24" y="2"/>
                    <a:pt x="24" y="4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1" y="9"/>
                    <a:pt x="19" y="10"/>
                    <a:pt x="17" y="11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2" y="7"/>
                    <a:pt x="10" y="7"/>
                    <a:pt x="8" y="8"/>
                  </a:cubicBezTo>
                  <a:cubicBezTo>
                    <a:pt x="7" y="10"/>
                    <a:pt x="7" y="12"/>
                    <a:pt x="8" y="14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0" y="19"/>
                    <a:pt x="9" y="21"/>
                    <a:pt x="8" y="24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2" y="24"/>
                    <a:pt x="0" y="26"/>
                    <a:pt x="0" y="28"/>
                  </a:cubicBezTo>
                  <a:cubicBezTo>
                    <a:pt x="0" y="30"/>
                    <a:pt x="2" y="32"/>
                    <a:pt x="4" y="32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9" y="35"/>
                    <a:pt x="10" y="37"/>
                    <a:pt x="11" y="39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7" y="44"/>
                    <a:pt x="7" y="46"/>
                    <a:pt x="8" y="48"/>
                  </a:cubicBezTo>
                  <a:cubicBezTo>
                    <a:pt x="9" y="49"/>
                    <a:pt x="10" y="49"/>
                    <a:pt x="11" y="49"/>
                  </a:cubicBezTo>
                  <a:cubicBezTo>
                    <a:pt x="12" y="49"/>
                    <a:pt x="13" y="49"/>
                    <a:pt x="14" y="48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19" y="46"/>
                    <a:pt x="21" y="47"/>
                    <a:pt x="24" y="48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4"/>
                    <a:pt x="26" y="56"/>
                    <a:pt x="28" y="56"/>
                  </a:cubicBezTo>
                  <a:cubicBezTo>
                    <a:pt x="30" y="56"/>
                    <a:pt x="32" y="54"/>
                    <a:pt x="32" y="52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5" y="47"/>
                    <a:pt x="37" y="46"/>
                    <a:pt x="39" y="45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3" y="49"/>
                    <a:pt x="44" y="49"/>
                    <a:pt x="45" y="49"/>
                  </a:cubicBezTo>
                  <a:cubicBezTo>
                    <a:pt x="46" y="49"/>
                    <a:pt x="47" y="49"/>
                    <a:pt x="48" y="48"/>
                  </a:cubicBezTo>
                  <a:cubicBezTo>
                    <a:pt x="49" y="46"/>
                    <a:pt x="49" y="44"/>
                    <a:pt x="48" y="42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37"/>
                    <a:pt x="47" y="35"/>
                    <a:pt x="48" y="32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4" y="32"/>
                    <a:pt x="56" y="30"/>
                    <a:pt x="56" y="28"/>
                  </a:cubicBezTo>
                  <a:cubicBezTo>
                    <a:pt x="56" y="26"/>
                    <a:pt x="54" y="24"/>
                    <a:pt x="52" y="24"/>
                  </a:cubicBezTo>
                  <a:close/>
                  <a:moveTo>
                    <a:pt x="28" y="40"/>
                  </a:moveTo>
                  <a:cubicBezTo>
                    <a:pt x="21" y="40"/>
                    <a:pt x="16" y="35"/>
                    <a:pt x="16" y="28"/>
                  </a:cubicBezTo>
                  <a:cubicBezTo>
                    <a:pt x="16" y="21"/>
                    <a:pt x="21" y="16"/>
                    <a:pt x="28" y="16"/>
                  </a:cubicBezTo>
                  <a:cubicBezTo>
                    <a:pt x="35" y="16"/>
                    <a:pt x="40" y="21"/>
                    <a:pt x="40" y="28"/>
                  </a:cubicBezTo>
                  <a:cubicBezTo>
                    <a:pt x="40" y="35"/>
                    <a:pt x="35" y="40"/>
                    <a:pt x="28" y="4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485775" y="806400"/>
            <a:ext cx="11225025" cy="320400"/>
          </a:xfrm>
        </p:spPr>
        <p:txBody>
          <a:bodyPr/>
          <a:lstStyle/>
          <a:p>
            <a:r>
              <a:rPr lang="en-US" dirty="0" smtClean="0"/>
              <a:t>¿</a:t>
            </a:r>
            <a:r>
              <a:rPr lang="en-US" dirty="0" err="1" smtClean="0"/>
              <a:t>Por</a:t>
            </a:r>
            <a:r>
              <a:rPr lang="en-US" dirty="0" smtClean="0"/>
              <a:t> </a:t>
            </a:r>
            <a:r>
              <a:rPr lang="en-US" dirty="0" err="1"/>
              <a:t>qué</a:t>
            </a:r>
            <a:r>
              <a:rPr lang="en-US" dirty="0"/>
              <a:t> </a:t>
            </a:r>
            <a:r>
              <a:rPr lang="en-US" dirty="0" err="1"/>
              <a:t>migran</a:t>
            </a:r>
            <a:r>
              <a:rPr lang="en-US" dirty="0"/>
              <a:t>?</a:t>
            </a:r>
          </a:p>
        </p:txBody>
      </p:sp>
      <p:sp>
        <p:nvSpPr>
          <p:cNvPr id="30" name="Rounded Rectangle 29"/>
          <p:cNvSpPr/>
          <p:nvPr/>
        </p:nvSpPr>
        <p:spPr>
          <a:xfrm>
            <a:off x="1118286" y="4992194"/>
            <a:ext cx="3892379" cy="1358349"/>
          </a:xfrm>
          <a:prstGeom prst="round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s-ES" sz="1200" b="1" kern="0" dirty="0" smtClean="0">
              <a:solidFill>
                <a:schemeClr val="accent3"/>
              </a:solidFill>
            </a:endParaRPr>
          </a:p>
          <a:p>
            <a:pPr lvl="0" algn="ctr">
              <a:defRPr/>
            </a:pPr>
            <a:endParaRPr lang="es-ES" sz="1200" b="1" kern="0" dirty="0" smtClean="0">
              <a:solidFill>
                <a:schemeClr val="accent3"/>
              </a:solidFill>
            </a:endParaRPr>
          </a:p>
          <a:p>
            <a:pPr lvl="0" algn="ctr">
              <a:defRPr/>
            </a:pPr>
            <a:endParaRPr lang="es-ES" sz="1200" b="1" kern="0" dirty="0">
              <a:solidFill>
                <a:schemeClr val="accent3"/>
              </a:solidFill>
            </a:endParaRPr>
          </a:p>
          <a:p>
            <a:pPr lvl="0" algn="ctr">
              <a:defRPr/>
            </a:pPr>
            <a:r>
              <a:rPr lang="es-ES" sz="1200" b="1" kern="0" dirty="0" smtClean="0">
                <a:solidFill>
                  <a:schemeClr val="accent3"/>
                </a:solidFill>
              </a:rPr>
              <a:t>LA SEQUÍA SE HA ASOCIADO A LA MIGRACIÓN DEL NORTE DE CENTROAMÉRICA</a:t>
            </a:r>
            <a:endParaRPr kumimoji="0" lang="en-GB" sz="1200" b="1" i="0" u="none" strike="noStrike" kern="0" cap="none" spc="0" normalizeH="0" baseline="0" dirty="0" smtClean="0">
              <a:ln>
                <a:noFill/>
              </a:ln>
              <a:solidFill>
                <a:srgbClr val="006D9E"/>
              </a:solidFill>
              <a:effectLst/>
              <a:uLnTx/>
              <a:uFillTx/>
              <a:latin typeface="Arial"/>
            </a:endParaRPr>
          </a:p>
          <a:p>
            <a:pPr lvl="0" algn="ctr">
              <a:defRPr/>
            </a:pPr>
            <a:endParaRPr lang="en-GB" sz="1000" kern="0" dirty="0">
              <a:solidFill>
                <a:srgbClr val="006D9E"/>
              </a:solidFill>
              <a:latin typeface="Arial"/>
            </a:endParaRPr>
          </a:p>
          <a:p>
            <a:pPr lvl="0" algn="ctr">
              <a:defRPr/>
            </a:pPr>
            <a:r>
              <a:rPr lang="es-ES" sz="1000" kern="0" dirty="0" smtClean="0">
                <a:solidFill>
                  <a:srgbClr val="006D9E"/>
                </a:solidFill>
              </a:rPr>
              <a:t>En </a:t>
            </a:r>
            <a:r>
              <a:rPr lang="es-ES" sz="1000" kern="0" dirty="0">
                <a:solidFill>
                  <a:srgbClr val="006D9E"/>
                </a:solidFill>
              </a:rPr>
              <a:t>particular en la zona conocida como el Corredor Seco, una región árida que se extiende por El Salvador, Guatemala y </a:t>
            </a:r>
            <a:r>
              <a:rPr lang="es-ES" sz="1000" kern="0" dirty="0" smtClean="0">
                <a:solidFill>
                  <a:srgbClr val="006D9E"/>
                </a:solidFill>
              </a:rPr>
              <a:t>Honduras, </a:t>
            </a:r>
            <a:r>
              <a:rPr lang="es-ES" sz="1000" kern="0" dirty="0">
                <a:solidFill>
                  <a:srgbClr val="006D9E"/>
                </a:solidFill>
              </a:rPr>
              <a:t>donde se prevé que las sequías meteorológicas empeoren a lo largo de este siglo</a:t>
            </a:r>
            <a:endParaRPr lang="en-GB" sz="1000" kern="0" dirty="0" smtClean="0">
              <a:solidFill>
                <a:srgbClr val="006D9E"/>
              </a:solidFill>
              <a:latin typeface="Arial"/>
            </a:endParaRPr>
          </a:p>
          <a:p>
            <a:pPr lvl="0" algn="ctr">
              <a:defRPr/>
            </a:pPr>
            <a:endParaRPr lang="en-GB" sz="1000" kern="0" dirty="0" smtClean="0">
              <a:solidFill>
                <a:srgbClr val="006D9E"/>
              </a:solidFill>
              <a:latin typeface="Arial"/>
            </a:endParaRPr>
          </a:p>
          <a:p>
            <a:pPr lvl="0" algn="ctr">
              <a:defRPr/>
            </a:pPr>
            <a:endParaRPr kumimoji="0" lang="en-GB" sz="1000" i="0" u="none" strike="noStrike" kern="0" cap="none" spc="0" normalizeH="0" baseline="0" dirty="0">
              <a:ln>
                <a:noFill/>
              </a:ln>
              <a:solidFill>
                <a:srgbClr val="006D9E"/>
              </a:solidFill>
              <a:effectLst/>
              <a:uLnTx/>
              <a:uFillTx/>
              <a:latin typeface="Arial"/>
            </a:endParaRPr>
          </a:p>
          <a:p>
            <a:pPr lvl="0" algn="ctr">
              <a:defRPr/>
            </a:pPr>
            <a:endParaRPr kumimoji="0" lang="en-GB" sz="1000" i="0" u="none" strike="noStrike" kern="0" cap="none" spc="0" normalizeH="0" baseline="0" dirty="0" smtClean="0">
              <a:ln>
                <a:noFill/>
              </a:ln>
              <a:solidFill>
                <a:srgbClr val="006D9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1" name="Rounded Rectangle 30"/>
          <p:cNvSpPr/>
          <p:nvPr/>
        </p:nvSpPr>
        <p:spPr>
          <a:xfrm>
            <a:off x="6974633" y="4991160"/>
            <a:ext cx="3973454" cy="1358350"/>
          </a:xfrm>
          <a:prstGeom prst="round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GB" sz="1200" b="1" kern="0" dirty="0" smtClean="0">
              <a:solidFill>
                <a:schemeClr val="accent3"/>
              </a:solidFill>
            </a:endParaRPr>
          </a:p>
          <a:p>
            <a:pPr algn="ctr">
              <a:defRPr/>
            </a:pPr>
            <a:endParaRPr lang="en-GB" sz="1200" b="1" kern="0" dirty="0">
              <a:solidFill>
                <a:schemeClr val="accent3"/>
              </a:solidFill>
            </a:endParaRPr>
          </a:p>
          <a:p>
            <a:pPr algn="ctr">
              <a:defRPr/>
            </a:pPr>
            <a:r>
              <a:rPr lang="en-GB" sz="1200" b="1" kern="0" dirty="0" smtClean="0">
                <a:solidFill>
                  <a:schemeClr val="accent3"/>
                </a:solidFill>
              </a:rPr>
              <a:t>TEMPORADA DE HURACANES DE 2020</a:t>
            </a:r>
          </a:p>
          <a:p>
            <a:pPr algn="ctr">
              <a:defRPr/>
            </a:pPr>
            <a:endParaRPr lang="en-GB" sz="1200" b="1" kern="0" dirty="0" smtClean="0">
              <a:solidFill>
                <a:schemeClr val="accent3"/>
              </a:solidFill>
            </a:endParaRPr>
          </a:p>
          <a:p>
            <a:pPr algn="ctr">
              <a:defRPr/>
            </a:pPr>
            <a:r>
              <a:rPr lang="es-ES" sz="1000" kern="0" dirty="0" smtClean="0">
                <a:solidFill>
                  <a:srgbClr val="006D9E"/>
                </a:solidFill>
              </a:rPr>
              <a:t>Ha </a:t>
            </a:r>
            <a:r>
              <a:rPr lang="es-ES" sz="1000" kern="0" dirty="0">
                <a:solidFill>
                  <a:srgbClr val="006D9E"/>
                </a:solidFill>
              </a:rPr>
              <a:t>impulsado un desplazamiento masivo, con 1,7 millones de nuevos desplazamientos en Centroamérica y el Caribe (</a:t>
            </a:r>
            <a:r>
              <a:rPr lang="es-ES" sz="1000" kern="0" dirty="0" err="1">
                <a:solidFill>
                  <a:srgbClr val="006D9E"/>
                </a:solidFill>
              </a:rPr>
              <a:t>Internal</a:t>
            </a:r>
            <a:r>
              <a:rPr lang="es-ES" sz="1000" kern="0" dirty="0">
                <a:solidFill>
                  <a:srgbClr val="006D9E"/>
                </a:solidFill>
              </a:rPr>
              <a:t> </a:t>
            </a:r>
            <a:r>
              <a:rPr lang="es-ES" sz="1000" kern="0" dirty="0" err="1">
                <a:solidFill>
                  <a:srgbClr val="006D9E"/>
                </a:solidFill>
              </a:rPr>
              <a:t>Displacement</a:t>
            </a:r>
            <a:r>
              <a:rPr lang="es-ES" sz="1000" kern="0" dirty="0">
                <a:solidFill>
                  <a:srgbClr val="006D9E"/>
                </a:solidFill>
              </a:rPr>
              <a:t> </a:t>
            </a:r>
            <a:r>
              <a:rPr lang="es-ES" sz="1000" kern="0" dirty="0" err="1">
                <a:solidFill>
                  <a:srgbClr val="006D9E"/>
                </a:solidFill>
              </a:rPr>
              <a:t>Monitoring</a:t>
            </a:r>
            <a:r>
              <a:rPr lang="es-ES" sz="1000" kern="0" dirty="0">
                <a:solidFill>
                  <a:srgbClr val="006D9E"/>
                </a:solidFill>
              </a:rPr>
              <a:t> </a:t>
            </a:r>
            <a:r>
              <a:rPr lang="es-ES" sz="1000" kern="0" dirty="0" smtClean="0">
                <a:solidFill>
                  <a:srgbClr val="006D9E"/>
                </a:solidFill>
              </a:rPr>
              <a:t>Centre, </a:t>
            </a:r>
            <a:r>
              <a:rPr lang="es-ES" sz="1000" kern="0" dirty="0">
                <a:solidFill>
                  <a:srgbClr val="006D9E"/>
                </a:solidFill>
              </a:rPr>
              <a:t>2021</a:t>
            </a:r>
            <a:r>
              <a:rPr lang="es-ES" sz="1000" kern="0" dirty="0" smtClean="0">
                <a:solidFill>
                  <a:srgbClr val="006D9E"/>
                </a:solidFill>
              </a:rPr>
              <a:t>)</a:t>
            </a:r>
            <a:endParaRPr lang="en-GB" sz="1200" b="1" kern="0" dirty="0">
              <a:solidFill>
                <a:schemeClr val="accent3"/>
              </a:solidFill>
            </a:endParaRPr>
          </a:p>
          <a:p>
            <a:pPr algn="ctr">
              <a:defRPr/>
            </a:pPr>
            <a:endParaRPr lang="en-GB" sz="1200" b="1" kern="0" dirty="0">
              <a:solidFill>
                <a:schemeClr val="accent3"/>
              </a:solidFill>
            </a:endParaRPr>
          </a:p>
          <a:p>
            <a:pPr lvl="0" algn="ctr">
              <a:defRPr/>
            </a:pPr>
            <a:endParaRPr kumimoji="0" lang="en-GB" sz="1000" i="0" u="none" strike="noStrike" kern="0" cap="none" spc="0" normalizeH="0" baseline="0" dirty="0">
              <a:ln>
                <a:noFill/>
              </a:ln>
              <a:solidFill>
                <a:srgbClr val="006D9E"/>
              </a:solidFill>
              <a:effectLst/>
              <a:uLnTx/>
              <a:uFillTx/>
              <a:latin typeface="Arial"/>
            </a:endParaRPr>
          </a:p>
          <a:p>
            <a:pPr lvl="0" algn="ctr">
              <a:defRPr/>
            </a:pPr>
            <a:endParaRPr kumimoji="0" lang="en-GB" sz="1000" i="0" u="none" strike="noStrike" kern="0" cap="none" spc="0" normalizeH="0" baseline="0" dirty="0" smtClean="0">
              <a:ln>
                <a:noFill/>
              </a:ln>
              <a:solidFill>
                <a:srgbClr val="006D9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071551" y="3793414"/>
            <a:ext cx="3966519" cy="92333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lvl="0" algn="ctr">
              <a:defRPr/>
            </a:pPr>
            <a:r>
              <a:rPr lang="en-GB" sz="1600" b="1" kern="0" dirty="0" smtClean="0">
                <a:solidFill>
                  <a:srgbClr val="FF8C00"/>
                </a:solidFill>
              </a:rPr>
              <a:t>ZONAS RURALES</a:t>
            </a:r>
            <a:endParaRPr lang="en-GB" sz="1600" b="1" kern="0" dirty="0">
              <a:solidFill>
                <a:srgbClr val="FF8C00"/>
              </a:solidFill>
            </a:endParaRPr>
          </a:p>
          <a:p>
            <a:pPr lvl="0" algn="ctr">
              <a:defRPr/>
            </a:pPr>
            <a:endParaRPr lang="en-GB" sz="1000" b="1" kern="0" dirty="0">
              <a:solidFill>
                <a:srgbClr val="006D9E"/>
              </a:solidFill>
            </a:endParaRPr>
          </a:p>
          <a:p>
            <a:pPr lvl="0" algn="ctr">
              <a:defRPr/>
            </a:pPr>
            <a:r>
              <a:rPr lang="es-ES" sz="1600" kern="0" dirty="0" smtClean="0">
                <a:solidFill>
                  <a:srgbClr val="006D9E"/>
                </a:solidFill>
              </a:rPr>
              <a:t>Mayor </a:t>
            </a:r>
            <a:r>
              <a:rPr lang="es-ES" sz="1600" kern="0" dirty="0">
                <a:solidFill>
                  <a:srgbClr val="006D9E"/>
                </a:solidFill>
              </a:rPr>
              <a:t>vulnerabilidad a las </a:t>
            </a:r>
            <a:r>
              <a:rPr lang="es-ES" sz="1600" kern="0" dirty="0" smtClean="0">
                <a:solidFill>
                  <a:srgbClr val="006D9E"/>
                </a:solidFill>
              </a:rPr>
              <a:t>catástrofes y </a:t>
            </a:r>
            <a:r>
              <a:rPr lang="es-ES" sz="1600" kern="0" dirty="0">
                <a:solidFill>
                  <a:srgbClr val="006D9E"/>
                </a:solidFill>
              </a:rPr>
              <a:t>el cambio </a:t>
            </a:r>
            <a:r>
              <a:rPr lang="es-ES" sz="1600" kern="0" dirty="0" smtClean="0">
                <a:solidFill>
                  <a:srgbClr val="006D9E"/>
                </a:solidFill>
              </a:rPr>
              <a:t>climático</a:t>
            </a:r>
            <a:endParaRPr lang="en-GB" sz="1600" kern="0" dirty="0">
              <a:solidFill>
                <a:srgbClr val="006D9E"/>
              </a:solidFill>
            </a:endParaRPr>
          </a:p>
        </p:txBody>
      </p:sp>
      <p:sp>
        <p:nvSpPr>
          <p:cNvPr id="15" name="Title 6"/>
          <p:cNvSpPr>
            <a:spLocks noGrp="1"/>
          </p:cNvSpPr>
          <p:nvPr>
            <p:ph type="title"/>
          </p:nvPr>
        </p:nvSpPr>
        <p:spPr>
          <a:xfrm>
            <a:off x="485776" y="355601"/>
            <a:ext cx="11706224" cy="495299"/>
          </a:xfrm>
        </p:spPr>
        <p:txBody>
          <a:bodyPr/>
          <a:lstStyle/>
          <a:p>
            <a:r>
              <a:rPr lang="es-ES" sz="2800" dirty="0"/>
              <a:t>Auge migratorio en México, </a:t>
            </a:r>
            <a:r>
              <a:rPr lang="es-ES" sz="2800" dirty="0" smtClean="0"/>
              <a:t>Centroamérica y República </a:t>
            </a:r>
            <a:r>
              <a:rPr lang="es-ES" sz="2800" dirty="0"/>
              <a:t>Dominicana</a:t>
            </a:r>
            <a:br>
              <a:rPr lang="es-ES" sz="2800" dirty="0"/>
            </a:br>
            <a:r>
              <a:rPr lang="es-ES" dirty="0"/>
              <a:t/>
            </a:r>
            <a:br>
              <a:rPr lang="es-ES" dirty="0"/>
            </a:b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9998102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US" smtClean="0"/>
              <a:pPr algn="r"/>
              <a:t>11</a:t>
            </a:fld>
            <a:endParaRPr lang="en-US" dirty="0"/>
          </a:p>
        </p:txBody>
      </p:sp>
      <p:sp>
        <p:nvSpPr>
          <p:cNvPr id="6" name="Freeform 5"/>
          <p:cNvSpPr/>
          <p:nvPr/>
        </p:nvSpPr>
        <p:spPr>
          <a:xfrm>
            <a:off x="0" y="1873606"/>
            <a:ext cx="1987588" cy="3891064"/>
          </a:xfrm>
          <a:custGeom>
            <a:avLst/>
            <a:gdLst>
              <a:gd name="connsiteX0" fmla="*/ 0 w 2174240"/>
              <a:gd name="connsiteY0" fmla="*/ 0 h 4348480"/>
              <a:gd name="connsiteX1" fmla="*/ 2174240 w 2174240"/>
              <a:gd name="connsiteY1" fmla="*/ 2174240 h 4348480"/>
              <a:gd name="connsiteX2" fmla="*/ 0 w 2174240"/>
              <a:gd name="connsiteY2" fmla="*/ 4348480 h 4348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74240" h="4348480">
                <a:moveTo>
                  <a:pt x="0" y="0"/>
                </a:moveTo>
                <a:cubicBezTo>
                  <a:pt x="1200800" y="0"/>
                  <a:pt x="2174240" y="973440"/>
                  <a:pt x="2174240" y="2174240"/>
                </a:cubicBezTo>
                <a:cubicBezTo>
                  <a:pt x="2174240" y="3375040"/>
                  <a:pt x="1200800" y="4348480"/>
                  <a:pt x="0" y="434848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Arc 7"/>
          <p:cNvSpPr/>
          <p:nvPr/>
        </p:nvSpPr>
        <p:spPr>
          <a:xfrm>
            <a:off x="-2410199" y="1411435"/>
            <a:ext cx="4820398" cy="4820398"/>
          </a:xfrm>
          <a:prstGeom prst="arc">
            <a:avLst>
              <a:gd name="adj1" fmla="val 16200000"/>
              <a:gd name="adj2" fmla="val 5400059"/>
            </a:avLst>
          </a:prstGeom>
          <a:ln w="762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8"/>
          <p:cNvSpPr/>
          <p:nvPr/>
        </p:nvSpPr>
        <p:spPr>
          <a:xfrm>
            <a:off x="1369551" y="1697246"/>
            <a:ext cx="4777935" cy="367112"/>
          </a:xfrm>
          <a:prstGeom prst="roundRect">
            <a:avLst/>
          </a:prstGeom>
          <a:solidFill>
            <a:schemeClr val="accent2"/>
          </a:solidFill>
          <a:ln w="571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r" defTabSz="912247"/>
            <a:r>
              <a:rPr lang="es-ES" sz="1200" b="1" kern="0" dirty="0" smtClean="0">
                <a:solidFill>
                  <a:schemeClr val="bg1"/>
                </a:solidFill>
                <a:ea typeface="MS PGothic"/>
              </a:rPr>
              <a:t>Integración </a:t>
            </a:r>
            <a:r>
              <a:rPr lang="es-ES" sz="1200" b="1" kern="0" dirty="0">
                <a:solidFill>
                  <a:schemeClr val="bg1"/>
                </a:solidFill>
                <a:ea typeface="MS PGothic"/>
              </a:rPr>
              <a:t>de las empresas en la economía digital</a:t>
            </a:r>
            <a:endParaRPr lang="en-US" sz="1200" b="1" kern="0" dirty="0">
              <a:solidFill>
                <a:schemeClr val="bg1"/>
              </a:solidFill>
              <a:ea typeface="MS PGothic"/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1987588" y="2506328"/>
            <a:ext cx="4159898" cy="367112"/>
          </a:xfrm>
          <a:prstGeom prst="roundRect">
            <a:avLst/>
          </a:prstGeom>
          <a:solidFill>
            <a:schemeClr val="accent2"/>
          </a:solidFill>
          <a:ln w="571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r" defTabSz="912247"/>
            <a:r>
              <a:rPr lang="es-ES" sz="1200" b="1" kern="0" dirty="0" smtClean="0">
                <a:solidFill>
                  <a:schemeClr val="bg1"/>
                </a:solidFill>
                <a:ea typeface="MS PGothic"/>
              </a:rPr>
              <a:t>Capacitación </a:t>
            </a:r>
            <a:r>
              <a:rPr lang="es-ES" sz="1200" b="1" kern="0" dirty="0">
                <a:solidFill>
                  <a:schemeClr val="bg1"/>
                </a:solidFill>
                <a:ea typeface="MS PGothic"/>
              </a:rPr>
              <a:t>y el apoyo técnico y financiero </a:t>
            </a:r>
            <a:endParaRPr lang="en-US" sz="1200" b="1" kern="0" dirty="0">
              <a:solidFill>
                <a:schemeClr val="bg1"/>
              </a:solidFill>
              <a:ea typeface="MS PGothic"/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2225957" y="3281543"/>
            <a:ext cx="3921527" cy="418109"/>
          </a:xfrm>
          <a:prstGeom prst="roundRect">
            <a:avLst/>
          </a:prstGeom>
          <a:solidFill>
            <a:schemeClr val="accent2"/>
          </a:solidFill>
          <a:ln w="571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r" defTabSz="912247"/>
            <a:r>
              <a:rPr lang="en-US" sz="1200" b="1" kern="0" dirty="0" err="1" smtClean="0">
                <a:solidFill>
                  <a:schemeClr val="bg1"/>
                </a:solidFill>
                <a:ea typeface="MS PGothic"/>
              </a:rPr>
              <a:t>Ofrecer</a:t>
            </a:r>
            <a:r>
              <a:rPr lang="en-US" sz="1200" b="1" kern="0" dirty="0" smtClean="0">
                <a:solidFill>
                  <a:schemeClr val="bg1"/>
                </a:solidFill>
                <a:ea typeface="MS PGothic"/>
              </a:rPr>
              <a:t> </a:t>
            </a:r>
            <a:r>
              <a:rPr lang="en-US" sz="1200" b="1" kern="0" dirty="0" err="1">
                <a:solidFill>
                  <a:schemeClr val="bg1"/>
                </a:solidFill>
                <a:ea typeface="MS PGothic"/>
              </a:rPr>
              <a:t>alternativas</a:t>
            </a:r>
            <a:r>
              <a:rPr lang="en-US" sz="1200" b="1" kern="0" dirty="0">
                <a:solidFill>
                  <a:schemeClr val="bg1"/>
                </a:solidFill>
                <a:ea typeface="MS PGothic"/>
              </a:rPr>
              <a:t> </a:t>
            </a:r>
            <a:r>
              <a:rPr lang="en-US" sz="1200" b="1" kern="0" dirty="0" err="1">
                <a:solidFill>
                  <a:schemeClr val="bg1"/>
                </a:solidFill>
                <a:ea typeface="MS PGothic"/>
              </a:rPr>
              <a:t>en</a:t>
            </a:r>
            <a:r>
              <a:rPr lang="en-US" sz="1200" b="1" kern="0" dirty="0">
                <a:solidFill>
                  <a:schemeClr val="bg1"/>
                </a:solidFill>
                <a:ea typeface="MS PGothic"/>
              </a:rPr>
              <a:t> zonas </a:t>
            </a:r>
            <a:r>
              <a:rPr lang="en-US" sz="1200" b="1" kern="0" dirty="0" err="1">
                <a:solidFill>
                  <a:schemeClr val="bg1"/>
                </a:solidFill>
                <a:ea typeface="MS PGothic"/>
              </a:rPr>
              <a:t>rurales</a:t>
            </a:r>
            <a:endParaRPr lang="en-US" sz="1200" b="1" kern="0" dirty="0">
              <a:solidFill>
                <a:schemeClr val="bg1"/>
              </a:solidFill>
              <a:ea typeface="MS PGothic"/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2224294" y="4110021"/>
            <a:ext cx="3923191" cy="367112"/>
          </a:xfrm>
          <a:prstGeom prst="roundRect">
            <a:avLst/>
          </a:prstGeom>
          <a:solidFill>
            <a:schemeClr val="accent2"/>
          </a:solidFill>
          <a:ln w="571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r" defTabSz="912247"/>
            <a:r>
              <a:rPr lang="es-ES" sz="1200" b="1" kern="0" dirty="0" smtClean="0">
                <a:solidFill>
                  <a:schemeClr val="bg1"/>
                </a:solidFill>
                <a:ea typeface="MS PGothic"/>
              </a:rPr>
              <a:t>Integración de remesas de </a:t>
            </a:r>
            <a:r>
              <a:rPr lang="es-ES" sz="1200" b="1" kern="0" dirty="0">
                <a:solidFill>
                  <a:schemeClr val="bg1"/>
                </a:solidFill>
                <a:ea typeface="MS PGothic"/>
              </a:rPr>
              <a:t>los migrantes </a:t>
            </a:r>
            <a:endParaRPr lang="en-US" sz="1200" b="1" kern="0" dirty="0">
              <a:solidFill>
                <a:schemeClr val="bg1"/>
              </a:solidFill>
              <a:ea typeface="MS PGothic"/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1865916" y="4999949"/>
            <a:ext cx="4281569" cy="367112"/>
          </a:xfrm>
          <a:prstGeom prst="roundRect">
            <a:avLst/>
          </a:prstGeom>
          <a:solidFill>
            <a:schemeClr val="accent2"/>
          </a:solidFill>
          <a:ln w="571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r" defTabSz="912247"/>
            <a:r>
              <a:rPr lang="es-ES" sz="1200" b="1" kern="0" dirty="0" smtClean="0">
                <a:solidFill>
                  <a:schemeClr val="bg1"/>
                </a:solidFill>
                <a:ea typeface="MS PGothic"/>
              </a:rPr>
              <a:t>Aumento de </a:t>
            </a:r>
            <a:r>
              <a:rPr lang="es-ES" sz="1200" b="1" kern="0" dirty="0">
                <a:solidFill>
                  <a:schemeClr val="bg1"/>
                </a:solidFill>
                <a:ea typeface="MS PGothic"/>
              </a:rPr>
              <a:t>la participación en el sector bancario </a:t>
            </a:r>
            <a:r>
              <a:rPr lang="es-ES" sz="1200" b="1" kern="0" dirty="0" smtClean="0">
                <a:solidFill>
                  <a:schemeClr val="bg1"/>
                </a:solidFill>
                <a:ea typeface="MS PGothic"/>
              </a:rPr>
              <a:t>formal</a:t>
            </a:r>
            <a:endParaRPr lang="en-US" sz="1200" b="1" kern="0" dirty="0">
              <a:solidFill>
                <a:schemeClr val="bg1"/>
              </a:solidFill>
              <a:ea typeface="MS PGothic"/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1289238" y="5715285"/>
            <a:ext cx="4858246" cy="367112"/>
          </a:xfrm>
          <a:prstGeom prst="roundRect">
            <a:avLst/>
          </a:prstGeom>
          <a:solidFill>
            <a:schemeClr val="accent2"/>
          </a:solidFill>
          <a:ln w="571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r" defTabSz="912247"/>
            <a:r>
              <a:rPr lang="en-US" sz="1200" b="1" kern="0" dirty="0" err="1">
                <a:solidFill>
                  <a:schemeClr val="bg1"/>
                </a:solidFill>
                <a:ea typeface="MS PGothic"/>
              </a:rPr>
              <a:t>D</a:t>
            </a:r>
            <a:r>
              <a:rPr lang="en-US" sz="1200" b="1" kern="0" dirty="0" err="1" smtClean="0">
                <a:solidFill>
                  <a:schemeClr val="bg1"/>
                </a:solidFill>
                <a:ea typeface="MS PGothic"/>
              </a:rPr>
              <a:t>esarrollo</a:t>
            </a:r>
            <a:r>
              <a:rPr lang="en-US" sz="1200" b="1" kern="0" dirty="0" smtClean="0">
                <a:solidFill>
                  <a:schemeClr val="bg1"/>
                </a:solidFill>
                <a:ea typeface="MS PGothic"/>
              </a:rPr>
              <a:t> </a:t>
            </a:r>
            <a:r>
              <a:rPr lang="en-US" sz="1200" b="1" kern="0" dirty="0">
                <a:solidFill>
                  <a:schemeClr val="bg1"/>
                </a:solidFill>
                <a:ea typeface="MS PGothic"/>
              </a:rPr>
              <a:t>de </a:t>
            </a:r>
            <a:r>
              <a:rPr lang="en-US" sz="1200" b="1" kern="0" dirty="0" err="1">
                <a:solidFill>
                  <a:schemeClr val="bg1"/>
                </a:solidFill>
                <a:ea typeface="MS PGothic"/>
              </a:rPr>
              <a:t>esquemas</a:t>
            </a:r>
            <a:r>
              <a:rPr lang="en-US" sz="1200" b="1" kern="0" dirty="0">
                <a:solidFill>
                  <a:schemeClr val="bg1"/>
                </a:solidFill>
                <a:ea typeface="MS PGothic"/>
              </a:rPr>
              <a:t> de </a:t>
            </a:r>
            <a:r>
              <a:rPr lang="en-US" sz="1200" b="1" kern="0" dirty="0" err="1">
                <a:solidFill>
                  <a:schemeClr val="bg1"/>
                </a:solidFill>
                <a:ea typeface="MS PGothic"/>
              </a:rPr>
              <a:t>microseguro</a:t>
            </a:r>
            <a:endParaRPr lang="en-US" sz="1200" b="1" kern="0" dirty="0">
              <a:solidFill>
                <a:schemeClr val="bg1"/>
              </a:solidFill>
              <a:ea typeface="MS PGothic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546449" y="1648517"/>
            <a:ext cx="4888100" cy="399891"/>
          </a:xfrm>
          <a:prstGeom prst="rect">
            <a:avLst/>
          </a:prstGeom>
          <a:noFill/>
        </p:spPr>
        <p:txBody>
          <a:bodyPr wrap="square" lIns="0" tIns="45612" rIns="91224" bIns="45612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s-ES" sz="1000" dirty="0" smtClean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Almacenamiento y </a:t>
            </a:r>
            <a:r>
              <a:rPr lang="es-ES" sz="100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procesamiento de datos a través de Internet en todos los sectores e intermediarios económicos, incluyendo el dinero, la información o la conectividad</a:t>
            </a:r>
            <a:endParaRPr lang="en-US" sz="1000" dirty="0">
              <a:solidFill>
                <a:srgbClr val="000000">
                  <a:lumMod val="95000"/>
                  <a:lumOff val="5000"/>
                </a:srgbClr>
              </a:solidFill>
              <a:ea typeface="MS PGothic"/>
            </a:endParaRPr>
          </a:p>
        </p:txBody>
      </p:sp>
      <p:cxnSp>
        <p:nvCxnSpPr>
          <p:cNvPr id="16" name="Straight Connector 15"/>
          <p:cNvCxnSpPr/>
          <p:nvPr/>
        </p:nvCxnSpPr>
        <p:spPr bwMode="auto">
          <a:xfrm>
            <a:off x="6436991" y="1776405"/>
            <a:ext cx="0" cy="237744"/>
          </a:xfrm>
          <a:prstGeom prst="line">
            <a:avLst/>
          </a:prstGeom>
          <a:noFill/>
          <a:ln w="38100" cap="flat" cmpd="sng" algn="ctr">
            <a:solidFill>
              <a:srgbClr val="FF8C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1" name="Group 20"/>
          <p:cNvGrpSpPr/>
          <p:nvPr/>
        </p:nvGrpSpPr>
        <p:grpSpPr>
          <a:xfrm>
            <a:off x="6368352" y="2160969"/>
            <a:ext cx="5010133" cy="3336861"/>
            <a:chOff x="4287640" y="2165525"/>
            <a:chExt cx="8109938" cy="3336861"/>
          </a:xfrm>
        </p:grpSpPr>
        <p:cxnSp>
          <p:nvCxnSpPr>
            <p:cNvPr id="22" name="Straight Connector 21"/>
            <p:cNvCxnSpPr/>
            <p:nvPr/>
          </p:nvCxnSpPr>
          <p:spPr>
            <a:xfrm>
              <a:off x="4300164" y="2165525"/>
              <a:ext cx="8097414" cy="0"/>
            </a:xfrm>
            <a:prstGeom prst="line">
              <a:avLst/>
            </a:prstGeom>
            <a:ln w="19050">
              <a:solidFill>
                <a:srgbClr val="DADAD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>
              <a:off x="4287640" y="3039646"/>
              <a:ext cx="8109938" cy="0"/>
            </a:xfrm>
            <a:prstGeom prst="line">
              <a:avLst/>
            </a:prstGeom>
            <a:ln w="19050">
              <a:solidFill>
                <a:srgbClr val="DADAD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4287640" y="3756000"/>
              <a:ext cx="8109938" cy="0"/>
            </a:xfrm>
            <a:prstGeom prst="line">
              <a:avLst/>
            </a:prstGeom>
            <a:ln w="19050">
              <a:solidFill>
                <a:srgbClr val="DADAD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4300164" y="4761306"/>
              <a:ext cx="8097414" cy="0"/>
            </a:xfrm>
            <a:prstGeom prst="line">
              <a:avLst/>
            </a:prstGeom>
            <a:ln w="19050">
              <a:solidFill>
                <a:srgbClr val="DADAD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>
              <a:off x="4300164" y="5502386"/>
              <a:ext cx="8097414" cy="0"/>
            </a:xfrm>
            <a:prstGeom prst="line">
              <a:avLst/>
            </a:prstGeom>
            <a:ln w="19050">
              <a:solidFill>
                <a:srgbClr val="DADAD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/>
        </p:nvSpPr>
        <p:spPr>
          <a:xfrm>
            <a:off x="6541899" y="2443776"/>
            <a:ext cx="4832036" cy="553780"/>
          </a:xfrm>
          <a:prstGeom prst="rect">
            <a:avLst/>
          </a:prstGeom>
          <a:noFill/>
        </p:spPr>
        <p:txBody>
          <a:bodyPr wrap="square" lIns="0" tIns="45612" rIns="91224" bIns="45612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s-ES" sz="1000" dirty="0" smtClean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Para </a:t>
            </a:r>
            <a:r>
              <a:rPr lang="es-ES" sz="100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fortalecer a los trabajadores y a las empresas en la economía digital y del conocimiento, asegurando que las microempresas accedan a las herramientas digitales.</a:t>
            </a:r>
            <a:endParaRPr lang="en-US" sz="1000" dirty="0">
              <a:solidFill>
                <a:srgbClr val="000000">
                  <a:lumMod val="95000"/>
                  <a:lumOff val="5000"/>
                </a:srgbClr>
              </a:solidFill>
              <a:ea typeface="MS PGothic"/>
            </a:endParaRPr>
          </a:p>
        </p:txBody>
      </p:sp>
      <p:cxnSp>
        <p:nvCxnSpPr>
          <p:cNvPr id="37" name="Straight Connector 36"/>
          <p:cNvCxnSpPr/>
          <p:nvPr/>
        </p:nvCxnSpPr>
        <p:spPr bwMode="auto">
          <a:xfrm>
            <a:off x="6452501" y="2552480"/>
            <a:ext cx="0" cy="237744"/>
          </a:xfrm>
          <a:prstGeom prst="line">
            <a:avLst/>
          </a:prstGeom>
          <a:noFill/>
          <a:ln w="38100" cap="flat" cmpd="sng" algn="ctr">
            <a:solidFill>
              <a:srgbClr val="FF8C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3" name="Straight Connector 42"/>
          <p:cNvCxnSpPr/>
          <p:nvPr/>
        </p:nvCxnSpPr>
        <p:spPr bwMode="auto">
          <a:xfrm>
            <a:off x="6452501" y="3370537"/>
            <a:ext cx="0" cy="237744"/>
          </a:xfrm>
          <a:prstGeom prst="line">
            <a:avLst/>
          </a:prstGeom>
          <a:noFill/>
          <a:ln w="38100" cap="flat" cmpd="sng" algn="ctr">
            <a:solidFill>
              <a:srgbClr val="FF8C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8" name="TextBox 47"/>
          <p:cNvSpPr txBox="1"/>
          <p:nvPr/>
        </p:nvSpPr>
        <p:spPr>
          <a:xfrm>
            <a:off x="6546449" y="4049212"/>
            <a:ext cx="4883550" cy="707668"/>
          </a:xfrm>
          <a:prstGeom prst="rect">
            <a:avLst/>
          </a:prstGeom>
          <a:noFill/>
        </p:spPr>
        <p:txBody>
          <a:bodyPr wrap="square" lIns="0" tIns="45612" rIns="91224" bIns="45612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s-ES" sz="1000" dirty="0" smtClean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Para </a:t>
            </a:r>
            <a:r>
              <a:rPr lang="es-ES" sz="100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vincularlas a las estrategias de creación de activos, </a:t>
            </a:r>
            <a:r>
              <a:rPr lang="es-ES" sz="1000" dirty="0" smtClean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como la </a:t>
            </a:r>
            <a:r>
              <a:rPr lang="es-ES" sz="100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formalización </a:t>
            </a:r>
            <a:r>
              <a:rPr lang="es-ES" sz="1000" dirty="0" smtClean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del </a:t>
            </a:r>
            <a:r>
              <a:rPr lang="es-ES" sz="100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ahorro </a:t>
            </a:r>
            <a:r>
              <a:rPr lang="es-ES" sz="1000" dirty="0" smtClean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local y </a:t>
            </a:r>
            <a:r>
              <a:rPr lang="es-ES" sz="100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las inversiones en capital humano, como la </a:t>
            </a:r>
            <a:r>
              <a:rPr lang="es-ES" sz="1000" dirty="0" smtClean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educación</a:t>
            </a:r>
            <a:r>
              <a:rPr lang="es-ES" sz="100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. La formalización de los ahorros </a:t>
            </a:r>
            <a:r>
              <a:rPr lang="es-ES" sz="1000" dirty="0" smtClean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estimula la economía formal y esto reduce  </a:t>
            </a:r>
            <a:r>
              <a:rPr lang="es-ES" sz="100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intención </a:t>
            </a:r>
            <a:r>
              <a:rPr lang="es-ES" sz="1000" dirty="0" smtClean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de Emigrar</a:t>
            </a:r>
            <a:endParaRPr lang="en-US" sz="1000" dirty="0">
              <a:solidFill>
                <a:srgbClr val="000000">
                  <a:lumMod val="95000"/>
                  <a:lumOff val="5000"/>
                </a:srgbClr>
              </a:solidFill>
              <a:ea typeface="MS PGothic"/>
            </a:endParaRPr>
          </a:p>
        </p:txBody>
      </p:sp>
      <p:cxnSp>
        <p:nvCxnSpPr>
          <p:cNvPr id="49" name="Straight Connector 48"/>
          <p:cNvCxnSpPr/>
          <p:nvPr/>
        </p:nvCxnSpPr>
        <p:spPr bwMode="auto">
          <a:xfrm>
            <a:off x="6451364" y="4168666"/>
            <a:ext cx="0" cy="237744"/>
          </a:xfrm>
          <a:prstGeom prst="line">
            <a:avLst/>
          </a:prstGeom>
          <a:noFill/>
          <a:ln w="38100" cap="flat" cmpd="sng" algn="ctr">
            <a:solidFill>
              <a:srgbClr val="FF8C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4" name="TextBox 53"/>
          <p:cNvSpPr txBox="1"/>
          <p:nvPr/>
        </p:nvSpPr>
        <p:spPr>
          <a:xfrm>
            <a:off x="6541899" y="4923143"/>
            <a:ext cx="5010450" cy="553780"/>
          </a:xfrm>
          <a:prstGeom prst="rect">
            <a:avLst/>
          </a:prstGeom>
          <a:noFill/>
        </p:spPr>
        <p:txBody>
          <a:bodyPr wrap="square" lIns="0" tIns="45612" rIns="91224" bIns="45612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s-ES" sz="1000" dirty="0" smtClean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Las </a:t>
            </a:r>
            <a:r>
              <a:rPr lang="es-ES" sz="100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cooperativas de crédito locales y las </a:t>
            </a:r>
            <a:r>
              <a:rPr lang="es-ES" sz="1000" dirty="0" smtClean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cooperativas </a:t>
            </a:r>
            <a:r>
              <a:rPr lang="es-ES" sz="100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que conceden préstamos a las empresas locales, </a:t>
            </a:r>
            <a:r>
              <a:rPr lang="es-ES" sz="1000" dirty="0" smtClean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deben </a:t>
            </a:r>
            <a:r>
              <a:rPr lang="es-ES" sz="100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participar en los esfuerzos por aumentar la participación en el sector bancario </a:t>
            </a:r>
            <a:r>
              <a:rPr lang="es-ES" sz="1000" dirty="0" smtClean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formal</a:t>
            </a:r>
            <a:endParaRPr lang="en-US" sz="1000" dirty="0">
              <a:solidFill>
                <a:srgbClr val="000000">
                  <a:lumMod val="95000"/>
                  <a:lumOff val="5000"/>
                </a:srgbClr>
              </a:solidFill>
              <a:ea typeface="MS PGothic"/>
            </a:endParaRPr>
          </a:p>
        </p:txBody>
      </p:sp>
      <p:cxnSp>
        <p:nvCxnSpPr>
          <p:cNvPr id="55" name="Straight Connector 54"/>
          <p:cNvCxnSpPr/>
          <p:nvPr/>
        </p:nvCxnSpPr>
        <p:spPr bwMode="auto">
          <a:xfrm>
            <a:off x="6458679" y="5061775"/>
            <a:ext cx="0" cy="237744"/>
          </a:xfrm>
          <a:prstGeom prst="line">
            <a:avLst/>
          </a:prstGeom>
          <a:noFill/>
          <a:ln w="38100" cap="flat" cmpd="sng" algn="ctr">
            <a:solidFill>
              <a:srgbClr val="FF8C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0" name="TextBox 59"/>
          <p:cNvSpPr txBox="1"/>
          <p:nvPr/>
        </p:nvSpPr>
        <p:spPr>
          <a:xfrm>
            <a:off x="6541899" y="5652370"/>
            <a:ext cx="4832036" cy="399891"/>
          </a:xfrm>
          <a:prstGeom prst="rect">
            <a:avLst/>
          </a:prstGeom>
          <a:noFill/>
        </p:spPr>
        <p:txBody>
          <a:bodyPr wrap="square" lIns="0" tIns="45612" rIns="91224" bIns="45612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s-ES" sz="1000" dirty="0" smtClean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Programas </a:t>
            </a:r>
            <a:r>
              <a:rPr lang="es-ES" sz="100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que </a:t>
            </a:r>
            <a:r>
              <a:rPr lang="es-ES" sz="1000" dirty="0" smtClean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asistan a </a:t>
            </a:r>
            <a:r>
              <a:rPr lang="es-ES" sz="100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los migrantes medioambientales </a:t>
            </a:r>
            <a:r>
              <a:rPr lang="es-ES" sz="1000" dirty="0" smtClean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para contar con protección tanto </a:t>
            </a:r>
            <a:r>
              <a:rPr lang="es-ES" sz="100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en escenarios </a:t>
            </a:r>
            <a:r>
              <a:rPr lang="es-ES" sz="1000" dirty="0" smtClean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repentinos como graduales</a:t>
            </a:r>
            <a:endParaRPr lang="en-US" sz="1000" dirty="0">
              <a:solidFill>
                <a:srgbClr val="000000">
                  <a:lumMod val="95000"/>
                  <a:lumOff val="5000"/>
                </a:srgbClr>
              </a:solidFill>
              <a:ea typeface="MS PGothic"/>
            </a:endParaRPr>
          </a:p>
        </p:txBody>
      </p:sp>
      <p:cxnSp>
        <p:nvCxnSpPr>
          <p:cNvPr id="61" name="Straight Connector 60"/>
          <p:cNvCxnSpPr/>
          <p:nvPr/>
        </p:nvCxnSpPr>
        <p:spPr bwMode="auto">
          <a:xfrm>
            <a:off x="6473182" y="5784093"/>
            <a:ext cx="0" cy="237744"/>
          </a:xfrm>
          <a:prstGeom prst="line">
            <a:avLst/>
          </a:prstGeom>
          <a:noFill/>
          <a:ln w="38100" cap="flat" cmpd="sng" algn="ctr">
            <a:solidFill>
              <a:srgbClr val="FF8C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3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485775" y="806400"/>
            <a:ext cx="11225025" cy="320400"/>
          </a:xfrm>
        </p:spPr>
        <p:txBody>
          <a:bodyPr/>
          <a:lstStyle/>
          <a:p>
            <a:r>
              <a:rPr lang="en-US" dirty="0" smtClean="0"/>
              <a:t>Papel de las </a:t>
            </a:r>
            <a:r>
              <a:rPr lang="en-US" dirty="0" err="1" smtClean="0"/>
              <a:t>Cooperativas</a:t>
            </a:r>
            <a:r>
              <a:rPr lang="en-US" dirty="0" smtClean="0"/>
              <a:t> </a:t>
            </a:r>
            <a:r>
              <a:rPr lang="en-US" dirty="0" err="1" smtClean="0"/>
              <a:t>en</a:t>
            </a:r>
            <a:r>
              <a:rPr lang="en-US" dirty="0" smtClean="0"/>
              <a:t> la </a:t>
            </a:r>
            <a:r>
              <a:rPr lang="en-US" dirty="0" err="1" smtClean="0"/>
              <a:t>Retención</a:t>
            </a:r>
            <a:r>
              <a:rPr lang="en-US" dirty="0" smtClean="0"/>
              <a:t> de la </a:t>
            </a:r>
            <a:r>
              <a:rPr lang="en-US" dirty="0" err="1" smtClean="0"/>
              <a:t>Población</a:t>
            </a:r>
            <a:endParaRPr lang="en-US" dirty="0"/>
          </a:p>
        </p:txBody>
      </p:sp>
      <p:sp>
        <p:nvSpPr>
          <p:cNvPr id="74" name="TextBox 73"/>
          <p:cNvSpPr txBox="1"/>
          <p:nvPr/>
        </p:nvSpPr>
        <p:spPr>
          <a:xfrm>
            <a:off x="193655" y="3567080"/>
            <a:ext cx="167226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s-419" b="1" dirty="0" smtClean="0">
                <a:solidFill>
                  <a:schemeClr val="bg1"/>
                </a:solidFill>
              </a:rPr>
              <a:t>ESTRATEGIAS</a:t>
            </a:r>
            <a:endParaRPr lang="en-US" b="1" dirty="0" err="1">
              <a:solidFill>
                <a:schemeClr val="bg1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6541899" y="3219765"/>
            <a:ext cx="4832036" cy="399891"/>
          </a:xfrm>
          <a:prstGeom prst="rect">
            <a:avLst/>
          </a:prstGeom>
          <a:noFill/>
        </p:spPr>
        <p:txBody>
          <a:bodyPr wrap="square" lIns="0" tIns="45612" rIns="91224" bIns="45612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s-ES" sz="1000" dirty="0" smtClean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Creando </a:t>
            </a:r>
            <a:r>
              <a:rPr lang="es-ES" sz="100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oportunidades </a:t>
            </a:r>
            <a:r>
              <a:rPr lang="es-ES" sz="1000" dirty="0" smtClean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de empleos formales </a:t>
            </a:r>
            <a:r>
              <a:rPr lang="es-ES" sz="100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y </a:t>
            </a:r>
            <a:r>
              <a:rPr lang="es-ES" sz="1000" dirty="0" smtClean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en proyectos de mitigación de </a:t>
            </a:r>
            <a:r>
              <a:rPr lang="es-ES" sz="100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los efectos del cambio climático</a:t>
            </a:r>
            <a:endParaRPr lang="en-US" sz="1000" dirty="0">
              <a:solidFill>
                <a:srgbClr val="000000">
                  <a:lumMod val="95000"/>
                  <a:lumOff val="5000"/>
                </a:srgbClr>
              </a:solidFill>
              <a:ea typeface="MS PGothic"/>
            </a:endParaRPr>
          </a:p>
        </p:txBody>
      </p:sp>
      <p:sp>
        <p:nvSpPr>
          <p:cNvPr id="33" name="Title 6"/>
          <p:cNvSpPr>
            <a:spLocks noGrp="1"/>
          </p:cNvSpPr>
          <p:nvPr>
            <p:ph type="title"/>
          </p:nvPr>
        </p:nvSpPr>
        <p:spPr>
          <a:xfrm>
            <a:off x="485776" y="355601"/>
            <a:ext cx="11623846" cy="495299"/>
          </a:xfrm>
        </p:spPr>
        <p:txBody>
          <a:bodyPr/>
          <a:lstStyle/>
          <a:p>
            <a:r>
              <a:rPr lang="es-ES" sz="2800" dirty="0"/>
              <a:t>Auge migratorio en México, </a:t>
            </a:r>
            <a:r>
              <a:rPr lang="es-ES" sz="2800" dirty="0" smtClean="0"/>
              <a:t>Centroamérica y República </a:t>
            </a:r>
            <a:r>
              <a:rPr lang="es-ES" sz="2800" dirty="0"/>
              <a:t>Dominicana</a:t>
            </a:r>
            <a:br>
              <a:rPr lang="es-ES" sz="2800" dirty="0"/>
            </a:br>
            <a:r>
              <a:rPr lang="es-ES" dirty="0"/>
              <a:t/>
            </a:r>
            <a:br>
              <a:rPr lang="es-ES" dirty="0"/>
            </a:b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611292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82600" y="358774"/>
            <a:ext cx="9240949" cy="5762626"/>
          </a:xfrm>
        </p:spPr>
        <p:txBody>
          <a:bodyPr/>
          <a:lstStyle/>
          <a:p>
            <a:r>
              <a:rPr lang="es-ES" dirty="0" smtClean="0"/>
              <a:t>Aumento en Costo de Seguro y Reaseguro a consecuencia de Inflación y Cambio Climático</a:t>
            </a:r>
            <a:endParaRPr lang="es-E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5928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GB" smtClean="0"/>
              <a:pPr algn="r"/>
              <a:t>13</a:t>
            </a:fld>
            <a:endParaRPr lang="en-GB" dirty="0"/>
          </a:p>
        </p:txBody>
      </p:sp>
      <p:sp>
        <p:nvSpPr>
          <p:cNvPr id="9" name="TextBox 8"/>
          <p:cNvSpPr txBox="1"/>
          <p:nvPr/>
        </p:nvSpPr>
        <p:spPr>
          <a:xfrm>
            <a:off x="1448251" y="5739941"/>
            <a:ext cx="9295498" cy="5129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GB"/>
            </a:defPPr>
            <a:lvl1pPr algn="ctr">
              <a:lnSpc>
                <a:spcPts val="2000"/>
              </a:lnSpc>
              <a:defRPr i="1">
                <a:solidFill>
                  <a:srgbClr val="FF8C00"/>
                </a:solidFill>
              </a:defRPr>
            </a:lvl1pPr>
          </a:lstStyle>
          <a:p>
            <a:r>
              <a:rPr lang="es-ES" dirty="0"/>
              <a:t>El </a:t>
            </a:r>
            <a:r>
              <a:rPr lang="es-ES" b="1" dirty="0"/>
              <a:t>ROL Global aumentó 10.8% </a:t>
            </a:r>
            <a:r>
              <a:rPr lang="es-ES" dirty="0"/>
              <a:t>año </a:t>
            </a:r>
            <a:r>
              <a:rPr lang="es-ES" dirty="0" smtClean="0"/>
              <a:t>a </a:t>
            </a:r>
            <a:r>
              <a:rPr lang="es-ES" dirty="0"/>
              <a:t>año. Los ajustes de estructura, particularmente en las retenciones, fueron más frecuentes en los sectores más afectados por las </a:t>
            </a:r>
            <a:r>
              <a:rPr lang="es-ES" dirty="0" smtClean="0"/>
              <a:t>pérdidas</a:t>
            </a:r>
            <a:endParaRPr lang="en-GB" dirty="0"/>
          </a:p>
        </p:txBody>
      </p:sp>
      <p:sp>
        <p:nvSpPr>
          <p:cNvPr id="16" name="Title 3"/>
          <p:cNvSpPr txBox="1">
            <a:spLocks/>
          </p:cNvSpPr>
          <p:nvPr/>
        </p:nvSpPr>
        <p:spPr>
          <a:xfrm>
            <a:off x="485776" y="355601"/>
            <a:ext cx="11223623" cy="4952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419" dirty="0" smtClean="0"/>
              <a:t>Aumento en Costo de Reaseguro </a:t>
            </a:r>
            <a:r>
              <a:rPr lang="es-ES" dirty="0" smtClean="0"/>
              <a:t>a </a:t>
            </a:r>
            <a:r>
              <a:rPr lang="es-ES" dirty="0"/>
              <a:t>consecuencia de Inflación y Cambio Climático</a:t>
            </a:r>
            <a:endParaRPr lang="en-US" dirty="0"/>
          </a:p>
          <a:p>
            <a:r>
              <a:rPr lang="es-419" dirty="0" smtClean="0"/>
              <a:t> </a:t>
            </a:r>
            <a:endParaRPr lang="en-US" dirty="0"/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5776" y="1098583"/>
            <a:ext cx="11226800" cy="320400"/>
          </a:xfrm>
        </p:spPr>
        <p:txBody>
          <a:bodyPr/>
          <a:lstStyle/>
          <a:p>
            <a:r>
              <a:rPr lang="es-ES" dirty="0" smtClean="0">
                <a:solidFill>
                  <a:srgbClr val="002060"/>
                </a:solidFill>
              </a:rPr>
              <a:t>Cambio ROL Histórico</a:t>
            </a:r>
            <a:endParaRPr lang="es-ES" dirty="0">
              <a:solidFill>
                <a:srgbClr val="002060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2"/>
          <a:srcRect t="2962"/>
          <a:stretch/>
        </p:blipFill>
        <p:spPr>
          <a:xfrm>
            <a:off x="1759058" y="1845015"/>
            <a:ext cx="8673883" cy="3551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05487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05B249EF-8F20-4EE4-80CA-01AF948EF15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36701911"/>
              </p:ext>
            </p:extLst>
          </p:nvPr>
        </p:nvGraphicFramePr>
        <p:xfrm>
          <a:off x="5762625" y="2233251"/>
          <a:ext cx="5949951" cy="27879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05B249EF-8F20-4EE4-80CA-01AF948EF15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03273765"/>
              </p:ext>
            </p:extLst>
          </p:nvPr>
        </p:nvGraphicFramePr>
        <p:xfrm>
          <a:off x="491619" y="2233251"/>
          <a:ext cx="4918582" cy="27665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GB" smtClean="0"/>
              <a:pPr algn="r"/>
              <a:t>14</a:t>
            </a:fld>
            <a:endParaRPr lang="en-GB" dirty="0"/>
          </a:p>
        </p:txBody>
      </p:sp>
      <p:sp>
        <p:nvSpPr>
          <p:cNvPr id="11" name="TextBox 10"/>
          <p:cNvSpPr txBox="1"/>
          <p:nvPr/>
        </p:nvSpPr>
        <p:spPr>
          <a:xfrm>
            <a:off x="1356851" y="5387109"/>
            <a:ext cx="9987607" cy="102592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000"/>
              </a:lnSpc>
            </a:pPr>
            <a:r>
              <a:rPr lang="es-ES" i="1" dirty="0">
                <a:solidFill>
                  <a:srgbClr val="FF8C00"/>
                </a:solidFill>
              </a:rPr>
              <a:t>El 80% de las respuestas indicaron que al menos un mercado discutió el cambio climático, frente al 58% del año pasado</a:t>
            </a:r>
            <a:r>
              <a:rPr lang="es-ES" i="1" dirty="0" smtClean="0">
                <a:solidFill>
                  <a:srgbClr val="FF8C00"/>
                </a:solidFill>
              </a:rPr>
              <a:t>. Los </a:t>
            </a:r>
            <a:r>
              <a:rPr lang="es-ES" i="1" dirty="0">
                <a:solidFill>
                  <a:srgbClr val="FF8C00"/>
                </a:solidFill>
              </a:rPr>
              <a:t>principales mercados que utilizan el cambio climático para abogar por tasas más altas se mantuvieron notablemente estables, ​excepto </a:t>
            </a:r>
            <a:r>
              <a:rPr lang="es-ES" i="1" dirty="0" err="1">
                <a:solidFill>
                  <a:srgbClr val="FF8C00"/>
                </a:solidFill>
              </a:rPr>
              <a:t>Fidelis</a:t>
            </a:r>
            <a:r>
              <a:rPr lang="es-ES" i="1" dirty="0">
                <a:solidFill>
                  <a:srgbClr val="FF8C00"/>
                </a:solidFill>
              </a:rPr>
              <a:t> y Hannover </a:t>
            </a:r>
            <a:r>
              <a:rPr lang="es-ES" i="1" dirty="0" smtClean="0">
                <a:solidFill>
                  <a:srgbClr val="FF8C00"/>
                </a:solidFill>
              </a:rPr>
              <a:t>que se </a:t>
            </a:r>
            <a:r>
              <a:rPr lang="es-ES" i="1" dirty="0">
                <a:solidFill>
                  <a:srgbClr val="FF8C00"/>
                </a:solidFill>
              </a:rPr>
              <a:t>citan con mucha más frecuencia en </a:t>
            </a:r>
            <a:r>
              <a:rPr lang="es-ES" i="1" dirty="0" smtClean="0">
                <a:solidFill>
                  <a:srgbClr val="FF8C00"/>
                </a:solidFill>
              </a:rPr>
              <a:t>2022</a:t>
            </a:r>
            <a:endParaRPr lang="en-GB" i="1" dirty="0">
              <a:solidFill>
                <a:srgbClr val="FF8C00"/>
              </a:solidFill>
              <a:cs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76C1AA-1FB7-4F63-9CCB-15DA519C0545}"/>
              </a:ext>
            </a:extLst>
          </p:cNvPr>
          <p:cNvSpPr/>
          <p:nvPr/>
        </p:nvSpPr>
        <p:spPr>
          <a:xfrm>
            <a:off x="485776" y="1259881"/>
            <a:ext cx="11220448" cy="64787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38CC168-700D-4CA2-A8AB-29C64693455C}"/>
              </a:ext>
            </a:extLst>
          </p:cNvPr>
          <p:cNvSpPr/>
          <p:nvPr/>
        </p:nvSpPr>
        <p:spPr>
          <a:xfrm>
            <a:off x="1208832" y="1373377"/>
            <a:ext cx="1022116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400" b="1" dirty="0">
                <a:solidFill>
                  <a:schemeClr val="bg1"/>
                </a:solidFill>
              </a:rPr>
              <a:t>¿Qué mercados son más agresivos al afirmar que el cambio climático está influyendo en su suscripción y fijación de precios?</a:t>
            </a:r>
            <a:endParaRPr lang="en-US" sz="1400" b="1" dirty="0">
              <a:solidFill>
                <a:schemeClr val="bg1"/>
              </a:solidFill>
            </a:endParaRPr>
          </a:p>
        </p:txBody>
      </p:sp>
      <p:grpSp>
        <p:nvGrpSpPr>
          <p:cNvPr id="17" name="Group 4">
            <a:extLst>
              <a:ext uri="{FF2B5EF4-FFF2-40B4-BE49-F238E27FC236}">
                <a16:creationId xmlns:a16="http://schemas.microsoft.com/office/drawing/2014/main" id="{B90E9DDE-C6E5-438A-A7EA-268D7F0E6EF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43300" y="1377131"/>
            <a:ext cx="413377" cy="413377"/>
            <a:chOff x="3840" y="2163"/>
            <a:chExt cx="614" cy="614"/>
          </a:xfrm>
          <a:solidFill>
            <a:schemeClr val="bg1"/>
          </a:solidFill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4258194D-9C24-40D8-81C3-2A6B2C090B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40" y="2163"/>
              <a:ext cx="614" cy="614"/>
            </a:xfrm>
            <a:custGeom>
              <a:avLst/>
              <a:gdLst>
                <a:gd name="T0" fmla="*/ 128 w 256"/>
                <a:gd name="T1" fmla="*/ 0 h 256"/>
                <a:gd name="T2" fmla="*/ 0 w 256"/>
                <a:gd name="T3" fmla="*/ 128 h 256"/>
                <a:gd name="T4" fmla="*/ 128 w 256"/>
                <a:gd name="T5" fmla="*/ 256 h 256"/>
                <a:gd name="T6" fmla="*/ 256 w 256"/>
                <a:gd name="T7" fmla="*/ 128 h 256"/>
                <a:gd name="T8" fmla="*/ 128 w 256"/>
                <a:gd name="T9" fmla="*/ 0 h 256"/>
                <a:gd name="T10" fmla="*/ 128 w 256"/>
                <a:gd name="T11" fmla="*/ 240 h 256"/>
                <a:gd name="T12" fmla="*/ 16 w 256"/>
                <a:gd name="T13" fmla="*/ 128 h 256"/>
                <a:gd name="T14" fmla="*/ 128 w 256"/>
                <a:gd name="T15" fmla="*/ 16 h 256"/>
                <a:gd name="T16" fmla="*/ 240 w 256"/>
                <a:gd name="T17" fmla="*/ 128 h 256"/>
                <a:gd name="T18" fmla="*/ 128 w 256"/>
                <a:gd name="T19" fmla="*/ 24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6" h="256">
                  <a:moveTo>
                    <a:pt x="128" y="0"/>
                  </a:moveTo>
                  <a:cubicBezTo>
                    <a:pt x="58" y="0"/>
                    <a:pt x="0" y="57"/>
                    <a:pt x="0" y="128"/>
                  </a:cubicBezTo>
                  <a:cubicBezTo>
                    <a:pt x="0" y="199"/>
                    <a:pt x="58" y="256"/>
                    <a:pt x="128" y="256"/>
                  </a:cubicBezTo>
                  <a:cubicBezTo>
                    <a:pt x="199" y="256"/>
                    <a:pt x="256" y="199"/>
                    <a:pt x="256" y="128"/>
                  </a:cubicBezTo>
                  <a:cubicBezTo>
                    <a:pt x="256" y="57"/>
                    <a:pt x="199" y="0"/>
                    <a:pt x="128" y="0"/>
                  </a:cubicBezTo>
                  <a:close/>
                  <a:moveTo>
                    <a:pt x="128" y="240"/>
                  </a:moveTo>
                  <a:cubicBezTo>
                    <a:pt x="66" y="240"/>
                    <a:pt x="16" y="190"/>
                    <a:pt x="16" y="128"/>
                  </a:cubicBezTo>
                  <a:cubicBezTo>
                    <a:pt x="16" y="66"/>
                    <a:pt x="66" y="16"/>
                    <a:pt x="128" y="16"/>
                  </a:cubicBezTo>
                  <a:cubicBezTo>
                    <a:pt x="190" y="16"/>
                    <a:pt x="240" y="66"/>
                    <a:pt x="240" y="128"/>
                  </a:cubicBezTo>
                  <a:cubicBezTo>
                    <a:pt x="240" y="190"/>
                    <a:pt x="190" y="240"/>
                    <a:pt x="128" y="2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Oval 6">
              <a:extLst>
                <a:ext uri="{FF2B5EF4-FFF2-40B4-BE49-F238E27FC236}">
                  <a16:creationId xmlns:a16="http://schemas.microsoft.com/office/drawing/2014/main" id="{C71D2CAD-DF13-4E3E-A220-2F092A229A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8" y="2604"/>
              <a:ext cx="58" cy="5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EE876F7B-1F6B-41D8-BFA1-4B47943739F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6" y="2268"/>
              <a:ext cx="211" cy="278"/>
            </a:xfrm>
            <a:custGeom>
              <a:avLst/>
              <a:gdLst>
                <a:gd name="T0" fmla="*/ 6 w 88"/>
                <a:gd name="T1" fmla="*/ 11 h 116"/>
                <a:gd name="T2" fmla="*/ 2 w 88"/>
                <a:gd name="T3" fmla="*/ 22 h 116"/>
                <a:gd name="T4" fmla="*/ 13 w 88"/>
                <a:gd name="T5" fmla="*/ 26 h 116"/>
                <a:gd name="T6" fmla="*/ 63 w 88"/>
                <a:gd name="T7" fmla="*/ 30 h 116"/>
                <a:gd name="T8" fmla="*/ 51 w 88"/>
                <a:gd name="T9" fmla="*/ 68 h 116"/>
                <a:gd name="T10" fmla="*/ 26 w 88"/>
                <a:gd name="T11" fmla="*/ 108 h 116"/>
                <a:gd name="T12" fmla="*/ 34 w 88"/>
                <a:gd name="T13" fmla="*/ 116 h 116"/>
                <a:gd name="T14" fmla="*/ 42 w 88"/>
                <a:gd name="T15" fmla="*/ 108 h 116"/>
                <a:gd name="T16" fmla="*/ 62 w 88"/>
                <a:gd name="T17" fmla="*/ 81 h 116"/>
                <a:gd name="T18" fmla="*/ 77 w 88"/>
                <a:gd name="T19" fmla="*/ 22 h 116"/>
                <a:gd name="T20" fmla="*/ 6 w 88"/>
                <a:gd name="T21" fmla="*/ 1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8" h="116">
                  <a:moveTo>
                    <a:pt x="6" y="11"/>
                  </a:moveTo>
                  <a:cubicBezTo>
                    <a:pt x="2" y="13"/>
                    <a:pt x="0" y="18"/>
                    <a:pt x="2" y="22"/>
                  </a:cubicBezTo>
                  <a:cubicBezTo>
                    <a:pt x="4" y="26"/>
                    <a:pt x="9" y="28"/>
                    <a:pt x="13" y="26"/>
                  </a:cubicBezTo>
                  <a:cubicBezTo>
                    <a:pt x="33" y="17"/>
                    <a:pt x="57" y="19"/>
                    <a:pt x="63" y="30"/>
                  </a:cubicBezTo>
                  <a:cubicBezTo>
                    <a:pt x="70" y="41"/>
                    <a:pt x="66" y="56"/>
                    <a:pt x="51" y="68"/>
                  </a:cubicBezTo>
                  <a:cubicBezTo>
                    <a:pt x="35" y="83"/>
                    <a:pt x="26" y="93"/>
                    <a:pt x="26" y="108"/>
                  </a:cubicBezTo>
                  <a:cubicBezTo>
                    <a:pt x="26" y="112"/>
                    <a:pt x="30" y="116"/>
                    <a:pt x="34" y="116"/>
                  </a:cubicBezTo>
                  <a:cubicBezTo>
                    <a:pt x="39" y="116"/>
                    <a:pt x="42" y="112"/>
                    <a:pt x="42" y="108"/>
                  </a:cubicBezTo>
                  <a:cubicBezTo>
                    <a:pt x="42" y="101"/>
                    <a:pt x="45" y="95"/>
                    <a:pt x="62" y="81"/>
                  </a:cubicBezTo>
                  <a:cubicBezTo>
                    <a:pt x="82" y="63"/>
                    <a:pt x="88" y="40"/>
                    <a:pt x="77" y="22"/>
                  </a:cubicBezTo>
                  <a:cubicBezTo>
                    <a:pt x="65" y="1"/>
                    <a:pt x="32" y="0"/>
                    <a:pt x="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3" name="Title 3"/>
          <p:cNvSpPr txBox="1">
            <a:spLocks/>
          </p:cNvSpPr>
          <p:nvPr/>
        </p:nvSpPr>
        <p:spPr>
          <a:xfrm>
            <a:off x="485776" y="355601"/>
            <a:ext cx="11223623" cy="4952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419" dirty="0" smtClean="0"/>
              <a:t>Aumento en Costo de Reaseguro </a:t>
            </a:r>
            <a:r>
              <a:rPr lang="es-ES" dirty="0" smtClean="0"/>
              <a:t>a </a:t>
            </a:r>
            <a:r>
              <a:rPr lang="es-ES" dirty="0"/>
              <a:t>consecuencia de Inflación y Cambio Climático</a:t>
            </a:r>
            <a:endParaRPr lang="en-US" dirty="0"/>
          </a:p>
          <a:p>
            <a:r>
              <a:rPr lang="es-419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24216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GB" smtClean="0"/>
              <a:pPr algn="r"/>
              <a:t>15</a:t>
            </a:fld>
            <a:endParaRPr lang="en-GB" dirty="0"/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5776" y="1133483"/>
            <a:ext cx="11226800" cy="320400"/>
          </a:xfrm>
        </p:spPr>
        <p:txBody>
          <a:bodyPr/>
          <a:lstStyle/>
          <a:p>
            <a:r>
              <a:rPr lang="es-419" dirty="0" smtClean="0">
                <a:solidFill>
                  <a:srgbClr val="002060"/>
                </a:solidFill>
              </a:rPr>
              <a:t>Cambio de Tarifas</a:t>
            </a: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2" name="Oval 1"/>
          <p:cNvSpPr/>
          <p:nvPr/>
        </p:nvSpPr>
        <p:spPr>
          <a:xfrm>
            <a:off x="5459347" y="2639043"/>
            <a:ext cx="4869585" cy="1909960"/>
          </a:xfrm>
          <a:prstGeom prst="ellipse">
            <a:avLst/>
          </a:prstGeom>
          <a:solidFill>
            <a:srgbClr val="EE3D8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400" b="1" dirty="0">
                <a:solidFill>
                  <a:schemeClr val="bg1"/>
                </a:solidFill>
              </a:rPr>
              <a:t>¿Cómo pasamos el costo al consumidor?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9971" y="1733661"/>
            <a:ext cx="3720725" cy="3720725"/>
          </a:xfrm>
          <a:prstGeom prst="rect">
            <a:avLst/>
          </a:prstGeom>
        </p:spPr>
      </p:pic>
      <p:sp>
        <p:nvSpPr>
          <p:cNvPr id="18" name="Title 3"/>
          <p:cNvSpPr txBox="1">
            <a:spLocks/>
          </p:cNvSpPr>
          <p:nvPr/>
        </p:nvSpPr>
        <p:spPr>
          <a:xfrm>
            <a:off x="485776" y="355601"/>
            <a:ext cx="11223623" cy="7483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419" dirty="0" smtClean="0"/>
              <a:t>Aumento en Costo de Reaseguro </a:t>
            </a:r>
            <a:r>
              <a:rPr lang="es-ES" dirty="0" smtClean="0"/>
              <a:t>a </a:t>
            </a:r>
            <a:r>
              <a:rPr lang="es-ES" dirty="0"/>
              <a:t>consecuencia de Inflación y Cambio </a:t>
            </a:r>
            <a:r>
              <a:rPr lang="es-ES" dirty="0" smtClean="0"/>
              <a:t>Climático</a:t>
            </a:r>
            <a:endParaRPr lang="es-419" dirty="0" smtClean="0"/>
          </a:p>
        </p:txBody>
      </p:sp>
    </p:spTree>
    <p:extLst>
      <p:ext uri="{BB962C8B-B14F-4D97-AF65-F5344CB8AC3E}">
        <p14:creationId xmlns:p14="http://schemas.microsoft.com/office/powerpoint/2010/main" val="64195946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82600" y="358774"/>
            <a:ext cx="8870720" cy="5762626"/>
          </a:xfrm>
        </p:spPr>
        <p:txBody>
          <a:bodyPr/>
          <a:lstStyle/>
          <a:p>
            <a:r>
              <a:rPr lang="es-ES" dirty="0" smtClean="0"/>
              <a:t>Acceso </a:t>
            </a:r>
            <a:r>
              <a:rPr lang="es-ES" dirty="0"/>
              <a:t>a las Cooperativas de Ahorro y </a:t>
            </a:r>
            <a:r>
              <a:rPr lang="es-ES" dirty="0" smtClean="0"/>
              <a:t>Crédito</a:t>
            </a:r>
            <a:endParaRPr lang="es-E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5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79783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ounded Rectangle 36"/>
          <p:cNvSpPr/>
          <p:nvPr/>
        </p:nvSpPr>
        <p:spPr>
          <a:xfrm>
            <a:off x="3179450" y="5490953"/>
            <a:ext cx="6559728" cy="56356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GB" smtClean="0"/>
              <a:pPr algn="r"/>
              <a:t>17</a:t>
            </a:fld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5F8239A-3A08-470C-8DF6-DFEBACC9E9AB}"/>
              </a:ext>
            </a:extLst>
          </p:cNvPr>
          <p:cNvSpPr/>
          <p:nvPr/>
        </p:nvSpPr>
        <p:spPr>
          <a:xfrm>
            <a:off x="3414129" y="5490953"/>
            <a:ext cx="641161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1600" dirty="0">
                <a:solidFill>
                  <a:schemeClr val="bg1"/>
                </a:solidFill>
              </a:rPr>
              <a:t>Encontramos que el </a:t>
            </a:r>
            <a:r>
              <a:rPr lang="es-ES" sz="1600" b="1" dirty="0" smtClean="0">
                <a:solidFill>
                  <a:schemeClr val="bg1"/>
                </a:solidFill>
              </a:rPr>
              <a:t>Sector Cooperativo </a:t>
            </a:r>
            <a:r>
              <a:rPr lang="es-ES" sz="1600" dirty="0">
                <a:solidFill>
                  <a:schemeClr val="bg1"/>
                </a:solidFill>
              </a:rPr>
              <a:t>en algunos países se está </a:t>
            </a:r>
            <a:r>
              <a:rPr lang="es-ES" sz="1600" dirty="0" smtClean="0">
                <a:solidFill>
                  <a:schemeClr val="bg1"/>
                </a:solidFill>
              </a:rPr>
              <a:t>volviendo</a:t>
            </a:r>
            <a:r>
              <a:rPr lang="es-ES" sz="1600" b="1" dirty="0" smtClean="0">
                <a:solidFill>
                  <a:schemeClr val="bg1"/>
                </a:solidFill>
              </a:rPr>
              <a:t> más </a:t>
            </a:r>
            <a:r>
              <a:rPr lang="es-ES" sz="1600" b="1" dirty="0">
                <a:solidFill>
                  <a:schemeClr val="bg1"/>
                </a:solidFill>
              </a:rPr>
              <a:t>a</a:t>
            </a:r>
            <a:r>
              <a:rPr lang="es-ES" sz="1600" b="1" dirty="0" smtClean="0">
                <a:solidFill>
                  <a:schemeClr val="bg1"/>
                </a:solidFill>
              </a:rPr>
              <a:t>tractivo </a:t>
            </a:r>
            <a:r>
              <a:rPr lang="es-ES" sz="1600" dirty="0">
                <a:solidFill>
                  <a:schemeClr val="bg1"/>
                </a:solidFill>
              </a:rPr>
              <a:t>para el consumidor</a:t>
            </a:r>
          </a:p>
        </p:txBody>
      </p:sp>
      <p:sp>
        <p:nvSpPr>
          <p:cNvPr id="16" name="Title 3"/>
          <p:cNvSpPr txBox="1">
            <a:spLocks/>
          </p:cNvSpPr>
          <p:nvPr/>
        </p:nvSpPr>
        <p:spPr>
          <a:xfrm>
            <a:off x="485776" y="355601"/>
            <a:ext cx="11223623" cy="4952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 smtClean="0"/>
              <a:t>Acceso </a:t>
            </a:r>
            <a:r>
              <a:rPr lang="es-ES" dirty="0"/>
              <a:t>a las Cooperativas de Ahorro y </a:t>
            </a:r>
            <a:r>
              <a:rPr lang="es-ES" dirty="0" smtClean="0"/>
              <a:t>Crédito </a:t>
            </a:r>
            <a:endParaRPr lang="en-US" dirty="0"/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5776" y="806400"/>
            <a:ext cx="11226800" cy="320400"/>
          </a:xfrm>
        </p:spPr>
        <p:txBody>
          <a:bodyPr/>
          <a:lstStyle/>
          <a:p>
            <a:r>
              <a:rPr lang="es-ES" dirty="0" smtClean="0">
                <a:solidFill>
                  <a:srgbClr val="002060"/>
                </a:solidFill>
              </a:rPr>
              <a:t>Cambio </a:t>
            </a:r>
            <a:r>
              <a:rPr lang="es-ES" dirty="0">
                <a:solidFill>
                  <a:srgbClr val="002060"/>
                </a:solidFill>
              </a:rPr>
              <a:t>al </a:t>
            </a:r>
            <a:r>
              <a:rPr lang="es-ES" dirty="0" smtClean="0">
                <a:solidFill>
                  <a:srgbClr val="002060"/>
                </a:solidFill>
              </a:rPr>
              <a:t>Sector Cooperativo </a:t>
            </a:r>
            <a:r>
              <a:rPr lang="es-ES" dirty="0">
                <a:solidFill>
                  <a:srgbClr val="002060"/>
                </a:solidFill>
              </a:rPr>
              <a:t>con la </a:t>
            </a:r>
            <a:r>
              <a:rPr lang="es-ES" dirty="0" smtClean="0">
                <a:solidFill>
                  <a:srgbClr val="002060"/>
                </a:solidFill>
              </a:rPr>
              <a:t>Salida </a:t>
            </a:r>
            <a:r>
              <a:rPr lang="es-ES" dirty="0">
                <a:solidFill>
                  <a:srgbClr val="002060"/>
                </a:solidFill>
              </a:rPr>
              <a:t>de la Banca Capitalista</a:t>
            </a: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21" name="Oval 20"/>
          <p:cNvSpPr/>
          <p:nvPr/>
        </p:nvSpPr>
        <p:spPr bwMode="auto">
          <a:xfrm flipH="1">
            <a:off x="1822825" y="3572325"/>
            <a:ext cx="2722122" cy="1327054"/>
          </a:xfrm>
          <a:prstGeom prst="ellipse">
            <a:avLst/>
          </a:prstGeom>
          <a:solidFill>
            <a:srgbClr val="002C77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91224" bIns="45612" numCol="1" rtlCol="0" anchor="ctr" anchorCtr="0" compatLnSpc="1">
            <a:prstTxWarp prst="textNoShape">
              <a:avLst/>
            </a:prstTxWarp>
          </a:bodyPr>
          <a:lstStyle/>
          <a:p>
            <a:pPr lvl="0" algn="ctr" defTabSz="911995">
              <a:defRPr/>
            </a:pPr>
            <a:r>
              <a:rPr lang="es-ES" sz="1600" b="1" kern="0" dirty="0">
                <a:solidFill>
                  <a:schemeClr val="bg1"/>
                </a:solidFill>
              </a:rPr>
              <a:t>Banca Internacional </a:t>
            </a:r>
            <a:r>
              <a:rPr lang="es-ES" sz="1600" kern="0" dirty="0">
                <a:solidFill>
                  <a:schemeClr val="bg1"/>
                </a:solidFill>
              </a:rPr>
              <a:t>se </a:t>
            </a:r>
            <a:endParaRPr lang="es-ES" sz="1600" kern="0" dirty="0" smtClean="0">
              <a:solidFill>
                <a:schemeClr val="bg1"/>
              </a:solidFill>
            </a:endParaRPr>
          </a:p>
          <a:p>
            <a:pPr lvl="0" algn="ctr" defTabSz="911995">
              <a:defRPr/>
            </a:pPr>
            <a:r>
              <a:rPr lang="es-ES" sz="1600" kern="0" dirty="0" smtClean="0">
                <a:solidFill>
                  <a:schemeClr val="bg1"/>
                </a:solidFill>
              </a:rPr>
              <a:t>está </a:t>
            </a:r>
            <a:r>
              <a:rPr lang="es-ES" sz="1600" b="1" kern="0" dirty="0" smtClean="0">
                <a:solidFill>
                  <a:schemeClr val="bg1"/>
                </a:solidFill>
              </a:rPr>
              <a:t>Retirando</a:t>
            </a:r>
            <a:r>
              <a:rPr lang="es-ES" sz="1600" kern="0" dirty="0" smtClean="0">
                <a:solidFill>
                  <a:schemeClr val="bg1"/>
                </a:solidFill>
              </a:rPr>
              <a:t> </a:t>
            </a:r>
            <a:endParaRPr kumimoji="0" lang="es-ES" sz="1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22" name="Oval 21"/>
          <p:cNvSpPr/>
          <p:nvPr/>
        </p:nvSpPr>
        <p:spPr bwMode="auto">
          <a:xfrm flipH="1">
            <a:off x="7320951" y="3572325"/>
            <a:ext cx="2710396" cy="1327054"/>
          </a:xfrm>
          <a:prstGeom prst="ellipse">
            <a:avLst/>
          </a:prstGeom>
          <a:solidFill>
            <a:srgbClr val="002C77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91224" bIns="45612" numCol="1" rtlCol="0" anchor="ctr" anchorCtr="0" compatLnSpc="1">
            <a:prstTxWarp prst="textNoShape">
              <a:avLst/>
            </a:prstTxWarp>
          </a:bodyPr>
          <a:lstStyle/>
          <a:p>
            <a:pPr lvl="0" algn="ctr" defTabSz="911995">
              <a:defRPr/>
            </a:pPr>
            <a:r>
              <a:rPr lang="es-ES" sz="1600" b="1" kern="0" dirty="0">
                <a:solidFill>
                  <a:schemeClr val="bg1"/>
                </a:solidFill>
              </a:rPr>
              <a:t>Banca Local </a:t>
            </a:r>
            <a:r>
              <a:rPr lang="es-ES" sz="1600" kern="0" dirty="0">
                <a:solidFill>
                  <a:schemeClr val="bg1"/>
                </a:solidFill>
              </a:rPr>
              <a:t>se </a:t>
            </a:r>
            <a:endParaRPr lang="es-ES" sz="1600" kern="0" dirty="0" smtClean="0">
              <a:solidFill>
                <a:schemeClr val="bg1"/>
              </a:solidFill>
            </a:endParaRPr>
          </a:p>
          <a:p>
            <a:pPr lvl="0" algn="ctr" defTabSz="911995">
              <a:defRPr/>
            </a:pPr>
            <a:r>
              <a:rPr lang="es-ES" sz="1600" kern="0" dirty="0" smtClean="0">
                <a:solidFill>
                  <a:schemeClr val="bg1"/>
                </a:solidFill>
              </a:rPr>
              <a:t>está </a:t>
            </a:r>
            <a:r>
              <a:rPr lang="es-ES" sz="1600" b="1" kern="0" dirty="0" smtClean="0">
                <a:solidFill>
                  <a:schemeClr val="bg1"/>
                </a:solidFill>
              </a:rPr>
              <a:t>Consolidando</a:t>
            </a:r>
            <a:endParaRPr lang="es-ES" sz="1600" b="1" kern="0" dirty="0">
              <a:solidFill>
                <a:schemeClr val="bg1"/>
              </a:solidFill>
            </a:endParaRPr>
          </a:p>
        </p:txBody>
      </p:sp>
      <p:cxnSp>
        <p:nvCxnSpPr>
          <p:cNvPr id="7" name="Straight Arrow Connector 6"/>
          <p:cNvCxnSpPr/>
          <p:nvPr/>
        </p:nvCxnSpPr>
        <p:spPr>
          <a:xfrm flipH="1">
            <a:off x="3516680" y="2861737"/>
            <a:ext cx="1271742" cy="577451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2"/>
          <a:srcRect l="6597" t="12843" r="6835" b="11584"/>
          <a:stretch/>
        </p:blipFill>
        <p:spPr>
          <a:xfrm>
            <a:off x="5205054" y="1577599"/>
            <a:ext cx="1642132" cy="1417421"/>
          </a:xfrm>
          <a:prstGeom prst="rect">
            <a:avLst/>
          </a:prstGeom>
        </p:spPr>
      </p:pic>
      <p:cxnSp>
        <p:nvCxnSpPr>
          <p:cNvPr id="33" name="Straight Arrow Connector 32"/>
          <p:cNvCxnSpPr/>
          <p:nvPr/>
        </p:nvCxnSpPr>
        <p:spPr>
          <a:xfrm>
            <a:off x="7263818" y="2861737"/>
            <a:ext cx="1247136" cy="577451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3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74630" y="5225298"/>
            <a:ext cx="1054530" cy="1054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0981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áfico 20">
            <a:extLst>
              <a:ext uri="{FF2B5EF4-FFF2-40B4-BE49-F238E27FC236}">
                <a16:creationId xmlns:a16="http://schemas.microsoft.com/office/drawing/2014/main" id="{817E433A-5086-48EB-8B95-A1A0173261B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 l="1581" r="-1"/>
          <a:stretch/>
        </p:blipFill>
        <p:spPr>
          <a:xfrm rot="10800000" flipH="1">
            <a:off x="22587" y="1297883"/>
            <a:ext cx="7729151" cy="1517156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29E3387-BD17-064C-B7EA-B9116209A1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9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29E3387-BD17-064C-B7EA-B9116209A1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BBE9D5F8-78DA-FA49-BBF2-249E3BBB161F}"/>
              </a:ext>
            </a:extLst>
          </p:cNvPr>
          <p:cNvSpPr txBox="1"/>
          <p:nvPr/>
        </p:nvSpPr>
        <p:spPr>
          <a:xfrm>
            <a:off x="12523304" y="858740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dirty="0"/>
          </a:p>
        </p:txBody>
      </p:sp>
      <p:pic>
        <p:nvPicPr>
          <p:cNvPr id="11" name="Picture Placeholder 6">
            <a:extLst>
              <a:ext uri="{FF2B5EF4-FFF2-40B4-BE49-F238E27FC236}">
                <a16:creationId xmlns:a16="http://schemas.microsoft.com/office/drawing/2014/main" id="{0F8DD143-E437-214B-9440-CAC594208671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155" r="30155"/>
          <a:stretch/>
        </p:blipFill>
        <p:spPr>
          <a:xfrm>
            <a:off x="8056582" y="0"/>
            <a:ext cx="4135418" cy="6858000"/>
          </a:xfrm>
        </p:spPr>
      </p:pic>
      <p:sp>
        <p:nvSpPr>
          <p:cNvPr id="8" name="Marcador de texto 6">
            <a:extLst>
              <a:ext uri="{FF2B5EF4-FFF2-40B4-BE49-F238E27FC236}">
                <a16:creationId xmlns:a16="http://schemas.microsoft.com/office/drawing/2014/main" id="{3E67773C-8E7A-460A-B4AD-049E8EAADB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439563" y="1919380"/>
            <a:ext cx="7410633" cy="318476"/>
          </a:xfrm>
        </p:spPr>
        <p:txBody>
          <a:bodyPr/>
          <a:lstStyle/>
          <a:p>
            <a:r>
              <a:rPr lang="es-ES" sz="1600" kern="0" dirty="0" smtClean="0">
                <a:solidFill>
                  <a:srgbClr val="009DE0"/>
                </a:solidFill>
              </a:rPr>
              <a:t>Modernización </a:t>
            </a:r>
            <a:r>
              <a:rPr lang="es-ES" sz="1600" kern="0" dirty="0">
                <a:solidFill>
                  <a:srgbClr val="009DE0"/>
                </a:solidFill>
              </a:rPr>
              <a:t>tecnológica, </a:t>
            </a:r>
            <a:r>
              <a:rPr lang="es-ES" sz="1600" kern="0" dirty="0" smtClean="0">
                <a:solidFill>
                  <a:srgbClr val="009DE0"/>
                </a:solidFill>
              </a:rPr>
              <a:t>revolución </a:t>
            </a:r>
            <a:r>
              <a:rPr lang="es-ES" sz="1600" kern="0" dirty="0">
                <a:solidFill>
                  <a:srgbClr val="009DE0"/>
                </a:solidFill>
              </a:rPr>
              <a:t>– o </a:t>
            </a:r>
            <a:r>
              <a:rPr lang="es-ES" sz="1600" kern="0" dirty="0" smtClean="0">
                <a:solidFill>
                  <a:srgbClr val="009DE0"/>
                </a:solidFill>
              </a:rPr>
              <a:t>despertar.</a:t>
            </a:r>
            <a:endParaRPr lang="es-ES" sz="1600" dirty="0">
              <a:solidFill>
                <a:srgbClr val="009DE0"/>
              </a:solidFill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0C0C9419-2579-4889-8CB7-53801043FE2C}"/>
              </a:ext>
            </a:extLst>
          </p:cNvPr>
          <p:cNvSpPr txBox="1"/>
          <p:nvPr/>
        </p:nvSpPr>
        <p:spPr>
          <a:xfrm>
            <a:off x="1276475" y="2890036"/>
            <a:ext cx="552767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 err="1" smtClean="0">
                <a:solidFill>
                  <a:schemeClr val="accent5"/>
                </a:solidFill>
              </a:rPr>
              <a:t>Ecosistemas</a:t>
            </a:r>
            <a:endParaRPr lang="en-US" sz="2400" b="1" dirty="0">
              <a:solidFill>
                <a:schemeClr val="accent5"/>
              </a:solidFill>
            </a:endParaRPr>
          </a:p>
        </p:txBody>
      </p:sp>
      <p:sp>
        <p:nvSpPr>
          <p:cNvPr id="13" name="Rectangle 32">
            <a:extLst>
              <a:ext uri="{FF2B5EF4-FFF2-40B4-BE49-F238E27FC236}">
                <a16:creationId xmlns:a16="http://schemas.microsoft.com/office/drawing/2014/main" id="{6C50E200-2FD9-4270-A162-0BC38EF3C4D2}"/>
              </a:ext>
            </a:extLst>
          </p:cNvPr>
          <p:cNvSpPr/>
          <p:nvPr/>
        </p:nvSpPr>
        <p:spPr>
          <a:xfrm>
            <a:off x="1058608" y="3809932"/>
            <a:ext cx="5734050" cy="754818"/>
          </a:xfrm>
          <a:prstGeom prst="rect">
            <a:avLst/>
          </a:prstGeom>
          <a:noFill/>
          <a:ln>
            <a:noFill/>
          </a:ln>
        </p:spPr>
        <p:txBody>
          <a:bodyPr wrap="square" lIns="243840" tIns="243840" rIns="243840" bIns="243840">
            <a:noAutofit/>
          </a:bodyPr>
          <a:lstStyle/>
          <a:p>
            <a:pPr lvl="0"/>
            <a:r>
              <a:rPr lang="en-US" sz="2400" b="1" dirty="0" err="1" smtClean="0">
                <a:solidFill>
                  <a:schemeClr val="accent5"/>
                </a:solidFill>
              </a:rPr>
              <a:t>Transformación</a:t>
            </a:r>
            <a:r>
              <a:rPr lang="en-US" sz="2400" b="1" dirty="0" smtClean="0">
                <a:solidFill>
                  <a:schemeClr val="accent5"/>
                </a:solidFill>
              </a:rPr>
              <a:t> Digital</a:t>
            </a:r>
            <a:endParaRPr lang="es-PA" sz="20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14" name="Graphic 1776">
            <a:extLst>
              <a:ext uri="{FF2B5EF4-FFF2-40B4-BE49-F238E27FC236}">
                <a16:creationId xmlns:a16="http://schemas.microsoft.com/office/drawing/2014/main" id="{E7AD0470-3CDB-4D66-B303-2B05CEBFFA80}"/>
              </a:ext>
            </a:extLst>
          </p:cNvPr>
          <p:cNvSpPr/>
          <p:nvPr/>
        </p:nvSpPr>
        <p:spPr>
          <a:xfrm>
            <a:off x="349296" y="1490275"/>
            <a:ext cx="819275" cy="894706"/>
          </a:xfrm>
          <a:custGeom>
            <a:avLst/>
            <a:gdLst>
              <a:gd name="connsiteX0" fmla="*/ 186771 w 334342"/>
              <a:gd name="connsiteY0" fmla="*/ 0 h 365125"/>
              <a:gd name="connsiteX1" fmla="*/ 183728 w 334342"/>
              <a:gd name="connsiteY1" fmla="*/ 0 h 365125"/>
              <a:gd name="connsiteX2" fmla="*/ 30072 w 334342"/>
              <a:gd name="connsiteY2" fmla="*/ 147571 h 365125"/>
              <a:gd name="connsiteX3" fmla="*/ 30072 w 334342"/>
              <a:gd name="connsiteY3" fmla="*/ 164306 h 365125"/>
              <a:gd name="connsiteX4" fmla="*/ 1166 w 334342"/>
              <a:gd name="connsiteY4" fmla="*/ 237331 h 365125"/>
              <a:gd name="connsiteX5" fmla="*/ 8773 w 334342"/>
              <a:gd name="connsiteY5" fmla="*/ 257109 h 365125"/>
              <a:gd name="connsiteX6" fmla="*/ 30072 w 334342"/>
              <a:gd name="connsiteY6" fmla="*/ 267758 h 365125"/>
              <a:gd name="connsiteX7" fmla="*/ 30072 w 334342"/>
              <a:gd name="connsiteY7" fmla="*/ 319484 h 365125"/>
              <a:gd name="connsiteX8" fmla="*/ 75712 w 334342"/>
              <a:gd name="connsiteY8" fmla="*/ 365125 h 365125"/>
              <a:gd name="connsiteX9" fmla="*/ 136567 w 334342"/>
              <a:gd name="connsiteY9" fmla="*/ 365125 h 365125"/>
              <a:gd name="connsiteX10" fmla="*/ 227848 w 334342"/>
              <a:gd name="connsiteY10" fmla="*/ 273844 h 365125"/>
              <a:gd name="connsiteX11" fmla="*/ 227848 w 334342"/>
              <a:gd name="connsiteY11" fmla="*/ 211468 h 365125"/>
              <a:gd name="connsiteX12" fmla="*/ 273488 w 334342"/>
              <a:gd name="connsiteY12" fmla="*/ 152135 h 365125"/>
              <a:gd name="connsiteX13" fmla="*/ 212634 w 334342"/>
              <a:gd name="connsiteY13" fmla="*/ 91281 h 365125"/>
              <a:gd name="connsiteX14" fmla="*/ 151780 w 334342"/>
              <a:gd name="connsiteY14" fmla="*/ 152135 h 365125"/>
              <a:gd name="connsiteX15" fmla="*/ 197421 w 334342"/>
              <a:gd name="connsiteY15" fmla="*/ 211468 h 365125"/>
              <a:gd name="connsiteX16" fmla="*/ 197421 w 334342"/>
              <a:gd name="connsiteY16" fmla="*/ 273844 h 365125"/>
              <a:gd name="connsiteX17" fmla="*/ 136567 w 334342"/>
              <a:gd name="connsiteY17" fmla="*/ 334698 h 365125"/>
              <a:gd name="connsiteX18" fmla="*/ 75712 w 334342"/>
              <a:gd name="connsiteY18" fmla="*/ 334698 h 365125"/>
              <a:gd name="connsiteX19" fmla="*/ 60499 w 334342"/>
              <a:gd name="connsiteY19" fmla="*/ 319484 h 365125"/>
              <a:gd name="connsiteX20" fmla="*/ 60499 w 334342"/>
              <a:gd name="connsiteY20" fmla="*/ 258630 h 365125"/>
              <a:gd name="connsiteX21" fmla="*/ 51371 w 334342"/>
              <a:gd name="connsiteY21" fmla="*/ 244938 h 365125"/>
              <a:gd name="connsiteX22" fmla="*/ 33114 w 334342"/>
              <a:gd name="connsiteY22" fmla="*/ 235810 h 365125"/>
              <a:gd name="connsiteX23" fmla="*/ 58977 w 334342"/>
              <a:gd name="connsiteY23" fmla="*/ 173434 h 365125"/>
              <a:gd name="connsiteX24" fmla="*/ 60499 w 334342"/>
              <a:gd name="connsiteY24" fmla="*/ 167349 h 365125"/>
              <a:gd name="connsiteX25" fmla="*/ 60499 w 334342"/>
              <a:gd name="connsiteY25" fmla="*/ 147571 h 365125"/>
              <a:gd name="connsiteX26" fmla="*/ 186771 w 334342"/>
              <a:gd name="connsiteY26" fmla="*/ 30427 h 365125"/>
              <a:gd name="connsiteX27" fmla="*/ 303915 w 334342"/>
              <a:gd name="connsiteY27" fmla="*/ 153657 h 365125"/>
              <a:gd name="connsiteX28" fmla="*/ 262839 w 334342"/>
              <a:gd name="connsiteY28" fmla="*/ 243417 h 365125"/>
              <a:gd name="connsiteX29" fmla="*/ 258275 w 334342"/>
              <a:gd name="connsiteY29" fmla="*/ 254066 h 365125"/>
              <a:gd name="connsiteX30" fmla="*/ 258275 w 334342"/>
              <a:gd name="connsiteY30" fmla="*/ 349911 h 365125"/>
              <a:gd name="connsiteX31" fmla="*/ 273488 w 334342"/>
              <a:gd name="connsiteY31" fmla="*/ 365125 h 365125"/>
              <a:gd name="connsiteX32" fmla="*/ 288702 w 334342"/>
              <a:gd name="connsiteY32" fmla="*/ 349911 h 365125"/>
              <a:gd name="connsiteX33" fmla="*/ 288702 w 334342"/>
              <a:gd name="connsiteY33" fmla="*/ 260152 h 365125"/>
              <a:gd name="connsiteX34" fmla="*/ 334343 w 334342"/>
              <a:gd name="connsiteY34" fmla="*/ 153657 h 365125"/>
              <a:gd name="connsiteX35" fmla="*/ 186771 w 334342"/>
              <a:gd name="connsiteY35" fmla="*/ 0 h 365125"/>
              <a:gd name="connsiteX36" fmla="*/ 182207 w 334342"/>
              <a:gd name="connsiteY36" fmla="*/ 152135 h 365125"/>
              <a:gd name="connsiteX37" fmla="*/ 212634 w 334342"/>
              <a:gd name="connsiteY37" fmla="*/ 121708 h 365125"/>
              <a:gd name="connsiteX38" fmla="*/ 243061 w 334342"/>
              <a:gd name="connsiteY38" fmla="*/ 152135 h 365125"/>
              <a:gd name="connsiteX39" fmla="*/ 212634 w 334342"/>
              <a:gd name="connsiteY39" fmla="*/ 182563 h 365125"/>
              <a:gd name="connsiteX40" fmla="*/ 182207 w 334342"/>
              <a:gd name="connsiteY40" fmla="*/ 152135 h 365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34342" h="365125">
                <a:moveTo>
                  <a:pt x="186771" y="0"/>
                </a:moveTo>
                <a:cubicBezTo>
                  <a:pt x="185250" y="0"/>
                  <a:pt x="185250" y="0"/>
                  <a:pt x="183728" y="0"/>
                </a:cubicBezTo>
                <a:cubicBezTo>
                  <a:pt x="100054" y="0"/>
                  <a:pt x="31593" y="65418"/>
                  <a:pt x="30072" y="147571"/>
                </a:cubicBezTo>
                <a:lnTo>
                  <a:pt x="30072" y="164306"/>
                </a:lnTo>
                <a:lnTo>
                  <a:pt x="1166" y="237331"/>
                </a:lnTo>
                <a:cubicBezTo>
                  <a:pt x="-1877" y="244938"/>
                  <a:pt x="1166" y="252545"/>
                  <a:pt x="8773" y="257109"/>
                </a:cubicBezTo>
                <a:lnTo>
                  <a:pt x="30072" y="267758"/>
                </a:lnTo>
                <a:lnTo>
                  <a:pt x="30072" y="319484"/>
                </a:lnTo>
                <a:cubicBezTo>
                  <a:pt x="30072" y="345347"/>
                  <a:pt x="49849" y="365125"/>
                  <a:pt x="75712" y="365125"/>
                </a:cubicBezTo>
                <a:lnTo>
                  <a:pt x="136567" y="365125"/>
                </a:lnTo>
                <a:cubicBezTo>
                  <a:pt x="188293" y="365125"/>
                  <a:pt x="227848" y="325570"/>
                  <a:pt x="227848" y="273844"/>
                </a:cubicBezTo>
                <a:lnTo>
                  <a:pt x="227848" y="211468"/>
                </a:lnTo>
                <a:cubicBezTo>
                  <a:pt x="253711" y="205383"/>
                  <a:pt x="273488" y="181041"/>
                  <a:pt x="273488" y="152135"/>
                </a:cubicBezTo>
                <a:cubicBezTo>
                  <a:pt x="273488" y="118666"/>
                  <a:pt x="246104" y="91281"/>
                  <a:pt x="212634" y="91281"/>
                </a:cubicBezTo>
                <a:cubicBezTo>
                  <a:pt x="179164" y="91281"/>
                  <a:pt x="151780" y="118666"/>
                  <a:pt x="151780" y="152135"/>
                </a:cubicBezTo>
                <a:cubicBezTo>
                  <a:pt x="151780" y="181041"/>
                  <a:pt x="171558" y="203861"/>
                  <a:pt x="197421" y="211468"/>
                </a:cubicBezTo>
                <a:lnTo>
                  <a:pt x="197421" y="273844"/>
                </a:lnTo>
                <a:cubicBezTo>
                  <a:pt x="197421" y="307314"/>
                  <a:pt x="170036" y="334698"/>
                  <a:pt x="136567" y="334698"/>
                </a:cubicBezTo>
                <a:lnTo>
                  <a:pt x="75712" y="334698"/>
                </a:lnTo>
                <a:cubicBezTo>
                  <a:pt x="66584" y="334698"/>
                  <a:pt x="60499" y="328613"/>
                  <a:pt x="60499" y="319484"/>
                </a:cubicBezTo>
                <a:lnTo>
                  <a:pt x="60499" y="258630"/>
                </a:lnTo>
                <a:cubicBezTo>
                  <a:pt x="60499" y="252545"/>
                  <a:pt x="57456" y="247981"/>
                  <a:pt x="51371" y="244938"/>
                </a:cubicBezTo>
                <a:lnTo>
                  <a:pt x="33114" y="235810"/>
                </a:lnTo>
                <a:lnTo>
                  <a:pt x="58977" y="173434"/>
                </a:lnTo>
                <a:cubicBezTo>
                  <a:pt x="60499" y="171913"/>
                  <a:pt x="60499" y="168870"/>
                  <a:pt x="60499" y="167349"/>
                </a:cubicBezTo>
                <a:lnTo>
                  <a:pt x="60499" y="147571"/>
                </a:lnTo>
                <a:cubicBezTo>
                  <a:pt x="62020" y="82153"/>
                  <a:pt x="118310" y="28906"/>
                  <a:pt x="186771" y="30427"/>
                </a:cubicBezTo>
                <a:cubicBezTo>
                  <a:pt x="252189" y="33470"/>
                  <a:pt x="303915" y="86717"/>
                  <a:pt x="303915" y="153657"/>
                </a:cubicBezTo>
                <a:cubicBezTo>
                  <a:pt x="303915" y="187127"/>
                  <a:pt x="288702" y="219075"/>
                  <a:pt x="262839" y="243417"/>
                </a:cubicBezTo>
                <a:cubicBezTo>
                  <a:pt x="259796" y="246459"/>
                  <a:pt x="258275" y="251023"/>
                  <a:pt x="258275" y="254066"/>
                </a:cubicBezTo>
                <a:lnTo>
                  <a:pt x="258275" y="349911"/>
                </a:lnTo>
                <a:cubicBezTo>
                  <a:pt x="258275" y="359040"/>
                  <a:pt x="264360" y="365125"/>
                  <a:pt x="273488" y="365125"/>
                </a:cubicBezTo>
                <a:cubicBezTo>
                  <a:pt x="282617" y="365125"/>
                  <a:pt x="288702" y="359040"/>
                  <a:pt x="288702" y="349911"/>
                </a:cubicBezTo>
                <a:lnTo>
                  <a:pt x="288702" y="260152"/>
                </a:lnTo>
                <a:cubicBezTo>
                  <a:pt x="317608" y="231246"/>
                  <a:pt x="334343" y="193212"/>
                  <a:pt x="334343" y="153657"/>
                </a:cubicBezTo>
                <a:cubicBezTo>
                  <a:pt x="334343" y="71504"/>
                  <a:pt x="270446" y="3043"/>
                  <a:pt x="186771" y="0"/>
                </a:cubicBezTo>
                <a:close/>
                <a:moveTo>
                  <a:pt x="182207" y="152135"/>
                </a:moveTo>
                <a:cubicBezTo>
                  <a:pt x="182207" y="135401"/>
                  <a:pt x="195899" y="121708"/>
                  <a:pt x="212634" y="121708"/>
                </a:cubicBezTo>
                <a:cubicBezTo>
                  <a:pt x="229369" y="121708"/>
                  <a:pt x="243061" y="135401"/>
                  <a:pt x="243061" y="152135"/>
                </a:cubicBezTo>
                <a:cubicBezTo>
                  <a:pt x="243061" y="168870"/>
                  <a:pt x="229369" y="182563"/>
                  <a:pt x="212634" y="182563"/>
                </a:cubicBezTo>
                <a:cubicBezTo>
                  <a:pt x="195899" y="182563"/>
                  <a:pt x="182207" y="168870"/>
                  <a:pt x="182207" y="152135"/>
                </a:cubicBezTo>
                <a:close/>
              </a:path>
            </a:pathLst>
          </a:custGeom>
          <a:solidFill>
            <a:schemeClr val="accent1"/>
          </a:solidFill>
          <a:ln w="1508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6" name="Graphic 1744">
            <a:extLst>
              <a:ext uri="{FF2B5EF4-FFF2-40B4-BE49-F238E27FC236}">
                <a16:creationId xmlns:a16="http://schemas.microsoft.com/office/drawing/2014/main" id="{859B11EF-8E3F-4F6C-918B-C21A0831529A}"/>
              </a:ext>
            </a:extLst>
          </p:cNvPr>
          <p:cNvGrpSpPr/>
          <p:nvPr/>
        </p:nvGrpSpPr>
        <p:grpSpPr>
          <a:xfrm>
            <a:off x="457200" y="2867888"/>
            <a:ext cx="517260" cy="549080"/>
            <a:chOff x="5442141" y="5568704"/>
            <a:chExt cx="365125" cy="365125"/>
          </a:xfrm>
          <a:solidFill>
            <a:schemeClr val="accent1"/>
          </a:solidFill>
        </p:grpSpPr>
        <p:sp>
          <p:nvSpPr>
            <p:cNvPr id="17" name="Freeform 126">
              <a:extLst>
                <a:ext uri="{FF2B5EF4-FFF2-40B4-BE49-F238E27FC236}">
                  <a16:creationId xmlns:a16="http://schemas.microsoft.com/office/drawing/2014/main" id="{40276BF8-F8B3-480A-981C-5AF7B0C11801}"/>
                </a:ext>
              </a:extLst>
            </p:cNvPr>
            <p:cNvSpPr/>
            <p:nvPr/>
          </p:nvSpPr>
          <p:spPr>
            <a:xfrm>
              <a:off x="5442141" y="5568704"/>
              <a:ext cx="365125" cy="365125"/>
            </a:xfrm>
            <a:custGeom>
              <a:avLst/>
              <a:gdLst>
                <a:gd name="connsiteX0" fmla="*/ 349911 w 365125"/>
                <a:gd name="connsiteY0" fmla="*/ 167349 h 365125"/>
                <a:gd name="connsiteX1" fmla="*/ 333177 w 365125"/>
                <a:gd name="connsiteY1" fmla="*/ 167349 h 365125"/>
                <a:gd name="connsiteX2" fmla="*/ 197776 w 365125"/>
                <a:gd name="connsiteY2" fmla="*/ 31948 h 365125"/>
                <a:gd name="connsiteX3" fmla="*/ 197776 w 365125"/>
                <a:gd name="connsiteY3" fmla="*/ 15214 h 365125"/>
                <a:gd name="connsiteX4" fmla="*/ 182563 w 365125"/>
                <a:gd name="connsiteY4" fmla="*/ 0 h 365125"/>
                <a:gd name="connsiteX5" fmla="*/ 167349 w 365125"/>
                <a:gd name="connsiteY5" fmla="*/ 15214 h 365125"/>
                <a:gd name="connsiteX6" fmla="*/ 167349 w 365125"/>
                <a:gd name="connsiteY6" fmla="*/ 31948 h 365125"/>
                <a:gd name="connsiteX7" fmla="*/ 31948 w 365125"/>
                <a:gd name="connsiteY7" fmla="*/ 167349 h 365125"/>
                <a:gd name="connsiteX8" fmla="*/ 15214 w 365125"/>
                <a:gd name="connsiteY8" fmla="*/ 167349 h 365125"/>
                <a:gd name="connsiteX9" fmla="*/ 0 w 365125"/>
                <a:gd name="connsiteY9" fmla="*/ 182563 h 365125"/>
                <a:gd name="connsiteX10" fmla="*/ 15214 w 365125"/>
                <a:gd name="connsiteY10" fmla="*/ 197776 h 365125"/>
                <a:gd name="connsiteX11" fmla="*/ 31948 w 365125"/>
                <a:gd name="connsiteY11" fmla="*/ 197776 h 365125"/>
                <a:gd name="connsiteX12" fmla="*/ 167349 w 365125"/>
                <a:gd name="connsiteY12" fmla="*/ 333177 h 365125"/>
                <a:gd name="connsiteX13" fmla="*/ 167349 w 365125"/>
                <a:gd name="connsiteY13" fmla="*/ 349911 h 365125"/>
                <a:gd name="connsiteX14" fmla="*/ 182563 w 365125"/>
                <a:gd name="connsiteY14" fmla="*/ 365125 h 365125"/>
                <a:gd name="connsiteX15" fmla="*/ 197776 w 365125"/>
                <a:gd name="connsiteY15" fmla="*/ 349911 h 365125"/>
                <a:gd name="connsiteX16" fmla="*/ 197776 w 365125"/>
                <a:gd name="connsiteY16" fmla="*/ 333177 h 365125"/>
                <a:gd name="connsiteX17" fmla="*/ 333177 w 365125"/>
                <a:gd name="connsiteY17" fmla="*/ 197776 h 365125"/>
                <a:gd name="connsiteX18" fmla="*/ 349911 w 365125"/>
                <a:gd name="connsiteY18" fmla="*/ 197776 h 365125"/>
                <a:gd name="connsiteX19" fmla="*/ 365125 w 365125"/>
                <a:gd name="connsiteY19" fmla="*/ 182563 h 365125"/>
                <a:gd name="connsiteX20" fmla="*/ 349911 w 365125"/>
                <a:gd name="connsiteY20" fmla="*/ 167349 h 365125"/>
                <a:gd name="connsiteX21" fmla="*/ 197776 w 365125"/>
                <a:gd name="connsiteY21" fmla="*/ 302749 h 365125"/>
                <a:gd name="connsiteX22" fmla="*/ 197776 w 365125"/>
                <a:gd name="connsiteY22" fmla="*/ 289057 h 365125"/>
                <a:gd name="connsiteX23" fmla="*/ 182563 w 365125"/>
                <a:gd name="connsiteY23" fmla="*/ 273844 h 365125"/>
                <a:gd name="connsiteX24" fmla="*/ 167349 w 365125"/>
                <a:gd name="connsiteY24" fmla="*/ 289057 h 365125"/>
                <a:gd name="connsiteX25" fmla="*/ 167349 w 365125"/>
                <a:gd name="connsiteY25" fmla="*/ 302749 h 365125"/>
                <a:gd name="connsiteX26" fmla="*/ 62376 w 365125"/>
                <a:gd name="connsiteY26" fmla="*/ 197776 h 365125"/>
                <a:gd name="connsiteX27" fmla="*/ 76068 w 365125"/>
                <a:gd name="connsiteY27" fmla="*/ 197776 h 365125"/>
                <a:gd name="connsiteX28" fmla="*/ 91281 w 365125"/>
                <a:gd name="connsiteY28" fmla="*/ 182563 h 365125"/>
                <a:gd name="connsiteX29" fmla="*/ 76068 w 365125"/>
                <a:gd name="connsiteY29" fmla="*/ 167349 h 365125"/>
                <a:gd name="connsiteX30" fmla="*/ 62376 w 365125"/>
                <a:gd name="connsiteY30" fmla="*/ 167349 h 365125"/>
                <a:gd name="connsiteX31" fmla="*/ 167349 w 365125"/>
                <a:gd name="connsiteY31" fmla="*/ 62376 h 365125"/>
                <a:gd name="connsiteX32" fmla="*/ 167349 w 365125"/>
                <a:gd name="connsiteY32" fmla="*/ 76068 h 365125"/>
                <a:gd name="connsiteX33" fmla="*/ 182563 w 365125"/>
                <a:gd name="connsiteY33" fmla="*/ 91281 h 365125"/>
                <a:gd name="connsiteX34" fmla="*/ 197776 w 365125"/>
                <a:gd name="connsiteY34" fmla="*/ 76068 h 365125"/>
                <a:gd name="connsiteX35" fmla="*/ 197776 w 365125"/>
                <a:gd name="connsiteY35" fmla="*/ 62376 h 365125"/>
                <a:gd name="connsiteX36" fmla="*/ 302749 w 365125"/>
                <a:gd name="connsiteY36" fmla="*/ 167349 h 365125"/>
                <a:gd name="connsiteX37" fmla="*/ 289057 w 365125"/>
                <a:gd name="connsiteY37" fmla="*/ 167349 h 365125"/>
                <a:gd name="connsiteX38" fmla="*/ 273844 w 365125"/>
                <a:gd name="connsiteY38" fmla="*/ 182563 h 365125"/>
                <a:gd name="connsiteX39" fmla="*/ 289057 w 365125"/>
                <a:gd name="connsiteY39" fmla="*/ 197776 h 365125"/>
                <a:gd name="connsiteX40" fmla="*/ 302749 w 365125"/>
                <a:gd name="connsiteY40" fmla="*/ 197776 h 365125"/>
                <a:gd name="connsiteX41" fmla="*/ 197776 w 365125"/>
                <a:gd name="connsiteY41" fmla="*/ 302749 h 365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365125" h="365125">
                  <a:moveTo>
                    <a:pt x="349911" y="167349"/>
                  </a:moveTo>
                  <a:lnTo>
                    <a:pt x="333177" y="167349"/>
                  </a:lnTo>
                  <a:cubicBezTo>
                    <a:pt x="325570" y="95845"/>
                    <a:pt x="269280" y="38034"/>
                    <a:pt x="197776" y="31948"/>
                  </a:cubicBezTo>
                  <a:lnTo>
                    <a:pt x="197776" y="15214"/>
                  </a:lnTo>
                  <a:cubicBezTo>
                    <a:pt x="197776" y="6085"/>
                    <a:pt x="191691" y="0"/>
                    <a:pt x="182563" y="0"/>
                  </a:cubicBezTo>
                  <a:cubicBezTo>
                    <a:pt x="173434" y="0"/>
                    <a:pt x="167349" y="6085"/>
                    <a:pt x="167349" y="15214"/>
                  </a:cubicBezTo>
                  <a:lnTo>
                    <a:pt x="167349" y="31948"/>
                  </a:lnTo>
                  <a:cubicBezTo>
                    <a:pt x="95845" y="38034"/>
                    <a:pt x="38034" y="95845"/>
                    <a:pt x="31948" y="167349"/>
                  </a:cubicBezTo>
                  <a:lnTo>
                    <a:pt x="15214" y="167349"/>
                  </a:lnTo>
                  <a:cubicBezTo>
                    <a:pt x="6085" y="167349"/>
                    <a:pt x="0" y="173434"/>
                    <a:pt x="0" y="182563"/>
                  </a:cubicBezTo>
                  <a:cubicBezTo>
                    <a:pt x="0" y="191691"/>
                    <a:pt x="6085" y="197776"/>
                    <a:pt x="15214" y="197776"/>
                  </a:cubicBezTo>
                  <a:lnTo>
                    <a:pt x="31948" y="197776"/>
                  </a:lnTo>
                  <a:cubicBezTo>
                    <a:pt x="39555" y="269280"/>
                    <a:pt x="95845" y="327091"/>
                    <a:pt x="167349" y="333177"/>
                  </a:cubicBezTo>
                  <a:lnTo>
                    <a:pt x="167349" y="349911"/>
                  </a:lnTo>
                  <a:cubicBezTo>
                    <a:pt x="167349" y="359040"/>
                    <a:pt x="173434" y="365125"/>
                    <a:pt x="182563" y="365125"/>
                  </a:cubicBezTo>
                  <a:cubicBezTo>
                    <a:pt x="191691" y="365125"/>
                    <a:pt x="197776" y="359040"/>
                    <a:pt x="197776" y="349911"/>
                  </a:cubicBezTo>
                  <a:lnTo>
                    <a:pt x="197776" y="333177"/>
                  </a:lnTo>
                  <a:cubicBezTo>
                    <a:pt x="269280" y="325570"/>
                    <a:pt x="327091" y="269280"/>
                    <a:pt x="333177" y="197776"/>
                  </a:cubicBezTo>
                  <a:lnTo>
                    <a:pt x="349911" y="197776"/>
                  </a:lnTo>
                  <a:cubicBezTo>
                    <a:pt x="359040" y="197776"/>
                    <a:pt x="365125" y="191691"/>
                    <a:pt x="365125" y="182563"/>
                  </a:cubicBezTo>
                  <a:cubicBezTo>
                    <a:pt x="365125" y="173434"/>
                    <a:pt x="359040" y="167349"/>
                    <a:pt x="349911" y="167349"/>
                  </a:cubicBezTo>
                  <a:close/>
                  <a:moveTo>
                    <a:pt x="197776" y="302749"/>
                  </a:moveTo>
                  <a:lnTo>
                    <a:pt x="197776" y="289057"/>
                  </a:lnTo>
                  <a:cubicBezTo>
                    <a:pt x="197776" y="279929"/>
                    <a:pt x="191691" y="273844"/>
                    <a:pt x="182563" y="273844"/>
                  </a:cubicBezTo>
                  <a:cubicBezTo>
                    <a:pt x="173434" y="273844"/>
                    <a:pt x="167349" y="279929"/>
                    <a:pt x="167349" y="289057"/>
                  </a:cubicBezTo>
                  <a:lnTo>
                    <a:pt x="167349" y="302749"/>
                  </a:lnTo>
                  <a:cubicBezTo>
                    <a:pt x="112580" y="295143"/>
                    <a:pt x="68461" y="252545"/>
                    <a:pt x="62376" y="197776"/>
                  </a:cubicBezTo>
                  <a:lnTo>
                    <a:pt x="76068" y="197776"/>
                  </a:lnTo>
                  <a:cubicBezTo>
                    <a:pt x="85196" y="197776"/>
                    <a:pt x="91281" y="191691"/>
                    <a:pt x="91281" y="182563"/>
                  </a:cubicBezTo>
                  <a:cubicBezTo>
                    <a:pt x="91281" y="173434"/>
                    <a:pt x="85196" y="167349"/>
                    <a:pt x="76068" y="167349"/>
                  </a:cubicBezTo>
                  <a:lnTo>
                    <a:pt x="62376" y="167349"/>
                  </a:lnTo>
                  <a:cubicBezTo>
                    <a:pt x="68461" y="112580"/>
                    <a:pt x="112580" y="68461"/>
                    <a:pt x="167349" y="62376"/>
                  </a:cubicBezTo>
                  <a:lnTo>
                    <a:pt x="167349" y="76068"/>
                  </a:lnTo>
                  <a:cubicBezTo>
                    <a:pt x="167349" y="85196"/>
                    <a:pt x="173434" y="91281"/>
                    <a:pt x="182563" y="91281"/>
                  </a:cubicBezTo>
                  <a:cubicBezTo>
                    <a:pt x="191691" y="91281"/>
                    <a:pt x="197776" y="85196"/>
                    <a:pt x="197776" y="76068"/>
                  </a:cubicBezTo>
                  <a:lnTo>
                    <a:pt x="197776" y="62376"/>
                  </a:lnTo>
                  <a:cubicBezTo>
                    <a:pt x="252545" y="69982"/>
                    <a:pt x="296664" y="112580"/>
                    <a:pt x="302749" y="167349"/>
                  </a:cubicBezTo>
                  <a:lnTo>
                    <a:pt x="289057" y="167349"/>
                  </a:lnTo>
                  <a:cubicBezTo>
                    <a:pt x="279929" y="167349"/>
                    <a:pt x="273844" y="173434"/>
                    <a:pt x="273844" y="182563"/>
                  </a:cubicBezTo>
                  <a:cubicBezTo>
                    <a:pt x="273844" y="191691"/>
                    <a:pt x="279929" y="197776"/>
                    <a:pt x="289057" y="197776"/>
                  </a:cubicBezTo>
                  <a:lnTo>
                    <a:pt x="302749" y="197776"/>
                  </a:lnTo>
                  <a:cubicBezTo>
                    <a:pt x="296664" y="252545"/>
                    <a:pt x="252545" y="296664"/>
                    <a:pt x="197776" y="302749"/>
                  </a:cubicBezTo>
                  <a:close/>
                </a:path>
              </a:pathLst>
            </a:custGeom>
            <a:grpFill/>
            <a:ln w="1508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 127">
              <a:extLst>
                <a:ext uri="{FF2B5EF4-FFF2-40B4-BE49-F238E27FC236}">
                  <a16:creationId xmlns:a16="http://schemas.microsoft.com/office/drawing/2014/main" id="{EFA0036D-2C7F-40DD-A1D7-D0FE7109DE1D}"/>
                </a:ext>
              </a:extLst>
            </p:cNvPr>
            <p:cNvSpPr/>
            <p:nvPr/>
          </p:nvSpPr>
          <p:spPr>
            <a:xfrm>
              <a:off x="5594276" y="5720839"/>
              <a:ext cx="60854" cy="60854"/>
            </a:xfrm>
            <a:custGeom>
              <a:avLst/>
              <a:gdLst>
                <a:gd name="connsiteX0" fmla="*/ 60854 w 60854"/>
                <a:gd name="connsiteY0" fmla="*/ 30427 h 60854"/>
                <a:gd name="connsiteX1" fmla="*/ 30427 w 60854"/>
                <a:gd name="connsiteY1" fmla="*/ 60854 h 60854"/>
                <a:gd name="connsiteX2" fmla="*/ 0 w 60854"/>
                <a:gd name="connsiteY2" fmla="*/ 30427 h 60854"/>
                <a:gd name="connsiteX3" fmla="*/ 30427 w 60854"/>
                <a:gd name="connsiteY3" fmla="*/ 0 h 60854"/>
                <a:gd name="connsiteX4" fmla="*/ 60854 w 60854"/>
                <a:gd name="connsiteY4" fmla="*/ 30427 h 60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854" h="60854">
                  <a:moveTo>
                    <a:pt x="60854" y="30427"/>
                  </a:moveTo>
                  <a:cubicBezTo>
                    <a:pt x="60854" y="47231"/>
                    <a:pt x="47231" y="60854"/>
                    <a:pt x="30427" y="60854"/>
                  </a:cubicBezTo>
                  <a:cubicBezTo>
                    <a:pt x="13623" y="60854"/>
                    <a:pt x="0" y="47231"/>
                    <a:pt x="0" y="30427"/>
                  </a:cubicBezTo>
                  <a:cubicBezTo>
                    <a:pt x="0" y="13623"/>
                    <a:pt x="13623" y="0"/>
                    <a:pt x="30427" y="0"/>
                  </a:cubicBezTo>
                  <a:cubicBezTo>
                    <a:pt x="47231" y="0"/>
                    <a:pt x="60854" y="13623"/>
                    <a:pt x="60854" y="30427"/>
                  </a:cubicBezTo>
                  <a:close/>
                </a:path>
              </a:pathLst>
            </a:custGeom>
            <a:grpFill/>
            <a:ln w="1508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9" name="Graphic 1896">
            <a:extLst>
              <a:ext uri="{FF2B5EF4-FFF2-40B4-BE49-F238E27FC236}">
                <a16:creationId xmlns:a16="http://schemas.microsoft.com/office/drawing/2014/main" id="{132BBF74-785B-4A68-AE4E-6CA7B50BE751}"/>
              </a:ext>
            </a:extLst>
          </p:cNvPr>
          <p:cNvSpPr/>
          <p:nvPr/>
        </p:nvSpPr>
        <p:spPr>
          <a:xfrm>
            <a:off x="454260" y="4094684"/>
            <a:ext cx="473615" cy="320296"/>
          </a:xfrm>
          <a:custGeom>
            <a:avLst/>
            <a:gdLst>
              <a:gd name="connsiteX0" fmla="*/ 330895 w 334317"/>
              <a:gd name="connsiteY0" fmla="*/ 97367 h 212989"/>
              <a:gd name="connsiteX1" fmla="*/ 166588 w 334317"/>
              <a:gd name="connsiteY1" fmla="*/ 0 h 212989"/>
              <a:gd name="connsiteX2" fmla="*/ 2282 w 334317"/>
              <a:gd name="connsiteY2" fmla="*/ 97367 h 212989"/>
              <a:gd name="connsiteX3" fmla="*/ 2282 w 334317"/>
              <a:gd name="connsiteY3" fmla="*/ 114102 h 212989"/>
              <a:gd name="connsiteX4" fmla="*/ 166588 w 334317"/>
              <a:gd name="connsiteY4" fmla="*/ 212990 h 212989"/>
              <a:gd name="connsiteX5" fmla="*/ 330895 w 334317"/>
              <a:gd name="connsiteY5" fmla="*/ 115623 h 212989"/>
              <a:gd name="connsiteX6" fmla="*/ 330895 w 334317"/>
              <a:gd name="connsiteY6" fmla="*/ 97367 h 212989"/>
              <a:gd name="connsiteX7" fmla="*/ 212229 w 334317"/>
              <a:gd name="connsiteY7" fmla="*/ 76068 h 212989"/>
              <a:gd name="connsiteX8" fmla="*/ 166588 w 334317"/>
              <a:gd name="connsiteY8" fmla="*/ 121708 h 212989"/>
              <a:gd name="connsiteX9" fmla="*/ 120948 w 334317"/>
              <a:gd name="connsiteY9" fmla="*/ 76068 h 212989"/>
              <a:gd name="connsiteX10" fmla="*/ 166588 w 334317"/>
              <a:gd name="connsiteY10" fmla="*/ 30427 h 212989"/>
              <a:gd name="connsiteX11" fmla="*/ 212229 w 334317"/>
              <a:gd name="connsiteY11" fmla="*/ 76068 h 212989"/>
              <a:gd name="connsiteX12" fmla="*/ 166588 w 334317"/>
              <a:gd name="connsiteY12" fmla="*/ 182563 h 212989"/>
              <a:gd name="connsiteX13" fmla="*/ 32709 w 334317"/>
              <a:gd name="connsiteY13" fmla="*/ 106495 h 212989"/>
              <a:gd name="connsiteX14" fmla="*/ 93563 w 334317"/>
              <a:gd name="connsiteY14" fmla="*/ 51726 h 212989"/>
              <a:gd name="connsiteX15" fmla="*/ 90521 w 334317"/>
              <a:gd name="connsiteY15" fmla="*/ 76068 h 212989"/>
              <a:gd name="connsiteX16" fmla="*/ 166588 w 334317"/>
              <a:gd name="connsiteY16" fmla="*/ 152135 h 212989"/>
              <a:gd name="connsiteX17" fmla="*/ 242656 w 334317"/>
              <a:gd name="connsiteY17" fmla="*/ 76068 h 212989"/>
              <a:gd name="connsiteX18" fmla="*/ 238092 w 334317"/>
              <a:gd name="connsiteY18" fmla="*/ 51726 h 212989"/>
              <a:gd name="connsiteX19" fmla="*/ 298946 w 334317"/>
              <a:gd name="connsiteY19" fmla="*/ 106495 h 212989"/>
              <a:gd name="connsiteX20" fmla="*/ 166588 w 334317"/>
              <a:gd name="connsiteY20" fmla="*/ 182563 h 212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34317" h="212989">
                <a:moveTo>
                  <a:pt x="330895" y="97367"/>
                </a:moveTo>
                <a:cubicBezTo>
                  <a:pt x="329373" y="94324"/>
                  <a:pt x="265476" y="0"/>
                  <a:pt x="166588" y="0"/>
                </a:cubicBezTo>
                <a:cubicBezTo>
                  <a:pt x="67700" y="0"/>
                  <a:pt x="3803" y="94324"/>
                  <a:pt x="2282" y="97367"/>
                </a:cubicBezTo>
                <a:cubicBezTo>
                  <a:pt x="-761" y="101931"/>
                  <a:pt x="-761" y="109538"/>
                  <a:pt x="2282" y="114102"/>
                </a:cubicBezTo>
                <a:cubicBezTo>
                  <a:pt x="3803" y="118666"/>
                  <a:pt x="67700" y="212990"/>
                  <a:pt x="166588" y="212990"/>
                </a:cubicBezTo>
                <a:cubicBezTo>
                  <a:pt x="265476" y="212990"/>
                  <a:pt x="329373" y="118666"/>
                  <a:pt x="330895" y="115623"/>
                </a:cubicBezTo>
                <a:cubicBezTo>
                  <a:pt x="335459" y="109538"/>
                  <a:pt x="335459" y="103452"/>
                  <a:pt x="330895" y="97367"/>
                </a:cubicBezTo>
                <a:close/>
                <a:moveTo>
                  <a:pt x="212229" y="76068"/>
                </a:moveTo>
                <a:cubicBezTo>
                  <a:pt x="212229" y="101931"/>
                  <a:pt x="192451" y="121708"/>
                  <a:pt x="166588" y="121708"/>
                </a:cubicBezTo>
                <a:cubicBezTo>
                  <a:pt x="140725" y="121708"/>
                  <a:pt x="120948" y="101931"/>
                  <a:pt x="120948" y="76068"/>
                </a:cubicBezTo>
                <a:cubicBezTo>
                  <a:pt x="120948" y="50205"/>
                  <a:pt x="140725" y="30427"/>
                  <a:pt x="166588" y="30427"/>
                </a:cubicBezTo>
                <a:cubicBezTo>
                  <a:pt x="192451" y="30427"/>
                  <a:pt x="212229" y="50205"/>
                  <a:pt x="212229" y="76068"/>
                </a:cubicBezTo>
                <a:close/>
                <a:moveTo>
                  <a:pt x="166588" y="182563"/>
                </a:moveTo>
                <a:cubicBezTo>
                  <a:pt x="101170" y="182563"/>
                  <a:pt x="50965" y="127794"/>
                  <a:pt x="32709" y="106495"/>
                </a:cubicBezTo>
                <a:cubicBezTo>
                  <a:pt x="43359" y="94324"/>
                  <a:pt x="64658" y="69982"/>
                  <a:pt x="93563" y="51726"/>
                </a:cubicBezTo>
                <a:cubicBezTo>
                  <a:pt x="92042" y="59333"/>
                  <a:pt x="90521" y="66940"/>
                  <a:pt x="90521" y="76068"/>
                </a:cubicBezTo>
                <a:cubicBezTo>
                  <a:pt x="90521" y="118666"/>
                  <a:pt x="123990" y="152135"/>
                  <a:pt x="166588" y="152135"/>
                </a:cubicBezTo>
                <a:cubicBezTo>
                  <a:pt x="209186" y="152135"/>
                  <a:pt x="242656" y="118666"/>
                  <a:pt x="242656" y="76068"/>
                </a:cubicBezTo>
                <a:cubicBezTo>
                  <a:pt x="242656" y="66940"/>
                  <a:pt x="241135" y="59333"/>
                  <a:pt x="238092" y="51726"/>
                </a:cubicBezTo>
                <a:cubicBezTo>
                  <a:pt x="266998" y="69982"/>
                  <a:pt x="289818" y="94324"/>
                  <a:pt x="298946" y="106495"/>
                </a:cubicBezTo>
                <a:cubicBezTo>
                  <a:pt x="282211" y="127794"/>
                  <a:pt x="232007" y="182563"/>
                  <a:pt x="166588" y="182563"/>
                </a:cubicBezTo>
                <a:close/>
              </a:path>
            </a:pathLst>
          </a:custGeom>
          <a:solidFill>
            <a:schemeClr val="accent1"/>
          </a:solidFill>
          <a:ln w="1508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5" name="Graphic 1730">
            <a:extLst>
              <a:ext uri="{FF2B5EF4-FFF2-40B4-BE49-F238E27FC236}">
                <a16:creationId xmlns:a16="http://schemas.microsoft.com/office/drawing/2014/main" id="{B705288D-CF44-48FC-9398-82FD36093784}"/>
              </a:ext>
            </a:extLst>
          </p:cNvPr>
          <p:cNvSpPr/>
          <p:nvPr/>
        </p:nvSpPr>
        <p:spPr>
          <a:xfrm>
            <a:off x="465140" y="5150281"/>
            <a:ext cx="593468" cy="498693"/>
          </a:xfrm>
          <a:custGeom>
            <a:avLst/>
            <a:gdLst>
              <a:gd name="connsiteX0" fmla="*/ 365125 w 365125"/>
              <a:gd name="connsiteY0" fmla="*/ 121708 h 365125"/>
              <a:gd name="connsiteX1" fmla="*/ 319484 w 365125"/>
              <a:gd name="connsiteY1" fmla="*/ 76068 h 365125"/>
              <a:gd name="connsiteX2" fmla="*/ 286015 w 365125"/>
              <a:gd name="connsiteY2" fmla="*/ 91281 h 365125"/>
              <a:gd name="connsiteX3" fmla="*/ 182563 w 365125"/>
              <a:gd name="connsiteY3" fmla="*/ 48683 h 365125"/>
              <a:gd name="connsiteX4" fmla="*/ 182563 w 365125"/>
              <a:gd name="connsiteY4" fmla="*/ 45641 h 365125"/>
              <a:gd name="connsiteX5" fmla="*/ 136922 w 365125"/>
              <a:gd name="connsiteY5" fmla="*/ 0 h 365125"/>
              <a:gd name="connsiteX6" fmla="*/ 91281 w 365125"/>
              <a:gd name="connsiteY6" fmla="*/ 45641 h 365125"/>
              <a:gd name="connsiteX7" fmla="*/ 100409 w 365125"/>
              <a:gd name="connsiteY7" fmla="*/ 73025 h 365125"/>
              <a:gd name="connsiteX8" fmla="*/ 56290 w 365125"/>
              <a:gd name="connsiteY8" fmla="*/ 138443 h 365125"/>
              <a:gd name="connsiteX9" fmla="*/ 45641 w 365125"/>
              <a:gd name="connsiteY9" fmla="*/ 136922 h 365125"/>
              <a:gd name="connsiteX10" fmla="*/ 0 w 365125"/>
              <a:gd name="connsiteY10" fmla="*/ 182563 h 365125"/>
              <a:gd name="connsiteX11" fmla="*/ 45641 w 365125"/>
              <a:gd name="connsiteY11" fmla="*/ 228203 h 365125"/>
              <a:gd name="connsiteX12" fmla="*/ 91281 w 365125"/>
              <a:gd name="connsiteY12" fmla="*/ 188648 h 365125"/>
              <a:gd name="connsiteX13" fmla="*/ 269280 w 365125"/>
              <a:gd name="connsiteY13" fmla="*/ 147571 h 365125"/>
              <a:gd name="connsiteX14" fmla="*/ 158221 w 365125"/>
              <a:gd name="connsiteY14" fmla="*/ 247981 h 365125"/>
              <a:gd name="connsiteX15" fmla="*/ 136922 w 365125"/>
              <a:gd name="connsiteY15" fmla="*/ 243417 h 365125"/>
              <a:gd name="connsiteX16" fmla="*/ 91281 w 365125"/>
              <a:gd name="connsiteY16" fmla="*/ 289057 h 365125"/>
              <a:gd name="connsiteX17" fmla="*/ 136922 w 365125"/>
              <a:gd name="connsiteY17" fmla="*/ 334698 h 365125"/>
              <a:gd name="connsiteX18" fmla="*/ 182563 w 365125"/>
              <a:gd name="connsiteY18" fmla="*/ 289057 h 365125"/>
              <a:gd name="connsiteX19" fmla="*/ 179520 w 365125"/>
              <a:gd name="connsiteY19" fmla="*/ 270801 h 365125"/>
              <a:gd name="connsiteX20" fmla="*/ 298185 w 365125"/>
              <a:gd name="connsiteY20" fmla="*/ 162785 h 365125"/>
              <a:gd name="connsiteX21" fmla="*/ 281451 w 365125"/>
              <a:gd name="connsiteY21" fmla="*/ 275365 h 365125"/>
              <a:gd name="connsiteX22" fmla="*/ 243417 w 365125"/>
              <a:gd name="connsiteY22" fmla="*/ 319484 h 365125"/>
              <a:gd name="connsiteX23" fmla="*/ 289057 w 365125"/>
              <a:gd name="connsiteY23" fmla="*/ 365125 h 365125"/>
              <a:gd name="connsiteX24" fmla="*/ 334698 w 365125"/>
              <a:gd name="connsiteY24" fmla="*/ 319484 h 365125"/>
              <a:gd name="connsiteX25" fmla="*/ 310356 w 365125"/>
              <a:gd name="connsiteY25" fmla="*/ 279929 h 365125"/>
              <a:gd name="connsiteX26" fmla="*/ 328613 w 365125"/>
              <a:gd name="connsiteY26" fmla="*/ 167349 h 365125"/>
              <a:gd name="connsiteX27" fmla="*/ 365125 w 365125"/>
              <a:gd name="connsiteY27" fmla="*/ 121708 h 365125"/>
              <a:gd name="connsiteX28" fmla="*/ 136922 w 365125"/>
              <a:gd name="connsiteY28" fmla="*/ 304271 h 365125"/>
              <a:gd name="connsiteX29" fmla="*/ 121708 w 365125"/>
              <a:gd name="connsiteY29" fmla="*/ 289057 h 365125"/>
              <a:gd name="connsiteX30" fmla="*/ 136922 w 365125"/>
              <a:gd name="connsiteY30" fmla="*/ 273844 h 365125"/>
              <a:gd name="connsiteX31" fmla="*/ 152135 w 365125"/>
              <a:gd name="connsiteY31" fmla="*/ 289057 h 365125"/>
              <a:gd name="connsiteX32" fmla="*/ 136922 w 365125"/>
              <a:gd name="connsiteY32" fmla="*/ 304271 h 365125"/>
              <a:gd name="connsiteX33" fmla="*/ 319484 w 365125"/>
              <a:gd name="connsiteY33" fmla="*/ 106495 h 365125"/>
              <a:gd name="connsiteX34" fmla="*/ 334698 w 365125"/>
              <a:gd name="connsiteY34" fmla="*/ 121708 h 365125"/>
              <a:gd name="connsiteX35" fmla="*/ 319484 w 365125"/>
              <a:gd name="connsiteY35" fmla="*/ 136922 h 365125"/>
              <a:gd name="connsiteX36" fmla="*/ 304271 w 365125"/>
              <a:gd name="connsiteY36" fmla="*/ 121708 h 365125"/>
              <a:gd name="connsiteX37" fmla="*/ 305792 w 365125"/>
              <a:gd name="connsiteY37" fmla="*/ 117144 h 365125"/>
              <a:gd name="connsiteX38" fmla="*/ 307314 w 365125"/>
              <a:gd name="connsiteY38" fmla="*/ 115623 h 365125"/>
              <a:gd name="connsiteX39" fmla="*/ 307314 w 365125"/>
              <a:gd name="connsiteY39" fmla="*/ 115623 h 365125"/>
              <a:gd name="connsiteX40" fmla="*/ 319484 w 365125"/>
              <a:gd name="connsiteY40" fmla="*/ 106495 h 365125"/>
              <a:gd name="connsiteX41" fmla="*/ 136922 w 365125"/>
              <a:gd name="connsiteY41" fmla="*/ 30427 h 365125"/>
              <a:gd name="connsiteX42" fmla="*/ 152135 w 365125"/>
              <a:gd name="connsiteY42" fmla="*/ 45641 h 365125"/>
              <a:gd name="connsiteX43" fmla="*/ 150614 w 365125"/>
              <a:gd name="connsiteY43" fmla="*/ 50205 h 365125"/>
              <a:gd name="connsiteX44" fmla="*/ 149093 w 365125"/>
              <a:gd name="connsiteY44" fmla="*/ 51726 h 365125"/>
              <a:gd name="connsiteX45" fmla="*/ 149093 w 365125"/>
              <a:gd name="connsiteY45" fmla="*/ 51726 h 365125"/>
              <a:gd name="connsiteX46" fmla="*/ 136922 w 365125"/>
              <a:gd name="connsiteY46" fmla="*/ 60854 h 365125"/>
              <a:gd name="connsiteX47" fmla="*/ 121708 w 365125"/>
              <a:gd name="connsiteY47" fmla="*/ 45641 h 365125"/>
              <a:gd name="connsiteX48" fmla="*/ 136922 w 365125"/>
              <a:gd name="connsiteY48" fmla="*/ 30427 h 365125"/>
              <a:gd name="connsiteX49" fmla="*/ 45641 w 365125"/>
              <a:gd name="connsiteY49" fmla="*/ 197776 h 365125"/>
              <a:gd name="connsiteX50" fmla="*/ 30427 w 365125"/>
              <a:gd name="connsiteY50" fmla="*/ 182563 h 365125"/>
              <a:gd name="connsiteX51" fmla="*/ 45641 w 365125"/>
              <a:gd name="connsiteY51" fmla="*/ 167349 h 365125"/>
              <a:gd name="connsiteX52" fmla="*/ 60854 w 365125"/>
              <a:gd name="connsiteY52" fmla="*/ 182563 h 365125"/>
              <a:gd name="connsiteX53" fmla="*/ 45641 w 365125"/>
              <a:gd name="connsiteY53" fmla="*/ 197776 h 365125"/>
              <a:gd name="connsiteX54" fmla="*/ 85196 w 365125"/>
              <a:gd name="connsiteY54" fmla="*/ 158221 h 365125"/>
              <a:gd name="connsiteX55" fmla="*/ 82153 w 365125"/>
              <a:gd name="connsiteY55" fmla="*/ 153657 h 365125"/>
              <a:gd name="connsiteX56" fmla="*/ 126272 w 365125"/>
              <a:gd name="connsiteY56" fmla="*/ 88239 h 365125"/>
              <a:gd name="connsiteX57" fmla="*/ 136922 w 365125"/>
              <a:gd name="connsiteY57" fmla="*/ 91281 h 365125"/>
              <a:gd name="connsiteX58" fmla="*/ 170392 w 365125"/>
              <a:gd name="connsiteY58" fmla="*/ 76068 h 365125"/>
              <a:gd name="connsiteX59" fmla="*/ 269280 w 365125"/>
              <a:gd name="connsiteY59" fmla="*/ 115623 h 365125"/>
              <a:gd name="connsiteX60" fmla="*/ 85196 w 365125"/>
              <a:gd name="connsiteY60" fmla="*/ 158221 h 365125"/>
              <a:gd name="connsiteX61" fmla="*/ 289057 w 365125"/>
              <a:gd name="connsiteY61" fmla="*/ 334698 h 365125"/>
              <a:gd name="connsiteX62" fmla="*/ 273844 w 365125"/>
              <a:gd name="connsiteY62" fmla="*/ 319484 h 365125"/>
              <a:gd name="connsiteX63" fmla="*/ 289057 w 365125"/>
              <a:gd name="connsiteY63" fmla="*/ 304271 h 365125"/>
              <a:gd name="connsiteX64" fmla="*/ 304271 w 365125"/>
              <a:gd name="connsiteY64" fmla="*/ 319484 h 365125"/>
              <a:gd name="connsiteX65" fmla="*/ 289057 w 365125"/>
              <a:gd name="connsiteY65" fmla="*/ 334698 h 365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65125" h="365125">
                <a:moveTo>
                  <a:pt x="365125" y="121708"/>
                </a:moveTo>
                <a:cubicBezTo>
                  <a:pt x="365125" y="95845"/>
                  <a:pt x="345347" y="76068"/>
                  <a:pt x="319484" y="76068"/>
                </a:cubicBezTo>
                <a:cubicBezTo>
                  <a:pt x="305792" y="76068"/>
                  <a:pt x="295143" y="82153"/>
                  <a:pt x="286015" y="91281"/>
                </a:cubicBezTo>
                <a:lnTo>
                  <a:pt x="182563" y="48683"/>
                </a:lnTo>
                <a:cubicBezTo>
                  <a:pt x="182563" y="47162"/>
                  <a:pt x="182563" y="47162"/>
                  <a:pt x="182563" y="45641"/>
                </a:cubicBezTo>
                <a:cubicBezTo>
                  <a:pt x="182563" y="19778"/>
                  <a:pt x="162785" y="0"/>
                  <a:pt x="136922" y="0"/>
                </a:cubicBezTo>
                <a:cubicBezTo>
                  <a:pt x="111059" y="0"/>
                  <a:pt x="91281" y="19778"/>
                  <a:pt x="91281" y="45641"/>
                </a:cubicBezTo>
                <a:cubicBezTo>
                  <a:pt x="91281" y="56290"/>
                  <a:pt x="94324" y="65418"/>
                  <a:pt x="100409" y="73025"/>
                </a:cubicBezTo>
                <a:lnTo>
                  <a:pt x="56290" y="138443"/>
                </a:lnTo>
                <a:cubicBezTo>
                  <a:pt x="53247" y="136922"/>
                  <a:pt x="48683" y="136922"/>
                  <a:pt x="45641" y="136922"/>
                </a:cubicBezTo>
                <a:cubicBezTo>
                  <a:pt x="19778" y="136922"/>
                  <a:pt x="0" y="156699"/>
                  <a:pt x="0" y="182563"/>
                </a:cubicBezTo>
                <a:cubicBezTo>
                  <a:pt x="0" y="208426"/>
                  <a:pt x="19778" y="228203"/>
                  <a:pt x="45641" y="228203"/>
                </a:cubicBezTo>
                <a:cubicBezTo>
                  <a:pt x="68461" y="228203"/>
                  <a:pt x="88239" y="211468"/>
                  <a:pt x="91281" y="188648"/>
                </a:cubicBezTo>
                <a:lnTo>
                  <a:pt x="269280" y="147571"/>
                </a:lnTo>
                <a:lnTo>
                  <a:pt x="158221" y="247981"/>
                </a:lnTo>
                <a:cubicBezTo>
                  <a:pt x="152135" y="244938"/>
                  <a:pt x="144529" y="243417"/>
                  <a:pt x="136922" y="243417"/>
                </a:cubicBezTo>
                <a:cubicBezTo>
                  <a:pt x="111059" y="243417"/>
                  <a:pt x="91281" y="263194"/>
                  <a:pt x="91281" y="289057"/>
                </a:cubicBezTo>
                <a:cubicBezTo>
                  <a:pt x="91281" y="314920"/>
                  <a:pt x="111059" y="334698"/>
                  <a:pt x="136922" y="334698"/>
                </a:cubicBezTo>
                <a:cubicBezTo>
                  <a:pt x="162785" y="334698"/>
                  <a:pt x="182563" y="314920"/>
                  <a:pt x="182563" y="289057"/>
                </a:cubicBezTo>
                <a:cubicBezTo>
                  <a:pt x="182563" y="282972"/>
                  <a:pt x="181041" y="276886"/>
                  <a:pt x="179520" y="270801"/>
                </a:cubicBezTo>
                <a:lnTo>
                  <a:pt x="298185" y="162785"/>
                </a:lnTo>
                <a:lnTo>
                  <a:pt x="281451" y="275365"/>
                </a:lnTo>
                <a:cubicBezTo>
                  <a:pt x="260152" y="278408"/>
                  <a:pt x="243417" y="296664"/>
                  <a:pt x="243417" y="319484"/>
                </a:cubicBezTo>
                <a:cubicBezTo>
                  <a:pt x="243417" y="345347"/>
                  <a:pt x="263194" y="365125"/>
                  <a:pt x="289057" y="365125"/>
                </a:cubicBezTo>
                <a:cubicBezTo>
                  <a:pt x="314920" y="365125"/>
                  <a:pt x="334698" y="345347"/>
                  <a:pt x="334698" y="319484"/>
                </a:cubicBezTo>
                <a:cubicBezTo>
                  <a:pt x="334698" y="302749"/>
                  <a:pt x="325570" y="287536"/>
                  <a:pt x="310356" y="279929"/>
                </a:cubicBezTo>
                <a:lnTo>
                  <a:pt x="328613" y="167349"/>
                </a:lnTo>
                <a:cubicBezTo>
                  <a:pt x="348390" y="162785"/>
                  <a:pt x="365125" y="144529"/>
                  <a:pt x="365125" y="121708"/>
                </a:cubicBezTo>
                <a:close/>
                <a:moveTo>
                  <a:pt x="136922" y="304271"/>
                </a:moveTo>
                <a:cubicBezTo>
                  <a:pt x="127794" y="304271"/>
                  <a:pt x="121708" y="298185"/>
                  <a:pt x="121708" y="289057"/>
                </a:cubicBezTo>
                <a:cubicBezTo>
                  <a:pt x="121708" y="279929"/>
                  <a:pt x="127794" y="273844"/>
                  <a:pt x="136922" y="273844"/>
                </a:cubicBezTo>
                <a:cubicBezTo>
                  <a:pt x="146050" y="273844"/>
                  <a:pt x="152135" y="279929"/>
                  <a:pt x="152135" y="289057"/>
                </a:cubicBezTo>
                <a:cubicBezTo>
                  <a:pt x="152135" y="298185"/>
                  <a:pt x="146050" y="304271"/>
                  <a:pt x="136922" y="304271"/>
                </a:cubicBezTo>
                <a:close/>
                <a:moveTo>
                  <a:pt x="319484" y="106495"/>
                </a:moveTo>
                <a:cubicBezTo>
                  <a:pt x="328613" y="106495"/>
                  <a:pt x="334698" y="112580"/>
                  <a:pt x="334698" y="121708"/>
                </a:cubicBezTo>
                <a:cubicBezTo>
                  <a:pt x="334698" y="130836"/>
                  <a:pt x="328613" y="136922"/>
                  <a:pt x="319484" y="136922"/>
                </a:cubicBezTo>
                <a:cubicBezTo>
                  <a:pt x="310356" y="136922"/>
                  <a:pt x="304271" y="130836"/>
                  <a:pt x="304271" y="121708"/>
                </a:cubicBezTo>
                <a:cubicBezTo>
                  <a:pt x="304271" y="120187"/>
                  <a:pt x="304271" y="118666"/>
                  <a:pt x="305792" y="117144"/>
                </a:cubicBezTo>
                <a:cubicBezTo>
                  <a:pt x="305792" y="117144"/>
                  <a:pt x="305792" y="115623"/>
                  <a:pt x="307314" y="115623"/>
                </a:cubicBezTo>
                <a:cubicBezTo>
                  <a:pt x="307314" y="115623"/>
                  <a:pt x="307314" y="115623"/>
                  <a:pt x="307314" y="115623"/>
                </a:cubicBezTo>
                <a:cubicBezTo>
                  <a:pt x="308835" y="109538"/>
                  <a:pt x="313399" y="106495"/>
                  <a:pt x="319484" y="106495"/>
                </a:cubicBezTo>
                <a:close/>
                <a:moveTo>
                  <a:pt x="136922" y="30427"/>
                </a:moveTo>
                <a:cubicBezTo>
                  <a:pt x="146050" y="30427"/>
                  <a:pt x="152135" y="36513"/>
                  <a:pt x="152135" y="45641"/>
                </a:cubicBezTo>
                <a:cubicBezTo>
                  <a:pt x="152135" y="47162"/>
                  <a:pt x="152135" y="48683"/>
                  <a:pt x="150614" y="50205"/>
                </a:cubicBezTo>
                <a:cubicBezTo>
                  <a:pt x="150614" y="50205"/>
                  <a:pt x="150614" y="51726"/>
                  <a:pt x="149093" y="51726"/>
                </a:cubicBezTo>
                <a:cubicBezTo>
                  <a:pt x="149093" y="51726"/>
                  <a:pt x="149093" y="51726"/>
                  <a:pt x="149093" y="51726"/>
                </a:cubicBezTo>
                <a:cubicBezTo>
                  <a:pt x="147571" y="57811"/>
                  <a:pt x="143007" y="60854"/>
                  <a:pt x="136922" y="60854"/>
                </a:cubicBezTo>
                <a:cubicBezTo>
                  <a:pt x="127794" y="60854"/>
                  <a:pt x="121708" y="54769"/>
                  <a:pt x="121708" y="45641"/>
                </a:cubicBezTo>
                <a:cubicBezTo>
                  <a:pt x="121708" y="36513"/>
                  <a:pt x="127794" y="30427"/>
                  <a:pt x="136922" y="30427"/>
                </a:cubicBezTo>
                <a:close/>
                <a:moveTo>
                  <a:pt x="45641" y="197776"/>
                </a:moveTo>
                <a:cubicBezTo>
                  <a:pt x="36513" y="197776"/>
                  <a:pt x="30427" y="191691"/>
                  <a:pt x="30427" y="182563"/>
                </a:cubicBezTo>
                <a:cubicBezTo>
                  <a:pt x="30427" y="173434"/>
                  <a:pt x="36513" y="167349"/>
                  <a:pt x="45641" y="167349"/>
                </a:cubicBezTo>
                <a:cubicBezTo>
                  <a:pt x="54769" y="167349"/>
                  <a:pt x="60854" y="173434"/>
                  <a:pt x="60854" y="182563"/>
                </a:cubicBezTo>
                <a:cubicBezTo>
                  <a:pt x="60854" y="191691"/>
                  <a:pt x="54769" y="197776"/>
                  <a:pt x="45641" y="197776"/>
                </a:cubicBezTo>
                <a:close/>
                <a:moveTo>
                  <a:pt x="85196" y="158221"/>
                </a:moveTo>
                <a:cubicBezTo>
                  <a:pt x="83674" y="156699"/>
                  <a:pt x="83674" y="155178"/>
                  <a:pt x="82153" y="153657"/>
                </a:cubicBezTo>
                <a:lnTo>
                  <a:pt x="126272" y="88239"/>
                </a:lnTo>
                <a:cubicBezTo>
                  <a:pt x="129315" y="91281"/>
                  <a:pt x="133879" y="91281"/>
                  <a:pt x="136922" y="91281"/>
                </a:cubicBezTo>
                <a:cubicBezTo>
                  <a:pt x="150614" y="91281"/>
                  <a:pt x="161264" y="85196"/>
                  <a:pt x="170392" y="76068"/>
                </a:cubicBezTo>
                <a:lnTo>
                  <a:pt x="269280" y="115623"/>
                </a:lnTo>
                <a:lnTo>
                  <a:pt x="85196" y="158221"/>
                </a:lnTo>
                <a:close/>
                <a:moveTo>
                  <a:pt x="289057" y="334698"/>
                </a:moveTo>
                <a:cubicBezTo>
                  <a:pt x="279929" y="334698"/>
                  <a:pt x="273844" y="328613"/>
                  <a:pt x="273844" y="319484"/>
                </a:cubicBezTo>
                <a:cubicBezTo>
                  <a:pt x="273844" y="310356"/>
                  <a:pt x="279929" y="304271"/>
                  <a:pt x="289057" y="304271"/>
                </a:cubicBezTo>
                <a:cubicBezTo>
                  <a:pt x="298185" y="304271"/>
                  <a:pt x="304271" y="310356"/>
                  <a:pt x="304271" y="319484"/>
                </a:cubicBezTo>
                <a:cubicBezTo>
                  <a:pt x="304271" y="328613"/>
                  <a:pt x="298185" y="334698"/>
                  <a:pt x="289057" y="334698"/>
                </a:cubicBezTo>
                <a:close/>
              </a:path>
            </a:pathLst>
          </a:custGeom>
          <a:solidFill>
            <a:srgbClr val="002C77"/>
          </a:solidFill>
          <a:ln w="1508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0" name="Rectangle 32">
            <a:extLst>
              <a:ext uri="{FF2B5EF4-FFF2-40B4-BE49-F238E27FC236}">
                <a16:creationId xmlns:a16="http://schemas.microsoft.com/office/drawing/2014/main" id="{6C50E200-2FD9-4270-A162-0BC38EF3C4D2}"/>
              </a:ext>
            </a:extLst>
          </p:cNvPr>
          <p:cNvSpPr/>
          <p:nvPr/>
        </p:nvSpPr>
        <p:spPr>
          <a:xfrm>
            <a:off x="1058608" y="4982123"/>
            <a:ext cx="5734050" cy="754818"/>
          </a:xfrm>
          <a:prstGeom prst="rect">
            <a:avLst/>
          </a:prstGeom>
          <a:noFill/>
          <a:ln>
            <a:noFill/>
          </a:ln>
        </p:spPr>
        <p:txBody>
          <a:bodyPr wrap="square" lIns="243840" tIns="243840" rIns="243840" bIns="243840">
            <a:noAutofit/>
          </a:bodyPr>
          <a:lstStyle/>
          <a:p>
            <a:pPr lvl="0"/>
            <a:r>
              <a:rPr lang="en-US" sz="2400" b="1" dirty="0" err="1" smtClean="0">
                <a:solidFill>
                  <a:schemeClr val="accent5"/>
                </a:solidFill>
              </a:rPr>
              <a:t>Onmicanal</a:t>
            </a:r>
            <a:endParaRPr lang="es-PA" sz="20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22" name="Title 3"/>
          <p:cNvSpPr txBox="1">
            <a:spLocks/>
          </p:cNvSpPr>
          <p:nvPr/>
        </p:nvSpPr>
        <p:spPr>
          <a:xfrm>
            <a:off x="485776" y="355601"/>
            <a:ext cx="11223623" cy="4952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/>
              <a:t>Acesso a las Cooperativas de Ahorro y </a:t>
            </a:r>
            <a:r>
              <a:rPr lang="es-ES" dirty="0" smtClean="0"/>
              <a:t>Crédito </a:t>
            </a:r>
            <a:endParaRPr lang="en-US" dirty="0"/>
          </a:p>
        </p:txBody>
      </p:sp>
      <p:sp>
        <p:nvSpPr>
          <p:cNvPr id="24" name="Text Placeholder 5"/>
          <p:cNvSpPr txBox="1">
            <a:spLocks/>
          </p:cNvSpPr>
          <p:nvPr/>
        </p:nvSpPr>
        <p:spPr>
          <a:xfrm>
            <a:off x="485776" y="790858"/>
            <a:ext cx="11226800" cy="3204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16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238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dirty="0" smtClean="0">
                <a:solidFill>
                  <a:srgbClr val="002060"/>
                </a:solidFill>
              </a:rPr>
              <a:t>Banca Seguro</a:t>
            </a:r>
            <a:endParaRPr lang="en-US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1650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/>
          <p:cNvSpPr>
            <a:spLocks noGrp="1"/>
          </p:cNvSpPr>
          <p:nvPr>
            <p:ph type="body" sz="half" idx="2"/>
          </p:nvPr>
        </p:nvSpPr>
        <p:spPr>
          <a:xfrm>
            <a:off x="485776" y="711439"/>
            <a:ext cx="11223624" cy="318476"/>
          </a:xfrm>
        </p:spPr>
        <p:txBody>
          <a:bodyPr/>
          <a:lstStyle/>
          <a:p>
            <a:r>
              <a:rPr lang="es-ES" dirty="0">
                <a:solidFill>
                  <a:schemeClr val="accent1"/>
                </a:solidFill>
              </a:rPr>
              <a:t>Banca </a:t>
            </a:r>
            <a:r>
              <a:rPr lang="es-ES" dirty="0" smtClean="0">
                <a:solidFill>
                  <a:schemeClr val="accent1"/>
                </a:solidFill>
              </a:rPr>
              <a:t>Seguro</a:t>
            </a:r>
            <a:endParaRPr lang="es-CO" dirty="0">
              <a:solidFill>
                <a:schemeClr val="accent1"/>
              </a:solidFill>
            </a:endParaRPr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Acceso a las Cooperativas de Ahorro y Crédito </a:t>
            </a:r>
            <a:endParaRPr lang="es-ES" dirty="0"/>
          </a:p>
        </p:txBody>
      </p:sp>
      <p:grpSp>
        <p:nvGrpSpPr>
          <p:cNvPr id="2" name="Grupo 1"/>
          <p:cNvGrpSpPr/>
          <p:nvPr/>
        </p:nvGrpSpPr>
        <p:grpSpPr>
          <a:xfrm>
            <a:off x="2776561" y="2169999"/>
            <a:ext cx="5647675" cy="1706926"/>
            <a:chOff x="1438924" y="2080152"/>
            <a:chExt cx="7551845" cy="2838540"/>
          </a:xfrm>
        </p:grpSpPr>
        <p:grpSp>
          <p:nvGrpSpPr>
            <p:cNvPr id="41" name="Group 8"/>
            <p:cNvGrpSpPr/>
            <p:nvPr/>
          </p:nvGrpSpPr>
          <p:grpSpPr>
            <a:xfrm rot="10156384" flipH="1" flipV="1">
              <a:off x="1438924" y="2282053"/>
              <a:ext cx="7551845" cy="2398266"/>
              <a:chOff x="1377955" y="2640021"/>
              <a:chExt cx="5338759" cy="1695450"/>
            </a:xfrm>
          </p:grpSpPr>
          <p:sp>
            <p:nvSpPr>
              <p:cNvPr id="83" name="Freeform 6"/>
              <p:cNvSpPr>
                <a:spLocks/>
              </p:cNvSpPr>
              <p:nvPr/>
            </p:nvSpPr>
            <p:spPr bwMode="auto">
              <a:xfrm>
                <a:off x="1377955" y="2686057"/>
                <a:ext cx="4999037" cy="1649414"/>
              </a:xfrm>
              <a:custGeom>
                <a:avLst/>
                <a:gdLst>
                  <a:gd name="connsiteX0" fmla="*/ 4631 w 5810"/>
                  <a:gd name="connsiteY0" fmla="*/ 0 h 1072"/>
                  <a:gd name="connsiteX1" fmla="*/ 4681 w 5810"/>
                  <a:gd name="connsiteY1" fmla="*/ 0 h 1072"/>
                  <a:gd name="connsiteX2" fmla="*/ 4709 w 5810"/>
                  <a:gd name="connsiteY2" fmla="*/ 4 h 1072"/>
                  <a:gd name="connsiteX3" fmla="*/ 4740 w 5810"/>
                  <a:gd name="connsiteY3" fmla="*/ 13 h 1072"/>
                  <a:gd name="connsiteX4" fmla="*/ 4778 w 5810"/>
                  <a:gd name="connsiteY4" fmla="*/ 23 h 1072"/>
                  <a:gd name="connsiteX5" fmla="*/ 4819 w 5810"/>
                  <a:gd name="connsiteY5" fmla="*/ 40 h 1072"/>
                  <a:gd name="connsiteX6" fmla="*/ 4862 w 5810"/>
                  <a:gd name="connsiteY6" fmla="*/ 60 h 1072"/>
                  <a:gd name="connsiteX7" fmla="*/ 4910 w 5810"/>
                  <a:gd name="connsiteY7" fmla="*/ 89 h 1072"/>
                  <a:gd name="connsiteX8" fmla="*/ 4959 w 5810"/>
                  <a:gd name="connsiteY8" fmla="*/ 125 h 1072"/>
                  <a:gd name="connsiteX9" fmla="*/ 5009 w 5810"/>
                  <a:gd name="connsiteY9" fmla="*/ 170 h 1072"/>
                  <a:gd name="connsiteX10" fmla="*/ 5060 w 5810"/>
                  <a:gd name="connsiteY10" fmla="*/ 224 h 1072"/>
                  <a:gd name="connsiteX11" fmla="*/ 5112 w 5810"/>
                  <a:gd name="connsiteY11" fmla="*/ 286 h 1072"/>
                  <a:gd name="connsiteX12" fmla="*/ 5164 w 5810"/>
                  <a:gd name="connsiteY12" fmla="*/ 361 h 1072"/>
                  <a:gd name="connsiteX13" fmla="*/ 5215 w 5810"/>
                  <a:gd name="connsiteY13" fmla="*/ 448 h 1072"/>
                  <a:gd name="connsiteX14" fmla="*/ 5267 w 5810"/>
                  <a:gd name="connsiteY14" fmla="*/ 548 h 1072"/>
                  <a:gd name="connsiteX15" fmla="*/ 5312 w 5810"/>
                  <a:gd name="connsiteY15" fmla="*/ 633 h 1072"/>
                  <a:gd name="connsiteX16" fmla="*/ 5358 w 5810"/>
                  <a:gd name="connsiteY16" fmla="*/ 705 h 1072"/>
                  <a:gd name="connsiteX17" fmla="*/ 5405 w 5810"/>
                  <a:gd name="connsiteY17" fmla="*/ 767 h 1072"/>
                  <a:gd name="connsiteX18" fmla="*/ 5453 w 5810"/>
                  <a:gd name="connsiteY18" fmla="*/ 819 h 1072"/>
                  <a:gd name="connsiteX19" fmla="*/ 5498 w 5810"/>
                  <a:gd name="connsiteY19" fmla="*/ 863 h 1072"/>
                  <a:gd name="connsiteX20" fmla="*/ 5546 w 5810"/>
                  <a:gd name="connsiteY20" fmla="*/ 898 h 1072"/>
                  <a:gd name="connsiteX21" fmla="*/ 5589 w 5810"/>
                  <a:gd name="connsiteY21" fmla="*/ 927 h 1072"/>
                  <a:gd name="connsiteX22" fmla="*/ 5632 w 5810"/>
                  <a:gd name="connsiteY22" fmla="*/ 948 h 1072"/>
                  <a:gd name="connsiteX23" fmla="*/ 5669 w 5810"/>
                  <a:gd name="connsiteY23" fmla="*/ 962 h 1072"/>
                  <a:gd name="connsiteX24" fmla="*/ 5707 w 5810"/>
                  <a:gd name="connsiteY24" fmla="*/ 973 h 1072"/>
                  <a:gd name="connsiteX25" fmla="*/ 5736 w 5810"/>
                  <a:gd name="connsiteY25" fmla="*/ 981 h 1072"/>
                  <a:gd name="connsiteX26" fmla="*/ 5762 w 5810"/>
                  <a:gd name="connsiteY26" fmla="*/ 983 h 1072"/>
                  <a:gd name="connsiteX27" fmla="*/ 5781 w 5810"/>
                  <a:gd name="connsiteY27" fmla="*/ 985 h 1072"/>
                  <a:gd name="connsiteX28" fmla="*/ 5802 w 5810"/>
                  <a:gd name="connsiteY28" fmla="*/ 985 h 1072"/>
                  <a:gd name="connsiteX29" fmla="*/ 5810 w 5810"/>
                  <a:gd name="connsiteY29" fmla="*/ 1072 h 1072"/>
                  <a:gd name="connsiteX30" fmla="*/ 5775 w 5810"/>
                  <a:gd name="connsiteY30" fmla="*/ 1072 h 1072"/>
                  <a:gd name="connsiteX31" fmla="*/ 5748 w 5810"/>
                  <a:gd name="connsiteY31" fmla="*/ 1070 h 1072"/>
                  <a:gd name="connsiteX32" fmla="*/ 5717 w 5810"/>
                  <a:gd name="connsiteY32" fmla="*/ 1064 h 1072"/>
                  <a:gd name="connsiteX33" fmla="*/ 5680 w 5810"/>
                  <a:gd name="connsiteY33" fmla="*/ 1056 h 1072"/>
                  <a:gd name="connsiteX34" fmla="*/ 5638 w 5810"/>
                  <a:gd name="connsiteY34" fmla="*/ 1043 h 1072"/>
                  <a:gd name="connsiteX35" fmla="*/ 5593 w 5810"/>
                  <a:gd name="connsiteY35" fmla="*/ 1025 h 1072"/>
                  <a:gd name="connsiteX36" fmla="*/ 5546 w 5810"/>
                  <a:gd name="connsiteY36" fmla="*/ 1002 h 1072"/>
                  <a:gd name="connsiteX37" fmla="*/ 5496 w 5810"/>
                  <a:gd name="connsiteY37" fmla="*/ 971 h 1072"/>
                  <a:gd name="connsiteX38" fmla="*/ 5444 w 5810"/>
                  <a:gd name="connsiteY38" fmla="*/ 931 h 1072"/>
                  <a:gd name="connsiteX39" fmla="*/ 5393 w 5810"/>
                  <a:gd name="connsiteY39" fmla="*/ 881 h 1072"/>
                  <a:gd name="connsiteX40" fmla="*/ 5339 w 5810"/>
                  <a:gd name="connsiteY40" fmla="*/ 823 h 1072"/>
                  <a:gd name="connsiteX41" fmla="*/ 5288 w 5810"/>
                  <a:gd name="connsiteY41" fmla="*/ 755 h 1072"/>
                  <a:gd name="connsiteX42" fmla="*/ 5238 w 5810"/>
                  <a:gd name="connsiteY42" fmla="*/ 676 h 1072"/>
                  <a:gd name="connsiteX43" fmla="*/ 5190 w 5810"/>
                  <a:gd name="connsiteY43" fmla="*/ 583 h 1072"/>
                  <a:gd name="connsiteX44" fmla="*/ 5141 w 5810"/>
                  <a:gd name="connsiteY44" fmla="*/ 487 h 1072"/>
                  <a:gd name="connsiteX45" fmla="*/ 5091 w 5810"/>
                  <a:gd name="connsiteY45" fmla="*/ 404 h 1072"/>
                  <a:gd name="connsiteX46" fmla="*/ 5042 w 5810"/>
                  <a:gd name="connsiteY46" fmla="*/ 336 h 1072"/>
                  <a:gd name="connsiteX47" fmla="*/ 4992 w 5810"/>
                  <a:gd name="connsiteY47" fmla="*/ 276 h 1072"/>
                  <a:gd name="connsiteX48" fmla="*/ 4945 w 5810"/>
                  <a:gd name="connsiteY48" fmla="*/ 228 h 1072"/>
                  <a:gd name="connsiteX49" fmla="*/ 4899 w 5810"/>
                  <a:gd name="connsiteY49" fmla="*/ 189 h 1072"/>
                  <a:gd name="connsiteX50" fmla="*/ 4858 w 5810"/>
                  <a:gd name="connsiteY50" fmla="*/ 158 h 1072"/>
                  <a:gd name="connsiteX51" fmla="*/ 4819 w 5810"/>
                  <a:gd name="connsiteY51" fmla="*/ 135 h 1072"/>
                  <a:gd name="connsiteX52" fmla="*/ 4769 w 5810"/>
                  <a:gd name="connsiteY52" fmla="*/ 112 h 1072"/>
                  <a:gd name="connsiteX53" fmla="*/ 4726 w 5810"/>
                  <a:gd name="connsiteY53" fmla="*/ 98 h 1072"/>
                  <a:gd name="connsiteX54" fmla="*/ 4691 w 5810"/>
                  <a:gd name="connsiteY54" fmla="*/ 89 h 1072"/>
                  <a:gd name="connsiteX55" fmla="*/ 4662 w 5810"/>
                  <a:gd name="connsiteY55" fmla="*/ 87 h 1072"/>
                  <a:gd name="connsiteX56" fmla="*/ 4635 w 5810"/>
                  <a:gd name="connsiteY56" fmla="*/ 87 h 1072"/>
                  <a:gd name="connsiteX57" fmla="*/ 4569 w 5810"/>
                  <a:gd name="connsiteY57" fmla="*/ 93 h 1072"/>
                  <a:gd name="connsiteX58" fmla="*/ 4507 w 5810"/>
                  <a:gd name="connsiteY58" fmla="*/ 106 h 1072"/>
                  <a:gd name="connsiteX59" fmla="*/ 4451 w 5810"/>
                  <a:gd name="connsiteY59" fmla="*/ 127 h 1072"/>
                  <a:gd name="connsiteX60" fmla="*/ 4400 w 5810"/>
                  <a:gd name="connsiteY60" fmla="*/ 154 h 1072"/>
                  <a:gd name="connsiteX61" fmla="*/ 4352 w 5810"/>
                  <a:gd name="connsiteY61" fmla="*/ 187 h 1072"/>
                  <a:gd name="connsiteX62" fmla="*/ 4309 w 5810"/>
                  <a:gd name="connsiteY62" fmla="*/ 224 h 1072"/>
                  <a:gd name="connsiteX63" fmla="*/ 4270 w 5810"/>
                  <a:gd name="connsiteY63" fmla="*/ 268 h 1072"/>
                  <a:gd name="connsiteX64" fmla="*/ 4230 w 5810"/>
                  <a:gd name="connsiteY64" fmla="*/ 313 h 1072"/>
                  <a:gd name="connsiteX65" fmla="*/ 4195 w 5810"/>
                  <a:gd name="connsiteY65" fmla="*/ 363 h 1072"/>
                  <a:gd name="connsiteX66" fmla="*/ 4162 w 5810"/>
                  <a:gd name="connsiteY66" fmla="*/ 415 h 1072"/>
                  <a:gd name="connsiteX67" fmla="*/ 4100 w 5810"/>
                  <a:gd name="connsiteY67" fmla="*/ 523 h 1072"/>
                  <a:gd name="connsiteX68" fmla="*/ 4007 w 5810"/>
                  <a:gd name="connsiteY68" fmla="*/ 691 h 1072"/>
                  <a:gd name="connsiteX69" fmla="*/ 3974 w 5810"/>
                  <a:gd name="connsiteY69" fmla="*/ 747 h 1072"/>
                  <a:gd name="connsiteX70" fmla="*/ 3939 w 5810"/>
                  <a:gd name="connsiteY70" fmla="*/ 799 h 1072"/>
                  <a:gd name="connsiteX71" fmla="*/ 3904 w 5810"/>
                  <a:gd name="connsiteY71" fmla="*/ 848 h 1072"/>
                  <a:gd name="connsiteX72" fmla="*/ 3865 w 5810"/>
                  <a:gd name="connsiteY72" fmla="*/ 894 h 1072"/>
                  <a:gd name="connsiteX73" fmla="*/ 3824 w 5810"/>
                  <a:gd name="connsiteY73" fmla="*/ 935 h 1072"/>
                  <a:gd name="connsiteX74" fmla="*/ 3778 w 5810"/>
                  <a:gd name="connsiteY74" fmla="*/ 971 h 1072"/>
                  <a:gd name="connsiteX75" fmla="*/ 3729 w 5810"/>
                  <a:gd name="connsiteY75" fmla="*/ 1000 h 1072"/>
                  <a:gd name="connsiteX76" fmla="*/ 3677 w 5810"/>
                  <a:gd name="connsiteY76" fmla="*/ 1022 h 1072"/>
                  <a:gd name="connsiteX77" fmla="*/ 3619 w 5810"/>
                  <a:gd name="connsiteY77" fmla="*/ 1037 h 1072"/>
                  <a:gd name="connsiteX78" fmla="*/ 3555 w 5810"/>
                  <a:gd name="connsiteY78" fmla="*/ 1043 h 1072"/>
                  <a:gd name="connsiteX79" fmla="*/ 3547 w 5810"/>
                  <a:gd name="connsiteY79" fmla="*/ 1043 h 1072"/>
                  <a:gd name="connsiteX80" fmla="*/ 3485 w 5810"/>
                  <a:gd name="connsiteY80" fmla="*/ 1039 h 1072"/>
                  <a:gd name="connsiteX81" fmla="*/ 3425 w 5810"/>
                  <a:gd name="connsiteY81" fmla="*/ 1025 h 1072"/>
                  <a:gd name="connsiteX82" fmla="*/ 3372 w 5810"/>
                  <a:gd name="connsiteY82" fmla="*/ 1002 h 1072"/>
                  <a:gd name="connsiteX83" fmla="*/ 3320 w 5810"/>
                  <a:gd name="connsiteY83" fmla="*/ 973 h 1072"/>
                  <a:gd name="connsiteX84" fmla="*/ 3272 w 5810"/>
                  <a:gd name="connsiteY84" fmla="*/ 935 h 1072"/>
                  <a:gd name="connsiteX85" fmla="*/ 3229 w 5810"/>
                  <a:gd name="connsiteY85" fmla="*/ 894 h 1072"/>
                  <a:gd name="connsiteX86" fmla="*/ 3186 w 5810"/>
                  <a:gd name="connsiteY86" fmla="*/ 846 h 1072"/>
                  <a:gd name="connsiteX87" fmla="*/ 3146 w 5810"/>
                  <a:gd name="connsiteY87" fmla="*/ 796 h 1072"/>
                  <a:gd name="connsiteX88" fmla="*/ 3107 w 5810"/>
                  <a:gd name="connsiteY88" fmla="*/ 740 h 1072"/>
                  <a:gd name="connsiteX89" fmla="*/ 3070 w 5810"/>
                  <a:gd name="connsiteY89" fmla="*/ 684 h 1072"/>
                  <a:gd name="connsiteX90" fmla="*/ 2965 w 5810"/>
                  <a:gd name="connsiteY90" fmla="*/ 510 h 1072"/>
                  <a:gd name="connsiteX91" fmla="*/ 2928 w 5810"/>
                  <a:gd name="connsiteY91" fmla="*/ 452 h 1072"/>
                  <a:gd name="connsiteX92" fmla="*/ 2890 w 5810"/>
                  <a:gd name="connsiteY92" fmla="*/ 396 h 1072"/>
                  <a:gd name="connsiteX93" fmla="*/ 2853 w 5810"/>
                  <a:gd name="connsiteY93" fmla="*/ 342 h 1072"/>
                  <a:gd name="connsiteX94" fmla="*/ 2814 w 5810"/>
                  <a:gd name="connsiteY94" fmla="*/ 293 h 1072"/>
                  <a:gd name="connsiteX95" fmla="*/ 2773 w 5810"/>
                  <a:gd name="connsiteY95" fmla="*/ 247 h 1072"/>
                  <a:gd name="connsiteX96" fmla="*/ 2731 w 5810"/>
                  <a:gd name="connsiteY96" fmla="*/ 205 h 1072"/>
                  <a:gd name="connsiteX97" fmla="*/ 2686 w 5810"/>
                  <a:gd name="connsiteY97" fmla="*/ 168 h 1072"/>
                  <a:gd name="connsiteX98" fmla="*/ 2639 w 5810"/>
                  <a:gd name="connsiteY98" fmla="*/ 139 h 1072"/>
                  <a:gd name="connsiteX99" fmla="*/ 2587 w 5810"/>
                  <a:gd name="connsiteY99" fmla="*/ 116 h 1072"/>
                  <a:gd name="connsiteX100" fmla="*/ 2531 w 5810"/>
                  <a:gd name="connsiteY100" fmla="*/ 100 h 1072"/>
                  <a:gd name="connsiteX101" fmla="*/ 2473 w 5810"/>
                  <a:gd name="connsiteY101" fmla="*/ 91 h 1072"/>
                  <a:gd name="connsiteX102" fmla="*/ 2409 w 5810"/>
                  <a:gd name="connsiteY102" fmla="*/ 93 h 1072"/>
                  <a:gd name="connsiteX103" fmla="*/ 2341 w 5810"/>
                  <a:gd name="connsiteY103" fmla="*/ 104 h 1072"/>
                  <a:gd name="connsiteX104" fmla="*/ 2279 w 5810"/>
                  <a:gd name="connsiteY104" fmla="*/ 122 h 1072"/>
                  <a:gd name="connsiteX105" fmla="*/ 2222 w 5810"/>
                  <a:gd name="connsiteY105" fmla="*/ 147 h 1072"/>
                  <a:gd name="connsiteX106" fmla="*/ 2168 w 5810"/>
                  <a:gd name="connsiteY106" fmla="*/ 181 h 1072"/>
                  <a:gd name="connsiteX107" fmla="*/ 2116 w 5810"/>
                  <a:gd name="connsiteY107" fmla="*/ 218 h 1072"/>
                  <a:gd name="connsiteX108" fmla="*/ 2071 w 5810"/>
                  <a:gd name="connsiteY108" fmla="*/ 261 h 1072"/>
                  <a:gd name="connsiteX109" fmla="*/ 2025 w 5810"/>
                  <a:gd name="connsiteY109" fmla="*/ 307 h 1072"/>
                  <a:gd name="connsiteX110" fmla="*/ 1984 w 5810"/>
                  <a:gd name="connsiteY110" fmla="*/ 359 h 1072"/>
                  <a:gd name="connsiteX111" fmla="*/ 1945 w 5810"/>
                  <a:gd name="connsiteY111" fmla="*/ 413 h 1072"/>
                  <a:gd name="connsiteX112" fmla="*/ 1908 w 5810"/>
                  <a:gd name="connsiteY112" fmla="*/ 467 h 1072"/>
                  <a:gd name="connsiteX113" fmla="*/ 1871 w 5810"/>
                  <a:gd name="connsiteY113" fmla="*/ 523 h 1072"/>
                  <a:gd name="connsiteX114" fmla="*/ 1833 w 5810"/>
                  <a:gd name="connsiteY114" fmla="*/ 581 h 1072"/>
                  <a:gd name="connsiteX115" fmla="*/ 1798 w 5810"/>
                  <a:gd name="connsiteY115" fmla="*/ 637 h 1072"/>
                  <a:gd name="connsiteX116" fmla="*/ 1724 w 5810"/>
                  <a:gd name="connsiteY116" fmla="*/ 749 h 1072"/>
                  <a:gd name="connsiteX117" fmla="*/ 1685 w 5810"/>
                  <a:gd name="connsiteY117" fmla="*/ 801 h 1072"/>
                  <a:gd name="connsiteX118" fmla="*/ 1643 w 5810"/>
                  <a:gd name="connsiteY118" fmla="*/ 850 h 1072"/>
                  <a:gd name="connsiteX119" fmla="*/ 1600 w 5810"/>
                  <a:gd name="connsiteY119" fmla="*/ 896 h 1072"/>
                  <a:gd name="connsiteX120" fmla="*/ 1553 w 5810"/>
                  <a:gd name="connsiteY120" fmla="*/ 937 h 1072"/>
                  <a:gd name="connsiteX121" fmla="*/ 1503 w 5810"/>
                  <a:gd name="connsiteY121" fmla="*/ 973 h 1072"/>
                  <a:gd name="connsiteX122" fmla="*/ 1449 w 5810"/>
                  <a:gd name="connsiteY122" fmla="*/ 1002 h 1072"/>
                  <a:gd name="connsiteX123" fmla="*/ 1394 w 5810"/>
                  <a:gd name="connsiteY123" fmla="*/ 1025 h 1072"/>
                  <a:gd name="connsiteX124" fmla="*/ 1330 w 5810"/>
                  <a:gd name="connsiteY124" fmla="*/ 1037 h 1072"/>
                  <a:gd name="connsiteX125" fmla="*/ 1264 w 5810"/>
                  <a:gd name="connsiteY125" fmla="*/ 1043 h 1072"/>
                  <a:gd name="connsiteX126" fmla="*/ 1257 w 5810"/>
                  <a:gd name="connsiteY126" fmla="*/ 1043 h 1072"/>
                  <a:gd name="connsiteX127" fmla="*/ 1189 w 5810"/>
                  <a:gd name="connsiteY127" fmla="*/ 1039 h 1072"/>
                  <a:gd name="connsiteX128" fmla="*/ 1127 w 5810"/>
                  <a:gd name="connsiteY128" fmla="*/ 1027 h 1072"/>
                  <a:gd name="connsiteX129" fmla="*/ 1069 w 5810"/>
                  <a:gd name="connsiteY129" fmla="*/ 1008 h 1072"/>
                  <a:gd name="connsiteX130" fmla="*/ 1018 w 5810"/>
                  <a:gd name="connsiteY130" fmla="*/ 983 h 1072"/>
                  <a:gd name="connsiteX131" fmla="*/ 970 w 5810"/>
                  <a:gd name="connsiteY131" fmla="*/ 952 h 1072"/>
                  <a:gd name="connsiteX132" fmla="*/ 925 w 5810"/>
                  <a:gd name="connsiteY132" fmla="*/ 915 h 1072"/>
                  <a:gd name="connsiteX133" fmla="*/ 884 w 5810"/>
                  <a:gd name="connsiteY133" fmla="*/ 873 h 1072"/>
                  <a:gd name="connsiteX134" fmla="*/ 846 w 5810"/>
                  <a:gd name="connsiteY134" fmla="*/ 828 h 1072"/>
                  <a:gd name="connsiteX135" fmla="*/ 809 w 5810"/>
                  <a:gd name="connsiteY135" fmla="*/ 780 h 1072"/>
                  <a:gd name="connsiteX136" fmla="*/ 776 w 5810"/>
                  <a:gd name="connsiteY136" fmla="*/ 728 h 1072"/>
                  <a:gd name="connsiteX137" fmla="*/ 741 w 5810"/>
                  <a:gd name="connsiteY137" fmla="*/ 674 h 1072"/>
                  <a:gd name="connsiteX138" fmla="*/ 710 w 5810"/>
                  <a:gd name="connsiteY138" fmla="*/ 618 h 1072"/>
                  <a:gd name="connsiteX139" fmla="*/ 677 w 5810"/>
                  <a:gd name="connsiteY139" fmla="*/ 560 h 1072"/>
                  <a:gd name="connsiteX140" fmla="*/ 615 w 5810"/>
                  <a:gd name="connsiteY140" fmla="*/ 448 h 1072"/>
                  <a:gd name="connsiteX141" fmla="*/ 547 w 5810"/>
                  <a:gd name="connsiteY141" fmla="*/ 340 h 1072"/>
                  <a:gd name="connsiteX142" fmla="*/ 504 w 5810"/>
                  <a:gd name="connsiteY142" fmla="*/ 284 h 1072"/>
                  <a:gd name="connsiteX143" fmla="*/ 456 w 5810"/>
                  <a:gd name="connsiteY143" fmla="*/ 239 h 1072"/>
                  <a:gd name="connsiteX144" fmla="*/ 409 w 5810"/>
                  <a:gd name="connsiteY144" fmla="*/ 199 h 1072"/>
                  <a:gd name="connsiteX145" fmla="*/ 357 w 5810"/>
                  <a:gd name="connsiteY145" fmla="*/ 168 h 1072"/>
                  <a:gd name="connsiteX146" fmla="*/ 308 w 5810"/>
                  <a:gd name="connsiteY146" fmla="*/ 145 h 1072"/>
                  <a:gd name="connsiteX147" fmla="*/ 256 w 5810"/>
                  <a:gd name="connsiteY147" fmla="*/ 127 h 1072"/>
                  <a:gd name="connsiteX148" fmla="*/ 209 w 5810"/>
                  <a:gd name="connsiteY148" fmla="*/ 112 h 1072"/>
                  <a:gd name="connsiteX149" fmla="*/ 163 w 5810"/>
                  <a:gd name="connsiteY149" fmla="*/ 104 h 1072"/>
                  <a:gd name="connsiteX150" fmla="*/ 122 w 5810"/>
                  <a:gd name="connsiteY150" fmla="*/ 100 h 1072"/>
                  <a:gd name="connsiteX151" fmla="*/ 85 w 5810"/>
                  <a:gd name="connsiteY151" fmla="*/ 95 h 1072"/>
                  <a:gd name="connsiteX152" fmla="*/ 31 w 5810"/>
                  <a:gd name="connsiteY152" fmla="*/ 95 h 1072"/>
                  <a:gd name="connsiteX153" fmla="*/ 17 w 5810"/>
                  <a:gd name="connsiteY153" fmla="*/ 98 h 1072"/>
                  <a:gd name="connsiteX154" fmla="*/ 0 w 5810"/>
                  <a:gd name="connsiteY154" fmla="*/ 13 h 1072"/>
                  <a:gd name="connsiteX155" fmla="*/ 8 w 5810"/>
                  <a:gd name="connsiteY155" fmla="*/ 13 h 1072"/>
                  <a:gd name="connsiteX156" fmla="*/ 29 w 5810"/>
                  <a:gd name="connsiteY156" fmla="*/ 10 h 1072"/>
                  <a:gd name="connsiteX157" fmla="*/ 91 w 5810"/>
                  <a:gd name="connsiteY157" fmla="*/ 10 h 1072"/>
                  <a:gd name="connsiteX158" fmla="*/ 134 w 5810"/>
                  <a:gd name="connsiteY158" fmla="*/ 13 h 1072"/>
                  <a:gd name="connsiteX159" fmla="*/ 182 w 5810"/>
                  <a:gd name="connsiteY159" fmla="*/ 19 h 1072"/>
                  <a:gd name="connsiteX160" fmla="*/ 233 w 5810"/>
                  <a:gd name="connsiteY160" fmla="*/ 29 h 1072"/>
                  <a:gd name="connsiteX161" fmla="*/ 287 w 5810"/>
                  <a:gd name="connsiteY161" fmla="*/ 46 h 1072"/>
                  <a:gd name="connsiteX162" fmla="*/ 345 w 5810"/>
                  <a:gd name="connsiteY162" fmla="*/ 66 h 1072"/>
                  <a:gd name="connsiteX163" fmla="*/ 403 w 5810"/>
                  <a:gd name="connsiteY163" fmla="*/ 93 h 1072"/>
                  <a:gd name="connsiteX164" fmla="*/ 458 w 5810"/>
                  <a:gd name="connsiteY164" fmla="*/ 131 h 1072"/>
                  <a:gd name="connsiteX165" fmla="*/ 514 w 5810"/>
                  <a:gd name="connsiteY165" fmla="*/ 174 h 1072"/>
                  <a:gd name="connsiteX166" fmla="*/ 568 w 5810"/>
                  <a:gd name="connsiteY166" fmla="*/ 228 h 1072"/>
                  <a:gd name="connsiteX167" fmla="*/ 617 w 5810"/>
                  <a:gd name="connsiteY167" fmla="*/ 293 h 1072"/>
                  <a:gd name="connsiteX168" fmla="*/ 667 w 5810"/>
                  <a:gd name="connsiteY168" fmla="*/ 367 h 1072"/>
                  <a:gd name="connsiteX169" fmla="*/ 754 w 5810"/>
                  <a:gd name="connsiteY169" fmla="*/ 516 h 1072"/>
                  <a:gd name="connsiteX170" fmla="*/ 787 w 5810"/>
                  <a:gd name="connsiteY170" fmla="*/ 575 h 1072"/>
                  <a:gd name="connsiteX171" fmla="*/ 820 w 5810"/>
                  <a:gd name="connsiteY171" fmla="*/ 631 h 1072"/>
                  <a:gd name="connsiteX172" fmla="*/ 853 w 5810"/>
                  <a:gd name="connsiteY172" fmla="*/ 684 h 1072"/>
                  <a:gd name="connsiteX173" fmla="*/ 886 w 5810"/>
                  <a:gd name="connsiteY173" fmla="*/ 736 h 1072"/>
                  <a:gd name="connsiteX174" fmla="*/ 921 w 5810"/>
                  <a:gd name="connsiteY174" fmla="*/ 782 h 1072"/>
                  <a:gd name="connsiteX175" fmla="*/ 958 w 5810"/>
                  <a:gd name="connsiteY175" fmla="*/ 825 h 1072"/>
                  <a:gd name="connsiteX176" fmla="*/ 999 w 5810"/>
                  <a:gd name="connsiteY176" fmla="*/ 863 h 1072"/>
                  <a:gd name="connsiteX177" fmla="*/ 1043 w 5810"/>
                  <a:gd name="connsiteY177" fmla="*/ 894 h 1072"/>
                  <a:gd name="connsiteX178" fmla="*/ 1090 w 5810"/>
                  <a:gd name="connsiteY178" fmla="*/ 921 h 1072"/>
                  <a:gd name="connsiteX179" fmla="*/ 1140 w 5810"/>
                  <a:gd name="connsiteY179" fmla="*/ 940 h 1072"/>
                  <a:gd name="connsiteX180" fmla="*/ 1195 w 5810"/>
                  <a:gd name="connsiteY180" fmla="*/ 952 h 1072"/>
                  <a:gd name="connsiteX181" fmla="*/ 1257 w 5810"/>
                  <a:gd name="connsiteY181" fmla="*/ 956 h 1072"/>
                  <a:gd name="connsiteX182" fmla="*/ 1264 w 5810"/>
                  <a:gd name="connsiteY182" fmla="*/ 956 h 1072"/>
                  <a:gd name="connsiteX183" fmla="*/ 1323 w 5810"/>
                  <a:gd name="connsiteY183" fmla="*/ 950 h 1072"/>
                  <a:gd name="connsiteX184" fmla="*/ 1379 w 5810"/>
                  <a:gd name="connsiteY184" fmla="*/ 935 h 1072"/>
                  <a:gd name="connsiteX185" fmla="*/ 1433 w 5810"/>
                  <a:gd name="connsiteY185" fmla="*/ 913 h 1072"/>
                  <a:gd name="connsiteX186" fmla="*/ 1480 w 5810"/>
                  <a:gd name="connsiteY186" fmla="*/ 884 h 1072"/>
                  <a:gd name="connsiteX187" fmla="*/ 1526 w 5810"/>
                  <a:gd name="connsiteY187" fmla="*/ 846 h 1072"/>
                  <a:gd name="connsiteX188" fmla="*/ 1569 w 5810"/>
                  <a:gd name="connsiteY188" fmla="*/ 803 h 1072"/>
                  <a:gd name="connsiteX189" fmla="*/ 1608 w 5810"/>
                  <a:gd name="connsiteY189" fmla="*/ 755 h 1072"/>
                  <a:gd name="connsiteX190" fmla="*/ 1648 w 5810"/>
                  <a:gd name="connsiteY190" fmla="*/ 703 h 1072"/>
                  <a:gd name="connsiteX191" fmla="*/ 1687 w 5810"/>
                  <a:gd name="connsiteY191" fmla="*/ 649 h 1072"/>
                  <a:gd name="connsiteX192" fmla="*/ 1798 w 5810"/>
                  <a:gd name="connsiteY192" fmla="*/ 475 h 1072"/>
                  <a:gd name="connsiteX193" fmla="*/ 1838 w 5810"/>
                  <a:gd name="connsiteY193" fmla="*/ 415 h 1072"/>
                  <a:gd name="connsiteX194" fmla="*/ 1879 w 5810"/>
                  <a:gd name="connsiteY194" fmla="*/ 357 h 1072"/>
                  <a:gd name="connsiteX195" fmla="*/ 1922 w 5810"/>
                  <a:gd name="connsiteY195" fmla="*/ 299 h 1072"/>
                  <a:gd name="connsiteX196" fmla="*/ 1968 w 5810"/>
                  <a:gd name="connsiteY196" fmla="*/ 245 h 1072"/>
                  <a:gd name="connsiteX197" fmla="*/ 2015 w 5810"/>
                  <a:gd name="connsiteY197" fmla="*/ 193 h 1072"/>
                  <a:gd name="connsiteX198" fmla="*/ 2069 w 5810"/>
                  <a:gd name="connsiteY198" fmla="*/ 145 h 1072"/>
                  <a:gd name="connsiteX199" fmla="*/ 2124 w 5810"/>
                  <a:gd name="connsiteY199" fmla="*/ 104 h 1072"/>
                  <a:gd name="connsiteX200" fmla="*/ 2186 w 5810"/>
                  <a:gd name="connsiteY200" fmla="*/ 69 h 1072"/>
                  <a:gd name="connsiteX201" fmla="*/ 2252 w 5810"/>
                  <a:gd name="connsiteY201" fmla="*/ 40 h 1072"/>
                  <a:gd name="connsiteX202" fmla="*/ 2325 w 5810"/>
                  <a:gd name="connsiteY202" fmla="*/ 19 h 1072"/>
                  <a:gd name="connsiteX203" fmla="*/ 2403 w 5810"/>
                  <a:gd name="connsiteY203" fmla="*/ 6 h 1072"/>
                  <a:gd name="connsiteX204" fmla="*/ 2473 w 5810"/>
                  <a:gd name="connsiteY204" fmla="*/ 4 h 1072"/>
                  <a:gd name="connsiteX205" fmla="*/ 2539 w 5810"/>
                  <a:gd name="connsiteY205" fmla="*/ 13 h 1072"/>
                  <a:gd name="connsiteX206" fmla="*/ 2599 w 5810"/>
                  <a:gd name="connsiteY206" fmla="*/ 27 h 1072"/>
                  <a:gd name="connsiteX207" fmla="*/ 2657 w 5810"/>
                  <a:gd name="connsiteY207" fmla="*/ 50 h 1072"/>
                  <a:gd name="connsiteX208" fmla="*/ 2711 w 5810"/>
                  <a:gd name="connsiteY208" fmla="*/ 81 h 1072"/>
                  <a:gd name="connsiteX209" fmla="*/ 2760 w 5810"/>
                  <a:gd name="connsiteY209" fmla="*/ 116 h 1072"/>
                  <a:gd name="connsiteX210" fmla="*/ 2806 w 5810"/>
                  <a:gd name="connsiteY210" fmla="*/ 158 h 1072"/>
                  <a:gd name="connsiteX211" fmla="*/ 2851 w 5810"/>
                  <a:gd name="connsiteY211" fmla="*/ 203 h 1072"/>
                  <a:gd name="connsiteX212" fmla="*/ 2893 w 5810"/>
                  <a:gd name="connsiteY212" fmla="*/ 251 h 1072"/>
                  <a:gd name="connsiteX213" fmla="*/ 2932 w 5810"/>
                  <a:gd name="connsiteY213" fmla="*/ 303 h 1072"/>
                  <a:gd name="connsiteX214" fmla="*/ 2969 w 5810"/>
                  <a:gd name="connsiteY214" fmla="*/ 357 h 1072"/>
                  <a:gd name="connsiteX215" fmla="*/ 3004 w 5810"/>
                  <a:gd name="connsiteY215" fmla="*/ 413 h 1072"/>
                  <a:gd name="connsiteX216" fmla="*/ 3039 w 5810"/>
                  <a:gd name="connsiteY216" fmla="*/ 467 h 1072"/>
                  <a:gd name="connsiteX217" fmla="*/ 3072 w 5810"/>
                  <a:gd name="connsiteY217" fmla="*/ 523 h 1072"/>
                  <a:gd name="connsiteX218" fmla="*/ 3109 w 5810"/>
                  <a:gd name="connsiteY218" fmla="*/ 585 h 1072"/>
                  <a:gd name="connsiteX219" fmla="*/ 3146 w 5810"/>
                  <a:gd name="connsiteY219" fmla="*/ 643 h 1072"/>
                  <a:gd name="connsiteX220" fmla="*/ 3186 w 5810"/>
                  <a:gd name="connsiteY220" fmla="*/ 701 h 1072"/>
                  <a:gd name="connsiteX221" fmla="*/ 3223 w 5810"/>
                  <a:gd name="connsiteY221" fmla="*/ 755 h 1072"/>
                  <a:gd name="connsiteX222" fmla="*/ 3264 w 5810"/>
                  <a:gd name="connsiteY222" fmla="*/ 805 h 1072"/>
                  <a:gd name="connsiteX223" fmla="*/ 3305 w 5810"/>
                  <a:gd name="connsiteY223" fmla="*/ 848 h 1072"/>
                  <a:gd name="connsiteX224" fmla="*/ 3349 w 5810"/>
                  <a:gd name="connsiteY224" fmla="*/ 886 h 1072"/>
                  <a:gd name="connsiteX225" fmla="*/ 3394 w 5810"/>
                  <a:gd name="connsiteY225" fmla="*/ 917 h 1072"/>
                  <a:gd name="connsiteX226" fmla="*/ 3444 w 5810"/>
                  <a:gd name="connsiteY226" fmla="*/ 940 h 1072"/>
                  <a:gd name="connsiteX227" fmla="*/ 3497 w 5810"/>
                  <a:gd name="connsiteY227" fmla="*/ 952 h 1072"/>
                  <a:gd name="connsiteX228" fmla="*/ 3553 w 5810"/>
                  <a:gd name="connsiteY228" fmla="*/ 956 h 1072"/>
                  <a:gd name="connsiteX229" fmla="*/ 3609 w 5810"/>
                  <a:gd name="connsiteY229" fmla="*/ 950 h 1072"/>
                  <a:gd name="connsiteX230" fmla="*/ 3659 w 5810"/>
                  <a:gd name="connsiteY230" fmla="*/ 935 h 1072"/>
                  <a:gd name="connsiteX231" fmla="*/ 3706 w 5810"/>
                  <a:gd name="connsiteY231" fmla="*/ 915 h 1072"/>
                  <a:gd name="connsiteX232" fmla="*/ 3749 w 5810"/>
                  <a:gd name="connsiteY232" fmla="*/ 884 h 1072"/>
                  <a:gd name="connsiteX233" fmla="*/ 3789 w 5810"/>
                  <a:gd name="connsiteY233" fmla="*/ 848 h 1072"/>
                  <a:gd name="connsiteX234" fmla="*/ 3826 w 5810"/>
                  <a:gd name="connsiteY234" fmla="*/ 807 h 1072"/>
                  <a:gd name="connsiteX235" fmla="*/ 3861 w 5810"/>
                  <a:gd name="connsiteY235" fmla="*/ 759 h 1072"/>
                  <a:gd name="connsiteX236" fmla="*/ 3894 w 5810"/>
                  <a:gd name="connsiteY236" fmla="*/ 709 h 1072"/>
                  <a:gd name="connsiteX237" fmla="*/ 3927 w 5810"/>
                  <a:gd name="connsiteY237" fmla="*/ 655 h 1072"/>
                  <a:gd name="connsiteX238" fmla="*/ 3960 w 5810"/>
                  <a:gd name="connsiteY238" fmla="*/ 597 h 1072"/>
                  <a:gd name="connsiteX239" fmla="*/ 3993 w 5810"/>
                  <a:gd name="connsiteY239" fmla="*/ 537 h 1072"/>
                  <a:gd name="connsiteX240" fmla="*/ 4022 w 5810"/>
                  <a:gd name="connsiteY240" fmla="*/ 483 h 1072"/>
                  <a:gd name="connsiteX241" fmla="*/ 4084 w 5810"/>
                  <a:gd name="connsiteY241" fmla="*/ 375 h 1072"/>
                  <a:gd name="connsiteX242" fmla="*/ 4154 w 5810"/>
                  <a:gd name="connsiteY242" fmla="*/ 272 h 1072"/>
                  <a:gd name="connsiteX243" fmla="*/ 4191 w 5810"/>
                  <a:gd name="connsiteY243" fmla="*/ 224 h 1072"/>
                  <a:gd name="connsiteX244" fmla="*/ 4232 w 5810"/>
                  <a:gd name="connsiteY244" fmla="*/ 178 h 1072"/>
                  <a:gd name="connsiteX245" fmla="*/ 4276 w 5810"/>
                  <a:gd name="connsiteY245" fmla="*/ 137 h 1072"/>
                  <a:gd name="connsiteX246" fmla="*/ 4323 w 5810"/>
                  <a:gd name="connsiteY246" fmla="*/ 100 h 1072"/>
                  <a:gd name="connsiteX247" fmla="*/ 4375 w 5810"/>
                  <a:gd name="connsiteY247" fmla="*/ 66 h 1072"/>
                  <a:gd name="connsiteX248" fmla="*/ 4433 w 5810"/>
                  <a:gd name="connsiteY248" fmla="*/ 40 h 1072"/>
                  <a:gd name="connsiteX249" fmla="*/ 4493 w 5810"/>
                  <a:gd name="connsiteY249" fmla="*/ 19 h 1072"/>
                  <a:gd name="connsiteX250" fmla="*/ 4559 w 5810"/>
                  <a:gd name="connsiteY250" fmla="*/ 6 h 1072"/>
                  <a:gd name="connsiteX251" fmla="*/ 4631 w 5810"/>
                  <a:gd name="connsiteY251" fmla="*/ 0 h 1072"/>
                  <a:gd name="connsiteX0" fmla="*/ 4631 w 5810"/>
                  <a:gd name="connsiteY0" fmla="*/ 0 h 1072"/>
                  <a:gd name="connsiteX1" fmla="*/ 4681 w 5810"/>
                  <a:gd name="connsiteY1" fmla="*/ 0 h 1072"/>
                  <a:gd name="connsiteX2" fmla="*/ 4709 w 5810"/>
                  <a:gd name="connsiteY2" fmla="*/ 4 h 1072"/>
                  <a:gd name="connsiteX3" fmla="*/ 4740 w 5810"/>
                  <a:gd name="connsiteY3" fmla="*/ 13 h 1072"/>
                  <a:gd name="connsiteX4" fmla="*/ 4778 w 5810"/>
                  <a:gd name="connsiteY4" fmla="*/ 23 h 1072"/>
                  <a:gd name="connsiteX5" fmla="*/ 4819 w 5810"/>
                  <a:gd name="connsiteY5" fmla="*/ 40 h 1072"/>
                  <a:gd name="connsiteX6" fmla="*/ 4862 w 5810"/>
                  <a:gd name="connsiteY6" fmla="*/ 60 h 1072"/>
                  <a:gd name="connsiteX7" fmla="*/ 4910 w 5810"/>
                  <a:gd name="connsiteY7" fmla="*/ 89 h 1072"/>
                  <a:gd name="connsiteX8" fmla="*/ 4959 w 5810"/>
                  <a:gd name="connsiteY8" fmla="*/ 125 h 1072"/>
                  <a:gd name="connsiteX9" fmla="*/ 5009 w 5810"/>
                  <a:gd name="connsiteY9" fmla="*/ 170 h 1072"/>
                  <a:gd name="connsiteX10" fmla="*/ 5060 w 5810"/>
                  <a:gd name="connsiteY10" fmla="*/ 224 h 1072"/>
                  <a:gd name="connsiteX11" fmla="*/ 5112 w 5810"/>
                  <a:gd name="connsiteY11" fmla="*/ 286 h 1072"/>
                  <a:gd name="connsiteX12" fmla="*/ 5164 w 5810"/>
                  <a:gd name="connsiteY12" fmla="*/ 361 h 1072"/>
                  <a:gd name="connsiteX13" fmla="*/ 5215 w 5810"/>
                  <a:gd name="connsiteY13" fmla="*/ 448 h 1072"/>
                  <a:gd name="connsiteX14" fmla="*/ 5267 w 5810"/>
                  <a:gd name="connsiteY14" fmla="*/ 548 h 1072"/>
                  <a:gd name="connsiteX15" fmla="*/ 5312 w 5810"/>
                  <a:gd name="connsiteY15" fmla="*/ 633 h 1072"/>
                  <a:gd name="connsiteX16" fmla="*/ 5358 w 5810"/>
                  <a:gd name="connsiteY16" fmla="*/ 705 h 1072"/>
                  <a:gd name="connsiteX17" fmla="*/ 5405 w 5810"/>
                  <a:gd name="connsiteY17" fmla="*/ 767 h 1072"/>
                  <a:gd name="connsiteX18" fmla="*/ 5453 w 5810"/>
                  <a:gd name="connsiteY18" fmla="*/ 819 h 1072"/>
                  <a:gd name="connsiteX19" fmla="*/ 5498 w 5810"/>
                  <a:gd name="connsiteY19" fmla="*/ 863 h 1072"/>
                  <a:gd name="connsiteX20" fmla="*/ 5546 w 5810"/>
                  <a:gd name="connsiteY20" fmla="*/ 898 h 1072"/>
                  <a:gd name="connsiteX21" fmla="*/ 5589 w 5810"/>
                  <a:gd name="connsiteY21" fmla="*/ 927 h 1072"/>
                  <a:gd name="connsiteX22" fmla="*/ 5632 w 5810"/>
                  <a:gd name="connsiteY22" fmla="*/ 948 h 1072"/>
                  <a:gd name="connsiteX23" fmla="*/ 5669 w 5810"/>
                  <a:gd name="connsiteY23" fmla="*/ 962 h 1072"/>
                  <a:gd name="connsiteX24" fmla="*/ 5707 w 5810"/>
                  <a:gd name="connsiteY24" fmla="*/ 973 h 1072"/>
                  <a:gd name="connsiteX25" fmla="*/ 5736 w 5810"/>
                  <a:gd name="connsiteY25" fmla="*/ 981 h 1072"/>
                  <a:gd name="connsiteX26" fmla="*/ 5762 w 5810"/>
                  <a:gd name="connsiteY26" fmla="*/ 983 h 1072"/>
                  <a:gd name="connsiteX27" fmla="*/ 5781 w 5810"/>
                  <a:gd name="connsiteY27" fmla="*/ 985 h 1072"/>
                  <a:gd name="connsiteX28" fmla="*/ 5802 w 5810"/>
                  <a:gd name="connsiteY28" fmla="*/ 985 h 1072"/>
                  <a:gd name="connsiteX29" fmla="*/ 5810 w 5810"/>
                  <a:gd name="connsiteY29" fmla="*/ 1072 h 1072"/>
                  <a:gd name="connsiteX30" fmla="*/ 5775 w 5810"/>
                  <a:gd name="connsiteY30" fmla="*/ 1072 h 1072"/>
                  <a:gd name="connsiteX31" fmla="*/ 5748 w 5810"/>
                  <a:gd name="connsiteY31" fmla="*/ 1070 h 1072"/>
                  <a:gd name="connsiteX32" fmla="*/ 5717 w 5810"/>
                  <a:gd name="connsiteY32" fmla="*/ 1064 h 1072"/>
                  <a:gd name="connsiteX33" fmla="*/ 5680 w 5810"/>
                  <a:gd name="connsiteY33" fmla="*/ 1056 h 1072"/>
                  <a:gd name="connsiteX34" fmla="*/ 5638 w 5810"/>
                  <a:gd name="connsiteY34" fmla="*/ 1043 h 1072"/>
                  <a:gd name="connsiteX35" fmla="*/ 5593 w 5810"/>
                  <a:gd name="connsiteY35" fmla="*/ 1025 h 1072"/>
                  <a:gd name="connsiteX36" fmla="*/ 5546 w 5810"/>
                  <a:gd name="connsiteY36" fmla="*/ 1002 h 1072"/>
                  <a:gd name="connsiteX37" fmla="*/ 5496 w 5810"/>
                  <a:gd name="connsiteY37" fmla="*/ 971 h 1072"/>
                  <a:gd name="connsiteX38" fmla="*/ 5444 w 5810"/>
                  <a:gd name="connsiteY38" fmla="*/ 931 h 1072"/>
                  <a:gd name="connsiteX39" fmla="*/ 5393 w 5810"/>
                  <a:gd name="connsiteY39" fmla="*/ 881 h 1072"/>
                  <a:gd name="connsiteX40" fmla="*/ 5339 w 5810"/>
                  <a:gd name="connsiteY40" fmla="*/ 823 h 1072"/>
                  <a:gd name="connsiteX41" fmla="*/ 5288 w 5810"/>
                  <a:gd name="connsiteY41" fmla="*/ 755 h 1072"/>
                  <a:gd name="connsiteX42" fmla="*/ 5238 w 5810"/>
                  <a:gd name="connsiteY42" fmla="*/ 676 h 1072"/>
                  <a:gd name="connsiteX43" fmla="*/ 5190 w 5810"/>
                  <a:gd name="connsiteY43" fmla="*/ 583 h 1072"/>
                  <a:gd name="connsiteX44" fmla="*/ 5141 w 5810"/>
                  <a:gd name="connsiteY44" fmla="*/ 487 h 1072"/>
                  <a:gd name="connsiteX45" fmla="*/ 5091 w 5810"/>
                  <a:gd name="connsiteY45" fmla="*/ 404 h 1072"/>
                  <a:gd name="connsiteX46" fmla="*/ 5042 w 5810"/>
                  <a:gd name="connsiteY46" fmla="*/ 336 h 1072"/>
                  <a:gd name="connsiteX47" fmla="*/ 4992 w 5810"/>
                  <a:gd name="connsiteY47" fmla="*/ 276 h 1072"/>
                  <a:gd name="connsiteX48" fmla="*/ 4945 w 5810"/>
                  <a:gd name="connsiteY48" fmla="*/ 228 h 1072"/>
                  <a:gd name="connsiteX49" fmla="*/ 4899 w 5810"/>
                  <a:gd name="connsiteY49" fmla="*/ 189 h 1072"/>
                  <a:gd name="connsiteX50" fmla="*/ 4858 w 5810"/>
                  <a:gd name="connsiteY50" fmla="*/ 158 h 1072"/>
                  <a:gd name="connsiteX51" fmla="*/ 4819 w 5810"/>
                  <a:gd name="connsiteY51" fmla="*/ 135 h 1072"/>
                  <a:gd name="connsiteX52" fmla="*/ 4769 w 5810"/>
                  <a:gd name="connsiteY52" fmla="*/ 112 h 1072"/>
                  <a:gd name="connsiteX53" fmla="*/ 4726 w 5810"/>
                  <a:gd name="connsiteY53" fmla="*/ 98 h 1072"/>
                  <a:gd name="connsiteX54" fmla="*/ 4691 w 5810"/>
                  <a:gd name="connsiteY54" fmla="*/ 89 h 1072"/>
                  <a:gd name="connsiteX55" fmla="*/ 4662 w 5810"/>
                  <a:gd name="connsiteY55" fmla="*/ 87 h 1072"/>
                  <a:gd name="connsiteX56" fmla="*/ 4635 w 5810"/>
                  <a:gd name="connsiteY56" fmla="*/ 87 h 1072"/>
                  <a:gd name="connsiteX57" fmla="*/ 4569 w 5810"/>
                  <a:gd name="connsiteY57" fmla="*/ 93 h 1072"/>
                  <a:gd name="connsiteX58" fmla="*/ 4507 w 5810"/>
                  <a:gd name="connsiteY58" fmla="*/ 106 h 1072"/>
                  <a:gd name="connsiteX59" fmla="*/ 4451 w 5810"/>
                  <a:gd name="connsiteY59" fmla="*/ 127 h 1072"/>
                  <a:gd name="connsiteX60" fmla="*/ 4400 w 5810"/>
                  <a:gd name="connsiteY60" fmla="*/ 154 h 1072"/>
                  <a:gd name="connsiteX61" fmla="*/ 4352 w 5810"/>
                  <a:gd name="connsiteY61" fmla="*/ 187 h 1072"/>
                  <a:gd name="connsiteX62" fmla="*/ 4309 w 5810"/>
                  <a:gd name="connsiteY62" fmla="*/ 224 h 1072"/>
                  <a:gd name="connsiteX63" fmla="*/ 4270 w 5810"/>
                  <a:gd name="connsiteY63" fmla="*/ 268 h 1072"/>
                  <a:gd name="connsiteX64" fmla="*/ 4230 w 5810"/>
                  <a:gd name="connsiteY64" fmla="*/ 313 h 1072"/>
                  <a:gd name="connsiteX65" fmla="*/ 4195 w 5810"/>
                  <a:gd name="connsiteY65" fmla="*/ 363 h 1072"/>
                  <a:gd name="connsiteX66" fmla="*/ 4162 w 5810"/>
                  <a:gd name="connsiteY66" fmla="*/ 415 h 1072"/>
                  <a:gd name="connsiteX67" fmla="*/ 4100 w 5810"/>
                  <a:gd name="connsiteY67" fmla="*/ 523 h 1072"/>
                  <a:gd name="connsiteX68" fmla="*/ 4007 w 5810"/>
                  <a:gd name="connsiteY68" fmla="*/ 691 h 1072"/>
                  <a:gd name="connsiteX69" fmla="*/ 3974 w 5810"/>
                  <a:gd name="connsiteY69" fmla="*/ 747 h 1072"/>
                  <a:gd name="connsiteX70" fmla="*/ 3939 w 5810"/>
                  <a:gd name="connsiteY70" fmla="*/ 799 h 1072"/>
                  <a:gd name="connsiteX71" fmla="*/ 3904 w 5810"/>
                  <a:gd name="connsiteY71" fmla="*/ 848 h 1072"/>
                  <a:gd name="connsiteX72" fmla="*/ 3865 w 5810"/>
                  <a:gd name="connsiteY72" fmla="*/ 894 h 1072"/>
                  <a:gd name="connsiteX73" fmla="*/ 3824 w 5810"/>
                  <a:gd name="connsiteY73" fmla="*/ 935 h 1072"/>
                  <a:gd name="connsiteX74" fmla="*/ 3778 w 5810"/>
                  <a:gd name="connsiteY74" fmla="*/ 971 h 1072"/>
                  <a:gd name="connsiteX75" fmla="*/ 3729 w 5810"/>
                  <a:gd name="connsiteY75" fmla="*/ 1000 h 1072"/>
                  <a:gd name="connsiteX76" fmla="*/ 3677 w 5810"/>
                  <a:gd name="connsiteY76" fmla="*/ 1022 h 1072"/>
                  <a:gd name="connsiteX77" fmla="*/ 3619 w 5810"/>
                  <a:gd name="connsiteY77" fmla="*/ 1037 h 1072"/>
                  <a:gd name="connsiteX78" fmla="*/ 3555 w 5810"/>
                  <a:gd name="connsiteY78" fmla="*/ 1043 h 1072"/>
                  <a:gd name="connsiteX79" fmla="*/ 3547 w 5810"/>
                  <a:gd name="connsiteY79" fmla="*/ 1043 h 1072"/>
                  <a:gd name="connsiteX80" fmla="*/ 3485 w 5810"/>
                  <a:gd name="connsiteY80" fmla="*/ 1039 h 1072"/>
                  <a:gd name="connsiteX81" fmla="*/ 3425 w 5810"/>
                  <a:gd name="connsiteY81" fmla="*/ 1025 h 1072"/>
                  <a:gd name="connsiteX82" fmla="*/ 3372 w 5810"/>
                  <a:gd name="connsiteY82" fmla="*/ 1002 h 1072"/>
                  <a:gd name="connsiteX83" fmla="*/ 3320 w 5810"/>
                  <a:gd name="connsiteY83" fmla="*/ 973 h 1072"/>
                  <a:gd name="connsiteX84" fmla="*/ 3272 w 5810"/>
                  <a:gd name="connsiteY84" fmla="*/ 935 h 1072"/>
                  <a:gd name="connsiteX85" fmla="*/ 3229 w 5810"/>
                  <a:gd name="connsiteY85" fmla="*/ 894 h 1072"/>
                  <a:gd name="connsiteX86" fmla="*/ 3186 w 5810"/>
                  <a:gd name="connsiteY86" fmla="*/ 846 h 1072"/>
                  <a:gd name="connsiteX87" fmla="*/ 3146 w 5810"/>
                  <a:gd name="connsiteY87" fmla="*/ 796 h 1072"/>
                  <a:gd name="connsiteX88" fmla="*/ 3107 w 5810"/>
                  <a:gd name="connsiteY88" fmla="*/ 740 h 1072"/>
                  <a:gd name="connsiteX89" fmla="*/ 3070 w 5810"/>
                  <a:gd name="connsiteY89" fmla="*/ 684 h 1072"/>
                  <a:gd name="connsiteX90" fmla="*/ 2965 w 5810"/>
                  <a:gd name="connsiteY90" fmla="*/ 510 h 1072"/>
                  <a:gd name="connsiteX91" fmla="*/ 2928 w 5810"/>
                  <a:gd name="connsiteY91" fmla="*/ 452 h 1072"/>
                  <a:gd name="connsiteX92" fmla="*/ 2890 w 5810"/>
                  <a:gd name="connsiteY92" fmla="*/ 396 h 1072"/>
                  <a:gd name="connsiteX93" fmla="*/ 2853 w 5810"/>
                  <a:gd name="connsiteY93" fmla="*/ 342 h 1072"/>
                  <a:gd name="connsiteX94" fmla="*/ 2814 w 5810"/>
                  <a:gd name="connsiteY94" fmla="*/ 293 h 1072"/>
                  <a:gd name="connsiteX95" fmla="*/ 2773 w 5810"/>
                  <a:gd name="connsiteY95" fmla="*/ 247 h 1072"/>
                  <a:gd name="connsiteX96" fmla="*/ 2731 w 5810"/>
                  <a:gd name="connsiteY96" fmla="*/ 205 h 1072"/>
                  <a:gd name="connsiteX97" fmla="*/ 2686 w 5810"/>
                  <a:gd name="connsiteY97" fmla="*/ 168 h 1072"/>
                  <a:gd name="connsiteX98" fmla="*/ 2639 w 5810"/>
                  <a:gd name="connsiteY98" fmla="*/ 139 h 1072"/>
                  <a:gd name="connsiteX99" fmla="*/ 2587 w 5810"/>
                  <a:gd name="connsiteY99" fmla="*/ 116 h 1072"/>
                  <a:gd name="connsiteX100" fmla="*/ 2531 w 5810"/>
                  <a:gd name="connsiteY100" fmla="*/ 100 h 1072"/>
                  <a:gd name="connsiteX101" fmla="*/ 2473 w 5810"/>
                  <a:gd name="connsiteY101" fmla="*/ 91 h 1072"/>
                  <a:gd name="connsiteX102" fmla="*/ 2409 w 5810"/>
                  <a:gd name="connsiteY102" fmla="*/ 93 h 1072"/>
                  <a:gd name="connsiteX103" fmla="*/ 2341 w 5810"/>
                  <a:gd name="connsiteY103" fmla="*/ 104 h 1072"/>
                  <a:gd name="connsiteX104" fmla="*/ 2279 w 5810"/>
                  <a:gd name="connsiteY104" fmla="*/ 122 h 1072"/>
                  <a:gd name="connsiteX105" fmla="*/ 2222 w 5810"/>
                  <a:gd name="connsiteY105" fmla="*/ 147 h 1072"/>
                  <a:gd name="connsiteX106" fmla="*/ 2168 w 5810"/>
                  <a:gd name="connsiteY106" fmla="*/ 181 h 1072"/>
                  <a:gd name="connsiteX107" fmla="*/ 2116 w 5810"/>
                  <a:gd name="connsiteY107" fmla="*/ 218 h 1072"/>
                  <a:gd name="connsiteX108" fmla="*/ 2071 w 5810"/>
                  <a:gd name="connsiteY108" fmla="*/ 261 h 1072"/>
                  <a:gd name="connsiteX109" fmla="*/ 2025 w 5810"/>
                  <a:gd name="connsiteY109" fmla="*/ 307 h 1072"/>
                  <a:gd name="connsiteX110" fmla="*/ 1984 w 5810"/>
                  <a:gd name="connsiteY110" fmla="*/ 359 h 1072"/>
                  <a:gd name="connsiteX111" fmla="*/ 1945 w 5810"/>
                  <a:gd name="connsiteY111" fmla="*/ 413 h 1072"/>
                  <a:gd name="connsiteX112" fmla="*/ 1908 w 5810"/>
                  <a:gd name="connsiteY112" fmla="*/ 467 h 1072"/>
                  <a:gd name="connsiteX113" fmla="*/ 1871 w 5810"/>
                  <a:gd name="connsiteY113" fmla="*/ 523 h 1072"/>
                  <a:gd name="connsiteX114" fmla="*/ 1833 w 5810"/>
                  <a:gd name="connsiteY114" fmla="*/ 581 h 1072"/>
                  <a:gd name="connsiteX115" fmla="*/ 1798 w 5810"/>
                  <a:gd name="connsiteY115" fmla="*/ 637 h 1072"/>
                  <a:gd name="connsiteX116" fmla="*/ 1724 w 5810"/>
                  <a:gd name="connsiteY116" fmla="*/ 749 h 1072"/>
                  <a:gd name="connsiteX117" fmla="*/ 1685 w 5810"/>
                  <a:gd name="connsiteY117" fmla="*/ 801 h 1072"/>
                  <a:gd name="connsiteX118" fmla="*/ 1643 w 5810"/>
                  <a:gd name="connsiteY118" fmla="*/ 850 h 1072"/>
                  <a:gd name="connsiteX119" fmla="*/ 1600 w 5810"/>
                  <a:gd name="connsiteY119" fmla="*/ 896 h 1072"/>
                  <a:gd name="connsiteX120" fmla="*/ 1553 w 5810"/>
                  <a:gd name="connsiteY120" fmla="*/ 937 h 1072"/>
                  <a:gd name="connsiteX121" fmla="*/ 1503 w 5810"/>
                  <a:gd name="connsiteY121" fmla="*/ 973 h 1072"/>
                  <a:gd name="connsiteX122" fmla="*/ 1449 w 5810"/>
                  <a:gd name="connsiteY122" fmla="*/ 1002 h 1072"/>
                  <a:gd name="connsiteX123" fmla="*/ 1394 w 5810"/>
                  <a:gd name="connsiteY123" fmla="*/ 1025 h 1072"/>
                  <a:gd name="connsiteX124" fmla="*/ 1330 w 5810"/>
                  <a:gd name="connsiteY124" fmla="*/ 1037 h 1072"/>
                  <a:gd name="connsiteX125" fmla="*/ 1264 w 5810"/>
                  <a:gd name="connsiteY125" fmla="*/ 1043 h 1072"/>
                  <a:gd name="connsiteX126" fmla="*/ 1257 w 5810"/>
                  <a:gd name="connsiteY126" fmla="*/ 1043 h 1072"/>
                  <a:gd name="connsiteX127" fmla="*/ 1189 w 5810"/>
                  <a:gd name="connsiteY127" fmla="*/ 1039 h 1072"/>
                  <a:gd name="connsiteX128" fmla="*/ 1127 w 5810"/>
                  <a:gd name="connsiteY128" fmla="*/ 1027 h 1072"/>
                  <a:gd name="connsiteX129" fmla="*/ 1069 w 5810"/>
                  <a:gd name="connsiteY129" fmla="*/ 1008 h 1072"/>
                  <a:gd name="connsiteX130" fmla="*/ 1018 w 5810"/>
                  <a:gd name="connsiteY130" fmla="*/ 983 h 1072"/>
                  <a:gd name="connsiteX131" fmla="*/ 970 w 5810"/>
                  <a:gd name="connsiteY131" fmla="*/ 952 h 1072"/>
                  <a:gd name="connsiteX132" fmla="*/ 925 w 5810"/>
                  <a:gd name="connsiteY132" fmla="*/ 915 h 1072"/>
                  <a:gd name="connsiteX133" fmla="*/ 884 w 5810"/>
                  <a:gd name="connsiteY133" fmla="*/ 873 h 1072"/>
                  <a:gd name="connsiteX134" fmla="*/ 846 w 5810"/>
                  <a:gd name="connsiteY134" fmla="*/ 828 h 1072"/>
                  <a:gd name="connsiteX135" fmla="*/ 809 w 5810"/>
                  <a:gd name="connsiteY135" fmla="*/ 780 h 1072"/>
                  <a:gd name="connsiteX136" fmla="*/ 776 w 5810"/>
                  <a:gd name="connsiteY136" fmla="*/ 728 h 1072"/>
                  <a:gd name="connsiteX137" fmla="*/ 741 w 5810"/>
                  <a:gd name="connsiteY137" fmla="*/ 674 h 1072"/>
                  <a:gd name="connsiteX138" fmla="*/ 710 w 5810"/>
                  <a:gd name="connsiteY138" fmla="*/ 618 h 1072"/>
                  <a:gd name="connsiteX139" fmla="*/ 677 w 5810"/>
                  <a:gd name="connsiteY139" fmla="*/ 560 h 1072"/>
                  <a:gd name="connsiteX140" fmla="*/ 615 w 5810"/>
                  <a:gd name="connsiteY140" fmla="*/ 448 h 1072"/>
                  <a:gd name="connsiteX141" fmla="*/ 547 w 5810"/>
                  <a:gd name="connsiteY141" fmla="*/ 340 h 1072"/>
                  <a:gd name="connsiteX142" fmla="*/ 504 w 5810"/>
                  <a:gd name="connsiteY142" fmla="*/ 284 h 1072"/>
                  <a:gd name="connsiteX143" fmla="*/ 456 w 5810"/>
                  <a:gd name="connsiteY143" fmla="*/ 239 h 1072"/>
                  <a:gd name="connsiteX144" fmla="*/ 409 w 5810"/>
                  <a:gd name="connsiteY144" fmla="*/ 199 h 1072"/>
                  <a:gd name="connsiteX145" fmla="*/ 357 w 5810"/>
                  <a:gd name="connsiteY145" fmla="*/ 168 h 1072"/>
                  <a:gd name="connsiteX146" fmla="*/ 308 w 5810"/>
                  <a:gd name="connsiteY146" fmla="*/ 145 h 1072"/>
                  <a:gd name="connsiteX147" fmla="*/ 256 w 5810"/>
                  <a:gd name="connsiteY147" fmla="*/ 127 h 1072"/>
                  <a:gd name="connsiteX148" fmla="*/ 209 w 5810"/>
                  <a:gd name="connsiteY148" fmla="*/ 112 h 1072"/>
                  <a:gd name="connsiteX149" fmla="*/ 163 w 5810"/>
                  <a:gd name="connsiteY149" fmla="*/ 104 h 1072"/>
                  <a:gd name="connsiteX150" fmla="*/ 122 w 5810"/>
                  <a:gd name="connsiteY150" fmla="*/ 100 h 1072"/>
                  <a:gd name="connsiteX151" fmla="*/ 85 w 5810"/>
                  <a:gd name="connsiteY151" fmla="*/ 95 h 1072"/>
                  <a:gd name="connsiteX152" fmla="*/ 31 w 5810"/>
                  <a:gd name="connsiteY152" fmla="*/ 95 h 1072"/>
                  <a:gd name="connsiteX153" fmla="*/ 0 w 5810"/>
                  <a:gd name="connsiteY153" fmla="*/ 13 h 1072"/>
                  <a:gd name="connsiteX154" fmla="*/ 8 w 5810"/>
                  <a:gd name="connsiteY154" fmla="*/ 13 h 1072"/>
                  <a:gd name="connsiteX155" fmla="*/ 29 w 5810"/>
                  <a:gd name="connsiteY155" fmla="*/ 10 h 1072"/>
                  <a:gd name="connsiteX156" fmla="*/ 91 w 5810"/>
                  <a:gd name="connsiteY156" fmla="*/ 10 h 1072"/>
                  <a:gd name="connsiteX157" fmla="*/ 134 w 5810"/>
                  <a:gd name="connsiteY157" fmla="*/ 13 h 1072"/>
                  <a:gd name="connsiteX158" fmla="*/ 182 w 5810"/>
                  <a:gd name="connsiteY158" fmla="*/ 19 h 1072"/>
                  <a:gd name="connsiteX159" fmla="*/ 233 w 5810"/>
                  <a:gd name="connsiteY159" fmla="*/ 29 h 1072"/>
                  <a:gd name="connsiteX160" fmla="*/ 287 w 5810"/>
                  <a:gd name="connsiteY160" fmla="*/ 46 h 1072"/>
                  <a:gd name="connsiteX161" fmla="*/ 345 w 5810"/>
                  <a:gd name="connsiteY161" fmla="*/ 66 h 1072"/>
                  <a:gd name="connsiteX162" fmla="*/ 403 w 5810"/>
                  <a:gd name="connsiteY162" fmla="*/ 93 h 1072"/>
                  <a:gd name="connsiteX163" fmla="*/ 458 w 5810"/>
                  <a:gd name="connsiteY163" fmla="*/ 131 h 1072"/>
                  <a:gd name="connsiteX164" fmla="*/ 514 w 5810"/>
                  <a:gd name="connsiteY164" fmla="*/ 174 h 1072"/>
                  <a:gd name="connsiteX165" fmla="*/ 568 w 5810"/>
                  <a:gd name="connsiteY165" fmla="*/ 228 h 1072"/>
                  <a:gd name="connsiteX166" fmla="*/ 617 w 5810"/>
                  <a:gd name="connsiteY166" fmla="*/ 293 h 1072"/>
                  <a:gd name="connsiteX167" fmla="*/ 667 w 5810"/>
                  <a:gd name="connsiteY167" fmla="*/ 367 h 1072"/>
                  <a:gd name="connsiteX168" fmla="*/ 754 w 5810"/>
                  <a:gd name="connsiteY168" fmla="*/ 516 h 1072"/>
                  <a:gd name="connsiteX169" fmla="*/ 787 w 5810"/>
                  <a:gd name="connsiteY169" fmla="*/ 575 h 1072"/>
                  <a:gd name="connsiteX170" fmla="*/ 820 w 5810"/>
                  <a:gd name="connsiteY170" fmla="*/ 631 h 1072"/>
                  <a:gd name="connsiteX171" fmla="*/ 853 w 5810"/>
                  <a:gd name="connsiteY171" fmla="*/ 684 h 1072"/>
                  <a:gd name="connsiteX172" fmla="*/ 886 w 5810"/>
                  <a:gd name="connsiteY172" fmla="*/ 736 h 1072"/>
                  <a:gd name="connsiteX173" fmla="*/ 921 w 5810"/>
                  <a:gd name="connsiteY173" fmla="*/ 782 h 1072"/>
                  <a:gd name="connsiteX174" fmla="*/ 958 w 5810"/>
                  <a:gd name="connsiteY174" fmla="*/ 825 h 1072"/>
                  <a:gd name="connsiteX175" fmla="*/ 999 w 5810"/>
                  <a:gd name="connsiteY175" fmla="*/ 863 h 1072"/>
                  <a:gd name="connsiteX176" fmla="*/ 1043 w 5810"/>
                  <a:gd name="connsiteY176" fmla="*/ 894 h 1072"/>
                  <a:gd name="connsiteX177" fmla="*/ 1090 w 5810"/>
                  <a:gd name="connsiteY177" fmla="*/ 921 h 1072"/>
                  <a:gd name="connsiteX178" fmla="*/ 1140 w 5810"/>
                  <a:gd name="connsiteY178" fmla="*/ 940 h 1072"/>
                  <a:gd name="connsiteX179" fmla="*/ 1195 w 5810"/>
                  <a:gd name="connsiteY179" fmla="*/ 952 h 1072"/>
                  <a:gd name="connsiteX180" fmla="*/ 1257 w 5810"/>
                  <a:gd name="connsiteY180" fmla="*/ 956 h 1072"/>
                  <a:gd name="connsiteX181" fmla="*/ 1264 w 5810"/>
                  <a:gd name="connsiteY181" fmla="*/ 956 h 1072"/>
                  <a:gd name="connsiteX182" fmla="*/ 1323 w 5810"/>
                  <a:gd name="connsiteY182" fmla="*/ 950 h 1072"/>
                  <a:gd name="connsiteX183" fmla="*/ 1379 w 5810"/>
                  <a:gd name="connsiteY183" fmla="*/ 935 h 1072"/>
                  <a:gd name="connsiteX184" fmla="*/ 1433 w 5810"/>
                  <a:gd name="connsiteY184" fmla="*/ 913 h 1072"/>
                  <a:gd name="connsiteX185" fmla="*/ 1480 w 5810"/>
                  <a:gd name="connsiteY185" fmla="*/ 884 h 1072"/>
                  <a:gd name="connsiteX186" fmla="*/ 1526 w 5810"/>
                  <a:gd name="connsiteY186" fmla="*/ 846 h 1072"/>
                  <a:gd name="connsiteX187" fmla="*/ 1569 w 5810"/>
                  <a:gd name="connsiteY187" fmla="*/ 803 h 1072"/>
                  <a:gd name="connsiteX188" fmla="*/ 1608 w 5810"/>
                  <a:gd name="connsiteY188" fmla="*/ 755 h 1072"/>
                  <a:gd name="connsiteX189" fmla="*/ 1648 w 5810"/>
                  <a:gd name="connsiteY189" fmla="*/ 703 h 1072"/>
                  <a:gd name="connsiteX190" fmla="*/ 1687 w 5810"/>
                  <a:gd name="connsiteY190" fmla="*/ 649 h 1072"/>
                  <a:gd name="connsiteX191" fmla="*/ 1798 w 5810"/>
                  <a:gd name="connsiteY191" fmla="*/ 475 h 1072"/>
                  <a:gd name="connsiteX192" fmla="*/ 1838 w 5810"/>
                  <a:gd name="connsiteY192" fmla="*/ 415 h 1072"/>
                  <a:gd name="connsiteX193" fmla="*/ 1879 w 5810"/>
                  <a:gd name="connsiteY193" fmla="*/ 357 h 1072"/>
                  <a:gd name="connsiteX194" fmla="*/ 1922 w 5810"/>
                  <a:gd name="connsiteY194" fmla="*/ 299 h 1072"/>
                  <a:gd name="connsiteX195" fmla="*/ 1968 w 5810"/>
                  <a:gd name="connsiteY195" fmla="*/ 245 h 1072"/>
                  <a:gd name="connsiteX196" fmla="*/ 2015 w 5810"/>
                  <a:gd name="connsiteY196" fmla="*/ 193 h 1072"/>
                  <a:gd name="connsiteX197" fmla="*/ 2069 w 5810"/>
                  <a:gd name="connsiteY197" fmla="*/ 145 h 1072"/>
                  <a:gd name="connsiteX198" fmla="*/ 2124 w 5810"/>
                  <a:gd name="connsiteY198" fmla="*/ 104 h 1072"/>
                  <a:gd name="connsiteX199" fmla="*/ 2186 w 5810"/>
                  <a:gd name="connsiteY199" fmla="*/ 69 h 1072"/>
                  <a:gd name="connsiteX200" fmla="*/ 2252 w 5810"/>
                  <a:gd name="connsiteY200" fmla="*/ 40 h 1072"/>
                  <a:gd name="connsiteX201" fmla="*/ 2325 w 5810"/>
                  <a:gd name="connsiteY201" fmla="*/ 19 h 1072"/>
                  <a:gd name="connsiteX202" fmla="*/ 2403 w 5810"/>
                  <a:gd name="connsiteY202" fmla="*/ 6 h 1072"/>
                  <a:gd name="connsiteX203" fmla="*/ 2473 w 5810"/>
                  <a:gd name="connsiteY203" fmla="*/ 4 h 1072"/>
                  <a:gd name="connsiteX204" fmla="*/ 2539 w 5810"/>
                  <a:gd name="connsiteY204" fmla="*/ 13 h 1072"/>
                  <a:gd name="connsiteX205" fmla="*/ 2599 w 5810"/>
                  <a:gd name="connsiteY205" fmla="*/ 27 h 1072"/>
                  <a:gd name="connsiteX206" fmla="*/ 2657 w 5810"/>
                  <a:gd name="connsiteY206" fmla="*/ 50 h 1072"/>
                  <a:gd name="connsiteX207" fmla="*/ 2711 w 5810"/>
                  <a:gd name="connsiteY207" fmla="*/ 81 h 1072"/>
                  <a:gd name="connsiteX208" fmla="*/ 2760 w 5810"/>
                  <a:gd name="connsiteY208" fmla="*/ 116 h 1072"/>
                  <a:gd name="connsiteX209" fmla="*/ 2806 w 5810"/>
                  <a:gd name="connsiteY209" fmla="*/ 158 h 1072"/>
                  <a:gd name="connsiteX210" fmla="*/ 2851 w 5810"/>
                  <a:gd name="connsiteY210" fmla="*/ 203 h 1072"/>
                  <a:gd name="connsiteX211" fmla="*/ 2893 w 5810"/>
                  <a:gd name="connsiteY211" fmla="*/ 251 h 1072"/>
                  <a:gd name="connsiteX212" fmla="*/ 2932 w 5810"/>
                  <a:gd name="connsiteY212" fmla="*/ 303 h 1072"/>
                  <a:gd name="connsiteX213" fmla="*/ 2969 w 5810"/>
                  <a:gd name="connsiteY213" fmla="*/ 357 h 1072"/>
                  <a:gd name="connsiteX214" fmla="*/ 3004 w 5810"/>
                  <a:gd name="connsiteY214" fmla="*/ 413 h 1072"/>
                  <a:gd name="connsiteX215" fmla="*/ 3039 w 5810"/>
                  <a:gd name="connsiteY215" fmla="*/ 467 h 1072"/>
                  <a:gd name="connsiteX216" fmla="*/ 3072 w 5810"/>
                  <a:gd name="connsiteY216" fmla="*/ 523 h 1072"/>
                  <a:gd name="connsiteX217" fmla="*/ 3109 w 5810"/>
                  <a:gd name="connsiteY217" fmla="*/ 585 h 1072"/>
                  <a:gd name="connsiteX218" fmla="*/ 3146 w 5810"/>
                  <a:gd name="connsiteY218" fmla="*/ 643 h 1072"/>
                  <a:gd name="connsiteX219" fmla="*/ 3186 w 5810"/>
                  <a:gd name="connsiteY219" fmla="*/ 701 h 1072"/>
                  <a:gd name="connsiteX220" fmla="*/ 3223 w 5810"/>
                  <a:gd name="connsiteY220" fmla="*/ 755 h 1072"/>
                  <a:gd name="connsiteX221" fmla="*/ 3264 w 5810"/>
                  <a:gd name="connsiteY221" fmla="*/ 805 h 1072"/>
                  <a:gd name="connsiteX222" fmla="*/ 3305 w 5810"/>
                  <a:gd name="connsiteY222" fmla="*/ 848 h 1072"/>
                  <a:gd name="connsiteX223" fmla="*/ 3349 w 5810"/>
                  <a:gd name="connsiteY223" fmla="*/ 886 h 1072"/>
                  <a:gd name="connsiteX224" fmla="*/ 3394 w 5810"/>
                  <a:gd name="connsiteY224" fmla="*/ 917 h 1072"/>
                  <a:gd name="connsiteX225" fmla="*/ 3444 w 5810"/>
                  <a:gd name="connsiteY225" fmla="*/ 940 h 1072"/>
                  <a:gd name="connsiteX226" fmla="*/ 3497 w 5810"/>
                  <a:gd name="connsiteY226" fmla="*/ 952 h 1072"/>
                  <a:gd name="connsiteX227" fmla="*/ 3553 w 5810"/>
                  <a:gd name="connsiteY227" fmla="*/ 956 h 1072"/>
                  <a:gd name="connsiteX228" fmla="*/ 3609 w 5810"/>
                  <a:gd name="connsiteY228" fmla="*/ 950 h 1072"/>
                  <a:gd name="connsiteX229" fmla="*/ 3659 w 5810"/>
                  <a:gd name="connsiteY229" fmla="*/ 935 h 1072"/>
                  <a:gd name="connsiteX230" fmla="*/ 3706 w 5810"/>
                  <a:gd name="connsiteY230" fmla="*/ 915 h 1072"/>
                  <a:gd name="connsiteX231" fmla="*/ 3749 w 5810"/>
                  <a:gd name="connsiteY231" fmla="*/ 884 h 1072"/>
                  <a:gd name="connsiteX232" fmla="*/ 3789 w 5810"/>
                  <a:gd name="connsiteY232" fmla="*/ 848 h 1072"/>
                  <a:gd name="connsiteX233" fmla="*/ 3826 w 5810"/>
                  <a:gd name="connsiteY233" fmla="*/ 807 h 1072"/>
                  <a:gd name="connsiteX234" fmla="*/ 3861 w 5810"/>
                  <a:gd name="connsiteY234" fmla="*/ 759 h 1072"/>
                  <a:gd name="connsiteX235" fmla="*/ 3894 w 5810"/>
                  <a:gd name="connsiteY235" fmla="*/ 709 h 1072"/>
                  <a:gd name="connsiteX236" fmla="*/ 3927 w 5810"/>
                  <a:gd name="connsiteY236" fmla="*/ 655 h 1072"/>
                  <a:gd name="connsiteX237" fmla="*/ 3960 w 5810"/>
                  <a:gd name="connsiteY237" fmla="*/ 597 h 1072"/>
                  <a:gd name="connsiteX238" fmla="*/ 3993 w 5810"/>
                  <a:gd name="connsiteY238" fmla="*/ 537 h 1072"/>
                  <a:gd name="connsiteX239" fmla="*/ 4022 w 5810"/>
                  <a:gd name="connsiteY239" fmla="*/ 483 h 1072"/>
                  <a:gd name="connsiteX240" fmla="*/ 4084 w 5810"/>
                  <a:gd name="connsiteY240" fmla="*/ 375 h 1072"/>
                  <a:gd name="connsiteX241" fmla="*/ 4154 w 5810"/>
                  <a:gd name="connsiteY241" fmla="*/ 272 h 1072"/>
                  <a:gd name="connsiteX242" fmla="*/ 4191 w 5810"/>
                  <a:gd name="connsiteY242" fmla="*/ 224 h 1072"/>
                  <a:gd name="connsiteX243" fmla="*/ 4232 w 5810"/>
                  <a:gd name="connsiteY243" fmla="*/ 178 h 1072"/>
                  <a:gd name="connsiteX244" fmla="*/ 4276 w 5810"/>
                  <a:gd name="connsiteY244" fmla="*/ 137 h 1072"/>
                  <a:gd name="connsiteX245" fmla="*/ 4323 w 5810"/>
                  <a:gd name="connsiteY245" fmla="*/ 100 h 1072"/>
                  <a:gd name="connsiteX246" fmla="*/ 4375 w 5810"/>
                  <a:gd name="connsiteY246" fmla="*/ 66 h 1072"/>
                  <a:gd name="connsiteX247" fmla="*/ 4433 w 5810"/>
                  <a:gd name="connsiteY247" fmla="*/ 40 h 1072"/>
                  <a:gd name="connsiteX248" fmla="*/ 4493 w 5810"/>
                  <a:gd name="connsiteY248" fmla="*/ 19 h 1072"/>
                  <a:gd name="connsiteX249" fmla="*/ 4559 w 5810"/>
                  <a:gd name="connsiteY249" fmla="*/ 6 h 1072"/>
                  <a:gd name="connsiteX250" fmla="*/ 4631 w 5810"/>
                  <a:gd name="connsiteY250" fmla="*/ 0 h 1072"/>
                  <a:gd name="connsiteX0" fmla="*/ 4631 w 5810"/>
                  <a:gd name="connsiteY0" fmla="*/ 0 h 1072"/>
                  <a:gd name="connsiteX1" fmla="*/ 4681 w 5810"/>
                  <a:gd name="connsiteY1" fmla="*/ 0 h 1072"/>
                  <a:gd name="connsiteX2" fmla="*/ 4709 w 5810"/>
                  <a:gd name="connsiteY2" fmla="*/ 4 h 1072"/>
                  <a:gd name="connsiteX3" fmla="*/ 4740 w 5810"/>
                  <a:gd name="connsiteY3" fmla="*/ 13 h 1072"/>
                  <a:gd name="connsiteX4" fmla="*/ 4778 w 5810"/>
                  <a:gd name="connsiteY4" fmla="*/ 23 h 1072"/>
                  <a:gd name="connsiteX5" fmla="*/ 4819 w 5810"/>
                  <a:gd name="connsiteY5" fmla="*/ 40 h 1072"/>
                  <a:gd name="connsiteX6" fmla="*/ 4862 w 5810"/>
                  <a:gd name="connsiteY6" fmla="*/ 60 h 1072"/>
                  <a:gd name="connsiteX7" fmla="*/ 4910 w 5810"/>
                  <a:gd name="connsiteY7" fmla="*/ 89 h 1072"/>
                  <a:gd name="connsiteX8" fmla="*/ 4959 w 5810"/>
                  <a:gd name="connsiteY8" fmla="*/ 125 h 1072"/>
                  <a:gd name="connsiteX9" fmla="*/ 5009 w 5810"/>
                  <a:gd name="connsiteY9" fmla="*/ 170 h 1072"/>
                  <a:gd name="connsiteX10" fmla="*/ 5060 w 5810"/>
                  <a:gd name="connsiteY10" fmla="*/ 224 h 1072"/>
                  <a:gd name="connsiteX11" fmla="*/ 5112 w 5810"/>
                  <a:gd name="connsiteY11" fmla="*/ 286 h 1072"/>
                  <a:gd name="connsiteX12" fmla="*/ 5164 w 5810"/>
                  <a:gd name="connsiteY12" fmla="*/ 361 h 1072"/>
                  <a:gd name="connsiteX13" fmla="*/ 5215 w 5810"/>
                  <a:gd name="connsiteY13" fmla="*/ 448 h 1072"/>
                  <a:gd name="connsiteX14" fmla="*/ 5267 w 5810"/>
                  <a:gd name="connsiteY14" fmla="*/ 548 h 1072"/>
                  <a:gd name="connsiteX15" fmla="*/ 5312 w 5810"/>
                  <a:gd name="connsiteY15" fmla="*/ 633 h 1072"/>
                  <a:gd name="connsiteX16" fmla="*/ 5358 w 5810"/>
                  <a:gd name="connsiteY16" fmla="*/ 705 h 1072"/>
                  <a:gd name="connsiteX17" fmla="*/ 5405 w 5810"/>
                  <a:gd name="connsiteY17" fmla="*/ 767 h 1072"/>
                  <a:gd name="connsiteX18" fmla="*/ 5453 w 5810"/>
                  <a:gd name="connsiteY18" fmla="*/ 819 h 1072"/>
                  <a:gd name="connsiteX19" fmla="*/ 5498 w 5810"/>
                  <a:gd name="connsiteY19" fmla="*/ 863 h 1072"/>
                  <a:gd name="connsiteX20" fmla="*/ 5546 w 5810"/>
                  <a:gd name="connsiteY20" fmla="*/ 898 h 1072"/>
                  <a:gd name="connsiteX21" fmla="*/ 5589 w 5810"/>
                  <a:gd name="connsiteY21" fmla="*/ 927 h 1072"/>
                  <a:gd name="connsiteX22" fmla="*/ 5632 w 5810"/>
                  <a:gd name="connsiteY22" fmla="*/ 948 h 1072"/>
                  <a:gd name="connsiteX23" fmla="*/ 5669 w 5810"/>
                  <a:gd name="connsiteY23" fmla="*/ 962 h 1072"/>
                  <a:gd name="connsiteX24" fmla="*/ 5707 w 5810"/>
                  <a:gd name="connsiteY24" fmla="*/ 973 h 1072"/>
                  <a:gd name="connsiteX25" fmla="*/ 5736 w 5810"/>
                  <a:gd name="connsiteY25" fmla="*/ 981 h 1072"/>
                  <a:gd name="connsiteX26" fmla="*/ 5762 w 5810"/>
                  <a:gd name="connsiteY26" fmla="*/ 983 h 1072"/>
                  <a:gd name="connsiteX27" fmla="*/ 5781 w 5810"/>
                  <a:gd name="connsiteY27" fmla="*/ 985 h 1072"/>
                  <a:gd name="connsiteX28" fmla="*/ 5802 w 5810"/>
                  <a:gd name="connsiteY28" fmla="*/ 985 h 1072"/>
                  <a:gd name="connsiteX29" fmla="*/ 5810 w 5810"/>
                  <a:gd name="connsiteY29" fmla="*/ 1072 h 1072"/>
                  <a:gd name="connsiteX30" fmla="*/ 5775 w 5810"/>
                  <a:gd name="connsiteY30" fmla="*/ 1072 h 1072"/>
                  <a:gd name="connsiteX31" fmla="*/ 5748 w 5810"/>
                  <a:gd name="connsiteY31" fmla="*/ 1070 h 1072"/>
                  <a:gd name="connsiteX32" fmla="*/ 5717 w 5810"/>
                  <a:gd name="connsiteY32" fmla="*/ 1064 h 1072"/>
                  <a:gd name="connsiteX33" fmla="*/ 5680 w 5810"/>
                  <a:gd name="connsiteY33" fmla="*/ 1056 h 1072"/>
                  <a:gd name="connsiteX34" fmla="*/ 5638 w 5810"/>
                  <a:gd name="connsiteY34" fmla="*/ 1043 h 1072"/>
                  <a:gd name="connsiteX35" fmla="*/ 5593 w 5810"/>
                  <a:gd name="connsiteY35" fmla="*/ 1025 h 1072"/>
                  <a:gd name="connsiteX36" fmla="*/ 5546 w 5810"/>
                  <a:gd name="connsiteY36" fmla="*/ 1002 h 1072"/>
                  <a:gd name="connsiteX37" fmla="*/ 5496 w 5810"/>
                  <a:gd name="connsiteY37" fmla="*/ 971 h 1072"/>
                  <a:gd name="connsiteX38" fmla="*/ 5444 w 5810"/>
                  <a:gd name="connsiteY38" fmla="*/ 931 h 1072"/>
                  <a:gd name="connsiteX39" fmla="*/ 5393 w 5810"/>
                  <a:gd name="connsiteY39" fmla="*/ 881 h 1072"/>
                  <a:gd name="connsiteX40" fmla="*/ 5339 w 5810"/>
                  <a:gd name="connsiteY40" fmla="*/ 823 h 1072"/>
                  <a:gd name="connsiteX41" fmla="*/ 5288 w 5810"/>
                  <a:gd name="connsiteY41" fmla="*/ 755 h 1072"/>
                  <a:gd name="connsiteX42" fmla="*/ 5238 w 5810"/>
                  <a:gd name="connsiteY42" fmla="*/ 676 h 1072"/>
                  <a:gd name="connsiteX43" fmla="*/ 5190 w 5810"/>
                  <a:gd name="connsiteY43" fmla="*/ 583 h 1072"/>
                  <a:gd name="connsiteX44" fmla="*/ 5141 w 5810"/>
                  <a:gd name="connsiteY44" fmla="*/ 487 h 1072"/>
                  <a:gd name="connsiteX45" fmla="*/ 5091 w 5810"/>
                  <a:gd name="connsiteY45" fmla="*/ 404 h 1072"/>
                  <a:gd name="connsiteX46" fmla="*/ 5042 w 5810"/>
                  <a:gd name="connsiteY46" fmla="*/ 336 h 1072"/>
                  <a:gd name="connsiteX47" fmla="*/ 4992 w 5810"/>
                  <a:gd name="connsiteY47" fmla="*/ 276 h 1072"/>
                  <a:gd name="connsiteX48" fmla="*/ 4945 w 5810"/>
                  <a:gd name="connsiteY48" fmla="*/ 228 h 1072"/>
                  <a:gd name="connsiteX49" fmla="*/ 4899 w 5810"/>
                  <a:gd name="connsiteY49" fmla="*/ 189 h 1072"/>
                  <a:gd name="connsiteX50" fmla="*/ 4858 w 5810"/>
                  <a:gd name="connsiteY50" fmla="*/ 158 h 1072"/>
                  <a:gd name="connsiteX51" fmla="*/ 4819 w 5810"/>
                  <a:gd name="connsiteY51" fmla="*/ 135 h 1072"/>
                  <a:gd name="connsiteX52" fmla="*/ 4769 w 5810"/>
                  <a:gd name="connsiteY52" fmla="*/ 112 h 1072"/>
                  <a:gd name="connsiteX53" fmla="*/ 4726 w 5810"/>
                  <a:gd name="connsiteY53" fmla="*/ 98 h 1072"/>
                  <a:gd name="connsiteX54" fmla="*/ 4691 w 5810"/>
                  <a:gd name="connsiteY54" fmla="*/ 89 h 1072"/>
                  <a:gd name="connsiteX55" fmla="*/ 4662 w 5810"/>
                  <a:gd name="connsiteY55" fmla="*/ 87 h 1072"/>
                  <a:gd name="connsiteX56" fmla="*/ 4635 w 5810"/>
                  <a:gd name="connsiteY56" fmla="*/ 87 h 1072"/>
                  <a:gd name="connsiteX57" fmla="*/ 4569 w 5810"/>
                  <a:gd name="connsiteY57" fmla="*/ 93 h 1072"/>
                  <a:gd name="connsiteX58" fmla="*/ 4507 w 5810"/>
                  <a:gd name="connsiteY58" fmla="*/ 106 h 1072"/>
                  <a:gd name="connsiteX59" fmla="*/ 4451 w 5810"/>
                  <a:gd name="connsiteY59" fmla="*/ 127 h 1072"/>
                  <a:gd name="connsiteX60" fmla="*/ 4400 w 5810"/>
                  <a:gd name="connsiteY60" fmla="*/ 154 h 1072"/>
                  <a:gd name="connsiteX61" fmla="*/ 4352 w 5810"/>
                  <a:gd name="connsiteY61" fmla="*/ 187 h 1072"/>
                  <a:gd name="connsiteX62" fmla="*/ 4309 w 5810"/>
                  <a:gd name="connsiteY62" fmla="*/ 224 h 1072"/>
                  <a:gd name="connsiteX63" fmla="*/ 4270 w 5810"/>
                  <a:gd name="connsiteY63" fmla="*/ 268 h 1072"/>
                  <a:gd name="connsiteX64" fmla="*/ 4230 w 5810"/>
                  <a:gd name="connsiteY64" fmla="*/ 313 h 1072"/>
                  <a:gd name="connsiteX65" fmla="*/ 4195 w 5810"/>
                  <a:gd name="connsiteY65" fmla="*/ 363 h 1072"/>
                  <a:gd name="connsiteX66" fmla="*/ 4162 w 5810"/>
                  <a:gd name="connsiteY66" fmla="*/ 415 h 1072"/>
                  <a:gd name="connsiteX67" fmla="*/ 4100 w 5810"/>
                  <a:gd name="connsiteY67" fmla="*/ 523 h 1072"/>
                  <a:gd name="connsiteX68" fmla="*/ 4007 w 5810"/>
                  <a:gd name="connsiteY68" fmla="*/ 691 h 1072"/>
                  <a:gd name="connsiteX69" fmla="*/ 3974 w 5810"/>
                  <a:gd name="connsiteY69" fmla="*/ 747 h 1072"/>
                  <a:gd name="connsiteX70" fmla="*/ 3939 w 5810"/>
                  <a:gd name="connsiteY70" fmla="*/ 799 h 1072"/>
                  <a:gd name="connsiteX71" fmla="*/ 3904 w 5810"/>
                  <a:gd name="connsiteY71" fmla="*/ 848 h 1072"/>
                  <a:gd name="connsiteX72" fmla="*/ 3865 w 5810"/>
                  <a:gd name="connsiteY72" fmla="*/ 894 h 1072"/>
                  <a:gd name="connsiteX73" fmla="*/ 3824 w 5810"/>
                  <a:gd name="connsiteY73" fmla="*/ 935 h 1072"/>
                  <a:gd name="connsiteX74" fmla="*/ 3778 w 5810"/>
                  <a:gd name="connsiteY74" fmla="*/ 971 h 1072"/>
                  <a:gd name="connsiteX75" fmla="*/ 3729 w 5810"/>
                  <a:gd name="connsiteY75" fmla="*/ 1000 h 1072"/>
                  <a:gd name="connsiteX76" fmla="*/ 3677 w 5810"/>
                  <a:gd name="connsiteY76" fmla="*/ 1022 h 1072"/>
                  <a:gd name="connsiteX77" fmla="*/ 3619 w 5810"/>
                  <a:gd name="connsiteY77" fmla="*/ 1037 h 1072"/>
                  <a:gd name="connsiteX78" fmla="*/ 3555 w 5810"/>
                  <a:gd name="connsiteY78" fmla="*/ 1043 h 1072"/>
                  <a:gd name="connsiteX79" fmla="*/ 3547 w 5810"/>
                  <a:gd name="connsiteY79" fmla="*/ 1043 h 1072"/>
                  <a:gd name="connsiteX80" fmla="*/ 3485 w 5810"/>
                  <a:gd name="connsiteY80" fmla="*/ 1039 h 1072"/>
                  <a:gd name="connsiteX81" fmla="*/ 3425 w 5810"/>
                  <a:gd name="connsiteY81" fmla="*/ 1025 h 1072"/>
                  <a:gd name="connsiteX82" fmla="*/ 3372 w 5810"/>
                  <a:gd name="connsiteY82" fmla="*/ 1002 h 1072"/>
                  <a:gd name="connsiteX83" fmla="*/ 3320 w 5810"/>
                  <a:gd name="connsiteY83" fmla="*/ 973 h 1072"/>
                  <a:gd name="connsiteX84" fmla="*/ 3272 w 5810"/>
                  <a:gd name="connsiteY84" fmla="*/ 935 h 1072"/>
                  <a:gd name="connsiteX85" fmla="*/ 3229 w 5810"/>
                  <a:gd name="connsiteY85" fmla="*/ 894 h 1072"/>
                  <a:gd name="connsiteX86" fmla="*/ 3186 w 5810"/>
                  <a:gd name="connsiteY86" fmla="*/ 846 h 1072"/>
                  <a:gd name="connsiteX87" fmla="*/ 3146 w 5810"/>
                  <a:gd name="connsiteY87" fmla="*/ 796 h 1072"/>
                  <a:gd name="connsiteX88" fmla="*/ 3107 w 5810"/>
                  <a:gd name="connsiteY88" fmla="*/ 740 h 1072"/>
                  <a:gd name="connsiteX89" fmla="*/ 3070 w 5810"/>
                  <a:gd name="connsiteY89" fmla="*/ 684 h 1072"/>
                  <a:gd name="connsiteX90" fmla="*/ 2965 w 5810"/>
                  <a:gd name="connsiteY90" fmla="*/ 510 h 1072"/>
                  <a:gd name="connsiteX91" fmla="*/ 2928 w 5810"/>
                  <a:gd name="connsiteY91" fmla="*/ 452 h 1072"/>
                  <a:gd name="connsiteX92" fmla="*/ 2890 w 5810"/>
                  <a:gd name="connsiteY92" fmla="*/ 396 h 1072"/>
                  <a:gd name="connsiteX93" fmla="*/ 2853 w 5810"/>
                  <a:gd name="connsiteY93" fmla="*/ 342 h 1072"/>
                  <a:gd name="connsiteX94" fmla="*/ 2814 w 5810"/>
                  <a:gd name="connsiteY94" fmla="*/ 293 h 1072"/>
                  <a:gd name="connsiteX95" fmla="*/ 2773 w 5810"/>
                  <a:gd name="connsiteY95" fmla="*/ 247 h 1072"/>
                  <a:gd name="connsiteX96" fmla="*/ 2731 w 5810"/>
                  <a:gd name="connsiteY96" fmla="*/ 205 h 1072"/>
                  <a:gd name="connsiteX97" fmla="*/ 2686 w 5810"/>
                  <a:gd name="connsiteY97" fmla="*/ 168 h 1072"/>
                  <a:gd name="connsiteX98" fmla="*/ 2639 w 5810"/>
                  <a:gd name="connsiteY98" fmla="*/ 139 h 1072"/>
                  <a:gd name="connsiteX99" fmla="*/ 2587 w 5810"/>
                  <a:gd name="connsiteY99" fmla="*/ 116 h 1072"/>
                  <a:gd name="connsiteX100" fmla="*/ 2531 w 5810"/>
                  <a:gd name="connsiteY100" fmla="*/ 100 h 1072"/>
                  <a:gd name="connsiteX101" fmla="*/ 2473 w 5810"/>
                  <a:gd name="connsiteY101" fmla="*/ 91 h 1072"/>
                  <a:gd name="connsiteX102" fmla="*/ 2409 w 5810"/>
                  <a:gd name="connsiteY102" fmla="*/ 93 h 1072"/>
                  <a:gd name="connsiteX103" fmla="*/ 2341 w 5810"/>
                  <a:gd name="connsiteY103" fmla="*/ 104 h 1072"/>
                  <a:gd name="connsiteX104" fmla="*/ 2279 w 5810"/>
                  <a:gd name="connsiteY104" fmla="*/ 122 h 1072"/>
                  <a:gd name="connsiteX105" fmla="*/ 2222 w 5810"/>
                  <a:gd name="connsiteY105" fmla="*/ 147 h 1072"/>
                  <a:gd name="connsiteX106" fmla="*/ 2168 w 5810"/>
                  <a:gd name="connsiteY106" fmla="*/ 181 h 1072"/>
                  <a:gd name="connsiteX107" fmla="*/ 2116 w 5810"/>
                  <a:gd name="connsiteY107" fmla="*/ 218 h 1072"/>
                  <a:gd name="connsiteX108" fmla="*/ 2071 w 5810"/>
                  <a:gd name="connsiteY108" fmla="*/ 261 h 1072"/>
                  <a:gd name="connsiteX109" fmla="*/ 2025 w 5810"/>
                  <a:gd name="connsiteY109" fmla="*/ 307 h 1072"/>
                  <a:gd name="connsiteX110" fmla="*/ 1984 w 5810"/>
                  <a:gd name="connsiteY110" fmla="*/ 359 h 1072"/>
                  <a:gd name="connsiteX111" fmla="*/ 1945 w 5810"/>
                  <a:gd name="connsiteY111" fmla="*/ 413 h 1072"/>
                  <a:gd name="connsiteX112" fmla="*/ 1908 w 5810"/>
                  <a:gd name="connsiteY112" fmla="*/ 467 h 1072"/>
                  <a:gd name="connsiteX113" fmla="*/ 1871 w 5810"/>
                  <a:gd name="connsiteY113" fmla="*/ 523 h 1072"/>
                  <a:gd name="connsiteX114" fmla="*/ 1833 w 5810"/>
                  <a:gd name="connsiteY114" fmla="*/ 581 h 1072"/>
                  <a:gd name="connsiteX115" fmla="*/ 1798 w 5810"/>
                  <a:gd name="connsiteY115" fmla="*/ 637 h 1072"/>
                  <a:gd name="connsiteX116" fmla="*/ 1724 w 5810"/>
                  <a:gd name="connsiteY116" fmla="*/ 749 h 1072"/>
                  <a:gd name="connsiteX117" fmla="*/ 1685 w 5810"/>
                  <a:gd name="connsiteY117" fmla="*/ 801 h 1072"/>
                  <a:gd name="connsiteX118" fmla="*/ 1643 w 5810"/>
                  <a:gd name="connsiteY118" fmla="*/ 850 h 1072"/>
                  <a:gd name="connsiteX119" fmla="*/ 1600 w 5810"/>
                  <a:gd name="connsiteY119" fmla="*/ 896 h 1072"/>
                  <a:gd name="connsiteX120" fmla="*/ 1553 w 5810"/>
                  <a:gd name="connsiteY120" fmla="*/ 937 h 1072"/>
                  <a:gd name="connsiteX121" fmla="*/ 1503 w 5810"/>
                  <a:gd name="connsiteY121" fmla="*/ 973 h 1072"/>
                  <a:gd name="connsiteX122" fmla="*/ 1449 w 5810"/>
                  <a:gd name="connsiteY122" fmla="*/ 1002 h 1072"/>
                  <a:gd name="connsiteX123" fmla="*/ 1394 w 5810"/>
                  <a:gd name="connsiteY123" fmla="*/ 1025 h 1072"/>
                  <a:gd name="connsiteX124" fmla="*/ 1330 w 5810"/>
                  <a:gd name="connsiteY124" fmla="*/ 1037 h 1072"/>
                  <a:gd name="connsiteX125" fmla="*/ 1264 w 5810"/>
                  <a:gd name="connsiteY125" fmla="*/ 1043 h 1072"/>
                  <a:gd name="connsiteX126" fmla="*/ 1257 w 5810"/>
                  <a:gd name="connsiteY126" fmla="*/ 1043 h 1072"/>
                  <a:gd name="connsiteX127" fmla="*/ 1189 w 5810"/>
                  <a:gd name="connsiteY127" fmla="*/ 1039 h 1072"/>
                  <a:gd name="connsiteX128" fmla="*/ 1127 w 5810"/>
                  <a:gd name="connsiteY128" fmla="*/ 1027 h 1072"/>
                  <a:gd name="connsiteX129" fmla="*/ 1069 w 5810"/>
                  <a:gd name="connsiteY129" fmla="*/ 1008 h 1072"/>
                  <a:gd name="connsiteX130" fmla="*/ 1018 w 5810"/>
                  <a:gd name="connsiteY130" fmla="*/ 983 h 1072"/>
                  <a:gd name="connsiteX131" fmla="*/ 970 w 5810"/>
                  <a:gd name="connsiteY131" fmla="*/ 952 h 1072"/>
                  <a:gd name="connsiteX132" fmla="*/ 925 w 5810"/>
                  <a:gd name="connsiteY132" fmla="*/ 915 h 1072"/>
                  <a:gd name="connsiteX133" fmla="*/ 884 w 5810"/>
                  <a:gd name="connsiteY133" fmla="*/ 873 h 1072"/>
                  <a:gd name="connsiteX134" fmla="*/ 846 w 5810"/>
                  <a:gd name="connsiteY134" fmla="*/ 828 h 1072"/>
                  <a:gd name="connsiteX135" fmla="*/ 809 w 5810"/>
                  <a:gd name="connsiteY135" fmla="*/ 780 h 1072"/>
                  <a:gd name="connsiteX136" fmla="*/ 776 w 5810"/>
                  <a:gd name="connsiteY136" fmla="*/ 728 h 1072"/>
                  <a:gd name="connsiteX137" fmla="*/ 741 w 5810"/>
                  <a:gd name="connsiteY137" fmla="*/ 674 h 1072"/>
                  <a:gd name="connsiteX138" fmla="*/ 710 w 5810"/>
                  <a:gd name="connsiteY138" fmla="*/ 618 h 1072"/>
                  <a:gd name="connsiteX139" fmla="*/ 677 w 5810"/>
                  <a:gd name="connsiteY139" fmla="*/ 560 h 1072"/>
                  <a:gd name="connsiteX140" fmla="*/ 615 w 5810"/>
                  <a:gd name="connsiteY140" fmla="*/ 448 h 1072"/>
                  <a:gd name="connsiteX141" fmla="*/ 547 w 5810"/>
                  <a:gd name="connsiteY141" fmla="*/ 340 h 1072"/>
                  <a:gd name="connsiteX142" fmla="*/ 504 w 5810"/>
                  <a:gd name="connsiteY142" fmla="*/ 284 h 1072"/>
                  <a:gd name="connsiteX143" fmla="*/ 456 w 5810"/>
                  <a:gd name="connsiteY143" fmla="*/ 239 h 1072"/>
                  <a:gd name="connsiteX144" fmla="*/ 409 w 5810"/>
                  <a:gd name="connsiteY144" fmla="*/ 199 h 1072"/>
                  <a:gd name="connsiteX145" fmla="*/ 357 w 5810"/>
                  <a:gd name="connsiteY145" fmla="*/ 168 h 1072"/>
                  <a:gd name="connsiteX146" fmla="*/ 308 w 5810"/>
                  <a:gd name="connsiteY146" fmla="*/ 145 h 1072"/>
                  <a:gd name="connsiteX147" fmla="*/ 256 w 5810"/>
                  <a:gd name="connsiteY147" fmla="*/ 127 h 1072"/>
                  <a:gd name="connsiteX148" fmla="*/ 209 w 5810"/>
                  <a:gd name="connsiteY148" fmla="*/ 112 h 1072"/>
                  <a:gd name="connsiteX149" fmla="*/ 163 w 5810"/>
                  <a:gd name="connsiteY149" fmla="*/ 104 h 1072"/>
                  <a:gd name="connsiteX150" fmla="*/ 122 w 5810"/>
                  <a:gd name="connsiteY150" fmla="*/ 100 h 1072"/>
                  <a:gd name="connsiteX151" fmla="*/ 31 w 5810"/>
                  <a:gd name="connsiteY151" fmla="*/ 95 h 1072"/>
                  <a:gd name="connsiteX152" fmla="*/ 0 w 5810"/>
                  <a:gd name="connsiteY152" fmla="*/ 13 h 1072"/>
                  <a:gd name="connsiteX153" fmla="*/ 8 w 5810"/>
                  <a:gd name="connsiteY153" fmla="*/ 13 h 1072"/>
                  <a:gd name="connsiteX154" fmla="*/ 29 w 5810"/>
                  <a:gd name="connsiteY154" fmla="*/ 10 h 1072"/>
                  <a:gd name="connsiteX155" fmla="*/ 91 w 5810"/>
                  <a:gd name="connsiteY155" fmla="*/ 10 h 1072"/>
                  <a:gd name="connsiteX156" fmla="*/ 134 w 5810"/>
                  <a:gd name="connsiteY156" fmla="*/ 13 h 1072"/>
                  <a:gd name="connsiteX157" fmla="*/ 182 w 5810"/>
                  <a:gd name="connsiteY157" fmla="*/ 19 h 1072"/>
                  <a:gd name="connsiteX158" fmla="*/ 233 w 5810"/>
                  <a:gd name="connsiteY158" fmla="*/ 29 h 1072"/>
                  <a:gd name="connsiteX159" fmla="*/ 287 w 5810"/>
                  <a:gd name="connsiteY159" fmla="*/ 46 h 1072"/>
                  <a:gd name="connsiteX160" fmla="*/ 345 w 5810"/>
                  <a:gd name="connsiteY160" fmla="*/ 66 h 1072"/>
                  <a:gd name="connsiteX161" fmla="*/ 403 w 5810"/>
                  <a:gd name="connsiteY161" fmla="*/ 93 h 1072"/>
                  <a:gd name="connsiteX162" fmla="*/ 458 w 5810"/>
                  <a:gd name="connsiteY162" fmla="*/ 131 h 1072"/>
                  <a:gd name="connsiteX163" fmla="*/ 514 w 5810"/>
                  <a:gd name="connsiteY163" fmla="*/ 174 h 1072"/>
                  <a:gd name="connsiteX164" fmla="*/ 568 w 5810"/>
                  <a:gd name="connsiteY164" fmla="*/ 228 h 1072"/>
                  <a:gd name="connsiteX165" fmla="*/ 617 w 5810"/>
                  <a:gd name="connsiteY165" fmla="*/ 293 h 1072"/>
                  <a:gd name="connsiteX166" fmla="*/ 667 w 5810"/>
                  <a:gd name="connsiteY166" fmla="*/ 367 h 1072"/>
                  <a:gd name="connsiteX167" fmla="*/ 754 w 5810"/>
                  <a:gd name="connsiteY167" fmla="*/ 516 h 1072"/>
                  <a:gd name="connsiteX168" fmla="*/ 787 w 5810"/>
                  <a:gd name="connsiteY168" fmla="*/ 575 h 1072"/>
                  <a:gd name="connsiteX169" fmla="*/ 820 w 5810"/>
                  <a:gd name="connsiteY169" fmla="*/ 631 h 1072"/>
                  <a:gd name="connsiteX170" fmla="*/ 853 w 5810"/>
                  <a:gd name="connsiteY170" fmla="*/ 684 h 1072"/>
                  <a:gd name="connsiteX171" fmla="*/ 886 w 5810"/>
                  <a:gd name="connsiteY171" fmla="*/ 736 h 1072"/>
                  <a:gd name="connsiteX172" fmla="*/ 921 w 5810"/>
                  <a:gd name="connsiteY172" fmla="*/ 782 h 1072"/>
                  <a:gd name="connsiteX173" fmla="*/ 958 w 5810"/>
                  <a:gd name="connsiteY173" fmla="*/ 825 h 1072"/>
                  <a:gd name="connsiteX174" fmla="*/ 999 w 5810"/>
                  <a:gd name="connsiteY174" fmla="*/ 863 h 1072"/>
                  <a:gd name="connsiteX175" fmla="*/ 1043 w 5810"/>
                  <a:gd name="connsiteY175" fmla="*/ 894 h 1072"/>
                  <a:gd name="connsiteX176" fmla="*/ 1090 w 5810"/>
                  <a:gd name="connsiteY176" fmla="*/ 921 h 1072"/>
                  <a:gd name="connsiteX177" fmla="*/ 1140 w 5810"/>
                  <a:gd name="connsiteY177" fmla="*/ 940 h 1072"/>
                  <a:gd name="connsiteX178" fmla="*/ 1195 w 5810"/>
                  <a:gd name="connsiteY178" fmla="*/ 952 h 1072"/>
                  <a:gd name="connsiteX179" fmla="*/ 1257 w 5810"/>
                  <a:gd name="connsiteY179" fmla="*/ 956 h 1072"/>
                  <a:gd name="connsiteX180" fmla="*/ 1264 w 5810"/>
                  <a:gd name="connsiteY180" fmla="*/ 956 h 1072"/>
                  <a:gd name="connsiteX181" fmla="*/ 1323 w 5810"/>
                  <a:gd name="connsiteY181" fmla="*/ 950 h 1072"/>
                  <a:gd name="connsiteX182" fmla="*/ 1379 w 5810"/>
                  <a:gd name="connsiteY182" fmla="*/ 935 h 1072"/>
                  <a:gd name="connsiteX183" fmla="*/ 1433 w 5810"/>
                  <a:gd name="connsiteY183" fmla="*/ 913 h 1072"/>
                  <a:gd name="connsiteX184" fmla="*/ 1480 w 5810"/>
                  <a:gd name="connsiteY184" fmla="*/ 884 h 1072"/>
                  <a:gd name="connsiteX185" fmla="*/ 1526 w 5810"/>
                  <a:gd name="connsiteY185" fmla="*/ 846 h 1072"/>
                  <a:gd name="connsiteX186" fmla="*/ 1569 w 5810"/>
                  <a:gd name="connsiteY186" fmla="*/ 803 h 1072"/>
                  <a:gd name="connsiteX187" fmla="*/ 1608 w 5810"/>
                  <a:gd name="connsiteY187" fmla="*/ 755 h 1072"/>
                  <a:gd name="connsiteX188" fmla="*/ 1648 w 5810"/>
                  <a:gd name="connsiteY188" fmla="*/ 703 h 1072"/>
                  <a:gd name="connsiteX189" fmla="*/ 1687 w 5810"/>
                  <a:gd name="connsiteY189" fmla="*/ 649 h 1072"/>
                  <a:gd name="connsiteX190" fmla="*/ 1798 w 5810"/>
                  <a:gd name="connsiteY190" fmla="*/ 475 h 1072"/>
                  <a:gd name="connsiteX191" fmla="*/ 1838 w 5810"/>
                  <a:gd name="connsiteY191" fmla="*/ 415 h 1072"/>
                  <a:gd name="connsiteX192" fmla="*/ 1879 w 5810"/>
                  <a:gd name="connsiteY192" fmla="*/ 357 h 1072"/>
                  <a:gd name="connsiteX193" fmla="*/ 1922 w 5810"/>
                  <a:gd name="connsiteY193" fmla="*/ 299 h 1072"/>
                  <a:gd name="connsiteX194" fmla="*/ 1968 w 5810"/>
                  <a:gd name="connsiteY194" fmla="*/ 245 h 1072"/>
                  <a:gd name="connsiteX195" fmla="*/ 2015 w 5810"/>
                  <a:gd name="connsiteY195" fmla="*/ 193 h 1072"/>
                  <a:gd name="connsiteX196" fmla="*/ 2069 w 5810"/>
                  <a:gd name="connsiteY196" fmla="*/ 145 h 1072"/>
                  <a:gd name="connsiteX197" fmla="*/ 2124 w 5810"/>
                  <a:gd name="connsiteY197" fmla="*/ 104 h 1072"/>
                  <a:gd name="connsiteX198" fmla="*/ 2186 w 5810"/>
                  <a:gd name="connsiteY198" fmla="*/ 69 h 1072"/>
                  <a:gd name="connsiteX199" fmla="*/ 2252 w 5810"/>
                  <a:gd name="connsiteY199" fmla="*/ 40 h 1072"/>
                  <a:gd name="connsiteX200" fmla="*/ 2325 w 5810"/>
                  <a:gd name="connsiteY200" fmla="*/ 19 h 1072"/>
                  <a:gd name="connsiteX201" fmla="*/ 2403 w 5810"/>
                  <a:gd name="connsiteY201" fmla="*/ 6 h 1072"/>
                  <a:gd name="connsiteX202" fmla="*/ 2473 w 5810"/>
                  <a:gd name="connsiteY202" fmla="*/ 4 h 1072"/>
                  <a:gd name="connsiteX203" fmla="*/ 2539 w 5810"/>
                  <a:gd name="connsiteY203" fmla="*/ 13 h 1072"/>
                  <a:gd name="connsiteX204" fmla="*/ 2599 w 5810"/>
                  <a:gd name="connsiteY204" fmla="*/ 27 h 1072"/>
                  <a:gd name="connsiteX205" fmla="*/ 2657 w 5810"/>
                  <a:gd name="connsiteY205" fmla="*/ 50 h 1072"/>
                  <a:gd name="connsiteX206" fmla="*/ 2711 w 5810"/>
                  <a:gd name="connsiteY206" fmla="*/ 81 h 1072"/>
                  <a:gd name="connsiteX207" fmla="*/ 2760 w 5810"/>
                  <a:gd name="connsiteY207" fmla="*/ 116 h 1072"/>
                  <a:gd name="connsiteX208" fmla="*/ 2806 w 5810"/>
                  <a:gd name="connsiteY208" fmla="*/ 158 h 1072"/>
                  <a:gd name="connsiteX209" fmla="*/ 2851 w 5810"/>
                  <a:gd name="connsiteY209" fmla="*/ 203 h 1072"/>
                  <a:gd name="connsiteX210" fmla="*/ 2893 w 5810"/>
                  <a:gd name="connsiteY210" fmla="*/ 251 h 1072"/>
                  <a:gd name="connsiteX211" fmla="*/ 2932 w 5810"/>
                  <a:gd name="connsiteY211" fmla="*/ 303 h 1072"/>
                  <a:gd name="connsiteX212" fmla="*/ 2969 w 5810"/>
                  <a:gd name="connsiteY212" fmla="*/ 357 h 1072"/>
                  <a:gd name="connsiteX213" fmla="*/ 3004 w 5810"/>
                  <a:gd name="connsiteY213" fmla="*/ 413 h 1072"/>
                  <a:gd name="connsiteX214" fmla="*/ 3039 w 5810"/>
                  <a:gd name="connsiteY214" fmla="*/ 467 h 1072"/>
                  <a:gd name="connsiteX215" fmla="*/ 3072 w 5810"/>
                  <a:gd name="connsiteY215" fmla="*/ 523 h 1072"/>
                  <a:gd name="connsiteX216" fmla="*/ 3109 w 5810"/>
                  <a:gd name="connsiteY216" fmla="*/ 585 h 1072"/>
                  <a:gd name="connsiteX217" fmla="*/ 3146 w 5810"/>
                  <a:gd name="connsiteY217" fmla="*/ 643 h 1072"/>
                  <a:gd name="connsiteX218" fmla="*/ 3186 w 5810"/>
                  <a:gd name="connsiteY218" fmla="*/ 701 h 1072"/>
                  <a:gd name="connsiteX219" fmla="*/ 3223 w 5810"/>
                  <a:gd name="connsiteY219" fmla="*/ 755 h 1072"/>
                  <a:gd name="connsiteX220" fmla="*/ 3264 w 5810"/>
                  <a:gd name="connsiteY220" fmla="*/ 805 h 1072"/>
                  <a:gd name="connsiteX221" fmla="*/ 3305 w 5810"/>
                  <a:gd name="connsiteY221" fmla="*/ 848 h 1072"/>
                  <a:gd name="connsiteX222" fmla="*/ 3349 w 5810"/>
                  <a:gd name="connsiteY222" fmla="*/ 886 h 1072"/>
                  <a:gd name="connsiteX223" fmla="*/ 3394 w 5810"/>
                  <a:gd name="connsiteY223" fmla="*/ 917 h 1072"/>
                  <a:gd name="connsiteX224" fmla="*/ 3444 w 5810"/>
                  <a:gd name="connsiteY224" fmla="*/ 940 h 1072"/>
                  <a:gd name="connsiteX225" fmla="*/ 3497 w 5810"/>
                  <a:gd name="connsiteY225" fmla="*/ 952 h 1072"/>
                  <a:gd name="connsiteX226" fmla="*/ 3553 w 5810"/>
                  <a:gd name="connsiteY226" fmla="*/ 956 h 1072"/>
                  <a:gd name="connsiteX227" fmla="*/ 3609 w 5810"/>
                  <a:gd name="connsiteY227" fmla="*/ 950 h 1072"/>
                  <a:gd name="connsiteX228" fmla="*/ 3659 w 5810"/>
                  <a:gd name="connsiteY228" fmla="*/ 935 h 1072"/>
                  <a:gd name="connsiteX229" fmla="*/ 3706 w 5810"/>
                  <a:gd name="connsiteY229" fmla="*/ 915 h 1072"/>
                  <a:gd name="connsiteX230" fmla="*/ 3749 w 5810"/>
                  <a:gd name="connsiteY230" fmla="*/ 884 h 1072"/>
                  <a:gd name="connsiteX231" fmla="*/ 3789 w 5810"/>
                  <a:gd name="connsiteY231" fmla="*/ 848 h 1072"/>
                  <a:gd name="connsiteX232" fmla="*/ 3826 w 5810"/>
                  <a:gd name="connsiteY232" fmla="*/ 807 h 1072"/>
                  <a:gd name="connsiteX233" fmla="*/ 3861 w 5810"/>
                  <a:gd name="connsiteY233" fmla="*/ 759 h 1072"/>
                  <a:gd name="connsiteX234" fmla="*/ 3894 w 5810"/>
                  <a:gd name="connsiteY234" fmla="*/ 709 h 1072"/>
                  <a:gd name="connsiteX235" fmla="*/ 3927 w 5810"/>
                  <a:gd name="connsiteY235" fmla="*/ 655 h 1072"/>
                  <a:gd name="connsiteX236" fmla="*/ 3960 w 5810"/>
                  <a:gd name="connsiteY236" fmla="*/ 597 h 1072"/>
                  <a:gd name="connsiteX237" fmla="*/ 3993 w 5810"/>
                  <a:gd name="connsiteY237" fmla="*/ 537 h 1072"/>
                  <a:gd name="connsiteX238" fmla="*/ 4022 w 5810"/>
                  <a:gd name="connsiteY238" fmla="*/ 483 h 1072"/>
                  <a:gd name="connsiteX239" fmla="*/ 4084 w 5810"/>
                  <a:gd name="connsiteY239" fmla="*/ 375 h 1072"/>
                  <a:gd name="connsiteX240" fmla="*/ 4154 w 5810"/>
                  <a:gd name="connsiteY240" fmla="*/ 272 h 1072"/>
                  <a:gd name="connsiteX241" fmla="*/ 4191 w 5810"/>
                  <a:gd name="connsiteY241" fmla="*/ 224 h 1072"/>
                  <a:gd name="connsiteX242" fmla="*/ 4232 w 5810"/>
                  <a:gd name="connsiteY242" fmla="*/ 178 h 1072"/>
                  <a:gd name="connsiteX243" fmla="*/ 4276 w 5810"/>
                  <a:gd name="connsiteY243" fmla="*/ 137 h 1072"/>
                  <a:gd name="connsiteX244" fmla="*/ 4323 w 5810"/>
                  <a:gd name="connsiteY244" fmla="*/ 100 h 1072"/>
                  <a:gd name="connsiteX245" fmla="*/ 4375 w 5810"/>
                  <a:gd name="connsiteY245" fmla="*/ 66 h 1072"/>
                  <a:gd name="connsiteX246" fmla="*/ 4433 w 5810"/>
                  <a:gd name="connsiteY246" fmla="*/ 40 h 1072"/>
                  <a:gd name="connsiteX247" fmla="*/ 4493 w 5810"/>
                  <a:gd name="connsiteY247" fmla="*/ 19 h 1072"/>
                  <a:gd name="connsiteX248" fmla="*/ 4559 w 5810"/>
                  <a:gd name="connsiteY248" fmla="*/ 6 h 1072"/>
                  <a:gd name="connsiteX249" fmla="*/ 4631 w 5810"/>
                  <a:gd name="connsiteY249" fmla="*/ 0 h 1072"/>
                  <a:gd name="connsiteX0" fmla="*/ 4631 w 5810"/>
                  <a:gd name="connsiteY0" fmla="*/ 0 h 1072"/>
                  <a:gd name="connsiteX1" fmla="*/ 4681 w 5810"/>
                  <a:gd name="connsiteY1" fmla="*/ 0 h 1072"/>
                  <a:gd name="connsiteX2" fmla="*/ 4709 w 5810"/>
                  <a:gd name="connsiteY2" fmla="*/ 4 h 1072"/>
                  <a:gd name="connsiteX3" fmla="*/ 4740 w 5810"/>
                  <a:gd name="connsiteY3" fmla="*/ 13 h 1072"/>
                  <a:gd name="connsiteX4" fmla="*/ 4778 w 5810"/>
                  <a:gd name="connsiteY4" fmla="*/ 23 h 1072"/>
                  <a:gd name="connsiteX5" fmla="*/ 4819 w 5810"/>
                  <a:gd name="connsiteY5" fmla="*/ 40 h 1072"/>
                  <a:gd name="connsiteX6" fmla="*/ 4862 w 5810"/>
                  <a:gd name="connsiteY6" fmla="*/ 60 h 1072"/>
                  <a:gd name="connsiteX7" fmla="*/ 4910 w 5810"/>
                  <a:gd name="connsiteY7" fmla="*/ 89 h 1072"/>
                  <a:gd name="connsiteX8" fmla="*/ 4959 w 5810"/>
                  <a:gd name="connsiteY8" fmla="*/ 125 h 1072"/>
                  <a:gd name="connsiteX9" fmla="*/ 5009 w 5810"/>
                  <a:gd name="connsiteY9" fmla="*/ 170 h 1072"/>
                  <a:gd name="connsiteX10" fmla="*/ 5060 w 5810"/>
                  <a:gd name="connsiteY10" fmla="*/ 224 h 1072"/>
                  <a:gd name="connsiteX11" fmla="*/ 5112 w 5810"/>
                  <a:gd name="connsiteY11" fmla="*/ 286 h 1072"/>
                  <a:gd name="connsiteX12" fmla="*/ 5164 w 5810"/>
                  <a:gd name="connsiteY12" fmla="*/ 361 h 1072"/>
                  <a:gd name="connsiteX13" fmla="*/ 5215 w 5810"/>
                  <a:gd name="connsiteY13" fmla="*/ 448 h 1072"/>
                  <a:gd name="connsiteX14" fmla="*/ 5267 w 5810"/>
                  <a:gd name="connsiteY14" fmla="*/ 548 h 1072"/>
                  <a:gd name="connsiteX15" fmla="*/ 5312 w 5810"/>
                  <a:gd name="connsiteY15" fmla="*/ 633 h 1072"/>
                  <a:gd name="connsiteX16" fmla="*/ 5358 w 5810"/>
                  <a:gd name="connsiteY16" fmla="*/ 705 h 1072"/>
                  <a:gd name="connsiteX17" fmla="*/ 5405 w 5810"/>
                  <a:gd name="connsiteY17" fmla="*/ 767 h 1072"/>
                  <a:gd name="connsiteX18" fmla="*/ 5453 w 5810"/>
                  <a:gd name="connsiteY18" fmla="*/ 819 h 1072"/>
                  <a:gd name="connsiteX19" fmla="*/ 5498 w 5810"/>
                  <a:gd name="connsiteY19" fmla="*/ 863 h 1072"/>
                  <a:gd name="connsiteX20" fmla="*/ 5546 w 5810"/>
                  <a:gd name="connsiteY20" fmla="*/ 898 h 1072"/>
                  <a:gd name="connsiteX21" fmla="*/ 5589 w 5810"/>
                  <a:gd name="connsiteY21" fmla="*/ 927 h 1072"/>
                  <a:gd name="connsiteX22" fmla="*/ 5632 w 5810"/>
                  <a:gd name="connsiteY22" fmla="*/ 948 h 1072"/>
                  <a:gd name="connsiteX23" fmla="*/ 5669 w 5810"/>
                  <a:gd name="connsiteY23" fmla="*/ 962 h 1072"/>
                  <a:gd name="connsiteX24" fmla="*/ 5707 w 5810"/>
                  <a:gd name="connsiteY24" fmla="*/ 973 h 1072"/>
                  <a:gd name="connsiteX25" fmla="*/ 5736 w 5810"/>
                  <a:gd name="connsiteY25" fmla="*/ 981 h 1072"/>
                  <a:gd name="connsiteX26" fmla="*/ 5762 w 5810"/>
                  <a:gd name="connsiteY26" fmla="*/ 983 h 1072"/>
                  <a:gd name="connsiteX27" fmla="*/ 5781 w 5810"/>
                  <a:gd name="connsiteY27" fmla="*/ 985 h 1072"/>
                  <a:gd name="connsiteX28" fmla="*/ 5802 w 5810"/>
                  <a:gd name="connsiteY28" fmla="*/ 985 h 1072"/>
                  <a:gd name="connsiteX29" fmla="*/ 5810 w 5810"/>
                  <a:gd name="connsiteY29" fmla="*/ 1072 h 1072"/>
                  <a:gd name="connsiteX30" fmla="*/ 5775 w 5810"/>
                  <a:gd name="connsiteY30" fmla="*/ 1072 h 1072"/>
                  <a:gd name="connsiteX31" fmla="*/ 5748 w 5810"/>
                  <a:gd name="connsiteY31" fmla="*/ 1070 h 1072"/>
                  <a:gd name="connsiteX32" fmla="*/ 5717 w 5810"/>
                  <a:gd name="connsiteY32" fmla="*/ 1064 h 1072"/>
                  <a:gd name="connsiteX33" fmla="*/ 5680 w 5810"/>
                  <a:gd name="connsiteY33" fmla="*/ 1056 h 1072"/>
                  <a:gd name="connsiteX34" fmla="*/ 5638 w 5810"/>
                  <a:gd name="connsiteY34" fmla="*/ 1043 h 1072"/>
                  <a:gd name="connsiteX35" fmla="*/ 5593 w 5810"/>
                  <a:gd name="connsiteY35" fmla="*/ 1025 h 1072"/>
                  <a:gd name="connsiteX36" fmla="*/ 5546 w 5810"/>
                  <a:gd name="connsiteY36" fmla="*/ 1002 h 1072"/>
                  <a:gd name="connsiteX37" fmla="*/ 5496 w 5810"/>
                  <a:gd name="connsiteY37" fmla="*/ 971 h 1072"/>
                  <a:gd name="connsiteX38" fmla="*/ 5444 w 5810"/>
                  <a:gd name="connsiteY38" fmla="*/ 931 h 1072"/>
                  <a:gd name="connsiteX39" fmla="*/ 5393 w 5810"/>
                  <a:gd name="connsiteY39" fmla="*/ 881 h 1072"/>
                  <a:gd name="connsiteX40" fmla="*/ 5339 w 5810"/>
                  <a:gd name="connsiteY40" fmla="*/ 823 h 1072"/>
                  <a:gd name="connsiteX41" fmla="*/ 5288 w 5810"/>
                  <a:gd name="connsiteY41" fmla="*/ 755 h 1072"/>
                  <a:gd name="connsiteX42" fmla="*/ 5238 w 5810"/>
                  <a:gd name="connsiteY42" fmla="*/ 676 h 1072"/>
                  <a:gd name="connsiteX43" fmla="*/ 5190 w 5810"/>
                  <a:gd name="connsiteY43" fmla="*/ 583 h 1072"/>
                  <a:gd name="connsiteX44" fmla="*/ 5141 w 5810"/>
                  <a:gd name="connsiteY44" fmla="*/ 487 h 1072"/>
                  <a:gd name="connsiteX45" fmla="*/ 5091 w 5810"/>
                  <a:gd name="connsiteY45" fmla="*/ 404 h 1072"/>
                  <a:gd name="connsiteX46" fmla="*/ 5042 w 5810"/>
                  <a:gd name="connsiteY46" fmla="*/ 336 h 1072"/>
                  <a:gd name="connsiteX47" fmla="*/ 4992 w 5810"/>
                  <a:gd name="connsiteY47" fmla="*/ 276 h 1072"/>
                  <a:gd name="connsiteX48" fmla="*/ 4945 w 5810"/>
                  <a:gd name="connsiteY48" fmla="*/ 228 h 1072"/>
                  <a:gd name="connsiteX49" fmla="*/ 4899 w 5810"/>
                  <a:gd name="connsiteY49" fmla="*/ 189 h 1072"/>
                  <a:gd name="connsiteX50" fmla="*/ 4858 w 5810"/>
                  <a:gd name="connsiteY50" fmla="*/ 158 h 1072"/>
                  <a:gd name="connsiteX51" fmla="*/ 4819 w 5810"/>
                  <a:gd name="connsiteY51" fmla="*/ 135 h 1072"/>
                  <a:gd name="connsiteX52" fmla="*/ 4769 w 5810"/>
                  <a:gd name="connsiteY52" fmla="*/ 112 h 1072"/>
                  <a:gd name="connsiteX53" fmla="*/ 4726 w 5810"/>
                  <a:gd name="connsiteY53" fmla="*/ 98 h 1072"/>
                  <a:gd name="connsiteX54" fmla="*/ 4691 w 5810"/>
                  <a:gd name="connsiteY54" fmla="*/ 89 h 1072"/>
                  <a:gd name="connsiteX55" fmla="*/ 4662 w 5810"/>
                  <a:gd name="connsiteY55" fmla="*/ 87 h 1072"/>
                  <a:gd name="connsiteX56" fmla="*/ 4635 w 5810"/>
                  <a:gd name="connsiteY56" fmla="*/ 87 h 1072"/>
                  <a:gd name="connsiteX57" fmla="*/ 4569 w 5810"/>
                  <a:gd name="connsiteY57" fmla="*/ 93 h 1072"/>
                  <a:gd name="connsiteX58" fmla="*/ 4507 w 5810"/>
                  <a:gd name="connsiteY58" fmla="*/ 106 h 1072"/>
                  <a:gd name="connsiteX59" fmla="*/ 4451 w 5810"/>
                  <a:gd name="connsiteY59" fmla="*/ 127 h 1072"/>
                  <a:gd name="connsiteX60" fmla="*/ 4400 w 5810"/>
                  <a:gd name="connsiteY60" fmla="*/ 154 h 1072"/>
                  <a:gd name="connsiteX61" fmla="*/ 4352 w 5810"/>
                  <a:gd name="connsiteY61" fmla="*/ 187 h 1072"/>
                  <a:gd name="connsiteX62" fmla="*/ 4309 w 5810"/>
                  <a:gd name="connsiteY62" fmla="*/ 224 h 1072"/>
                  <a:gd name="connsiteX63" fmla="*/ 4270 w 5810"/>
                  <a:gd name="connsiteY63" fmla="*/ 268 h 1072"/>
                  <a:gd name="connsiteX64" fmla="*/ 4230 w 5810"/>
                  <a:gd name="connsiteY64" fmla="*/ 313 h 1072"/>
                  <a:gd name="connsiteX65" fmla="*/ 4195 w 5810"/>
                  <a:gd name="connsiteY65" fmla="*/ 363 h 1072"/>
                  <a:gd name="connsiteX66" fmla="*/ 4162 w 5810"/>
                  <a:gd name="connsiteY66" fmla="*/ 415 h 1072"/>
                  <a:gd name="connsiteX67" fmla="*/ 4100 w 5810"/>
                  <a:gd name="connsiteY67" fmla="*/ 523 h 1072"/>
                  <a:gd name="connsiteX68" fmla="*/ 4007 w 5810"/>
                  <a:gd name="connsiteY68" fmla="*/ 691 h 1072"/>
                  <a:gd name="connsiteX69" fmla="*/ 3974 w 5810"/>
                  <a:gd name="connsiteY69" fmla="*/ 747 h 1072"/>
                  <a:gd name="connsiteX70" fmla="*/ 3939 w 5810"/>
                  <a:gd name="connsiteY70" fmla="*/ 799 h 1072"/>
                  <a:gd name="connsiteX71" fmla="*/ 3904 w 5810"/>
                  <a:gd name="connsiteY71" fmla="*/ 848 h 1072"/>
                  <a:gd name="connsiteX72" fmla="*/ 3865 w 5810"/>
                  <a:gd name="connsiteY72" fmla="*/ 894 h 1072"/>
                  <a:gd name="connsiteX73" fmla="*/ 3824 w 5810"/>
                  <a:gd name="connsiteY73" fmla="*/ 935 h 1072"/>
                  <a:gd name="connsiteX74" fmla="*/ 3778 w 5810"/>
                  <a:gd name="connsiteY74" fmla="*/ 971 h 1072"/>
                  <a:gd name="connsiteX75" fmla="*/ 3729 w 5810"/>
                  <a:gd name="connsiteY75" fmla="*/ 1000 h 1072"/>
                  <a:gd name="connsiteX76" fmla="*/ 3677 w 5810"/>
                  <a:gd name="connsiteY76" fmla="*/ 1022 h 1072"/>
                  <a:gd name="connsiteX77" fmla="*/ 3619 w 5810"/>
                  <a:gd name="connsiteY77" fmla="*/ 1037 h 1072"/>
                  <a:gd name="connsiteX78" fmla="*/ 3555 w 5810"/>
                  <a:gd name="connsiteY78" fmla="*/ 1043 h 1072"/>
                  <a:gd name="connsiteX79" fmla="*/ 3547 w 5810"/>
                  <a:gd name="connsiteY79" fmla="*/ 1043 h 1072"/>
                  <a:gd name="connsiteX80" fmla="*/ 3485 w 5810"/>
                  <a:gd name="connsiteY80" fmla="*/ 1039 h 1072"/>
                  <a:gd name="connsiteX81" fmla="*/ 3425 w 5810"/>
                  <a:gd name="connsiteY81" fmla="*/ 1025 h 1072"/>
                  <a:gd name="connsiteX82" fmla="*/ 3372 w 5810"/>
                  <a:gd name="connsiteY82" fmla="*/ 1002 h 1072"/>
                  <a:gd name="connsiteX83" fmla="*/ 3320 w 5810"/>
                  <a:gd name="connsiteY83" fmla="*/ 973 h 1072"/>
                  <a:gd name="connsiteX84" fmla="*/ 3272 w 5810"/>
                  <a:gd name="connsiteY84" fmla="*/ 935 h 1072"/>
                  <a:gd name="connsiteX85" fmla="*/ 3229 w 5810"/>
                  <a:gd name="connsiteY85" fmla="*/ 894 h 1072"/>
                  <a:gd name="connsiteX86" fmla="*/ 3186 w 5810"/>
                  <a:gd name="connsiteY86" fmla="*/ 846 h 1072"/>
                  <a:gd name="connsiteX87" fmla="*/ 3146 w 5810"/>
                  <a:gd name="connsiteY87" fmla="*/ 796 h 1072"/>
                  <a:gd name="connsiteX88" fmla="*/ 3107 w 5810"/>
                  <a:gd name="connsiteY88" fmla="*/ 740 h 1072"/>
                  <a:gd name="connsiteX89" fmla="*/ 3070 w 5810"/>
                  <a:gd name="connsiteY89" fmla="*/ 684 h 1072"/>
                  <a:gd name="connsiteX90" fmla="*/ 2965 w 5810"/>
                  <a:gd name="connsiteY90" fmla="*/ 510 h 1072"/>
                  <a:gd name="connsiteX91" fmla="*/ 2928 w 5810"/>
                  <a:gd name="connsiteY91" fmla="*/ 452 h 1072"/>
                  <a:gd name="connsiteX92" fmla="*/ 2890 w 5810"/>
                  <a:gd name="connsiteY92" fmla="*/ 396 h 1072"/>
                  <a:gd name="connsiteX93" fmla="*/ 2853 w 5810"/>
                  <a:gd name="connsiteY93" fmla="*/ 342 h 1072"/>
                  <a:gd name="connsiteX94" fmla="*/ 2814 w 5810"/>
                  <a:gd name="connsiteY94" fmla="*/ 293 h 1072"/>
                  <a:gd name="connsiteX95" fmla="*/ 2773 w 5810"/>
                  <a:gd name="connsiteY95" fmla="*/ 247 h 1072"/>
                  <a:gd name="connsiteX96" fmla="*/ 2731 w 5810"/>
                  <a:gd name="connsiteY96" fmla="*/ 205 h 1072"/>
                  <a:gd name="connsiteX97" fmla="*/ 2686 w 5810"/>
                  <a:gd name="connsiteY97" fmla="*/ 168 h 1072"/>
                  <a:gd name="connsiteX98" fmla="*/ 2639 w 5810"/>
                  <a:gd name="connsiteY98" fmla="*/ 139 h 1072"/>
                  <a:gd name="connsiteX99" fmla="*/ 2587 w 5810"/>
                  <a:gd name="connsiteY99" fmla="*/ 116 h 1072"/>
                  <a:gd name="connsiteX100" fmla="*/ 2531 w 5810"/>
                  <a:gd name="connsiteY100" fmla="*/ 100 h 1072"/>
                  <a:gd name="connsiteX101" fmla="*/ 2473 w 5810"/>
                  <a:gd name="connsiteY101" fmla="*/ 91 h 1072"/>
                  <a:gd name="connsiteX102" fmla="*/ 2409 w 5810"/>
                  <a:gd name="connsiteY102" fmla="*/ 93 h 1072"/>
                  <a:gd name="connsiteX103" fmla="*/ 2341 w 5810"/>
                  <a:gd name="connsiteY103" fmla="*/ 104 h 1072"/>
                  <a:gd name="connsiteX104" fmla="*/ 2279 w 5810"/>
                  <a:gd name="connsiteY104" fmla="*/ 122 h 1072"/>
                  <a:gd name="connsiteX105" fmla="*/ 2222 w 5810"/>
                  <a:gd name="connsiteY105" fmla="*/ 147 h 1072"/>
                  <a:gd name="connsiteX106" fmla="*/ 2168 w 5810"/>
                  <a:gd name="connsiteY106" fmla="*/ 181 h 1072"/>
                  <a:gd name="connsiteX107" fmla="*/ 2116 w 5810"/>
                  <a:gd name="connsiteY107" fmla="*/ 218 h 1072"/>
                  <a:gd name="connsiteX108" fmla="*/ 2071 w 5810"/>
                  <a:gd name="connsiteY108" fmla="*/ 261 h 1072"/>
                  <a:gd name="connsiteX109" fmla="*/ 2025 w 5810"/>
                  <a:gd name="connsiteY109" fmla="*/ 307 h 1072"/>
                  <a:gd name="connsiteX110" fmla="*/ 1984 w 5810"/>
                  <a:gd name="connsiteY110" fmla="*/ 359 h 1072"/>
                  <a:gd name="connsiteX111" fmla="*/ 1945 w 5810"/>
                  <a:gd name="connsiteY111" fmla="*/ 413 h 1072"/>
                  <a:gd name="connsiteX112" fmla="*/ 1908 w 5810"/>
                  <a:gd name="connsiteY112" fmla="*/ 467 h 1072"/>
                  <a:gd name="connsiteX113" fmla="*/ 1871 w 5810"/>
                  <a:gd name="connsiteY113" fmla="*/ 523 h 1072"/>
                  <a:gd name="connsiteX114" fmla="*/ 1833 w 5810"/>
                  <a:gd name="connsiteY114" fmla="*/ 581 h 1072"/>
                  <a:gd name="connsiteX115" fmla="*/ 1798 w 5810"/>
                  <a:gd name="connsiteY115" fmla="*/ 637 h 1072"/>
                  <a:gd name="connsiteX116" fmla="*/ 1724 w 5810"/>
                  <a:gd name="connsiteY116" fmla="*/ 749 h 1072"/>
                  <a:gd name="connsiteX117" fmla="*/ 1685 w 5810"/>
                  <a:gd name="connsiteY117" fmla="*/ 801 h 1072"/>
                  <a:gd name="connsiteX118" fmla="*/ 1643 w 5810"/>
                  <a:gd name="connsiteY118" fmla="*/ 850 h 1072"/>
                  <a:gd name="connsiteX119" fmla="*/ 1600 w 5810"/>
                  <a:gd name="connsiteY119" fmla="*/ 896 h 1072"/>
                  <a:gd name="connsiteX120" fmla="*/ 1553 w 5810"/>
                  <a:gd name="connsiteY120" fmla="*/ 937 h 1072"/>
                  <a:gd name="connsiteX121" fmla="*/ 1503 w 5810"/>
                  <a:gd name="connsiteY121" fmla="*/ 973 h 1072"/>
                  <a:gd name="connsiteX122" fmla="*/ 1449 w 5810"/>
                  <a:gd name="connsiteY122" fmla="*/ 1002 h 1072"/>
                  <a:gd name="connsiteX123" fmla="*/ 1394 w 5810"/>
                  <a:gd name="connsiteY123" fmla="*/ 1025 h 1072"/>
                  <a:gd name="connsiteX124" fmla="*/ 1330 w 5810"/>
                  <a:gd name="connsiteY124" fmla="*/ 1037 h 1072"/>
                  <a:gd name="connsiteX125" fmla="*/ 1264 w 5810"/>
                  <a:gd name="connsiteY125" fmla="*/ 1043 h 1072"/>
                  <a:gd name="connsiteX126" fmla="*/ 1257 w 5810"/>
                  <a:gd name="connsiteY126" fmla="*/ 1043 h 1072"/>
                  <a:gd name="connsiteX127" fmla="*/ 1189 w 5810"/>
                  <a:gd name="connsiteY127" fmla="*/ 1039 h 1072"/>
                  <a:gd name="connsiteX128" fmla="*/ 1127 w 5810"/>
                  <a:gd name="connsiteY128" fmla="*/ 1027 h 1072"/>
                  <a:gd name="connsiteX129" fmla="*/ 1069 w 5810"/>
                  <a:gd name="connsiteY129" fmla="*/ 1008 h 1072"/>
                  <a:gd name="connsiteX130" fmla="*/ 1018 w 5810"/>
                  <a:gd name="connsiteY130" fmla="*/ 983 h 1072"/>
                  <a:gd name="connsiteX131" fmla="*/ 970 w 5810"/>
                  <a:gd name="connsiteY131" fmla="*/ 952 h 1072"/>
                  <a:gd name="connsiteX132" fmla="*/ 925 w 5810"/>
                  <a:gd name="connsiteY132" fmla="*/ 915 h 1072"/>
                  <a:gd name="connsiteX133" fmla="*/ 884 w 5810"/>
                  <a:gd name="connsiteY133" fmla="*/ 873 h 1072"/>
                  <a:gd name="connsiteX134" fmla="*/ 846 w 5810"/>
                  <a:gd name="connsiteY134" fmla="*/ 828 h 1072"/>
                  <a:gd name="connsiteX135" fmla="*/ 809 w 5810"/>
                  <a:gd name="connsiteY135" fmla="*/ 780 h 1072"/>
                  <a:gd name="connsiteX136" fmla="*/ 776 w 5810"/>
                  <a:gd name="connsiteY136" fmla="*/ 728 h 1072"/>
                  <a:gd name="connsiteX137" fmla="*/ 741 w 5810"/>
                  <a:gd name="connsiteY137" fmla="*/ 674 h 1072"/>
                  <a:gd name="connsiteX138" fmla="*/ 710 w 5810"/>
                  <a:gd name="connsiteY138" fmla="*/ 618 h 1072"/>
                  <a:gd name="connsiteX139" fmla="*/ 677 w 5810"/>
                  <a:gd name="connsiteY139" fmla="*/ 560 h 1072"/>
                  <a:gd name="connsiteX140" fmla="*/ 615 w 5810"/>
                  <a:gd name="connsiteY140" fmla="*/ 448 h 1072"/>
                  <a:gd name="connsiteX141" fmla="*/ 547 w 5810"/>
                  <a:gd name="connsiteY141" fmla="*/ 340 h 1072"/>
                  <a:gd name="connsiteX142" fmla="*/ 504 w 5810"/>
                  <a:gd name="connsiteY142" fmla="*/ 284 h 1072"/>
                  <a:gd name="connsiteX143" fmla="*/ 456 w 5810"/>
                  <a:gd name="connsiteY143" fmla="*/ 239 h 1072"/>
                  <a:gd name="connsiteX144" fmla="*/ 409 w 5810"/>
                  <a:gd name="connsiteY144" fmla="*/ 199 h 1072"/>
                  <a:gd name="connsiteX145" fmla="*/ 357 w 5810"/>
                  <a:gd name="connsiteY145" fmla="*/ 168 h 1072"/>
                  <a:gd name="connsiteX146" fmla="*/ 308 w 5810"/>
                  <a:gd name="connsiteY146" fmla="*/ 145 h 1072"/>
                  <a:gd name="connsiteX147" fmla="*/ 256 w 5810"/>
                  <a:gd name="connsiteY147" fmla="*/ 127 h 1072"/>
                  <a:gd name="connsiteX148" fmla="*/ 209 w 5810"/>
                  <a:gd name="connsiteY148" fmla="*/ 112 h 1072"/>
                  <a:gd name="connsiteX149" fmla="*/ 163 w 5810"/>
                  <a:gd name="connsiteY149" fmla="*/ 104 h 1072"/>
                  <a:gd name="connsiteX150" fmla="*/ 31 w 5810"/>
                  <a:gd name="connsiteY150" fmla="*/ 95 h 1072"/>
                  <a:gd name="connsiteX151" fmla="*/ 0 w 5810"/>
                  <a:gd name="connsiteY151" fmla="*/ 13 h 1072"/>
                  <a:gd name="connsiteX152" fmla="*/ 8 w 5810"/>
                  <a:gd name="connsiteY152" fmla="*/ 13 h 1072"/>
                  <a:gd name="connsiteX153" fmla="*/ 29 w 5810"/>
                  <a:gd name="connsiteY153" fmla="*/ 10 h 1072"/>
                  <a:gd name="connsiteX154" fmla="*/ 91 w 5810"/>
                  <a:gd name="connsiteY154" fmla="*/ 10 h 1072"/>
                  <a:gd name="connsiteX155" fmla="*/ 134 w 5810"/>
                  <a:gd name="connsiteY155" fmla="*/ 13 h 1072"/>
                  <a:gd name="connsiteX156" fmla="*/ 182 w 5810"/>
                  <a:gd name="connsiteY156" fmla="*/ 19 h 1072"/>
                  <a:gd name="connsiteX157" fmla="*/ 233 w 5810"/>
                  <a:gd name="connsiteY157" fmla="*/ 29 h 1072"/>
                  <a:gd name="connsiteX158" fmla="*/ 287 w 5810"/>
                  <a:gd name="connsiteY158" fmla="*/ 46 h 1072"/>
                  <a:gd name="connsiteX159" fmla="*/ 345 w 5810"/>
                  <a:gd name="connsiteY159" fmla="*/ 66 h 1072"/>
                  <a:gd name="connsiteX160" fmla="*/ 403 w 5810"/>
                  <a:gd name="connsiteY160" fmla="*/ 93 h 1072"/>
                  <a:gd name="connsiteX161" fmla="*/ 458 w 5810"/>
                  <a:gd name="connsiteY161" fmla="*/ 131 h 1072"/>
                  <a:gd name="connsiteX162" fmla="*/ 514 w 5810"/>
                  <a:gd name="connsiteY162" fmla="*/ 174 h 1072"/>
                  <a:gd name="connsiteX163" fmla="*/ 568 w 5810"/>
                  <a:gd name="connsiteY163" fmla="*/ 228 h 1072"/>
                  <a:gd name="connsiteX164" fmla="*/ 617 w 5810"/>
                  <a:gd name="connsiteY164" fmla="*/ 293 h 1072"/>
                  <a:gd name="connsiteX165" fmla="*/ 667 w 5810"/>
                  <a:gd name="connsiteY165" fmla="*/ 367 h 1072"/>
                  <a:gd name="connsiteX166" fmla="*/ 754 w 5810"/>
                  <a:gd name="connsiteY166" fmla="*/ 516 h 1072"/>
                  <a:gd name="connsiteX167" fmla="*/ 787 w 5810"/>
                  <a:gd name="connsiteY167" fmla="*/ 575 h 1072"/>
                  <a:gd name="connsiteX168" fmla="*/ 820 w 5810"/>
                  <a:gd name="connsiteY168" fmla="*/ 631 h 1072"/>
                  <a:gd name="connsiteX169" fmla="*/ 853 w 5810"/>
                  <a:gd name="connsiteY169" fmla="*/ 684 h 1072"/>
                  <a:gd name="connsiteX170" fmla="*/ 886 w 5810"/>
                  <a:gd name="connsiteY170" fmla="*/ 736 h 1072"/>
                  <a:gd name="connsiteX171" fmla="*/ 921 w 5810"/>
                  <a:gd name="connsiteY171" fmla="*/ 782 h 1072"/>
                  <a:gd name="connsiteX172" fmla="*/ 958 w 5810"/>
                  <a:gd name="connsiteY172" fmla="*/ 825 h 1072"/>
                  <a:gd name="connsiteX173" fmla="*/ 999 w 5810"/>
                  <a:gd name="connsiteY173" fmla="*/ 863 h 1072"/>
                  <a:gd name="connsiteX174" fmla="*/ 1043 w 5810"/>
                  <a:gd name="connsiteY174" fmla="*/ 894 h 1072"/>
                  <a:gd name="connsiteX175" fmla="*/ 1090 w 5810"/>
                  <a:gd name="connsiteY175" fmla="*/ 921 h 1072"/>
                  <a:gd name="connsiteX176" fmla="*/ 1140 w 5810"/>
                  <a:gd name="connsiteY176" fmla="*/ 940 h 1072"/>
                  <a:gd name="connsiteX177" fmla="*/ 1195 w 5810"/>
                  <a:gd name="connsiteY177" fmla="*/ 952 h 1072"/>
                  <a:gd name="connsiteX178" fmla="*/ 1257 w 5810"/>
                  <a:gd name="connsiteY178" fmla="*/ 956 h 1072"/>
                  <a:gd name="connsiteX179" fmla="*/ 1264 w 5810"/>
                  <a:gd name="connsiteY179" fmla="*/ 956 h 1072"/>
                  <a:gd name="connsiteX180" fmla="*/ 1323 w 5810"/>
                  <a:gd name="connsiteY180" fmla="*/ 950 h 1072"/>
                  <a:gd name="connsiteX181" fmla="*/ 1379 w 5810"/>
                  <a:gd name="connsiteY181" fmla="*/ 935 h 1072"/>
                  <a:gd name="connsiteX182" fmla="*/ 1433 w 5810"/>
                  <a:gd name="connsiteY182" fmla="*/ 913 h 1072"/>
                  <a:gd name="connsiteX183" fmla="*/ 1480 w 5810"/>
                  <a:gd name="connsiteY183" fmla="*/ 884 h 1072"/>
                  <a:gd name="connsiteX184" fmla="*/ 1526 w 5810"/>
                  <a:gd name="connsiteY184" fmla="*/ 846 h 1072"/>
                  <a:gd name="connsiteX185" fmla="*/ 1569 w 5810"/>
                  <a:gd name="connsiteY185" fmla="*/ 803 h 1072"/>
                  <a:gd name="connsiteX186" fmla="*/ 1608 w 5810"/>
                  <a:gd name="connsiteY186" fmla="*/ 755 h 1072"/>
                  <a:gd name="connsiteX187" fmla="*/ 1648 w 5810"/>
                  <a:gd name="connsiteY187" fmla="*/ 703 h 1072"/>
                  <a:gd name="connsiteX188" fmla="*/ 1687 w 5810"/>
                  <a:gd name="connsiteY188" fmla="*/ 649 h 1072"/>
                  <a:gd name="connsiteX189" fmla="*/ 1798 w 5810"/>
                  <a:gd name="connsiteY189" fmla="*/ 475 h 1072"/>
                  <a:gd name="connsiteX190" fmla="*/ 1838 w 5810"/>
                  <a:gd name="connsiteY190" fmla="*/ 415 h 1072"/>
                  <a:gd name="connsiteX191" fmla="*/ 1879 w 5810"/>
                  <a:gd name="connsiteY191" fmla="*/ 357 h 1072"/>
                  <a:gd name="connsiteX192" fmla="*/ 1922 w 5810"/>
                  <a:gd name="connsiteY192" fmla="*/ 299 h 1072"/>
                  <a:gd name="connsiteX193" fmla="*/ 1968 w 5810"/>
                  <a:gd name="connsiteY193" fmla="*/ 245 h 1072"/>
                  <a:gd name="connsiteX194" fmla="*/ 2015 w 5810"/>
                  <a:gd name="connsiteY194" fmla="*/ 193 h 1072"/>
                  <a:gd name="connsiteX195" fmla="*/ 2069 w 5810"/>
                  <a:gd name="connsiteY195" fmla="*/ 145 h 1072"/>
                  <a:gd name="connsiteX196" fmla="*/ 2124 w 5810"/>
                  <a:gd name="connsiteY196" fmla="*/ 104 h 1072"/>
                  <a:gd name="connsiteX197" fmla="*/ 2186 w 5810"/>
                  <a:gd name="connsiteY197" fmla="*/ 69 h 1072"/>
                  <a:gd name="connsiteX198" fmla="*/ 2252 w 5810"/>
                  <a:gd name="connsiteY198" fmla="*/ 40 h 1072"/>
                  <a:gd name="connsiteX199" fmla="*/ 2325 w 5810"/>
                  <a:gd name="connsiteY199" fmla="*/ 19 h 1072"/>
                  <a:gd name="connsiteX200" fmla="*/ 2403 w 5810"/>
                  <a:gd name="connsiteY200" fmla="*/ 6 h 1072"/>
                  <a:gd name="connsiteX201" fmla="*/ 2473 w 5810"/>
                  <a:gd name="connsiteY201" fmla="*/ 4 h 1072"/>
                  <a:gd name="connsiteX202" fmla="*/ 2539 w 5810"/>
                  <a:gd name="connsiteY202" fmla="*/ 13 h 1072"/>
                  <a:gd name="connsiteX203" fmla="*/ 2599 w 5810"/>
                  <a:gd name="connsiteY203" fmla="*/ 27 h 1072"/>
                  <a:gd name="connsiteX204" fmla="*/ 2657 w 5810"/>
                  <a:gd name="connsiteY204" fmla="*/ 50 h 1072"/>
                  <a:gd name="connsiteX205" fmla="*/ 2711 w 5810"/>
                  <a:gd name="connsiteY205" fmla="*/ 81 h 1072"/>
                  <a:gd name="connsiteX206" fmla="*/ 2760 w 5810"/>
                  <a:gd name="connsiteY206" fmla="*/ 116 h 1072"/>
                  <a:gd name="connsiteX207" fmla="*/ 2806 w 5810"/>
                  <a:gd name="connsiteY207" fmla="*/ 158 h 1072"/>
                  <a:gd name="connsiteX208" fmla="*/ 2851 w 5810"/>
                  <a:gd name="connsiteY208" fmla="*/ 203 h 1072"/>
                  <a:gd name="connsiteX209" fmla="*/ 2893 w 5810"/>
                  <a:gd name="connsiteY209" fmla="*/ 251 h 1072"/>
                  <a:gd name="connsiteX210" fmla="*/ 2932 w 5810"/>
                  <a:gd name="connsiteY210" fmla="*/ 303 h 1072"/>
                  <a:gd name="connsiteX211" fmla="*/ 2969 w 5810"/>
                  <a:gd name="connsiteY211" fmla="*/ 357 h 1072"/>
                  <a:gd name="connsiteX212" fmla="*/ 3004 w 5810"/>
                  <a:gd name="connsiteY212" fmla="*/ 413 h 1072"/>
                  <a:gd name="connsiteX213" fmla="*/ 3039 w 5810"/>
                  <a:gd name="connsiteY213" fmla="*/ 467 h 1072"/>
                  <a:gd name="connsiteX214" fmla="*/ 3072 w 5810"/>
                  <a:gd name="connsiteY214" fmla="*/ 523 h 1072"/>
                  <a:gd name="connsiteX215" fmla="*/ 3109 w 5810"/>
                  <a:gd name="connsiteY215" fmla="*/ 585 h 1072"/>
                  <a:gd name="connsiteX216" fmla="*/ 3146 w 5810"/>
                  <a:gd name="connsiteY216" fmla="*/ 643 h 1072"/>
                  <a:gd name="connsiteX217" fmla="*/ 3186 w 5810"/>
                  <a:gd name="connsiteY217" fmla="*/ 701 h 1072"/>
                  <a:gd name="connsiteX218" fmla="*/ 3223 w 5810"/>
                  <a:gd name="connsiteY218" fmla="*/ 755 h 1072"/>
                  <a:gd name="connsiteX219" fmla="*/ 3264 w 5810"/>
                  <a:gd name="connsiteY219" fmla="*/ 805 h 1072"/>
                  <a:gd name="connsiteX220" fmla="*/ 3305 w 5810"/>
                  <a:gd name="connsiteY220" fmla="*/ 848 h 1072"/>
                  <a:gd name="connsiteX221" fmla="*/ 3349 w 5810"/>
                  <a:gd name="connsiteY221" fmla="*/ 886 h 1072"/>
                  <a:gd name="connsiteX222" fmla="*/ 3394 w 5810"/>
                  <a:gd name="connsiteY222" fmla="*/ 917 h 1072"/>
                  <a:gd name="connsiteX223" fmla="*/ 3444 w 5810"/>
                  <a:gd name="connsiteY223" fmla="*/ 940 h 1072"/>
                  <a:gd name="connsiteX224" fmla="*/ 3497 w 5810"/>
                  <a:gd name="connsiteY224" fmla="*/ 952 h 1072"/>
                  <a:gd name="connsiteX225" fmla="*/ 3553 w 5810"/>
                  <a:gd name="connsiteY225" fmla="*/ 956 h 1072"/>
                  <a:gd name="connsiteX226" fmla="*/ 3609 w 5810"/>
                  <a:gd name="connsiteY226" fmla="*/ 950 h 1072"/>
                  <a:gd name="connsiteX227" fmla="*/ 3659 w 5810"/>
                  <a:gd name="connsiteY227" fmla="*/ 935 h 1072"/>
                  <a:gd name="connsiteX228" fmla="*/ 3706 w 5810"/>
                  <a:gd name="connsiteY228" fmla="*/ 915 h 1072"/>
                  <a:gd name="connsiteX229" fmla="*/ 3749 w 5810"/>
                  <a:gd name="connsiteY229" fmla="*/ 884 h 1072"/>
                  <a:gd name="connsiteX230" fmla="*/ 3789 w 5810"/>
                  <a:gd name="connsiteY230" fmla="*/ 848 h 1072"/>
                  <a:gd name="connsiteX231" fmla="*/ 3826 w 5810"/>
                  <a:gd name="connsiteY231" fmla="*/ 807 h 1072"/>
                  <a:gd name="connsiteX232" fmla="*/ 3861 w 5810"/>
                  <a:gd name="connsiteY232" fmla="*/ 759 h 1072"/>
                  <a:gd name="connsiteX233" fmla="*/ 3894 w 5810"/>
                  <a:gd name="connsiteY233" fmla="*/ 709 h 1072"/>
                  <a:gd name="connsiteX234" fmla="*/ 3927 w 5810"/>
                  <a:gd name="connsiteY234" fmla="*/ 655 h 1072"/>
                  <a:gd name="connsiteX235" fmla="*/ 3960 w 5810"/>
                  <a:gd name="connsiteY235" fmla="*/ 597 h 1072"/>
                  <a:gd name="connsiteX236" fmla="*/ 3993 w 5810"/>
                  <a:gd name="connsiteY236" fmla="*/ 537 h 1072"/>
                  <a:gd name="connsiteX237" fmla="*/ 4022 w 5810"/>
                  <a:gd name="connsiteY237" fmla="*/ 483 h 1072"/>
                  <a:gd name="connsiteX238" fmla="*/ 4084 w 5810"/>
                  <a:gd name="connsiteY238" fmla="*/ 375 h 1072"/>
                  <a:gd name="connsiteX239" fmla="*/ 4154 w 5810"/>
                  <a:gd name="connsiteY239" fmla="*/ 272 h 1072"/>
                  <a:gd name="connsiteX240" fmla="*/ 4191 w 5810"/>
                  <a:gd name="connsiteY240" fmla="*/ 224 h 1072"/>
                  <a:gd name="connsiteX241" fmla="*/ 4232 w 5810"/>
                  <a:gd name="connsiteY241" fmla="*/ 178 h 1072"/>
                  <a:gd name="connsiteX242" fmla="*/ 4276 w 5810"/>
                  <a:gd name="connsiteY242" fmla="*/ 137 h 1072"/>
                  <a:gd name="connsiteX243" fmla="*/ 4323 w 5810"/>
                  <a:gd name="connsiteY243" fmla="*/ 100 h 1072"/>
                  <a:gd name="connsiteX244" fmla="*/ 4375 w 5810"/>
                  <a:gd name="connsiteY244" fmla="*/ 66 h 1072"/>
                  <a:gd name="connsiteX245" fmla="*/ 4433 w 5810"/>
                  <a:gd name="connsiteY245" fmla="*/ 40 h 1072"/>
                  <a:gd name="connsiteX246" fmla="*/ 4493 w 5810"/>
                  <a:gd name="connsiteY246" fmla="*/ 19 h 1072"/>
                  <a:gd name="connsiteX247" fmla="*/ 4559 w 5810"/>
                  <a:gd name="connsiteY247" fmla="*/ 6 h 1072"/>
                  <a:gd name="connsiteX248" fmla="*/ 4631 w 5810"/>
                  <a:gd name="connsiteY248" fmla="*/ 0 h 1072"/>
                  <a:gd name="connsiteX0" fmla="*/ 4631 w 5810"/>
                  <a:gd name="connsiteY0" fmla="*/ 0 h 1072"/>
                  <a:gd name="connsiteX1" fmla="*/ 4681 w 5810"/>
                  <a:gd name="connsiteY1" fmla="*/ 0 h 1072"/>
                  <a:gd name="connsiteX2" fmla="*/ 4709 w 5810"/>
                  <a:gd name="connsiteY2" fmla="*/ 4 h 1072"/>
                  <a:gd name="connsiteX3" fmla="*/ 4740 w 5810"/>
                  <a:gd name="connsiteY3" fmla="*/ 13 h 1072"/>
                  <a:gd name="connsiteX4" fmla="*/ 4778 w 5810"/>
                  <a:gd name="connsiteY4" fmla="*/ 23 h 1072"/>
                  <a:gd name="connsiteX5" fmla="*/ 4819 w 5810"/>
                  <a:gd name="connsiteY5" fmla="*/ 40 h 1072"/>
                  <a:gd name="connsiteX6" fmla="*/ 4862 w 5810"/>
                  <a:gd name="connsiteY6" fmla="*/ 60 h 1072"/>
                  <a:gd name="connsiteX7" fmla="*/ 4910 w 5810"/>
                  <a:gd name="connsiteY7" fmla="*/ 89 h 1072"/>
                  <a:gd name="connsiteX8" fmla="*/ 4959 w 5810"/>
                  <a:gd name="connsiteY8" fmla="*/ 125 h 1072"/>
                  <a:gd name="connsiteX9" fmla="*/ 5009 w 5810"/>
                  <a:gd name="connsiteY9" fmla="*/ 170 h 1072"/>
                  <a:gd name="connsiteX10" fmla="*/ 5060 w 5810"/>
                  <a:gd name="connsiteY10" fmla="*/ 224 h 1072"/>
                  <a:gd name="connsiteX11" fmla="*/ 5112 w 5810"/>
                  <a:gd name="connsiteY11" fmla="*/ 286 h 1072"/>
                  <a:gd name="connsiteX12" fmla="*/ 5164 w 5810"/>
                  <a:gd name="connsiteY12" fmla="*/ 361 h 1072"/>
                  <a:gd name="connsiteX13" fmla="*/ 5215 w 5810"/>
                  <a:gd name="connsiteY13" fmla="*/ 448 h 1072"/>
                  <a:gd name="connsiteX14" fmla="*/ 5267 w 5810"/>
                  <a:gd name="connsiteY14" fmla="*/ 548 h 1072"/>
                  <a:gd name="connsiteX15" fmla="*/ 5312 w 5810"/>
                  <a:gd name="connsiteY15" fmla="*/ 633 h 1072"/>
                  <a:gd name="connsiteX16" fmla="*/ 5358 w 5810"/>
                  <a:gd name="connsiteY16" fmla="*/ 705 h 1072"/>
                  <a:gd name="connsiteX17" fmla="*/ 5405 w 5810"/>
                  <a:gd name="connsiteY17" fmla="*/ 767 h 1072"/>
                  <a:gd name="connsiteX18" fmla="*/ 5453 w 5810"/>
                  <a:gd name="connsiteY18" fmla="*/ 819 h 1072"/>
                  <a:gd name="connsiteX19" fmla="*/ 5498 w 5810"/>
                  <a:gd name="connsiteY19" fmla="*/ 863 h 1072"/>
                  <a:gd name="connsiteX20" fmla="*/ 5546 w 5810"/>
                  <a:gd name="connsiteY20" fmla="*/ 898 h 1072"/>
                  <a:gd name="connsiteX21" fmla="*/ 5589 w 5810"/>
                  <a:gd name="connsiteY21" fmla="*/ 927 h 1072"/>
                  <a:gd name="connsiteX22" fmla="*/ 5632 w 5810"/>
                  <a:gd name="connsiteY22" fmla="*/ 948 h 1072"/>
                  <a:gd name="connsiteX23" fmla="*/ 5669 w 5810"/>
                  <a:gd name="connsiteY23" fmla="*/ 962 h 1072"/>
                  <a:gd name="connsiteX24" fmla="*/ 5707 w 5810"/>
                  <a:gd name="connsiteY24" fmla="*/ 973 h 1072"/>
                  <a:gd name="connsiteX25" fmla="*/ 5736 w 5810"/>
                  <a:gd name="connsiteY25" fmla="*/ 981 h 1072"/>
                  <a:gd name="connsiteX26" fmla="*/ 5762 w 5810"/>
                  <a:gd name="connsiteY26" fmla="*/ 983 h 1072"/>
                  <a:gd name="connsiteX27" fmla="*/ 5781 w 5810"/>
                  <a:gd name="connsiteY27" fmla="*/ 985 h 1072"/>
                  <a:gd name="connsiteX28" fmla="*/ 5802 w 5810"/>
                  <a:gd name="connsiteY28" fmla="*/ 985 h 1072"/>
                  <a:gd name="connsiteX29" fmla="*/ 5810 w 5810"/>
                  <a:gd name="connsiteY29" fmla="*/ 1072 h 1072"/>
                  <a:gd name="connsiteX30" fmla="*/ 5775 w 5810"/>
                  <a:gd name="connsiteY30" fmla="*/ 1072 h 1072"/>
                  <a:gd name="connsiteX31" fmla="*/ 5748 w 5810"/>
                  <a:gd name="connsiteY31" fmla="*/ 1070 h 1072"/>
                  <a:gd name="connsiteX32" fmla="*/ 5717 w 5810"/>
                  <a:gd name="connsiteY32" fmla="*/ 1064 h 1072"/>
                  <a:gd name="connsiteX33" fmla="*/ 5680 w 5810"/>
                  <a:gd name="connsiteY33" fmla="*/ 1056 h 1072"/>
                  <a:gd name="connsiteX34" fmla="*/ 5638 w 5810"/>
                  <a:gd name="connsiteY34" fmla="*/ 1043 h 1072"/>
                  <a:gd name="connsiteX35" fmla="*/ 5593 w 5810"/>
                  <a:gd name="connsiteY35" fmla="*/ 1025 h 1072"/>
                  <a:gd name="connsiteX36" fmla="*/ 5546 w 5810"/>
                  <a:gd name="connsiteY36" fmla="*/ 1002 h 1072"/>
                  <a:gd name="connsiteX37" fmla="*/ 5496 w 5810"/>
                  <a:gd name="connsiteY37" fmla="*/ 971 h 1072"/>
                  <a:gd name="connsiteX38" fmla="*/ 5444 w 5810"/>
                  <a:gd name="connsiteY38" fmla="*/ 931 h 1072"/>
                  <a:gd name="connsiteX39" fmla="*/ 5393 w 5810"/>
                  <a:gd name="connsiteY39" fmla="*/ 881 h 1072"/>
                  <a:gd name="connsiteX40" fmla="*/ 5339 w 5810"/>
                  <a:gd name="connsiteY40" fmla="*/ 823 h 1072"/>
                  <a:gd name="connsiteX41" fmla="*/ 5288 w 5810"/>
                  <a:gd name="connsiteY41" fmla="*/ 755 h 1072"/>
                  <a:gd name="connsiteX42" fmla="*/ 5238 w 5810"/>
                  <a:gd name="connsiteY42" fmla="*/ 676 h 1072"/>
                  <a:gd name="connsiteX43" fmla="*/ 5190 w 5810"/>
                  <a:gd name="connsiteY43" fmla="*/ 583 h 1072"/>
                  <a:gd name="connsiteX44" fmla="*/ 5141 w 5810"/>
                  <a:gd name="connsiteY44" fmla="*/ 487 h 1072"/>
                  <a:gd name="connsiteX45" fmla="*/ 5091 w 5810"/>
                  <a:gd name="connsiteY45" fmla="*/ 404 h 1072"/>
                  <a:gd name="connsiteX46" fmla="*/ 5042 w 5810"/>
                  <a:gd name="connsiteY46" fmla="*/ 336 h 1072"/>
                  <a:gd name="connsiteX47" fmla="*/ 4992 w 5810"/>
                  <a:gd name="connsiteY47" fmla="*/ 276 h 1072"/>
                  <a:gd name="connsiteX48" fmla="*/ 4945 w 5810"/>
                  <a:gd name="connsiteY48" fmla="*/ 228 h 1072"/>
                  <a:gd name="connsiteX49" fmla="*/ 4899 w 5810"/>
                  <a:gd name="connsiteY49" fmla="*/ 189 h 1072"/>
                  <a:gd name="connsiteX50" fmla="*/ 4858 w 5810"/>
                  <a:gd name="connsiteY50" fmla="*/ 158 h 1072"/>
                  <a:gd name="connsiteX51" fmla="*/ 4819 w 5810"/>
                  <a:gd name="connsiteY51" fmla="*/ 135 h 1072"/>
                  <a:gd name="connsiteX52" fmla="*/ 4769 w 5810"/>
                  <a:gd name="connsiteY52" fmla="*/ 112 h 1072"/>
                  <a:gd name="connsiteX53" fmla="*/ 4726 w 5810"/>
                  <a:gd name="connsiteY53" fmla="*/ 98 h 1072"/>
                  <a:gd name="connsiteX54" fmla="*/ 4691 w 5810"/>
                  <a:gd name="connsiteY54" fmla="*/ 89 h 1072"/>
                  <a:gd name="connsiteX55" fmla="*/ 4662 w 5810"/>
                  <a:gd name="connsiteY55" fmla="*/ 87 h 1072"/>
                  <a:gd name="connsiteX56" fmla="*/ 4635 w 5810"/>
                  <a:gd name="connsiteY56" fmla="*/ 87 h 1072"/>
                  <a:gd name="connsiteX57" fmla="*/ 4569 w 5810"/>
                  <a:gd name="connsiteY57" fmla="*/ 93 h 1072"/>
                  <a:gd name="connsiteX58" fmla="*/ 4507 w 5810"/>
                  <a:gd name="connsiteY58" fmla="*/ 106 h 1072"/>
                  <a:gd name="connsiteX59" fmla="*/ 4451 w 5810"/>
                  <a:gd name="connsiteY59" fmla="*/ 127 h 1072"/>
                  <a:gd name="connsiteX60" fmla="*/ 4400 w 5810"/>
                  <a:gd name="connsiteY60" fmla="*/ 154 h 1072"/>
                  <a:gd name="connsiteX61" fmla="*/ 4352 w 5810"/>
                  <a:gd name="connsiteY61" fmla="*/ 187 h 1072"/>
                  <a:gd name="connsiteX62" fmla="*/ 4309 w 5810"/>
                  <a:gd name="connsiteY62" fmla="*/ 224 h 1072"/>
                  <a:gd name="connsiteX63" fmla="*/ 4270 w 5810"/>
                  <a:gd name="connsiteY63" fmla="*/ 268 h 1072"/>
                  <a:gd name="connsiteX64" fmla="*/ 4230 w 5810"/>
                  <a:gd name="connsiteY64" fmla="*/ 313 h 1072"/>
                  <a:gd name="connsiteX65" fmla="*/ 4195 w 5810"/>
                  <a:gd name="connsiteY65" fmla="*/ 363 h 1072"/>
                  <a:gd name="connsiteX66" fmla="*/ 4162 w 5810"/>
                  <a:gd name="connsiteY66" fmla="*/ 415 h 1072"/>
                  <a:gd name="connsiteX67" fmla="*/ 4100 w 5810"/>
                  <a:gd name="connsiteY67" fmla="*/ 523 h 1072"/>
                  <a:gd name="connsiteX68" fmla="*/ 4007 w 5810"/>
                  <a:gd name="connsiteY68" fmla="*/ 691 h 1072"/>
                  <a:gd name="connsiteX69" fmla="*/ 3974 w 5810"/>
                  <a:gd name="connsiteY69" fmla="*/ 747 h 1072"/>
                  <a:gd name="connsiteX70" fmla="*/ 3939 w 5810"/>
                  <a:gd name="connsiteY70" fmla="*/ 799 h 1072"/>
                  <a:gd name="connsiteX71" fmla="*/ 3904 w 5810"/>
                  <a:gd name="connsiteY71" fmla="*/ 848 h 1072"/>
                  <a:gd name="connsiteX72" fmla="*/ 3865 w 5810"/>
                  <a:gd name="connsiteY72" fmla="*/ 894 h 1072"/>
                  <a:gd name="connsiteX73" fmla="*/ 3824 w 5810"/>
                  <a:gd name="connsiteY73" fmla="*/ 935 h 1072"/>
                  <a:gd name="connsiteX74" fmla="*/ 3778 w 5810"/>
                  <a:gd name="connsiteY74" fmla="*/ 971 h 1072"/>
                  <a:gd name="connsiteX75" fmla="*/ 3729 w 5810"/>
                  <a:gd name="connsiteY75" fmla="*/ 1000 h 1072"/>
                  <a:gd name="connsiteX76" fmla="*/ 3677 w 5810"/>
                  <a:gd name="connsiteY76" fmla="*/ 1022 h 1072"/>
                  <a:gd name="connsiteX77" fmla="*/ 3619 w 5810"/>
                  <a:gd name="connsiteY77" fmla="*/ 1037 h 1072"/>
                  <a:gd name="connsiteX78" fmla="*/ 3555 w 5810"/>
                  <a:gd name="connsiteY78" fmla="*/ 1043 h 1072"/>
                  <a:gd name="connsiteX79" fmla="*/ 3547 w 5810"/>
                  <a:gd name="connsiteY79" fmla="*/ 1043 h 1072"/>
                  <a:gd name="connsiteX80" fmla="*/ 3485 w 5810"/>
                  <a:gd name="connsiteY80" fmla="*/ 1039 h 1072"/>
                  <a:gd name="connsiteX81" fmla="*/ 3425 w 5810"/>
                  <a:gd name="connsiteY81" fmla="*/ 1025 h 1072"/>
                  <a:gd name="connsiteX82" fmla="*/ 3372 w 5810"/>
                  <a:gd name="connsiteY82" fmla="*/ 1002 h 1072"/>
                  <a:gd name="connsiteX83" fmla="*/ 3320 w 5810"/>
                  <a:gd name="connsiteY83" fmla="*/ 973 h 1072"/>
                  <a:gd name="connsiteX84" fmla="*/ 3272 w 5810"/>
                  <a:gd name="connsiteY84" fmla="*/ 935 h 1072"/>
                  <a:gd name="connsiteX85" fmla="*/ 3229 w 5810"/>
                  <a:gd name="connsiteY85" fmla="*/ 894 h 1072"/>
                  <a:gd name="connsiteX86" fmla="*/ 3186 w 5810"/>
                  <a:gd name="connsiteY86" fmla="*/ 846 h 1072"/>
                  <a:gd name="connsiteX87" fmla="*/ 3146 w 5810"/>
                  <a:gd name="connsiteY87" fmla="*/ 796 h 1072"/>
                  <a:gd name="connsiteX88" fmla="*/ 3107 w 5810"/>
                  <a:gd name="connsiteY88" fmla="*/ 740 h 1072"/>
                  <a:gd name="connsiteX89" fmla="*/ 3070 w 5810"/>
                  <a:gd name="connsiteY89" fmla="*/ 684 h 1072"/>
                  <a:gd name="connsiteX90" fmla="*/ 2965 w 5810"/>
                  <a:gd name="connsiteY90" fmla="*/ 510 h 1072"/>
                  <a:gd name="connsiteX91" fmla="*/ 2928 w 5810"/>
                  <a:gd name="connsiteY91" fmla="*/ 452 h 1072"/>
                  <a:gd name="connsiteX92" fmla="*/ 2890 w 5810"/>
                  <a:gd name="connsiteY92" fmla="*/ 396 h 1072"/>
                  <a:gd name="connsiteX93" fmla="*/ 2853 w 5810"/>
                  <a:gd name="connsiteY93" fmla="*/ 342 h 1072"/>
                  <a:gd name="connsiteX94" fmla="*/ 2814 w 5810"/>
                  <a:gd name="connsiteY94" fmla="*/ 293 h 1072"/>
                  <a:gd name="connsiteX95" fmla="*/ 2773 w 5810"/>
                  <a:gd name="connsiteY95" fmla="*/ 247 h 1072"/>
                  <a:gd name="connsiteX96" fmla="*/ 2731 w 5810"/>
                  <a:gd name="connsiteY96" fmla="*/ 205 h 1072"/>
                  <a:gd name="connsiteX97" fmla="*/ 2686 w 5810"/>
                  <a:gd name="connsiteY97" fmla="*/ 168 h 1072"/>
                  <a:gd name="connsiteX98" fmla="*/ 2639 w 5810"/>
                  <a:gd name="connsiteY98" fmla="*/ 139 h 1072"/>
                  <a:gd name="connsiteX99" fmla="*/ 2587 w 5810"/>
                  <a:gd name="connsiteY99" fmla="*/ 116 h 1072"/>
                  <a:gd name="connsiteX100" fmla="*/ 2531 w 5810"/>
                  <a:gd name="connsiteY100" fmla="*/ 100 h 1072"/>
                  <a:gd name="connsiteX101" fmla="*/ 2473 w 5810"/>
                  <a:gd name="connsiteY101" fmla="*/ 91 h 1072"/>
                  <a:gd name="connsiteX102" fmla="*/ 2409 w 5810"/>
                  <a:gd name="connsiteY102" fmla="*/ 93 h 1072"/>
                  <a:gd name="connsiteX103" fmla="*/ 2341 w 5810"/>
                  <a:gd name="connsiteY103" fmla="*/ 104 h 1072"/>
                  <a:gd name="connsiteX104" fmla="*/ 2279 w 5810"/>
                  <a:gd name="connsiteY104" fmla="*/ 122 h 1072"/>
                  <a:gd name="connsiteX105" fmla="*/ 2222 w 5810"/>
                  <a:gd name="connsiteY105" fmla="*/ 147 h 1072"/>
                  <a:gd name="connsiteX106" fmla="*/ 2168 w 5810"/>
                  <a:gd name="connsiteY106" fmla="*/ 181 h 1072"/>
                  <a:gd name="connsiteX107" fmla="*/ 2116 w 5810"/>
                  <a:gd name="connsiteY107" fmla="*/ 218 h 1072"/>
                  <a:gd name="connsiteX108" fmla="*/ 2071 w 5810"/>
                  <a:gd name="connsiteY108" fmla="*/ 261 h 1072"/>
                  <a:gd name="connsiteX109" fmla="*/ 2025 w 5810"/>
                  <a:gd name="connsiteY109" fmla="*/ 307 h 1072"/>
                  <a:gd name="connsiteX110" fmla="*/ 1984 w 5810"/>
                  <a:gd name="connsiteY110" fmla="*/ 359 h 1072"/>
                  <a:gd name="connsiteX111" fmla="*/ 1945 w 5810"/>
                  <a:gd name="connsiteY111" fmla="*/ 413 h 1072"/>
                  <a:gd name="connsiteX112" fmla="*/ 1908 w 5810"/>
                  <a:gd name="connsiteY112" fmla="*/ 467 h 1072"/>
                  <a:gd name="connsiteX113" fmla="*/ 1871 w 5810"/>
                  <a:gd name="connsiteY113" fmla="*/ 523 h 1072"/>
                  <a:gd name="connsiteX114" fmla="*/ 1833 w 5810"/>
                  <a:gd name="connsiteY114" fmla="*/ 581 h 1072"/>
                  <a:gd name="connsiteX115" fmla="*/ 1798 w 5810"/>
                  <a:gd name="connsiteY115" fmla="*/ 637 h 1072"/>
                  <a:gd name="connsiteX116" fmla="*/ 1724 w 5810"/>
                  <a:gd name="connsiteY116" fmla="*/ 749 h 1072"/>
                  <a:gd name="connsiteX117" fmla="*/ 1685 w 5810"/>
                  <a:gd name="connsiteY117" fmla="*/ 801 h 1072"/>
                  <a:gd name="connsiteX118" fmla="*/ 1643 w 5810"/>
                  <a:gd name="connsiteY118" fmla="*/ 850 h 1072"/>
                  <a:gd name="connsiteX119" fmla="*/ 1600 w 5810"/>
                  <a:gd name="connsiteY119" fmla="*/ 896 h 1072"/>
                  <a:gd name="connsiteX120" fmla="*/ 1553 w 5810"/>
                  <a:gd name="connsiteY120" fmla="*/ 937 h 1072"/>
                  <a:gd name="connsiteX121" fmla="*/ 1503 w 5810"/>
                  <a:gd name="connsiteY121" fmla="*/ 973 h 1072"/>
                  <a:gd name="connsiteX122" fmla="*/ 1449 w 5810"/>
                  <a:gd name="connsiteY122" fmla="*/ 1002 h 1072"/>
                  <a:gd name="connsiteX123" fmla="*/ 1394 w 5810"/>
                  <a:gd name="connsiteY123" fmla="*/ 1025 h 1072"/>
                  <a:gd name="connsiteX124" fmla="*/ 1330 w 5810"/>
                  <a:gd name="connsiteY124" fmla="*/ 1037 h 1072"/>
                  <a:gd name="connsiteX125" fmla="*/ 1264 w 5810"/>
                  <a:gd name="connsiteY125" fmla="*/ 1043 h 1072"/>
                  <a:gd name="connsiteX126" fmla="*/ 1257 w 5810"/>
                  <a:gd name="connsiteY126" fmla="*/ 1043 h 1072"/>
                  <a:gd name="connsiteX127" fmla="*/ 1189 w 5810"/>
                  <a:gd name="connsiteY127" fmla="*/ 1039 h 1072"/>
                  <a:gd name="connsiteX128" fmla="*/ 1127 w 5810"/>
                  <a:gd name="connsiteY128" fmla="*/ 1027 h 1072"/>
                  <a:gd name="connsiteX129" fmla="*/ 1069 w 5810"/>
                  <a:gd name="connsiteY129" fmla="*/ 1008 h 1072"/>
                  <a:gd name="connsiteX130" fmla="*/ 1018 w 5810"/>
                  <a:gd name="connsiteY130" fmla="*/ 983 h 1072"/>
                  <a:gd name="connsiteX131" fmla="*/ 970 w 5810"/>
                  <a:gd name="connsiteY131" fmla="*/ 952 h 1072"/>
                  <a:gd name="connsiteX132" fmla="*/ 925 w 5810"/>
                  <a:gd name="connsiteY132" fmla="*/ 915 h 1072"/>
                  <a:gd name="connsiteX133" fmla="*/ 884 w 5810"/>
                  <a:gd name="connsiteY133" fmla="*/ 873 h 1072"/>
                  <a:gd name="connsiteX134" fmla="*/ 846 w 5810"/>
                  <a:gd name="connsiteY134" fmla="*/ 828 h 1072"/>
                  <a:gd name="connsiteX135" fmla="*/ 809 w 5810"/>
                  <a:gd name="connsiteY135" fmla="*/ 780 h 1072"/>
                  <a:gd name="connsiteX136" fmla="*/ 776 w 5810"/>
                  <a:gd name="connsiteY136" fmla="*/ 728 h 1072"/>
                  <a:gd name="connsiteX137" fmla="*/ 741 w 5810"/>
                  <a:gd name="connsiteY137" fmla="*/ 674 h 1072"/>
                  <a:gd name="connsiteX138" fmla="*/ 710 w 5810"/>
                  <a:gd name="connsiteY138" fmla="*/ 618 h 1072"/>
                  <a:gd name="connsiteX139" fmla="*/ 677 w 5810"/>
                  <a:gd name="connsiteY139" fmla="*/ 560 h 1072"/>
                  <a:gd name="connsiteX140" fmla="*/ 615 w 5810"/>
                  <a:gd name="connsiteY140" fmla="*/ 448 h 1072"/>
                  <a:gd name="connsiteX141" fmla="*/ 547 w 5810"/>
                  <a:gd name="connsiteY141" fmla="*/ 340 h 1072"/>
                  <a:gd name="connsiteX142" fmla="*/ 504 w 5810"/>
                  <a:gd name="connsiteY142" fmla="*/ 284 h 1072"/>
                  <a:gd name="connsiteX143" fmla="*/ 456 w 5810"/>
                  <a:gd name="connsiteY143" fmla="*/ 239 h 1072"/>
                  <a:gd name="connsiteX144" fmla="*/ 409 w 5810"/>
                  <a:gd name="connsiteY144" fmla="*/ 199 h 1072"/>
                  <a:gd name="connsiteX145" fmla="*/ 357 w 5810"/>
                  <a:gd name="connsiteY145" fmla="*/ 168 h 1072"/>
                  <a:gd name="connsiteX146" fmla="*/ 308 w 5810"/>
                  <a:gd name="connsiteY146" fmla="*/ 145 h 1072"/>
                  <a:gd name="connsiteX147" fmla="*/ 256 w 5810"/>
                  <a:gd name="connsiteY147" fmla="*/ 127 h 1072"/>
                  <a:gd name="connsiteX148" fmla="*/ 209 w 5810"/>
                  <a:gd name="connsiteY148" fmla="*/ 112 h 1072"/>
                  <a:gd name="connsiteX149" fmla="*/ 31 w 5810"/>
                  <a:gd name="connsiteY149" fmla="*/ 95 h 1072"/>
                  <a:gd name="connsiteX150" fmla="*/ 0 w 5810"/>
                  <a:gd name="connsiteY150" fmla="*/ 13 h 1072"/>
                  <a:gd name="connsiteX151" fmla="*/ 8 w 5810"/>
                  <a:gd name="connsiteY151" fmla="*/ 13 h 1072"/>
                  <a:gd name="connsiteX152" fmla="*/ 29 w 5810"/>
                  <a:gd name="connsiteY152" fmla="*/ 10 h 1072"/>
                  <a:gd name="connsiteX153" fmla="*/ 91 w 5810"/>
                  <a:gd name="connsiteY153" fmla="*/ 10 h 1072"/>
                  <a:gd name="connsiteX154" fmla="*/ 134 w 5810"/>
                  <a:gd name="connsiteY154" fmla="*/ 13 h 1072"/>
                  <a:gd name="connsiteX155" fmla="*/ 182 w 5810"/>
                  <a:gd name="connsiteY155" fmla="*/ 19 h 1072"/>
                  <a:gd name="connsiteX156" fmla="*/ 233 w 5810"/>
                  <a:gd name="connsiteY156" fmla="*/ 29 h 1072"/>
                  <a:gd name="connsiteX157" fmla="*/ 287 w 5810"/>
                  <a:gd name="connsiteY157" fmla="*/ 46 h 1072"/>
                  <a:gd name="connsiteX158" fmla="*/ 345 w 5810"/>
                  <a:gd name="connsiteY158" fmla="*/ 66 h 1072"/>
                  <a:gd name="connsiteX159" fmla="*/ 403 w 5810"/>
                  <a:gd name="connsiteY159" fmla="*/ 93 h 1072"/>
                  <a:gd name="connsiteX160" fmla="*/ 458 w 5810"/>
                  <a:gd name="connsiteY160" fmla="*/ 131 h 1072"/>
                  <a:gd name="connsiteX161" fmla="*/ 514 w 5810"/>
                  <a:gd name="connsiteY161" fmla="*/ 174 h 1072"/>
                  <a:gd name="connsiteX162" fmla="*/ 568 w 5810"/>
                  <a:gd name="connsiteY162" fmla="*/ 228 h 1072"/>
                  <a:gd name="connsiteX163" fmla="*/ 617 w 5810"/>
                  <a:gd name="connsiteY163" fmla="*/ 293 h 1072"/>
                  <a:gd name="connsiteX164" fmla="*/ 667 w 5810"/>
                  <a:gd name="connsiteY164" fmla="*/ 367 h 1072"/>
                  <a:gd name="connsiteX165" fmla="*/ 754 w 5810"/>
                  <a:gd name="connsiteY165" fmla="*/ 516 h 1072"/>
                  <a:gd name="connsiteX166" fmla="*/ 787 w 5810"/>
                  <a:gd name="connsiteY166" fmla="*/ 575 h 1072"/>
                  <a:gd name="connsiteX167" fmla="*/ 820 w 5810"/>
                  <a:gd name="connsiteY167" fmla="*/ 631 h 1072"/>
                  <a:gd name="connsiteX168" fmla="*/ 853 w 5810"/>
                  <a:gd name="connsiteY168" fmla="*/ 684 h 1072"/>
                  <a:gd name="connsiteX169" fmla="*/ 886 w 5810"/>
                  <a:gd name="connsiteY169" fmla="*/ 736 h 1072"/>
                  <a:gd name="connsiteX170" fmla="*/ 921 w 5810"/>
                  <a:gd name="connsiteY170" fmla="*/ 782 h 1072"/>
                  <a:gd name="connsiteX171" fmla="*/ 958 w 5810"/>
                  <a:gd name="connsiteY171" fmla="*/ 825 h 1072"/>
                  <a:gd name="connsiteX172" fmla="*/ 999 w 5810"/>
                  <a:gd name="connsiteY172" fmla="*/ 863 h 1072"/>
                  <a:gd name="connsiteX173" fmla="*/ 1043 w 5810"/>
                  <a:gd name="connsiteY173" fmla="*/ 894 h 1072"/>
                  <a:gd name="connsiteX174" fmla="*/ 1090 w 5810"/>
                  <a:gd name="connsiteY174" fmla="*/ 921 h 1072"/>
                  <a:gd name="connsiteX175" fmla="*/ 1140 w 5810"/>
                  <a:gd name="connsiteY175" fmla="*/ 940 h 1072"/>
                  <a:gd name="connsiteX176" fmla="*/ 1195 w 5810"/>
                  <a:gd name="connsiteY176" fmla="*/ 952 h 1072"/>
                  <a:gd name="connsiteX177" fmla="*/ 1257 w 5810"/>
                  <a:gd name="connsiteY177" fmla="*/ 956 h 1072"/>
                  <a:gd name="connsiteX178" fmla="*/ 1264 w 5810"/>
                  <a:gd name="connsiteY178" fmla="*/ 956 h 1072"/>
                  <a:gd name="connsiteX179" fmla="*/ 1323 w 5810"/>
                  <a:gd name="connsiteY179" fmla="*/ 950 h 1072"/>
                  <a:gd name="connsiteX180" fmla="*/ 1379 w 5810"/>
                  <a:gd name="connsiteY180" fmla="*/ 935 h 1072"/>
                  <a:gd name="connsiteX181" fmla="*/ 1433 w 5810"/>
                  <a:gd name="connsiteY181" fmla="*/ 913 h 1072"/>
                  <a:gd name="connsiteX182" fmla="*/ 1480 w 5810"/>
                  <a:gd name="connsiteY182" fmla="*/ 884 h 1072"/>
                  <a:gd name="connsiteX183" fmla="*/ 1526 w 5810"/>
                  <a:gd name="connsiteY183" fmla="*/ 846 h 1072"/>
                  <a:gd name="connsiteX184" fmla="*/ 1569 w 5810"/>
                  <a:gd name="connsiteY184" fmla="*/ 803 h 1072"/>
                  <a:gd name="connsiteX185" fmla="*/ 1608 w 5810"/>
                  <a:gd name="connsiteY185" fmla="*/ 755 h 1072"/>
                  <a:gd name="connsiteX186" fmla="*/ 1648 w 5810"/>
                  <a:gd name="connsiteY186" fmla="*/ 703 h 1072"/>
                  <a:gd name="connsiteX187" fmla="*/ 1687 w 5810"/>
                  <a:gd name="connsiteY187" fmla="*/ 649 h 1072"/>
                  <a:gd name="connsiteX188" fmla="*/ 1798 w 5810"/>
                  <a:gd name="connsiteY188" fmla="*/ 475 h 1072"/>
                  <a:gd name="connsiteX189" fmla="*/ 1838 w 5810"/>
                  <a:gd name="connsiteY189" fmla="*/ 415 h 1072"/>
                  <a:gd name="connsiteX190" fmla="*/ 1879 w 5810"/>
                  <a:gd name="connsiteY190" fmla="*/ 357 h 1072"/>
                  <a:gd name="connsiteX191" fmla="*/ 1922 w 5810"/>
                  <a:gd name="connsiteY191" fmla="*/ 299 h 1072"/>
                  <a:gd name="connsiteX192" fmla="*/ 1968 w 5810"/>
                  <a:gd name="connsiteY192" fmla="*/ 245 h 1072"/>
                  <a:gd name="connsiteX193" fmla="*/ 2015 w 5810"/>
                  <a:gd name="connsiteY193" fmla="*/ 193 h 1072"/>
                  <a:gd name="connsiteX194" fmla="*/ 2069 w 5810"/>
                  <a:gd name="connsiteY194" fmla="*/ 145 h 1072"/>
                  <a:gd name="connsiteX195" fmla="*/ 2124 w 5810"/>
                  <a:gd name="connsiteY195" fmla="*/ 104 h 1072"/>
                  <a:gd name="connsiteX196" fmla="*/ 2186 w 5810"/>
                  <a:gd name="connsiteY196" fmla="*/ 69 h 1072"/>
                  <a:gd name="connsiteX197" fmla="*/ 2252 w 5810"/>
                  <a:gd name="connsiteY197" fmla="*/ 40 h 1072"/>
                  <a:gd name="connsiteX198" fmla="*/ 2325 w 5810"/>
                  <a:gd name="connsiteY198" fmla="*/ 19 h 1072"/>
                  <a:gd name="connsiteX199" fmla="*/ 2403 w 5810"/>
                  <a:gd name="connsiteY199" fmla="*/ 6 h 1072"/>
                  <a:gd name="connsiteX200" fmla="*/ 2473 w 5810"/>
                  <a:gd name="connsiteY200" fmla="*/ 4 h 1072"/>
                  <a:gd name="connsiteX201" fmla="*/ 2539 w 5810"/>
                  <a:gd name="connsiteY201" fmla="*/ 13 h 1072"/>
                  <a:gd name="connsiteX202" fmla="*/ 2599 w 5810"/>
                  <a:gd name="connsiteY202" fmla="*/ 27 h 1072"/>
                  <a:gd name="connsiteX203" fmla="*/ 2657 w 5810"/>
                  <a:gd name="connsiteY203" fmla="*/ 50 h 1072"/>
                  <a:gd name="connsiteX204" fmla="*/ 2711 w 5810"/>
                  <a:gd name="connsiteY204" fmla="*/ 81 h 1072"/>
                  <a:gd name="connsiteX205" fmla="*/ 2760 w 5810"/>
                  <a:gd name="connsiteY205" fmla="*/ 116 h 1072"/>
                  <a:gd name="connsiteX206" fmla="*/ 2806 w 5810"/>
                  <a:gd name="connsiteY206" fmla="*/ 158 h 1072"/>
                  <a:gd name="connsiteX207" fmla="*/ 2851 w 5810"/>
                  <a:gd name="connsiteY207" fmla="*/ 203 h 1072"/>
                  <a:gd name="connsiteX208" fmla="*/ 2893 w 5810"/>
                  <a:gd name="connsiteY208" fmla="*/ 251 h 1072"/>
                  <a:gd name="connsiteX209" fmla="*/ 2932 w 5810"/>
                  <a:gd name="connsiteY209" fmla="*/ 303 h 1072"/>
                  <a:gd name="connsiteX210" fmla="*/ 2969 w 5810"/>
                  <a:gd name="connsiteY210" fmla="*/ 357 h 1072"/>
                  <a:gd name="connsiteX211" fmla="*/ 3004 w 5810"/>
                  <a:gd name="connsiteY211" fmla="*/ 413 h 1072"/>
                  <a:gd name="connsiteX212" fmla="*/ 3039 w 5810"/>
                  <a:gd name="connsiteY212" fmla="*/ 467 h 1072"/>
                  <a:gd name="connsiteX213" fmla="*/ 3072 w 5810"/>
                  <a:gd name="connsiteY213" fmla="*/ 523 h 1072"/>
                  <a:gd name="connsiteX214" fmla="*/ 3109 w 5810"/>
                  <a:gd name="connsiteY214" fmla="*/ 585 h 1072"/>
                  <a:gd name="connsiteX215" fmla="*/ 3146 w 5810"/>
                  <a:gd name="connsiteY215" fmla="*/ 643 h 1072"/>
                  <a:gd name="connsiteX216" fmla="*/ 3186 w 5810"/>
                  <a:gd name="connsiteY216" fmla="*/ 701 h 1072"/>
                  <a:gd name="connsiteX217" fmla="*/ 3223 w 5810"/>
                  <a:gd name="connsiteY217" fmla="*/ 755 h 1072"/>
                  <a:gd name="connsiteX218" fmla="*/ 3264 w 5810"/>
                  <a:gd name="connsiteY218" fmla="*/ 805 h 1072"/>
                  <a:gd name="connsiteX219" fmla="*/ 3305 w 5810"/>
                  <a:gd name="connsiteY219" fmla="*/ 848 h 1072"/>
                  <a:gd name="connsiteX220" fmla="*/ 3349 w 5810"/>
                  <a:gd name="connsiteY220" fmla="*/ 886 h 1072"/>
                  <a:gd name="connsiteX221" fmla="*/ 3394 w 5810"/>
                  <a:gd name="connsiteY221" fmla="*/ 917 h 1072"/>
                  <a:gd name="connsiteX222" fmla="*/ 3444 w 5810"/>
                  <a:gd name="connsiteY222" fmla="*/ 940 h 1072"/>
                  <a:gd name="connsiteX223" fmla="*/ 3497 w 5810"/>
                  <a:gd name="connsiteY223" fmla="*/ 952 h 1072"/>
                  <a:gd name="connsiteX224" fmla="*/ 3553 w 5810"/>
                  <a:gd name="connsiteY224" fmla="*/ 956 h 1072"/>
                  <a:gd name="connsiteX225" fmla="*/ 3609 w 5810"/>
                  <a:gd name="connsiteY225" fmla="*/ 950 h 1072"/>
                  <a:gd name="connsiteX226" fmla="*/ 3659 w 5810"/>
                  <a:gd name="connsiteY226" fmla="*/ 935 h 1072"/>
                  <a:gd name="connsiteX227" fmla="*/ 3706 w 5810"/>
                  <a:gd name="connsiteY227" fmla="*/ 915 h 1072"/>
                  <a:gd name="connsiteX228" fmla="*/ 3749 w 5810"/>
                  <a:gd name="connsiteY228" fmla="*/ 884 h 1072"/>
                  <a:gd name="connsiteX229" fmla="*/ 3789 w 5810"/>
                  <a:gd name="connsiteY229" fmla="*/ 848 h 1072"/>
                  <a:gd name="connsiteX230" fmla="*/ 3826 w 5810"/>
                  <a:gd name="connsiteY230" fmla="*/ 807 h 1072"/>
                  <a:gd name="connsiteX231" fmla="*/ 3861 w 5810"/>
                  <a:gd name="connsiteY231" fmla="*/ 759 h 1072"/>
                  <a:gd name="connsiteX232" fmla="*/ 3894 w 5810"/>
                  <a:gd name="connsiteY232" fmla="*/ 709 h 1072"/>
                  <a:gd name="connsiteX233" fmla="*/ 3927 w 5810"/>
                  <a:gd name="connsiteY233" fmla="*/ 655 h 1072"/>
                  <a:gd name="connsiteX234" fmla="*/ 3960 w 5810"/>
                  <a:gd name="connsiteY234" fmla="*/ 597 h 1072"/>
                  <a:gd name="connsiteX235" fmla="*/ 3993 w 5810"/>
                  <a:gd name="connsiteY235" fmla="*/ 537 h 1072"/>
                  <a:gd name="connsiteX236" fmla="*/ 4022 w 5810"/>
                  <a:gd name="connsiteY236" fmla="*/ 483 h 1072"/>
                  <a:gd name="connsiteX237" fmla="*/ 4084 w 5810"/>
                  <a:gd name="connsiteY237" fmla="*/ 375 h 1072"/>
                  <a:gd name="connsiteX238" fmla="*/ 4154 w 5810"/>
                  <a:gd name="connsiteY238" fmla="*/ 272 h 1072"/>
                  <a:gd name="connsiteX239" fmla="*/ 4191 w 5810"/>
                  <a:gd name="connsiteY239" fmla="*/ 224 h 1072"/>
                  <a:gd name="connsiteX240" fmla="*/ 4232 w 5810"/>
                  <a:gd name="connsiteY240" fmla="*/ 178 h 1072"/>
                  <a:gd name="connsiteX241" fmla="*/ 4276 w 5810"/>
                  <a:gd name="connsiteY241" fmla="*/ 137 h 1072"/>
                  <a:gd name="connsiteX242" fmla="*/ 4323 w 5810"/>
                  <a:gd name="connsiteY242" fmla="*/ 100 h 1072"/>
                  <a:gd name="connsiteX243" fmla="*/ 4375 w 5810"/>
                  <a:gd name="connsiteY243" fmla="*/ 66 h 1072"/>
                  <a:gd name="connsiteX244" fmla="*/ 4433 w 5810"/>
                  <a:gd name="connsiteY244" fmla="*/ 40 h 1072"/>
                  <a:gd name="connsiteX245" fmla="*/ 4493 w 5810"/>
                  <a:gd name="connsiteY245" fmla="*/ 19 h 1072"/>
                  <a:gd name="connsiteX246" fmla="*/ 4559 w 5810"/>
                  <a:gd name="connsiteY246" fmla="*/ 6 h 1072"/>
                  <a:gd name="connsiteX247" fmla="*/ 4631 w 5810"/>
                  <a:gd name="connsiteY247" fmla="*/ 0 h 1072"/>
                  <a:gd name="connsiteX0" fmla="*/ 4631 w 5810"/>
                  <a:gd name="connsiteY0" fmla="*/ 0 h 1072"/>
                  <a:gd name="connsiteX1" fmla="*/ 4681 w 5810"/>
                  <a:gd name="connsiteY1" fmla="*/ 0 h 1072"/>
                  <a:gd name="connsiteX2" fmla="*/ 4709 w 5810"/>
                  <a:gd name="connsiteY2" fmla="*/ 4 h 1072"/>
                  <a:gd name="connsiteX3" fmla="*/ 4740 w 5810"/>
                  <a:gd name="connsiteY3" fmla="*/ 13 h 1072"/>
                  <a:gd name="connsiteX4" fmla="*/ 4778 w 5810"/>
                  <a:gd name="connsiteY4" fmla="*/ 23 h 1072"/>
                  <a:gd name="connsiteX5" fmla="*/ 4819 w 5810"/>
                  <a:gd name="connsiteY5" fmla="*/ 40 h 1072"/>
                  <a:gd name="connsiteX6" fmla="*/ 4862 w 5810"/>
                  <a:gd name="connsiteY6" fmla="*/ 60 h 1072"/>
                  <a:gd name="connsiteX7" fmla="*/ 4910 w 5810"/>
                  <a:gd name="connsiteY7" fmla="*/ 89 h 1072"/>
                  <a:gd name="connsiteX8" fmla="*/ 4959 w 5810"/>
                  <a:gd name="connsiteY8" fmla="*/ 125 h 1072"/>
                  <a:gd name="connsiteX9" fmla="*/ 5009 w 5810"/>
                  <a:gd name="connsiteY9" fmla="*/ 170 h 1072"/>
                  <a:gd name="connsiteX10" fmla="*/ 5060 w 5810"/>
                  <a:gd name="connsiteY10" fmla="*/ 224 h 1072"/>
                  <a:gd name="connsiteX11" fmla="*/ 5112 w 5810"/>
                  <a:gd name="connsiteY11" fmla="*/ 286 h 1072"/>
                  <a:gd name="connsiteX12" fmla="*/ 5164 w 5810"/>
                  <a:gd name="connsiteY12" fmla="*/ 361 h 1072"/>
                  <a:gd name="connsiteX13" fmla="*/ 5215 w 5810"/>
                  <a:gd name="connsiteY13" fmla="*/ 448 h 1072"/>
                  <a:gd name="connsiteX14" fmla="*/ 5267 w 5810"/>
                  <a:gd name="connsiteY14" fmla="*/ 548 h 1072"/>
                  <a:gd name="connsiteX15" fmla="*/ 5312 w 5810"/>
                  <a:gd name="connsiteY15" fmla="*/ 633 h 1072"/>
                  <a:gd name="connsiteX16" fmla="*/ 5358 w 5810"/>
                  <a:gd name="connsiteY16" fmla="*/ 705 h 1072"/>
                  <a:gd name="connsiteX17" fmla="*/ 5405 w 5810"/>
                  <a:gd name="connsiteY17" fmla="*/ 767 h 1072"/>
                  <a:gd name="connsiteX18" fmla="*/ 5453 w 5810"/>
                  <a:gd name="connsiteY18" fmla="*/ 819 h 1072"/>
                  <a:gd name="connsiteX19" fmla="*/ 5498 w 5810"/>
                  <a:gd name="connsiteY19" fmla="*/ 863 h 1072"/>
                  <a:gd name="connsiteX20" fmla="*/ 5546 w 5810"/>
                  <a:gd name="connsiteY20" fmla="*/ 898 h 1072"/>
                  <a:gd name="connsiteX21" fmla="*/ 5589 w 5810"/>
                  <a:gd name="connsiteY21" fmla="*/ 927 h 1072"/>
                  <a:gd name="connsiteX22" fmla="*/ 5632 w 5810"/>
                  <a:gd name="connsiteY22" fmla="*/ 948 h 1072"/>
                  <a:gd name="connsiteX23" fmla="*/ 5669 w 5810"/>
                  <a:gd name="connsiteY23" fmla="*/ 962 h 1072"/>
                  <a:gd name="connsiteX24" fmla="*/ 5707 w 5810"/>
                  <a:gd name="connsiteY24" fmla="*/ 973 h 1072"/>
                  <a:gd name="connsiteX25" fmla="*/ 5736 w 5810"/>
                  <a:gd name="connsiteY25" fmla="*/ 981 h 1072"/>
                  <a:gd name="connsiteX26" fmla="*/ 5762 w 5810"/>
                  <a:gd name="connsiteY26" fmla="*/ 983 h 1072"/>
                  <a:gd name="connsiteX27" fmla="*/ 5781 w 5810"/>
                  <a:gd name="connsiteY27" fmla="*/ 985 h 1072"/>
                  <a:gd name="connsiteX28" fmla="*/ 5802 w 5810"/>
                  <a:gd name="connsiteY28" fmla="*/ 985 h 1072"/>
                  <a:gd name="connsiteX29" fmla="*/ 5810 w 5810"/>
                  <a:gd name="connsiteY29" fmla="*/ 1072 h 1072"/>
                  <a:gd name="connsiteX30" fmla="*/ 5775 w 5810"/>
                  <a:gd name="connsiteY30" fmla="*/ 1072 h 1072"/>
                  <a:gd name="connsiteX31" fmla="*/ 5748 w 5810"/>
                  <a:gd name="connsiteY31" fmla="*/ 1070 h 1072"/>
                  <a:gd name="connsiteX32" fmla="*/ 5717 w 5810"/>
                  <a:gd name="connsiteY32" fmla="*/ 1064 h 1072"/>
                  <a:gd name="connsiteX33" fmla="*/ 5680 w 5810"/>
                  <a:gd name="connsiteY33" fmla="*/ 1056 h 1072"/>
                  <a:gd name="connsiteX34" fmla="*/ 5638 w 5810"/>
                  <a:gd name="connsiteY34" fmla="*/ 1043 h 1072"/>
                  <a:gd name="connsiteX35" fmla="*/ 5593 w 5810"/>
                  <a:gd name="connsiteY35" fmla="*/ 1025 h 1072"/>
                  <a:gd name="connsiteX36" fmla="*/ 5546 w 5810"/>
                  <a:gd name="connsiteY36" fmla="*/ 1002 h 1072"/>
                  <a:gd name="connsiteX37" fmla="*/ 5496 w 5810"/>
                  <a:gd name="connsiteY37" fmla="*/ 971 h 1072"/>
                  <a:gd name="connsiteX38" fmla="*/ 5444 w 5810"/>
                  <a:gd name="connsiteY38" fmla="*/ 931 h 1072"/>
                  <a:gd name="connsiteX39" fmla="*/ 5393 w 5810"/>
                  <a:gd name="connsiteY39" fmla="*/ 881 h 1072"/>
                  <a:gd name="connsiteX40" fmla="*/ 5339 w 5810"/>
                  <a:gd name="connsiteY40" fmla="*/ 823 h 1072"/>
                  <a:gd name="connsiteX41" fmla="*/ 5288 w 5810"/>
                  <a:gd name="connsiteY41" fmla="*/ 755 h 1072"/>
                  <a:gd name="connsiteX42" fmla="*/ 5238 w 5810"/>
                  <a:gd name="connsiteY42" fmla="*/ 676 h 1072"/>
                  <a:gd name="connsiteX43" fmla="*/ 5190 w 5810"/>
                  <a:gd name="connsiteY43" fmla="*/ 583 h 1072"/>
                  <a:gd name="connsiteX44" fmla="*/ 5141 w 5810"/>
                  <a:gd name="connsiteY44" fmla="*/ 487 h 1072"/>
                  <a:gd name="connsiteX45" fmla="*/ 5091 w 5810"/>
                  <a:gd name="connsiteY45" fmla="*/ 404 h 1072"/>
                  <a:gd name="connsiteX46" fmla="*/ 5042 w 5810"/>
                  <a:gd name="connsiteY46" fmla="*/ 336 h 1072"/>
                  <a:gd name="connsiteX47" fmla="*/ 4992 w 5810"/>
                  <a:gd name="connsiteY47" fmla="*/ 276 h 1072"/>
                  <a:gd name="connsiteX48" fmla="*/ 4945 w 5810"/>
                  <a:gd name="connsiteY48" fmla="*/ 228 h 1072"/>
                  <a:gd name="connsiteX49" fmla="*/ 4899 w 5810"/>
                  <a:gd name="connsiteY49" fmla="*/ 189 h 1072"/>
                  <a:gd name="connsiteX50" fmla="*/ 4858 w 5810"/>
                  <a:gd name="connsiteY50" fmla="*/ 158 h 1072"/>
                  <a:gd name="connsiteX51" fmla="*/ 4819 w 5810"/>
                  <a:gd name="connsiteY51" fmla="*/ 135 h 1072"/>
                  <a:gd name="connsiteX52" fmla="*/ 4769 w 5810"/>
                  <a:gd name="connsiteY52" fmla="*/ 112 h 1072"/>
                  <a:gd name="connsiteX53" fmla="*/ 4726 w 5810"/>
                  <a:gd name="connsiteY53" fmla="*/ 98 h 1072"/>
                  <a:gd name="connsiteX54" fmla="*/ 4691 w 5810"/>
                  <a:gd name="connsiteY54" fmla="*/ 89 h 1072"/>
                  <a:gd name="connsiteX55" fmla="*/ 4662 w 5810"/>
                  <a:gd name="connsiteY55" fmla="*/ 87 h 1072"/>
                  <a:gd name="connsiteX56" fmla="*/ 4635 w 5810"/>
                  <a:gd name="connsiteY56" fmla="*/ 87 h 1072"/>
                  <a:gd name="connsiteX57" fmla="*/ 4569 w 5810"/>
                  <a:gd name="connsiteY57" fmla="*/ 93 h 1072"/>
                  <a:gd name="connsiteX58" fmla="*/ 4507 w 5810"/>
                  <a:gd name="connsiteY58" fmla="*/ 106 h 1072"/>
                  <a:gd name="connsiteX59" fmla="*/ 4451 w 5810"/>
                  <a:gd name="connsiteY59" fmla="*/ 127 h 1072"/>
                  <a:gd name="connsiteX60" fmla="*/ 4400 w 5810"/>
                  <a:gd name="connsiteY60" fmla="*/ 154 h 1072"/>
                  <a:gd name="connsiteX61" fmla="*/ 4352 w 5810"/>
                  <a:gd name="connsiteY61" fmla="*/ 187 h 1072"/>
                  <a:gd name="connsiteX62" fmla="*/ 4309 w 5810"/>
                  <a:gd name="connsiteY62" fmla="*/ 224 h 1072"/>
                  <a:gd name="connsiteX63" fmla="*/ 4270 w 5810"/>
                  <a:gd name="connsiteY63" fmla="*/ 268 h 1072"/>
                  <a:gd name="connsiteX64" fmla="*/ 4230 w 5810"/>
                  <a:gd name="connsiteY64" fmla="*/ 313 h 1072"/>
                  <a:gd name="connsiteX65" fmla="*/ 4195 w 5810"/>
                  <a:gd name="connsiteY65" fmla="*/ 363 h 1072"/>
                  <a:gd name="connsiteX66" fmla="*/ 4162 w 5810"/>
                  <a:gd name="connsiteY66" fmla="*/ 415 h 1072"/>
                  <a:gd name="connsiteX67" fmla="*/ 4100 w 5810"/>
                  <a:gd name="connsiteY67" fmla="*/ 523 h 1072"/>
                  <a:gd name="connsiteX68" fmla="*/ 4007 w 5810"/>
                  <a:gd name="connsiteY68" fmla="*/ 691 h 1072"/>
                  <a:gd name="connsiteX69" fmla="*/ 3974 w 5810"/>
                  <a:gd name="connsiteY69" fmla="*/ 747 h 1072"/>
                  <a:gd name="connsiteX70" fmla="*/ 3939 w 5810"/>
                  <a:gd name="connsiteY70" fmla="*/ 799 h 1072"/>
                  <a:gd name="connsiteX71" fmla="*/ 3904 w 5810"/>
                  <a:gd name="connsiteY71" fmla="*/ 848 h 1072"/>
                  <a:gd name="connsiteX72" fmla="*/ 3865 w 5810"/>
                  <a:gd name="connsiteY72" fmla="*/ 894 h 1072"/>
                  <a:gd name="connsiteX73" fmla="*/ 3824 w 5810"/>
                  <a:gd name="connsiteY73" fmla="*/ 935 h 1072"/>
                  <a:gd name="connsiteX74" fmla="*/ 3778 w 5810"/>
                  <a:gd name="connsiteY74" fmla="*/ 971 h 1072"/>
                  <a:gd name="connsiteX75" fmla="*/ 3729 w 5810"/>
                  <a:gd name="connsiteY75" fmla="*/ 1000 h 1072"/>
                  <a:gd name="connsiteX76" fmla="*/ 3677 w 5810"/>
                  <a:gd name="connsiteY76" fmla="*/ 1022 h 1072"/>
                  <a:gd name="connsiteX77" fmla="*/ 3619 w 5810"/>
                  <a:gd name="connsiteY77" fmla="*/ 1037 h 1072"/>
                  <a:gd name="connsiteX78" fmla="*/ 3555 w 5810"/>
                  <a:gd name="connsiteY78" fmla="*/ 1043 h 1072"/>
                  <a:gd name="connsiteX79" fmla="*/ 3547 w 5810"/>
                  <a:gd name="connsiteY79" fmla="*/ 1043 h 1072"/>
                  <a:gd name="connsiteX80" fmla="*/ 3485 w 5810"/>
                  <a:gd name="connsiteY80" fmla="*/ 1039 h 1072"/>
                  <a:gd name="connsiteX81" fmla="*/ 3425 w 5810"/>
                  <a:gd name="connsiteY81" fmla="*/ 1025 h 1072"/>
                  <a:gd name="connsiteX82" fmla="*/ 3372 w 5810"/>
                  <a:gd name="connsiteY82" fmla="*/ 1002 h 1072"/>
                  <a:gd name="connsiteX83" fmla="*/ 3320 w 5810"/>
                  <a:gd name="connsiteY83" fmla="*/ 973 h 1072"/>
                  <a:gd name="connsiteX84" fmla="*/ 3272 w 5810"/>
                  <a:gd name="connsiteY84" fmla="*/ 935 h 1072"/>
                  <a:gd name="connsiteX85" fmla="*/ 3229 w 5810"/>
                  <a:gd name="connsiteY85" fmla="*/ 894 h 1072"/>
                  <a:gd name="connsiteX86" fmla="*/ 3186 w 5810"/>
                  <a:gd name="connsiteY86" fmla="*/ 846 h 1072"/>
                  <a:gd name="connsiteX87" fmla="*/ 3146 w 5810"/>
                  <a:gd name="connsiteY87" fmla="*/ 796 h 1072"/>
                  <a:gd name="connsiteX88" fmla="*/ 3107 w 5810"/>
                  <a:gd name="connsiteY88" fmla="*/ 740 h 1072"/>
                  <a:gd name="connsiteX89" fmla="*/ 3070 w 5810"/>
                  <a:gd name="connsiteY89" fmla="*/ 684 h 1072"/>
                  <a:gd name="connsiteX90" fmla="*/ 2965 w 5810"/>
                  <a:gd name="connsiteY90" fmla="*/ 510 h 1072"/>
                  <a:gd name="connsiteX91" fmla="*/ 2928 w 5810"/>
                  <a:gd name="connsiteY91" fmla="*/ 452 h 1072"/>
                  <a:gd name="connsiteX92" fmla="*/ 2890 w 5810"/>
                  <a:gd name="connsiteY92" fmla="*/ 396 h 1072"/>
                  <a:gd name="connsiteX93" fmla="*/ 2853 w 5810"/>
                  <a:gd name="connsiteY93" fmla="*/ 342 h 1072"/>
                  <a:gd name="connsiteX94" fmla="*/ 2814 w 5810"/>
                  <a:gd name="connsiteY94" fmla="*/ 293 h 1072"/>
                  <a:gd name="connsiteX95" fmla="*/ 2773 w 5810"/>
                  <a:gd name="connsiteY95" fmla="*/ 247 h 1072"/>
                  <a:gd name="connsiteX96" fmla="*/ 2731 w 5810"/>
                  <a:gd name="connsiteY96" fmla="*/ 205 h 1072"/>
                  <a:gd name="connsiteX97" fmla="*/ 2686 w 5810"/>
                  <a:gd name="connsiteY97" fmla="*/ 168 h 1072"/>
                  <a:gd name="connsiteX98" fmla="*/ 2639 w 5810"/>
                  <a:gd name="connsiteY98" fmla="*/ 139 h 1072"/>
                  <a:gd name="connsiteX99" fmla="*/ 2587 w 5810"/>
                  <a:gd name="connsiteY99" fmla="*/ 116 h 1072"/>
                  <a:gd name="connsiteX100" fmla="*/ 2531 w 5810"/>
                  <a:gd name="connsiteY100" fmla="*/ 100 h 1072"/>
                  <a:gd name="connsiteX101" fmla="*/ 2473 w 5810"/>
                  <a:gd name="connsiteY101" fmla="*/ 91 h 1072"/>
                  <a:gd name="connsiteX102" fmla="*/ 2409 w 5810"/>
                  <a:gd name="connsiteY102" fmla="*/ 93 h 1072"/>
                  <a:gd name="connsiteX103" fmla="*/ 2341 w 5810"/>
                  <a:gd name="connsiteY103" fmla="*/ 104 h 1072"/>
                  <a:gd name="connsiteX104" fmla="*/ 2279 w 5810"/>
                  <a:gd name="connsiteY104" fmla="*/ 122 h 1072"/>
                  <a:gd name="connsiteX105" fmla="*/ 2222 w 5810"/>
                  <a:gd name="connsiteY105" fmla="*/ 147 h 1072"/>
                  <a:gd name="connsiteX106" fmla="*/ 2168 w 5810"/>
                  <a:gd name="connsiteY106" fmla="*/ 181 h 1072"/>
                  <a:gd name="connsiteX107" fmla="*/ 2116 w 5810"/>
                  <a:gd name="connsiteY107" fmla="*/ 218 h 1072"/>
                  <a:gd name="connsiteX108" fmla="*/ 2071 w 5810"/>
                  <a:gd name="connsiteY108" fmla="*/ 261 h 1072"/>
                  <a:gd name="connsiteX109" fmla="*/ 2025 w 5810"/>
                  <a:gd name="connsiteY109" fmla="*/ 307 h 1072"/>
                  <a:gd name="connsiteX110" fmla="*/ 1984 w 5810"/>
                  <a:gd name="connsiteY110" fmla="*/ 359 h 1072"/>
                  <a:gd name="connsiteX111" fmla="*/ 1945 w 5810"/>
                  <a:gd name="connsiteY111" fmla="*/ 413 h 1072"/>
                  <a:gd name="connsiteX112" fmla="*/ 1908 w 5810"/>
                  <a:gd name="connsiteY112" fmla="*/ 467 h 1072"/>
                  <a:gd name="connsiteX113" fmla="*/ 1871 w 5810"/>
                  <a:gd name="connsiteY113" fmla="*/ 523 h 1072"/>
                  <a:gd name="connsiteX114" fmla="*/ 1833 w 5810"/>
                  <a:gd name="connsiteY114" fmla="*/ 581 h 1072"/>
                  <a:gd name="connsiteX115" fmla="*/ 1798 w 5810"/>
                  <a:gd name="connsiteY115" fmla="*/ 637 h 1072"/>
                  <a:gd name="connsiteX116" fmla="*/ 1724 w 5810"/>
                  <a:gd name="connsiteY116" fmla="*/ 749 h 1072"/>
                  <a:gd name="connsiteX117" fmla="*/ 1685 w 5810"/>
                  <a:gd name="connsiteY117" fmla="*/ 801 h 1072"/>
                  <a:gd name="connsiteX118" fmla="*/ 1643 w 5810"/>
                  <a:gd name="connsiteY118" fmla="*/ 850 h 1072"/>
                  <a:gd name="connsiteX119" fmla="*/ 1600 w 5810"/>
                  <a:gd name="connsiteY119" fmla="*/ 896 h 1072"/>
                  <a:gd name="connsiteX120" fmla="*/ 1553 w 5810"/>
                  <a:gd name="connsiteY120" fmla="*/ 937 h 1072"/>
                  <a:gd name="connsiteX121" fmla="*/ 1503 w 5810"/>
                  <a:gd name="connsiteY121" fmla="*/ 973 h 1072"/>
                  <a:gd name="connsiteX122" fmla="*/ 1449 w 5810"/>
                  <a:gd name="connsiteY122" fmla="*/ 1002 h 1072"/>
                  <a:gd name="connsiteX123" fmla="*/ 1394 w 5810"/>
                  <a:gd name="connsiteY123" fmla="*/ 1025 h 1072"/>
                  <a:gd name="connsiteX124" fmla="*/ 1330 w 5810"/>
                  <a:gd name="connsiteY124" fmla="*/ 1037 h 1072"/>
                  <a:gd name="connsiteX125" fmla="*/ 1264 w 5810"/>
                  <a:gd name="connsiteY125" fmla="*/ 1043 h 1072"/>
                  <a:gd name="connsiteX126" fmla="*/ 1257 w 5810"/>
                  <a:gd name="connsiteY126" fmla="*/ 1043 h 1072"/>
                  <a:gd name="connsiteX127" fmla="*/ 1189 w 5810"/>
                  <a:gd name="connsiteY127" fmla="*/ 1039 h 1072"/>
                  <a:gd name="connsiteX128" fmla="*/ 1127 w 5810"/>
                  <a:gd name="connsiteY128" fmla="*/ 1027 h 1072"/>
                  <a:gd name="connsiteX129" fmla="*/ 1069 w 5810"/>
                  <a:gd name="connsiteY129" fmla="*/ 1008 h 1072"/>
                  <a:gd name="connsiteX130" fmla="*/ 1018 w 5810"/>
                  <a:gd name="connsiteY130" fmla="*/ 983 h 1072"/>
                  <a:gd name="connsiteX131" fmla="*/ 970 w 5810"/>
                  <a:gd name="connsiteY131" fmla="*/ 952 h 1072"/>
                  <a:gd name="connsiteX132" fmla="*/ 925 w 5810"/>
                  <a:gd name="connsiteY132" fmla="*/ 915 h 1072"/>
                  <a:gd name="connsiteX133" fmla="*/ 884 w 5810"/>
                  <a:gd name="connsiteY133" fmla="*/ 873 h 1072"/>
                  <a:gd name="connsiteX134" fmla="*/ 846 w 5810"/>
                  <a:gd name="connsiteY134" fmla="*/ 828 h 1072"/>
                  <a:gd name="connsiteX135" fmla="*/ 809 w 5810"/>
                  <a:gd name="connsiteY135" fmla="*/ 780 h 1072"/>
                  <a:gd name="connsiteX136" fmla="*/ 776 w 5810"/>
                  <a:gd name="connsiteY136" fmla="*/ 728 h 1072"/>
                  <a:gd name="connsiteX137" fmla="*/ 741 w 5810"/>
                  <a:gd name="connsiteY137" fmla="*/ 674 h 1072"/>
                  <a:gd name="connsiteX138" fmla="*/ 710 w 5810"/>
                  <a:gd name="connsiteY138" fmla="*/ 618 h 1072"/>
                  <a:gd name="connsiteX139" fmla="*/ 677 w 5810"/>
                  <a:gd name="connsiteY139" fmla="*/ 560 h 1072"/>
                  <a:gd name="connsiteX140" fmla="*/ 615 w 5810"/>
                  <a:gd name="connsiteY140" fmla="*/ 448 h 1072"/>
                  <a:gd name="connsiteX141" fmla="*/ 547 w 5810"/>
                  <a:gd name="connsiteY141" fmla="*/ 340 h 1072"/>
                  <a:gd name="connsiteX142" fmla="*/ 504 w 5810"/>
                  <a:gd name="connsiteY142" fmla="*/ 284 h 1072"/>
                  <a:gd name="connsiteX143" fmla="*/ 456 w 5810"/>
                  <a:gd name="connsiteY143" fmla="*/ 239 h 1072"/>
                  <a:gd name="connsiteX144" fmla="*/ 409 w 5810"/>
                  <a:gd name="connsiteY144" fmla="*/ 199 h 1072"/>
                  <a:gd name="connsiteX145" fmla="*/ 357 w 5810"/>
                  <a:gd name="connsiteY145" fmla="*/ 168 h 1072"/>
                  <a:gd name="connsiteX146" fmla="*/ 308 w 5810"/>
                  <a:gd name="connsiteY146" fmla="*/ 145 h 1072"/>
                  <a:gd name="connsiteX147" fmla="*/ 256 w 5810"/>
                  <a:gd name="connsiteY147" fmla="*/ 127 h 1072"/>
                  <a:gd name="connsiteX148" fmla="*/ 31 w 5810"/>
                  <a:gd name="connsiteY148" fmla="*/ 95 h 1072"/>
                  <a:gd name="connsiteX149" fmla="*/ 0 w 5810"/>
                  <a:gd name="connsiteY149" fmla="*/ 13 h 1072"/>
                  <a:gd name="connsiteX150" fmla="*/ 8 w 5810"/>
                  <a:gd name="connsiteY150" fmla="*/ 13 h 1072"/>
                  <a:gd name="connsiteX151" fmla="*/ 29 w 5810"/>
                  <a:gd name="connsiteY151" fmla="*/ 10 h 1072"/>
                  <a:gd name="connsiteX152" fmla="*/ 91 w 5810"/>
                  <a:gd name="connsiteY152" fmla="*/ 10 h 1072"/>
                  <a:gd name="connsiteX153" fmla="*/ 134 w 5810"/>
                  <a:gd name="connsiteY153" fmla="*/ 13 h 1072"/>
                  <a:gd name="connsiteX154" fmla="*/ 182 w 5810"/>
                  <a:gd name="connsiteY154" fmla="*/ 19 h 1072"/>
                  <a:gd name="connsiteX155" fmla="*/ 233 w 5810"/>
                  <a:gd name="connsiteY155" fmla="*/ 29 h 1072"/>
                  <a:gd name="connsiteX156" fmla="*/ 287 w 5810"/>
                  <a:gd name="connsiteY156" fmla="*/ 46 h 1072"/>
                  <a:gd name="connsiteX157" fmla="*/ 345 w 5810"/>
                  <a:gd name="connsiteY157" fmla="*/ 66 h 1072"/>
                  <a:gd name="connsiteX158" fmla="*/ 403 w 5810"/>
                  <a:gd name="connsiteY158" fmla="*/ 93 h 1072"/>
                  <a:gd name="connsiteX159" fmla="*/ 458 w 5810"/>
                  <a:gd name="connsiteY159" fmla="*/ 131 h 1072"/>
                  <a:gd name="connsiteX160" fmla="*/ 514 w 5810"/>
                  <a:gd name="connsiteY160" fmla="*/ 174 h 1072"/>
                  <a:gd name="connsiteX161" fmla="*/ 568 w 5810"/>
                  <a:gd name="connsiteY161" fmla="*/ 228 h 1072"/>
                  <a:gd name="connsiteX162" fmla="*/ 617 w 5810"/>
                  <a:gd name="connsiteY162" fmla="*/ 293 h 1072"/>
                  <a:gd name="connsiteX163" fmla="*/ 667 w 5810"/>
                  <a:gd name="connsiteY163" fmla="*/ 367 h 1072"/>
                  <a:gd name="connsiteX164" fmla="*/ 754 w 5810"/>
                  <a:gd name="connsiteY164" fmla="*/ 516 h 1072"/>
                  <a:gd name="connsiteX165" fmla="*/ 787 w 5810"/>
                  <a:gd name="connsiteY165" fmla="*/ 575 h 1072"/>
                  <a:gd name="connsiteX166" fmla="*/ 820 w 5810"/>
                  <a:gd name="connsiteY166" fmla="*/ 631 h 1072"/>
                  <a:gd name="connsiteX167" fmla="*/ 853 w 5810"/>
                  <a:gd name="connsiteY167" fmla="*/ 684 h 1072"/>
                  <a:gd name="connsiteX168" fmla="*/ 886 w 5810"/>
                  <a:gd name="connsiteY168" fmla="*/ 736 h 1072"/>
                  <a:gd name="connsiteX169" fmla="*/ 921 w 5810"/>
                  <a:gd name="connsiteY169" fmla="*/ 782 h 1072"/>
                  <a:gd name="connsiteX170" fmla="*/ 958 w 5810"/>
                  <a:gd name="connsiteY170" fmla="*/ 825 h 1072"/>
                  <a:gd name="connsiteX171" fmla="*/ 999 w 5810"/>
                  <a:gd name="connsiteY171" fmla="*/ 863 h 1072"/>
                  <a:gd name="connsiteX172" fmla="*/ 1043 w 5810"/>
                  <a:gd name="connsiteY172" fmla="*/ 894 h 1072"/>
                  <a:gd name="connsiteX173" fmla="*/ 1090 w 5810"/>
                  <a:gd name="connsiteY173" fmla="*/ 921 h 1072"/>
                  <a:gd name="connsiteX174" fmla="*/ 1140 w 5810"/>
                  <a:gd name="connsiteY174" fmla="*/ 940 h 1072"/>
                  <a:gd name="connsiteX175" fmla="*/ 1195 w 5810"/>
                  <a:gd name="connsiteY175" fmla="*/ 952 h 1072"/>
                  <a:gd name="connsiteX176" fmla="*/ 1257 w 5810"/>
                  <a:gd name="connsiteY176" fmla="*/ 956 h 1072"/>
                  <a:gd name="connsiteX177" fmla="*/ 1264 w 5810"/>
                  <a:gd name="connsiteY177" fmla="*/ 956 h 1072"/>
                  <a:gd name="connsiteX178" fmla="*/ 1323 w 5810"/>
                  <a:gd name="connsiteY178" fmla="*/ 950 h 1072"/>
                  <a:gd name="connsiteX179" fmla="*/ 1379 w 5810"/>
                  <a:gd name="connsiteY179" fmla="*/ 935 h 1072"/>
                  <a:gd name="connsiteX180" fmla="*/ 1433 w 5810"/>
                  <a:gd name="connsiteY180" fmla="*/ 913 h 1072"/>
                  <a:gd name="connsiteX181" fmla="*/ 1480 w 5810"/>
                  <a:gd name="connsiteY181" fmla="*/ 884 h 1072"/>
                  <a:gd name="connsiteX182" fmla="*/ 1526 w 5810"/>
                  <a:gd name="connsiteY182" fmla="*/ 846 h 1072"/>
                  <a:gd name="connsiteX183" fmla="*/ 1569 w 5810"/>
                  <a:gd name="connsiteY183" fmla="*/ 803 h 1072"/>
                  <a:gd name="connsiteX184" fmla="*/ 1608 w 5810"/>
                  <a:gd name="connsiteY184" fmla="*/ 755 h 1072"/>
                  <a:gd name="connsiteX185" fmla="*/ 1648 w 5810"/>
                  <a:gd name="connsiteY185" fmla="*/ 703 h 1072"/>
                  <a:gd name="connsiteX186" fmla="*/ 1687 w 5810"/>
                  <a:gd name="connsiteY186" fmla="*/ 649 h 1072"/>
                  <a:gd name="connsiteX187" fmla="*/ 1798 w 5810"/>
                  <a:gd name="connsiteY187" fmla="*/ 475 h 1072"/>
                  <a:gd name="connsiteX188" fmla="*/ 1838 w 5810"/>
                  <a:gd name="connsiteY188" fmla="*/ 415 h 1072"/>
                  <a:gd name="connsiteX189" fmla="*/ 1879 w 5810"/>
                  <a:gd name="connsiteY189" fmla="*/ 357 h 1072"/>
                  <a:gd name="connsiteX190" fmla="*/ 1922 w 5810"/>
                  <a:gd name="connsiteY190" fmla="*/ 299 h 1072"/>
                  <a:gd name="connsiteX191" fmla="*/ 1968 w 5810"/>
                  <a:gd name="connsiteY191" fmla="*/ 245 h 1072"/>
                  <a:gd name="connsiteX192" fmla="*/ 2015 w 5810"/>
                  <a:gd name="connsiteY192" fmla="*/ 193 h 1072"/>
                  <a:gd name="connsiteX193" fmla="*/ 2069 w 5810"/>
                  <a:gd name="connsiteY193" fmla="*/ 145 h 1072"/>
                  <a:gd name="connsiteX194" fmla="*/ 2124 w 5810"/>
                  <a:gd name="connsiteY194" fmla="*/ 104 h 1072"/>
                  <a:gd name="connsiteX195" fmla="*/ 2186 w 5810"/>
                  <a:gd name="connsiteY195" fmla="*/ 69 h 1072"/>
                  <a:gd name="connsiteX196" fmla="*/ 2252 w 5810"/>
                  <a:gd name="connsiteY196" fmla="*/ 40 h 1072"/>
                  <a:gd name="connsiteX197" fmla="*/ 2325 w 5810"/>
                  <a:gd name="connsiteY197" fmla="*/ 19 h 1072"/>
                  <a:gd name="connsiteX198" fmla="*/ 2403 w 5810"/>
                  <a:gd name="connsiteY198" fmla="*/ 6 h 1072"/>
                  <a:gd name="connsiteX199" fmla="*/ 2473 w 5810"/>
                  <a:gd name="connsiteY199" fmla="*/ 4 h 1072"/>
                  <a:gd name="connsiteX200" fmla="*/ 2539 w 5810"/>
                  <a:gd name="connsiteY200" fmla="*/ 13 h 1072"/>
                  <a:gd name="connsiteX201" fmla="*/ 2599 w 5810"/>
                  <a:gd name="connsiteY201" fmla="*/ 27 h 1072"/>
                  <a:gd name="connsiteX202" fmla="*/ 2657 w 5810"/>
                  <a:gd name="connsiteY202" fmla="*/ 50 h 1072"/>
                  <a:gd name="connsiteX203" fmla="*/ 2711 w 5810"/>
                  <a:gd name="connsiteY203" fmla="*/ 81 h 1072"/>
                  <a:gd name="connsiteX204" fmla="*/ 2760 w 5810"/>
                  <a:gd name="connsiteY204" fmla="*/ 116 h 1072"/>
                  <a:gd name="connsiteX205" fmla="*/ 2806 w 5810"/>
                  <a:gd name="connsiteY205" fmla="*/ 158 h 1072"/>
                  <a:gd name="connsiteX206" fmla="*/ 2851 w 5810"/>
                  <a:gd name="connsiteY206" fmla="*/ 203 h 1072"/>
                  <a:gd name="connsiteX207" fmla="*/ 2893 w 5810"/>
                  <a:gd name="connsiteY207" fmla="*/ 251 h 1072"/>
                  <a:gd name="connsiteX208" fmla="*/ 2932 w 5810"/>
                  <a:gd name="connsiteY208" fmla="*/ 303 h 1072"/>
                  <a:gd name="connsiteX209" fmla="*/ 2969 w 5810"/>
                  <a:gd name="connsiteY209" fmla="*/ 357 h 1072"/>
                  <a:gd name="connsiteX210" fmla="*/ 3004 w 5810"/>
                  <a:gd name="connsiteY210" fmla="*/ 413 h 1072"/>
                  <a:gd name="connsiteX211" fmla="*/ 3039 w 5810"/>
                  <a:gd name="connsiteY211" fmla="*/ 467 h 1072"/>
                  <a:gd name="connsiteX212" fmla="*/ 3072 w 5810"/>
                  <a:gd name="connsiteY212" fmla="*/ 523 h 1072"/>
                  <a:gd name="connsiteX213" fmla="*/ 3109 w 5810"/>
                  <a:gd name="connsiteY213" fmla="*/ 585 h 1072"/>
                  <a:gd name="connsiteX214" fmla="*/ 3146 w 5810"/>
                  <a:gd name="connsiteY214" fmla="*/ 643 h 1072"/>
                  <a:gd name="connsiteX215" fmla="*/ 3186 w 5810"/>
                  <a:gd name="connsiteY215" fmla="*/ 701 h 1072"/>
                  <a:gd name="connsiteX216" fmla="*/ 3223 w 5810"/>
                  <a:gd name="connsiteY216" fmla="*/ 755 h 1072"/>
                  <a:gd name="connsiteX217" fmla="*/ 3264 w 5810"/>
                  <a:gd name="connsiteY217" fmla="*/ 805 h 1072"/>
                  <a:gd name="connsiteX218" fmla="*/ 3305 w 5810"/>
                  <a:gd name="connsiteY218" fmla="*/ 848 h 1072"/>
                  <a:gd name="connsiteX219" fmla="*/ 3349 w 5810"/>
                  <a:gd name="connsiteY219" fmla="*/ 886 h 1072"/>
                  <a:gd name="connsiteX220" fmla="*/ 3394 w 5810"/>
                  <a:gd name="connsiteY220" fmla="*/ 917 h 1072"/>
                  <a:gd name="connsiteX221" fmla="*/ 3444 w 5810"/>
                  <a:gd name="connsiteY221" fmla="*/ 940 h 1072"/>
                  <a:gd name="connsiteX222" fmla="*/ 3497 w 5810"/>
                  <a:gd name="connsiteY222" fmla="*/ 952 h 1072"/>
                  <a:gd name="connsiteX223" fmla="*/ 3553 w 5810"/>
                  <a:gd name="connsiteY223" fmla="*/ 956 h 1072"/>
                  <a:gd name="connsiteX224" fmla="*/ 3609 w 5810"/>
                  <a:gd name="connsiteY224" fmla="*/ 950 h 1072"/>
                  <a:gd name="connsiteX225" fmla="*/ 3659 w 5810"/>
                  <a:gd name="connsiteY225" fmla="*/ 935 h 1072"/>
                  <a:gd name="connsiteX226" fmla="*/ 3706 w 5810"/>
                  <a:gd name="connsiteY226" fmla="*/ 915 h 1072"/>
                  <a:gd name="connsiteX227" fmla="*/ 3749 w 5810"/>
                  <a:gd name="connsiteY227" fmla="*/ 884 h 1072"/>
                  <a:gd name="connsiteX228" fmla="*/ 3789 w 5810"/>
                  <a:gd name="connsiteY228" fmla="*/ 848 h 1072"/>
                  <a:gd name="connsiteX229" fmla="*/ 3826 w 5810"/>
                  <a:gd name="connsiteY229" fmla="*/ 807 h 1072"/>
                  <a:gd name="connsiteX230" fmla="*/ 3861 w 5810"/>
                  <a:gd name="connsiteY230" fmla="*/ 759 h 1072"/>
                  <a:gd name="connsiteX231" fmla="*/ 3894 w 5810"/>
                  <a:gd name="connsiteY231" fmla="*/ 709 h 1072"/>
                  <a:gd name="connsiteX232" fmla="*/ 3927 w 5810"/>
                  <a:gd name="connsiteY232" fmla="*/ 655 h 1072"/>
                  <a:gd name="connsiteX233" fmla="*/ 3960 w 5810"/>
                  <a:gd name="connsiteY233" fmla="*/ 597 h 1072"/>
                  <a:gd name="connsiteX234" fmla="*/ 3993 w 5810"/>
                  <a:gd name="connsiteY234" fmla="*/ 537 h 1072"/>
                  <a:gd name="connsiteX235" fmla="*/ 4022 w 5810"/>
                  <a:gd name="connsiteY235" fmla="*/ 483 h 1072"/>
                  <a:gd name="connsiteX236" fmla="*/ 4084 w 5810"/>
                  <a:gd name="connsiteY236" fmla="*/ 375 h 1072"/>
                  <a:gd name="connsiteX237" fmla="*/ 4154 w 5810"/>
                  <a:gd name="connsiteY237" fmla="*/ 272 h 1072"/>
                  <a:gd name="connsiteX238" fmla="*/ 4191 w 5810"/>
                  <a:gd name="connsiteY238" fmla="*/ 224 h 1072"/>
                  <a:gd name="connsiteX239" fmla="*/ 4232 w 5810"/>
                  <a:gd name="connsiteY239" fmla="*/ 178 h 1072"/>
                  <a:gd name="connsiteX240" fmla="*/ 4276 w 5810"/>
                  <a:gd name="connsiteY240" fmla="*/ 137 h 1072"/>
                  <a:gd name="connsiteX241" fmla="*/ 4323 w 5810"/>
                  <a:gd name="connsiteY241" fmla="*/ 100 h 1072"/>
                  <a:gd name="connsiteX242" fmla="*/ 4375 w 5810"/>
                  <a:gd name="connsiteY242" fmla="*/ 66 h 1072"/>
                  <a:gd name="connsiteX243" fmla="*/ 4433 w 5810"/>
                  <a:gd name="connsiteY243" fmla="*/ 40 h 1072"/>
                  <a:gd name="connsiteX244" fmla="*/ 4493 w 5810"/>
                  <a:gd name="connsiteY244" fmla="*/ 19 h 1072"/>
                  <a:gd name="connsiteX245" fmla="*/ 4559 w 5810"/>
                  <a:gd name="connsiteY245" fmla="*/ 6 h 1072"/>
                  <a:gd name="connsiteX246" fmla="*/ 4631 w 5810"/>
                  <a:gd name="connsiteY246" fmla="*/ 0 h 1072"/>
                  <a:gd name="connsiteX0" fmla="*/ 4631 w 5810"/>
                  <a:gd name="connsiteY0" fmla="*/ 0 h 1072"/>
                  <a:gd name="connsiteX1" fmla="*/ 4681 w 5810"/>
                  <a:gd name="connsiteY1" fmla="*/ 0 h 1072"/>
                  <a:gd name="connsiteX2" fmla="*/ 4709 w 5810"/>
                  <a:gd name="connsiteY2" fmla="*/ 4 h 1072"/>
                  <a:gd name="connsiteX3" fmla="*/ 4740 w 5810"/>
                  <a:gd name="connsiteY3" fmla="*/ 13 h 1072"/>
                  <a:gd name="connsiteX4" fmla="*/ 4778 w 5810"/>
                  <a:gd name="connsiteY4" fmla="*/ 23 h 1072"/>
                  <a:gd name="connsiteX5" fmla="*/ 4819 w 5810"/>
                  <a:gd name="connsiteY5" fmla="*/ 40 h 1072"/>
                  <a:gd name="connsiteX6" fmla="*/ 4862 w 5810"/>
                  <a:gd name="connsiteY6" fmla="*/ 60 h 1072"/>
                  <a:gd name="connsiteX7" fmla="*/ 4910 w 5810"/>
                  <a:gd name="connsiteY7" fmla="*/ 89 h 1072"/>
                  <a:gd name="connsiteX8" fmla="*/ 4959 w 5810"/>
                  <a:gd name="connsiteY8" fmla="*/ 125 h 1072"/>
                  <a:gd name="connsiteX9" fmla="*/ 5009 w 5810"/>
                  <a:gd name="connsiteY9" fmla="*/ 170 h 1072"/>
                  <a:gd name="connsiteX10" fmla="*/ 5060 w 5810"/>
                  <a:gd name="connsiteY10" fmla="*/ 224 h 1072"/>
                  <a:gd name="connsiteX11" fmla="*/ 5112 w 5810"/>
                  <a:gd name="connsiteY11" fmla="*/ 286 h 1072"/>
                  <a:gd name="connsiteX12" fmla="*/ 5164 w 5810"/>
                  <a:gd name="connsiteY12" fmla="*/ 361 h 1072"/>
                  <a:gd name="connsiteX13" fmla="*/ 5215 w 5810"/>
                  <a:gd name="connsiteY13" fmla="*/ 448 h 1072"/>
                  <a:gd name="connsiteX14" fmla="*/ 5267 w 5810"/>
                  <a:gd name="connsiteY14" fmla="*/ 548 h 1072"/>
                  <a:gd name="connsiteX15" fmla="*/ 5312 w 5810"/>
                  <a:gd name="connsiteY15" fmla="*/ 633 h 1072"/>
                  <a:gd name="connsiteX16" fmla="*/ 5358 w 5810"/>
                  <a:gd name="connsiteY16" fmla="*/ 705 h 1072"/>
                  <a:gd name="connsiteX17" fmla="*/ 5405 w 5810"/>
                  <a:gd name="connsiteY17" fmla="*/ 767 h 1072"/>
                  <a:gd name="connsiteX18" fmla="*/ 5453 w 5810"/>
                  <a:gd name="connsiteY18" fmla="*/ 819 h 1072"/>
                  <a:gd name="connsiteX19" fmla="*/ 5498 w 5810"/>
                  <a:gd name="connsiteY19" fmla="*/ 863 h 1072"/>
                  <a:gd name="connsiteX20" fmla="*/ 5546 w 5810"/>
                  <a:gd name="connsiteY20" fmla="*/ 898 h 1072"/>
                  <a:gd name="connsiteX21" fmla="*/ 5589 w 5810"/>
                  <a:gd name="connsiteY21" fmla="*/ 927 h 1072"/>
                  <a:gd name="connsiteX22" fmla="*/ 5632 w 5810"/>
                  <a:gd name="connsiteY22" fmla="*/ 948 h 1072"/>
                  <a:gd name="connsiteX23" fmla="*/ 5669 w 5810"/>
                  <a:gd name="connsiteY23" fmla="*/ 962 h 1072"/>
                  <a:gd name="connsiteX24" fmla="*/ 5707 w 5810"/>
                  <a:gd name="connsiteY24" fmla="*/ 973 h 1072"/>
                  <a:gd name="connsiteX25" fmla="*/ 5736 w 5810"/>
                  <a:gd name="connsiteY25" fmla="*/ 981 h 1072"/>
                  <a:gd name="connsiteX26" fmla="*/ 5762 w 5810"/>
                  <a:gd name="connsiteY26" fmla="*/ 983 h 1072"/>
                  <a:gd name="connsiteX27" fmla="*/ 5781 w 5810"/>
                  <a:gd name="connsiteY27" fmla="*/ 985 h 1072"/>
                  <a:gd name="connsiteX28" fmla="*/ 5802 w 5810"/>
                  <a:gd name="connsiteY28" fmla="*/ 985 h 1072"/>
                  <a:gd name="connsiteX29" fmla="*/ 5810 w 5810"/>
                  <a:gd name="connsiteY29" fmla="*/ 1072 h 1072"/>
                  <a:gd name="connsiteX30" fmla="*/ 5775 w 5810"/>
                  <a:gd name="connsiteY30" fmla="*/ 1072 h 1072"/>
                  <a:gd name="connsiteX31" fmla="*/ 5748 w 5810"/>
                  <a:gd name="connsiteY31" fmla="*/ 1070 h 1072"/>
                  <a:gd name="connsiteX32" fmla="*/ 5717 w 5810"/>
                  <a:gd name="connsiteY32" fmla="*/ 1064 h 1072"/>
                  <a:gd name="connsiteX33" fmla="*/ 5680 w 5810"/>
                  <a:gd name="connsiteY33" fmla="*/ 1056 h 1072"/>
                  <a:gd name="connsiteX34" fmla="*/ 5638 w 5810"/>
                  <a:gd name="connsiteY34" fmla="*/ 1043 h 1072"/>
                  <a:gd name="connsiteX35" fmla="*/ 5593 w 5810"/>
                  <a:gd name="connsiteY35" fmla="*/ 1025 h 1072"/>
                  <a:gd name="connsiteX36" fmla="*/ 5546 w 5810"/>
                  <a:gd name="connsiteY36" fmla="*/ 1002 h 1072"/>
                  <a:gd name="connsiteX37" fmla="*/ 5496 w 5810"/>
                  <a:gd name="connsiteY37" fmla="*/ 971 h 1072"/>
                  <a:gd name="connsiteX38" fmla="*/ 5444 w 5810"/>
                  <a:gd name="connsiteY38" fmla="*/ 931 h 1072"/>
                  <a:gd name="connsiteX39" fmla="*/ 5393 w 5810"/>
                  <a:gd name="connsiteY39" fmla="*/ 881 h 1072"/>
                  <a:gd name="connsiteX40" fmla="*/ 5339 w 5810"/>
                  <a:gd name="connsiteY40" fmla="*/ 823 h 1072"/>
                  <a:gd name="connsiteX41" fmla="*/ 5288 w 5810"/>
                  <a:gd name="connsiteY41" fmla="*/ 755 h 1072"/>
                  <a:gd name="connsiteX42" fmla="*/ 5238 w 5810"/>
                  <a:gd name="connsiteY42" fmla="*/ 676 h 1072"/>
                  <a:gd name="connsiteX43" fmla="*/ 5190 w 5810"/>
                  <a:gd name="connsiteY43" fmla="*/ 583 h 1072"/>
                  <a:gd name="connsiteX44" fmla="*/ 5141 w 5810"/>
                  <a:gd name="connsiteY44" fmla="*/ 487 h 1072"/>
                  <a:gd name="connsiteX45" fmla="*/ 5091 w 5810"/>
                  <a:gd name="connsiteY45" fmla="*/ 404 h 1072"/>
                  <a:gd name="connsiteX46" fmla="*/ 5042 w 5810"/>
                  <a:gd name="connsiteY46" fmla="*/ 336 h 1072"/>
                  <a:gd name="connsiteX47" fmla="*/ 4992 w 5810"/>
                  <a:gd name="connsiteY47" fmla="*/ 276 h 1072"/>
                  <a:gd name="connsiteX48" fmla="*/ 4945 w 5810"/>
                  <a:gd name="connsiteY48" fmla="*/ 228 h 1072"/>
                  <a:gd name="connsiteX49" fmla="*/ 4899 w 5810"/>
                  <a:gd name="connsiteY49" fmla="*/ 189 h 1072"/>
                  <a:gd name="connsiteX50" fmla="*/ 4858 w 5810"/>
                  <a:gd name="connsiteY50" fmla="*/ 158 h 1072"/>
                  <a:gd name="connsiteX51" fmla="*/ 4819 w 5810"/>
                  <a:gd name="connsiteY51" fmla="*/ 135 h 1072"/>
                  <a:gd name="connsiteX52" fmla="*/ 4769 w 5810"/>
                  <a:gd name="connsiteY52" fmla="*/ 112 h 1072"/>
                  <a:gd name="connsiteX53" fmla="*/ 4726 w 5810"/>
                  <a:gd name="connsiteY53" fmla="*/ 98 h 1072"/>
                  <a:gd name="connsiteX54" fmla="*/ 4691 w 5810"/>
                  <a:gd name="connsiteY54" fmla="*/ 89 h 1072"/>
                  <a:gd name="connsiteX55" fmla="*/ 4662 w 5810"/>
                  <a:gd name="connsiteY55" fmla="*/ 87 h 1072"/>
                  <a:gd name="connsiteX56" fmla="*/ 4635 w 5810"/>
                  <a:gd name="connsiteY56" fmla="*/ 87 h 1072"/>
                  <a:gd name="connsiteX57" fmla="*/ 4569 w 5810"/>
                  <a:gd name="connsiteY57" fmla="*/ 93 h 1072"/>
                  <a:gd name="connsiteX58" fmla="*/ 4507 w 5810"/>
                  <a:gd name="connsiteY58" fmla="*/ 106 h 1072"/>
                  <a:gd name="connsiteX59" fmla="*/ 4451 w 5810"/>
                  <a:gd name="connsiteY59" fmla="*/ 127 h 1072"/>
                  <a:gd name="connsiteX60" fmla="*/ 4400 w 5810"/>
                  <a:gd name="connsiteY60" fmla="*/ 154 h 1072"/>
                  <a:gd name="connsiteX61" fmla="*/ 4352 w 5810"/>
                  <a:gd name="connsiteY61" fmla="*/ 187 h 1072"/>
                  <a:gd name="connsiteX62" fmla="*/ 4309 w 5810"/>
                  <a:gd name="connsiteY62" fmla="*/ 224 h 1072"/>
                  <a:gd name="connsiteX63" fmla="*/ 4270 w 5810"/>
                  <a:gd name="connsiteY63" fmla="*/ 268 h 1072"/>
                  <a:gd name="connsiteX64" fmla="*/ 4230 w 5810"/>
                  <a:gd name="connsiteY64" fmla="*/ 313 h 1072"/>
                  <a:gd name="connsiteX65" fmla="*/ 4195 w 5810"/>
                  <a:gd name="connsiteY65" fmla="*/ 363 h 1072"/>
                  <a:gd name="connsiteX66" fmla="*/ 4162 w 5810"/>
                  <a:gd name="connsiteY66" fmla="*/ 415 h 1072"/>
                  <a:gd name="connsiteX67" fmla="*/ 4100 w 5810"/>
                  <a:gd name="connsiteY67" fmla="*/ 523 h 1072"/>
                  <a:gd name="connsiteX68" fmla="*/ 4007 w 5810"/>
                  <a:gd name="connsiteY68" fmla="*/ 691 h 1072"/>
                  <a:gd name="connsiteX69" fmla="*/ 3974 w 5810"/>
                  <a:gd name="connsiteY69" fmla="*/ 747 h 1072"/>
                  <a:gd name="connsiteX70" fmla="*/ 3939 w 5810"/>
                  <a:gd name="connsiteY70" fmla="*/ 799 h 1072"/>
                  <a:gd name="connsiteX71" fmla="*/ 3904 w 5810"/>
                  <a:gd name="connsiteY71" fmla="*/ 848 h 1072"/>
                  <a:gd name="connsiteX72" fmla="*/ 3865 w 5810"/>
                  <a:gd name="connsiteY72" fmla="*/ 894 h 1072"/>
                  <a:gd name="connsiteX73" fmla="*/ 3824 w 5810"/>
                  <a:gd name="connsiteY73" fmla="*/ 935 h 1072"/>
                  <a:gd name="connsiteX74" fmla="*/ 3778 w 5810"/>
                  <a:gd name="connsiteY74" fmla="*/ 971 h 1072"/>
                  <a:gd name="connsiteX75" fmla="*/ 3729 w 5810"/>
                  <a:gd name="connsiteY75" fmla="*/ 1000 h 1072"/>
                  <a:gd name="connsiteX76" fmla="*/ 3677 w 5810"/>
                  <a:gd name="connsiteY76" fmla="*/ 1022 h 1072"/>
                  <a:gd name="connsiteX77" fmla="*/ 3619 w 5810"/>
                  <a:gd name="connsiteY77" fmla="*/ 1037 h 1072"/>
                  <a:gd name="connsiteX78" fmla="*/ 3555 w 5810"/>
                  <a:gd name="connsiteY78" fmla="*/ 1043 h 1072"/>
                  <a:gd name="connsiteX79" fmla="*/ 3547 w 5810"/>
                  <a:gd name="connsiteY79" fmla="*/ 1043 h 1072"/>
                  <a:gd name="connsiteX80" fmla="*/ 3485 w 5810"/>
                  <a:gd name="connsiteY80" fmla="*/ 1039 h 1072"/>
                  <a:gd name="connsiteX81" fmla="*/ 3425 w 5810"/>
                  <a:gd name="connsiteY81" fmla="*/ 1025 h 1072"/>
                  <a:gd name="connsiteX82" fmla="*/ 3372 w 5810"/>
                  <a:gd name="connsiteY82" fmla="*/ 1002 h 1072"/>
                  <a:gd name="connsiteX83" fmla="*/ 3320 w 5810"/>
                  <a:gd name="connsiteY83" fmla="*/ 973 h 1072"/>
                  <a:gd name="connsiteX84" fmla="*/ 3272 w 5810"/>
                  <a:gd name="connsiteY84" fmla="*/ 935 h 1072"/>
                  <a:gd name="connsiteX85" fmla="*/ 3229 w 5810"/>
                  <a:gd name="connsiteY85" fmla="*/ 894 h 1072"/>
                  <a:gd name="connsiteX86" fmla="*/ 3186 w 5810"/>
                  <a:gd name="connsiteY86" fmla="*/ 846 h 1072"/>
                  <a:gd name="connsiteX87" fmla="*/ 3146 w 5810"/>
                  <a:gd name="connsiteY87" fmla="*/ 796 h 1072"/>
                  <a:gd name="connsiteX88" fmla="*/ 3107 w 5810"/>
                  <a:gd name="connsiteY88" fmla="*/ 740 h 1072"/>
                  <a:gd name="connsiteX89" fmla="*/ 3070 w 5810"/>
                  <a:gd name="connsiteY89" fmla="*/ 684 h 1072"/>
                  <a:gd name="connsiteX90" fmla="*/ 2965 w 5810"/>
                  <a:gd name="connsiteY90" fmla="*/ 510 h 1072"/>
                  <a:gd name="connsiteX91" fmla="*/ 2928 w 5810"/>
                  <a:gd name="connsiteY91" fmla="*/ 452 h 1072"/>
                  <a:gd name="connsiteX92" fmla="*/ 2890 w 5810"/>
                  <a:gd name="connsiteY92" fmla="*/ 396 h 1072"/>
                  <a:gd name="connsiteX93" fmla="*/ 2853 w 5810"/>
                  <a:gd name="connsiteY93" fmla="*/ 342 h 1072"/>
                  <a:gd name="connsiteX94" fmla="*/ 2814 w 5810"/>
                  <a:gd name="connsiteY94" fmla="*/ 293 h 1072"/>
                  <a:gd name="connsiteX95" fmla="*/ 2773 w 5810"/>
                  <a:gd name="connsiteY95" fmla="*/ 247 h 1072"/>
                  <a:gd name="connsiteX96" fmla="*/ 2731 w 5810"/>
                  <a:gd name="connsiteY96" fmla="*/ 205 h 1072"/>
                  <a:gd name="connsiteX97" fmla="*/ 2686 w 5810"/>
                  <a:gd name="connsiteY97" fmla="*/ 168 h 1072"/>
                  <a:gd name="connsiteX98" fmla="*/ 2639 w 5810"/>
                  <a:gd name="connsiteY98" fmla="*/ 139 h 1072"/>
                  <a:gd name="connsiteX99" fmla="*/ 2587 w 5810"/>
                  <a:gd name="connsiteY99" fmla="*/ 116 h 1072"/>
                  <a:gd name="connsiteX100" fmla="*/ 2531 w 5810"/>
                  <a:gd name="connsiteY100" fmla="*/ 100 h 1072"/>
                  <a:gd name="connsiteX101" fmla="*/ 2473 w 5810"/>
                  <a:gd name="connsiteY101" fmla="*/ 91 h 1072"/>
                  <a:gd name="connsiteX102" fmla="*/ 2409 w 5810"/>
                  <a:gd name="connsiteY102" fmla="*/ 93 h 1072"/>
                  <a:gd name="connsiteX103" fmla="*/ 2341 w 5810"/>
                  <a:gd name="connsiteY103" fmla="*/ 104 h 1072"/>
                  <a:gd name="connsiteX104" fmla="*/ 2279 w 5810"/>
                  <a:gd name="connsiteY104" fmla="*/ 122 h 1072"/>
                  <a:gd name="connsiteX105" fmla="*/ 2222 w 5810"/>
                  <a:gd name="connsiteY105" fmla="*/ 147 h 1072"/>
                  <a:gd name="connsiteX106" fmla="*/ 2168 w 5810"/>
                  <a:gd name="connsiteY106" fmla="*/ 181 h 1072"/>
                  <a:gd name="connsiteX107" fmla="*/ 2116 w 5810"/>
                  <a:gd name="connsiteY107" fmla="*/ 218 h 1072"/>
                  <a:gd name="connsiteX108" fmla="*/ 2071 w 5810"/>
                  <a:gd name="connsiteY108" fmla="*/ 261 h 1072"/>
                  <a:gd name="connsiteX109" fmla="*/ 2025 w 5810"/>
                  <a:gd name="connsiteY109" fmla="*/ 307 h 1072"/>
                  <a:gd name="connsiteX110" fmla="*/ 1984 w 5810"/>
                  <a:gd name="connsiteY110" fmla="*/ 359 h 1072"/>
                  <a:gd name="connsiteX111" fmla="*/ 1945 w 5810"/>
                  <a:gd name="connsiteY111" fmla="*/ 413 h 1072"/>
                  <a:gd name="connsiteX112" fmla="*/ 1908 w 5810"/>
                  <a:gd name="connsiteY112" fmla="*/ 467 h 1072"/>
                  <a:gd name="connsiteX113" fmla="*/ 1871 w 5810"/>
                  <a:gd name="connsiteY113" fmla="*/ 523 h 1072"/>
                  <a:gd name="connsiteX114" fmla="*/ 1833 w 5810"/>
                  <a:gd name="connsiteY114" fmla="*/ 581 h 1072"/>
                  <a:gd name="connsiteX115" fmla="*/ 1798 w 5810"/>
                  <a:gd name="connsiteY115" fmla="*/ 637 h 1072"/>
                  <a:gd name="connsiteX116" fmla="*/ 1724 w 5810"/>
                  <a:gd name="connsiteY116" fmla="*/ 749 h 1072"/>
                  <a:gd name="connsiteX117" fmla="*/ 1685 w 5810"/>
                  <a:gd name="connsiteY117" fmla="*/ 801 h 1072"/>
                  <a:gd name="connsiteX118" fmla="*/ 1643 w 5810"/>
                  <a:gd name="connsiteY118" fmla="*/ 850 h 1072"/>
                  <a:gd name="connsiteX119" fmla="*/ 1600 w 5810"/>
                  <a:gd name="connsiteY119" fmla="*/ 896 h 1072"/>
                  <a:gd name="connsiteX120" fmla="*/ 1553 w 5810"/>
                  <a:gd name="connsiteY120" fmla="*/ 937 h 1072"/>
                  <a:gd name="connsiteX121" fmla="*/ 1503 w 5810"/>
                  <a:gd name="connsiteY121" fmla="*/ 973 h 1072"/>
                  <a:gd name="connsiteX122" fmla="*/ 1449 w 5810"/>
                  <a:gd name="connsiteY122" fmla="*/ 1002 h 1072"/>
                  <a:gd name="connsiteX123" fmla="*/ 1394 w 5810"/>
                  <a:gd name="connsiteY123" fmla="*/ 1025 h 1072"/>
                  <a:gd name="connsiteX124" fmla="*/ 1330 w 5810"/>
                  <a:gd name="connsiteY124" fmla="*/ 1037 h 1072"/>
                  <a:gd name="connsiteX125" fmla="*/ 1264 w 5810"/>
                  <a:gd name="connsiteY125" fmla="*/ 1043 h 1072"/>
                  <a:gd name="connsiteX126" fmla="*/ 1257 w 5810"/>
                  <a:gd name="connsiteY126" fmla="*/ 1043 h 1072"/>
                  <a:gd name="connsiteX127" fmla="*/ 1189 w 5810"/>
                  <a:gd name="connsiteY127" fmla="*/ 1039 h 1072"/>
                  <a:gd name="connsiteX128" fmla="*/ 1127 w 5810"/>
                  <a:gd name="connsiteY128" fmla="*/ 1027 h 1072"/>
                  <a:gd name="connsiteX129" fmla="*/ 1069 w 5810"/>
                  <a:gd name="connsiteY129" fmla="*/ 1008 h 1072"/>
                  <a:gd name="connsiteX130" fmla="*/ 1018 w 5810"/>
                  <a:gd name="connsiteY130" fmla="*/ 983 h 1072"/>
                  <a:gd name="connsiteX131" fmla="*/ 970 w 5810"/>
                  <a:gd name="connsiteY131" fmla="*/ 952 h 1072"/>
                  <a:gd name="connsiteX132" fmla="*/ 925 w 5810"/>
                  <a:gd name="connsiteY132" fmla="*/ 915 h 1072"/>
                  <a:gd name="connsiteX133" fmla="*/ 884 w 5810"/>
                  <a:gd name="connsiteY133" fmla="*/ 873 h 1072"/>
                  <a:gd name="connsiteX134" fmla="*/ 846 w 5810"/>
                  <a:gd name="connsiteY134" fmla="*/ 828 h 1072"/>
                  <a:gd name="connsiteX135" fmla="*/ 809 w 5810"/>
                  <a:gd name="connsiteY135" fmla="*/ 780 h 1072"/>
                  <a:gd name="connsiteX136" fmla="*/ 776 w 5810"/>
                  <a:gd name="connsiteY136" fmla="*/ 728 h 1072"/>
                  <a:gd name="connsiteX137" fmla="*/ 741 w 5810"/>
                  <a:gd name="connsiteY137" fmla="*/ 674 h 1072"/>
                  <a:gd name="connsiteX138" fmla="*/ 710 w 5810"/>
                  <a:gd name="connsiteY138" fmla="*/ 618 h 1072"/>
                  <a:gd name="connsiteX139" fmla="*/ 677 w 5810"/>
                  <a:gd name="connsiteY139" fmla="*/ 560 h 1072"/>
                  <a:gd name="connsiteX140" fmla="*/ 615 w 5810"/>
                  <a:gd name="connsiteY140" fmla="*/ 448 h 1072"/>
                  <a:gd name="connsiteX141" fmla="*/ 547 w 5810"/>
                  <a:gd name="connsiteY141" fmla="*/ 340 h 1072"/>
                  <a:gd name="connsiteX142" fmla="*/ 504 w 5810"/>
                  <a:gd name="connsiteY142" fmla="*/ 284 h 1072"/>
                  <a:gd name="connsiteX143" fmla="*/ 456 w 5810"/>
                  <a:gd name="connsiteY143" fmla="*/ 239 h 1072"/>
                  <a:gd name="connsiteX144" fmla="*/ 409 w 5810"/>
                  <a:gd name="connsiteY144" fmla="*/ 199 h 1072"/>
                  <a:gd name="connsiteX145" fmla="*/ 357 w 5810"/>
                  <a:gd name="connsiteY145" fmla="*/ 168 h 1072"/>
                  <a:gd name="connsiteX146" fmla="*/ 256 w 5810"/>
                  <a:gd name="connsiteY146" fmla="*/ 127 h 1072"/>
                  <a:gd name="connsiteX147" fmla="*/ 31 w 5810"/>
                  <a:gd name="connsiteY147" fmla="*/ 95 h 1072"/>
                  <a:gd name="connsiteX148" fmla="*/ 0 w 5810"/>
                  <a:gd name="connsiteY148" fmla="*/ 13 h 1072"/>
                  <a:gd name="connsiteX149" fmla="*/ 8 w 5810"/>
                  <a:gd name="connsiteY149" fmla="*/ 13 h 1072"/>
                  <a:gd name="connsiteX150" fmla="*/ 29 w 5810"/>
                  <a:gd name="connsiteY150" fmla="*/ 10 h 1072"/>
                  <a:gd name="connsiteX151" fmla="*/ 91 w 5810"/>
                  <a:gd name="connsiteY151" fmla="*/ 10 h 1072"/>
                  <a:gd name="connsiteX152" fmla="*/ 134 w 5810"/>
                  <a:gd name="connsiteY152" fmla="*/ 13 h 1072"/>
                  <a:gd name="connsiteX153" fmla="*/ 182 w 5810"/>
                  <a:gd name="connsiteY153" fmla="*/ 19 h 1072"/>
                  <a:gd name="connsiteX154" fmla="*/ 233 w 5810"/>
                  <a:gd name="connsiteY154" fmla="*/ 29 h 1072"/>
                  <a:gd name="connsiteX155" fmla="*/ 287 w 5810"/>
                  <a:gd name="connsiteY155" fmla="*/ 46 h 1072"/>
                  <a:gd name="connsiteX156" fmla="*/ 345 w 5810"/>
                  <a:gd name="connsiteY156" fmla="*/ 66 h 1072"/>
                  <a:gd name="connsiteX157" fmla="*/ 403 w 5810"/>
                  <a:gd name="connsiteY157" fmla="*/ 93 h 1072"/>
                  <a:gd name="connsiteX158" fmla="*/ 458 w 5810"/>
                  <a:gd name="connsiteY158" fmla="*/ 131 h 1072"/>
                  <a:gd name="connsiteX159" fmla="*/ 514 w 5810"/>
                  <a:gd name="connsiteY159" fmla="*/ 174 h 1072"/>
                  <a:gd name="connsiteX160" fmla="*/ 568 w 5810"/>
                  <a:gd name="connsiteY160" fmla="*/ 228 h 1072"/>
                  <a:gd name="connsiteX161" fmla="*/ 617 w 5810"/>
                  <a:gd name="connsiteY161" fmla="*/ 293 h 1072"/>
                  <a:gd name="connsiteX162" fmla="*/ 667 w 5810"/>
                  <a:gd name="connsiteY162" fmla="*/ 367 h 1072"/>
                  <a:gd name="connsiteX163" fmla="*/ 754 w 5810"/>
                  <a:gd name="connsiteY163" fmla="*/ 516 h 1072"/>
                  <a:gd name="connsiteX164" fmla="*/ 787 w 5810"/>
                  <a:gd name="connsiteY164" fmla="*/ 575 h 1072"/>
                  <a:gd name="connsiteX165" fmla="*/ 820 w 5810"/>
                  <a:gd name="connsiteY165" fmla="*/ 631 h 1072"/>
                  <a:gd name="connsiteX166" fmla="*/ 853 w 5810"/>
                  <a:gd name="connsiteY166" fmla="*/ 684 h 1072"/>
                  <a:gd name="connsiteX167" fmla="*/ 886 w 5810"/>
                  <a:gd name="connsiteY167" fmla="*/ 736 h 1072"/>
                  <a:gd name="connsiteX168" fmla="*/ 921 w 5810"/>
                  <a:gd name="connsiteY168" fmla="*/ 782 h 1072"/>
                  <a:gd name="connsiteX169" fmla="*/ 958 w 5810"/>
                  <a:gd name="connsiteY169" fmla="*/ 825 h 1072"/>
                  <a:gd name="connsiteX170" fmla="*/ 999 w 5810"/>
                  <a:gd name="connsiteY170" fmla="*/ 863 h 1072"/>
                  <a:gd name="connsiteX171" fmla="*/ 1043 w 5810"/>
                  <a:gd name="connsiteY171" fmla="*/ 894 h 1072"/>
                  <a:gd name="connsiteX172" fmla="*/ 1090 w 5810"/>
                  <a:gd name="connsiteY172" fmla="*/ 921 h 1072"/>
                  <a:gd name="connsiteX173" fmla="*/ 1140 w 5810"/>
                  <a:gd name="connsiteY173" fmla="*/ 940 h 1072"/>
                  <a:gd name="connsiteX174" fmla="*/ 1195 w 5810"/>
                  <a:gd name="connsiteY174" fmla="*/ 952 h 1072"/>
                  <a:gd name="connsiteX175" fmla="*/ 1257 w 5810"/>
                  <a:gd name="connsiteY175" fmla="*/ 956 h 1072"/>
                  <a:gd name="connsiteX176" fmla="*/ 1264 w 5810"/>
                  <a:gd name="connsiteY176" fmla="*/ 956 h 1072"/>
                  <a:gd name="connsiteX177" fmla="*/ 1323 w 5810"/>
                  <a:gd name="connsiteY177" fmla="*/ 950 h 1072"/>
                  <a:gd name="connsiteX178" fmla="*/ 1379 w 5810"/>
                  <a:gd name="connsiteY178" fmla="*/ 935 h 1072"/>
                  <a:gd name="connsiteX179" fmla="*/ 1433 w 5810"/>
                  <a:gd name="connsiteY179" fmla="*/ 913 h 1072"/>
                  <a:gd name="connsiteX180" fmla="*/ 1480 w 5810"/>
                  <a:gd name="connsiteY180" fmla="*/ 884 h 1072"/>
                  <a:gd name="connsiteX181" fmla="*/ 1526 w 5810"/>
                  <a:gd name="connsiteY181" fmla="*/ 846 h 1072"/>
                  <a:gd name="connsiteX182" fmla="*/ 1569 w 5810"/>
                  <a:gd name="connsiteY182" fmla="*/ 803 h 1072"/>
                  <a:gd name="connsiteX183" fmla="*/ 1608 w 5810"/>
                  <a:gd name="connsiteY183" fmla="*/ 755 h 1072"/>
                  <a:gd name="connsiteX184" fmla="*/ 1648 w 5810"/>
                  <a:gd name="connsiteY184" fmla="*/ 703 h 1072"/>
                  <a:gd name="connsiteX185" fmla="*/ 1687 w 5810"/>
                  <a:gd name="connsiteY185" fmla="*/ 649 h 1072"/>
                  <a:gd name="connsiteX186" fmla="*/ 1798 w 5810"/>
                  <a:gd name="connsiteY186" fmla="*/ 475 h 1072"/>
                  <a:gd name="connsiteX187" fmla="*/ 1838 w 5810"/>
                  <a:gd name="connsiteY187" fmla="*/ 415 h 1072"/>
                  <a:gd name="connsiteX188" fmla="*/ 1879 w 5810"/>
                  <a:gd name="connsiteY188" fmla="*/ 357 h 1072"/>
                  <a:gd name="connsiteX189" fmla="*/ 1922 w 5810"/>
                  <a:gd name="connsiteY189" fmla="*/ 299 h 1072"/>
                  <a:gd name="connsiteX190" fmla="*/ 1968 w 5810"/>
                  <a:gd name="connsiteY190" fmla="*/ 245 h 1072"/>
                  <a:gd name="connsiteX191" fmla="*/ 2015 w 5810"/>
                  <a:gd name="connsiteY191" fmla="*/ 193 h 1072"/>
                  <a:gd name="connsiteX192" fmla="*/ 2069 w 5810"/>
                  <a:gd name="connsiteY192" fmla="*/ 145 h 1072"/>
                  <a:gd name="connsiteX193" fmla="*/ 2124 w 5810"/>
                  <a:gd name="connsiteY193" fmla="*/ 104 h 1072"/>
                  <a:gd name="connsiteX194" fmla="*/ 2186 w 5810"/>
                  <a:gd name="connsiteY194" fmla="*/ 69 h 1072"/>
                  <a:gd name="connsiteX195" fmla="*/ 2252 w 5810"/>
                  <a:gd name="connsiteY195" fmla="*/ 40 h 1072"/>
                  <a:gd name="connsiteX196" fmla="*/ 2325 w 5810"/>
                  <a:gd name="connsiteY196" fmla="*/ 19 h 1072"/>
                  <a:gd name="connsiteX197" fmla="*/ 2403 w 5810"/>
                  <a:gd name="connsiteY197" fmla="*/ 6 h 1072"/>
                  <a:gd name="connsiteX198" fmla="*/ 2473 w 5810"/>
                  <a:gd name="connsiteY198" fmla="*/ 4 h 1072"/>
                  <a:gd name="connsiteX199" fmla="*/ 2539 w 5810"/>
                  <a:gd name="connsiteY199" fmla="*/ 13 h 1072"/>
                  <a:gd name="connsiteX200" fmla="*/ 2599 w 5810"/>
                  <a:gd name="connsiteY200" fmla="*/ 27 h 1072"/>
                  <a:gd name="connsiteX201" fmla="*/ 2657 w 5810"/>
                  <a:gd name="connsiteY201" fmla="*/ 50 h 1072"/>
                  <a:gd name="connsiteX202" fmla="*/ 2711 w 5810"/>
                  <a:gd name="connsiteY202" fmla="*/ 81 h 1072"/>
                  <a:gd name="connsiteX203" fmla="*/ 2760 w 5810"/>
                  <a:gd name="connsiteY203" fmla="*/ 116 h 1072"/>
                  <a:gd name="connsiteX204" fmla="*/ 2806 w 5810"/>
                  <a:gd name="connsiteY204" fmla="*/ 158 h 1072"/>
                  <a:gd name="connsiteX205" fmla="*/ 2851 w 5810"/>
                  <a:gd name="connsiteY205" fmla="*/ 203 h 1072"/>
                  <a:gd name="connsiteX206" fmla="*/ 2893 w 5810"/>
                  <a:gd name="connsiteY206" fmla="*/ 251 h 1072"/>
                  <a:gd name="connsiteX207" fmla="*/ 2932 w 5810"/>
                  <a:gd name="connsiteY207" fmla="*/ 303 h 1072"/>
                  <a:gd name="connsiteX208" fmla="*/ 2969 w 5810"/>
                  <a:gd name="connsiteY208" fmla="*/ 357 h 1072"/>
                  <a:gd name="connsiteX209" fmla="*/ 3004 w 5810"/>
                  <a:gd name="connsiteY209" fmla="*/ 413 h 1072"/>
                  <a:gd name="connsiteX210" fmla="*/ 3039 w 5810"/>
                  <a:gd name="connsiteY210" fmla="*/ 467 h 1072"/>
                  <a:gd name="connsiteX211" fmla="*/ 3072 w 5810"/>
                  <a:gd name="connsiteY211" fmla="*/ 523 h 1072"/>
                  <a:gd name="connsiteX212" fmla="*/ 3109 w 5810"/>
                  <a:gd name="connsiteY212" fmla="*/ 585 h 1072"/>
                  <a:gd name="connsiteX213" fmla="*/ 3146 w 5810"/>
                  <a:gd name="connsiteY213" fmla="*/ 643 h 1072"/>
                  <a:gd name="connsiteX214" fmla="*/ 3186 w 5810"/>
                  <a:gd name="connsiteY214" fmla="*/ 701 h 1072"/>
                  <a:gd name="connsiteX215" fmla="*/ 3223 w 5810"/>
                  <a:gd name="connsiteY215" fmla="*/ 755 h 1072"/>
                  <a:gd name="connsiteX216" fmla="*/ 3264 w 5810"/>
                  <a:gd name="connsiteY216" fmla="*/ 805 h 1072"/>
                  <a:gd name="connsiteX217" fmla="*/ 3305 w 5810"/>
                  <a:gd name="connsiteY217" fmla="*/ 848 h 1072"/>
                  <a:gd name="connsiteX218" fmla="*/ 3349 w 5810"/>
                  <a:gd name="connsiteY218" fmla="*/ 886 h 1072"/>
                  <a:gd name="connsiteX219" fmla="*/ 3394 w 5810"/>
                  <a:gd name="connsiteY219" fmla="*/ 917 h 1072"/>
                  <a:gd name="connsiteX220" fmla="*/ 3444 w 5810"/>
                  <a:gd name="connsiteY220" fmla="*/ 940 h 1072"/>
                  <a:gd name="connsiteX221" fmla="*/ 3497 w 5810"/>
                  <a:gd name="connsiteY221" fmla="*/ 952 h 1072"/>
                  <a:gd name="connsiteX222" fmla="*/ 3553 w 5810"/>
                  <a:gd name="connsiteY222" fmla="*/ 956 h 1072"/>
                  <a:gd name="connsiteX223" fmla="*/ 3609 w 5810"/>
                  <a:gd name="connsiteY223" fmla="*/ 950 h 1072"/>
                  <a:gd name="connsiteX224" fmla="*/ 3659 w 5810"/>
                  <a:gd name="connsiteY224" fmla="*/ 935 h 1072"/>
                  <a:gd name="connsiteX225" fmla="*/ 3706 w 5810"/>
                  <a:gd name="connsiteY225" fmla="*/ 915 h 1072"/>
                  <a:gd name="connsiteX226" fmla="*/ 3749 w 5810"/>
                  <a:gd name="connsiteY226" fmla="*/ 884 h 1072"/>
                  <a:gd name="connsiteX227" fmla="*/ 3789 w 5810"/>
                  <a:gd name="connsiteY227" fmla="*/ 848 h 1072"/>
                  <a:gd name="connsiteX228" fmla="*/ 3826 w 5810"/>
                  <a:gd name="connsiteY228" fmla="*/ 807 h 1072"/>
                  <a:gd name="connsiteX229" fmla="*/ 3861 w 5810"/>
                  <a:gd name="connsiteY229" fmla="*/ 759 h 1072"/>
                  <a:gd name="connsiteX230" fmla="*/ 3894 w 5810"/>
                  <a:gd name="connsiteY230" fmla="*/ 709 h 1072"/>
                  <a:gd name="connsiteX231" fmla="*/ 3927 w 5810"/>
                  <a:gd name="connsiteY231" fmla="*/ 655 h 1072"/>
                  <a:gd name="connsiteX232" fmla="*/ 3960 w 5810"/>
                  <a:gd name="connsiteY232" fmla="*/ 597 h 1072"/>
                  <a:gd name="connsiteX233" fmla="*/ 3993 w 5810"/>
                  <a:gd name="connsiteY233" fmla="*/ 537 h 1072"/>
                  <a:gd name="connsiteX234" fmla="*/ 4022 w 5810"/>
                  <a:gd name="connsiteY234" fmla="*/ 483 h 1072"/>
                  <a:gd name="connsiteX235" fmla="*/ 4084 w 5810"/>
                  <a:gd name="connsiteY235" fmla="*/ 375 h 1072"/>
                  <a:gd name="connsiteX236" fmla="*/ 4154 w 5810"/>
                  <a:gd name="connsiteY236" fmla="*/ 272 h 1072"/>
                  <a:gd name="connsiteX237" fmla="*/ 4191 w 5810"/>
                  <a:gd name="connsiteY237" fmla="*/ 224 h 1072"/>
                  <a:gd name="connsiteX238" fmla="*/ 4232 w 5810"/>
                  <a:gd name="connsiteY238" fmla="*/ 178 h 1072"/>
                  <a:gd name="connsiteX239" fmla="*/ 4276 w 5810"/>
                  <a:gd name="connsiteY239" fmla="*/ 137 h 1072"/>
                  <a:gd name="connsiteX240" fmla="*/ 4323 w 5810"/>
                  <a:gd name="connsiteY240" fmla="*/ 100 h 1072"/>
                  <a:gd name="connsiteX241" fmla="*/ 4375 w 5810"/>
                  <a:gd name="connsiteY241" fmla="*/ 66 h 1072"/>
                  <a:gd name="connsiteX242" fmla="*/ 4433 w 5810"/>
                  <a:gd name="connsiteY242" fmla="*/ 40 h 1072"/>
                  <a:gd name="connsiteX243" fmla="*/ 4493 w 5810"/>
                  <a:gd name="connsiteY243" fmla="*/ 19 h 1072"/>
                  <a:gd name="connsiteX244" fmla="*/ 4559 w 5810"/>
                  <a:gd name="connsiteY244" fmla="*/ 6 h 1072"/>
                  <a:gd name="connsiteX245" fmla="*/ 4631 w 5810"/>
                  <a:gd name="connsiteY245" fmla="*/ 0 h 1072"/>
                  <a:gd name="connsiteX0" fmla="*/ 4631 w 5810"/>
                  <a:gd name="connsiteY0" fmla="*/ 0 h 1072"/>
                  <a:gd name="connsiteX1" fmla="*/ 4681 w 5810"/>
                  <a:gd name="connsiteY1" fmla="*/ 0 h 1072"/>
                  <a:gd name="connsiteX2" fmla="*/ 4709 w 5810"/>
                  <a:gd name="connsiteY2" fmla="*/ 4 h 1072"/>
                  <a:gd name="connsiteX3" fmla="*/ 4740 w 5810"/>
                  <a:gd name="connsiteY3" fmla="*/ 13 h 1072"/>
                  <a:gd name="connsiteX4" fmla="*/ 4778 w 5810"/>
                  <a:gd name="connsiteY4" fmla="*/ 23 h 1072"/>
                  <a:gd name="connsiteX5" fmla="*/ 4819 w 5810"/>
                  <a:gd name="connsiteY5" fmla="*/ 40 h 1072"/>
                  <a:gd name="connsiteX6" fmla="*/ 4862 w 5810"/>
                  <a:gd name="connsiteY6" fmla="*/ 60 h 1072"/>
                  <a:gd name="connsiteX7" fmla="*/ 4910 w 5810"/>
                  <a:gd name="connsiteY7" fmla="*/ 89 h 1072"/>
                  <a:gd name="connsiteX8" fmla="*/ 4959 w 5810"/>
                  <a:gd name="connsiteY8" fmla="*/ 125 h 1072"/>
                  <a:gd name="connsiteX9" fmla="*/ 5009 w 5810"/>
                  <a:gd name="connsiteY9" fmla="*/ 170 h 1072"/>
                  <a:gd name="connsiteX10" fmla="*/ 5060 w 5810"/>
                  <a:gd name="connsiteY10" fmla="*/ 224 h 1072"/>
                  <a:gd name="connsiteX11" fmla="*/ 5112 w 5810"/>
                  <a:gd name="connsiteY11" fmla="*/ 286 h 1072"/>
                  <a:gd name="connsiteX12" fmla="*/ 5164 w 5810"/>
                  <a:gd name="connsiteY12" fmla="*/ 361 h 1072"/>
                  <a:gd name="connsiteX13" fmla="*/ 5215 w 5810"/>
                  <a:gd name="connsiteY13" fmla="*/ 448 h 1072"/>
                  <a:gd name="connsiteX14" fmla="*/ 5267 w 5810"/>
                  <a:gd name="connsiteY14" fmla="*/ 548 h 1072"/>
                  <a:gd name="connsiteX15" fmla="*/ 5312 w 5810"/>
                  <a:gd name="connsiteY15" fmla="*/ 633 h 1072"/>
                  <a:gd name="connsiteX16" fmla="*/ 5358 w 5810"/>
                  <a:gd name="connsiteY16" fmla="*/ 705 h 1072"/>
                  <a:gd name="connsiteX17" fmla="*/ 5405 w 5810"/>
                  <a:gd name="connsiteY17" fmla="*/ 767 h 1072"/>
                  <a:gd name="connsiteX18" fmla="*/ 5453 w 5810"/>
                  <a:gd name="connsiteY18" fmla="*/ 819 h 1072"/>
                  <a:gd name="connsiteX19" fmla="*/ 5498 w 5810"/>
                  <a:gd name="connsiteY19" fmla="*/ 863 h 1072"/>
                  <a:gd name="connsiteX20" fmla="*/ 5546 w 5810"/>
                  <a:gd name="connsiteY20" fmla="*/ 898 h 1072"/>
                  <a:gd name="connsiteX21" fmla="*/ 5589 w 5810"/>
                  <a:gd name="connsiteY21" fmla="*/ 927 h 1072"/>
                  <a:gd name="connsiteX22" fmla="*/ 5632 w 5810"/>
                  <a:gd name="connsiteY22" fmla="*/ 948 h 1072"/>
                  <a:gd name="connsiteX23" fmla="*/ 5669 w 5810"/>
                  <a:gd name="connsiteY23" fmla="*/ 962 h 1072"/>
                  <a:gd name="connsiteX24" fmla="*/ 5707 w 5810"/>
                  <a:gd name="connsiteY24" fmla="*/ 973 h 1072"/>
                  <a:gd name="connsiteX25" fmla="*/ 5736 w 5810"/>
                  <a:gd name="connsiteY25" fmla="*/ 981 h 1072"/>
                  <a:gd name="connsiteX26" fmla="*/ 5762 w 5810"/>
                  <a:gd name="connsiteY26" fmla="*/ 983 h 1072"/>
                  <a:gd name="connsiteX27" fmla="*/ 5781 w 5810"/>
                  <a:gd name="connsiteY27" fmla="*/ 985 h 1072"/>
                  <a:gd name="connsiteX28" fmla="*/ 5802 w 5810"/>
                  <a:gd name="connsiteY28" fmla="*/ 985 h 1072"/>
                  <a:gd name="connsiteX29" fmla="*/ 5810 w 5810"/>
                  <a:gd name="connsiteY29" fmla="*/ 1072 h 1072"/>
                  <a:gd name="connsiteX30" fmla="*/ 5775 w 5810"/>
                  <a:gd name="connsiteY30" fmla="*/ 1072 h 1072"/>
                  <a:gd name="connsiteX31" fmla="*/ 5748 w 5810"/>
                  <a:gd name="connsiteY31" fmla="*/ 1070 h 1072"/>
                  <a:gd name="connsiteX32" fmla="*/ 5717 w 5810"/>
                  <a:gd name="connsiteY32" fmla="*/ 1064 h 1072"/>
                  <a:gd name="connsiteX33" fmla="*/ 5680 w 5810"/>
                  <a:gd name="connsiteY33" fmla="*/ 1056 h 1072"/>
                  <a:gd name="connsiteX34" fmla="*/ 5638 w 5810"/>
                  <a:gd name="connsiteY34" fmla="*/ 1043 h 1072"/>
                  <a:gd name="connsiteX35" fmla="*/ 5593 w 5810"/>
                  <a:gd name="connsiteY35" fmla="*/ 1025 h 1072"/>
                  <a:gd name="connsiteX36" fmla="*/ 5546 w 5810"/>
                  <a:gd name="connsiteY36" fmla="*/ 1002 h 1072"/>
                  <a:gd name="connsiteX37" fmla="*/ 5496 w 5810"/>
                  <a:gd name="connsiteY37" fmla="*/ 971 h 1072"/>
                  <a:gd name="connsiteX38" fmla="*/ 5444 w 5810"/>
                  <a:gd name="connsiteY38" fmla="*/ 931 h 1072"/>
                  <a:gd name="connsiteX39" fmla="*/ 5393 w 5810"/>
                  <a:gd name="connsiteY39" fmla="*/ 881 h 1072"/>
                  <a:gd name="connsiteX40" fmla="*/ 5339 w 5810"/>
                  <a:gd name="connsiteY40" fmla="*/ 823 h 1072"/>
                  <a:gd name="connsiteX41" fmla="*/ 5288 w 5810"/>
                  <a:gd name="connsiteY41" fmla="*/ 755 h 1072"/>
                  <a:gd name="connsiteX42" fmla="*/ 5238 w 5810"/>
                  <a:gd name="connsiteY42" fmla="*/ 676 h 1072"/>
                  <a:gd name="connsiteX43" fmla="*/ 5190 w 5810"/>
                  <a:gd name="connsiteY43" fmla="*/ 583 h 1072"/>
                  <a:gd name="connsiteX44" fmla="*/ 5141 w 5810"/>
                  <a:gd name="connsiteY44" fmla="*/ 487 h 1072"/>
                  <a:gd name="connsiteX45" fmla="*/ 5091 w 5810"/>
                  <a:gd name="connsiteY45" fmla="*/ 404 h 1072"/>
                  <a:gd name="connsiteX46" fmla="*/ 5042 w 5810"/>
                  <a:gd name="connsiteY46" fmla="*/ 336 h 1072"/>
                  <a:gd name="connsiteX47" fmla="*/ 4992 w 5810"/>
                  <a:gd name="connsiteY47" fmla="*/ 276 h 1072"/>
                  <a:gd name="connsiteX48" fmla="*/ 4945 w 5810"/>
                  <a:gd name="connsiteY48" fmla="*/ 228 h 1072"/>
                  <a:gd name="connsiteX49" fmla="*/ 4899 w 5810"/>
                  <a:gd name="connsiteY49" fmla="*/ 189 h 1072"/>
                  <a:gd name="connsiteX50" fmla="*/ 4858 w 5810"/>
                  <a:gd name="connsiteY50" fmla="*/ 158 h 1072"/>
                  <a:gd name="connsiteX51" fmla="*/ 4819 w 5810"/>
                  <a:gd name="connsiteY51" fmla="*/ 135 h 1072"/>
                  <a:gd name="connsiteX52" fmla="*/ 4769 w 5810"/>
                  <a:gd name="connsiteY52" fmla="*/ 112 h 1072"/>
                  <a:gd name="connsiteX53" fmla="*/ 4726 w 5810"/>
                  <a:gd name="connsiteY53" fmla="*/ 98 h 1072"/>
                  <a:gd name="connsiteX54" fmla="*/ 4691 w 5810"/>
                  <a:gd name="connsiteY54" fmla="*/ 89 h 1072"/>
                  <a:gd name="connsiteX55" fmla="*/ 4662 w 5810"/>
                  <a:gd name="connsiteY55" fmla="*/ 87 h 1072"/>
                  <a:gd name="connsiteX56" fmla="*/ 4635 w 5810"/>
                  <a:gd name="connsiteY56" fmla="*/ 87 h 1072"/>
                  <a:gd name="connsiteX57" fmla="*/ 4569 w 5810"/>
                  <a:gd name="connsiteY57" fmla="*/ 93 h 1072"/>
                  <a:gd name="connsiteX58" fmla="*/ 4507 w 5810"/>
                  <a:gd name="connsiteY58" fmla="*/ 106 h 1072"/>
                  <a:gd name="connsiteX59" fmla="*/ 4451 w 5810"/>
                  <a:gd name="connsiteY59" fmla="*/ 127 h 1072"/>
                  <a:gd name="connsiteX60" fmla="*/ 4400 w 5810"/>
                  <a:gd name="connsiteY60" fmla="*/ 154 h 1072"/>
                  <a:gd name="connsiteX61" fmla="*/ 4352 w 5810"/>
                  <a:gd name="connsiteY61" fmla="*/ 187 h 1072"/>
                  <a:gd name="connsiteX62" fmla="*/ 4309 w 5810"/>
                  <a:gd name="connsiteY62" fmla="*/ 224 h 1072"/>
                  <a:gd name="connsiteX63" fmla="*/ 4270 w 5810"/>
                  <a:gd name="connsiteY63" fmla="*/ 268 h 1072"/>
                  <a:gd name="connsiteX64" fmla="*/ 4230 w 5810"/>
                  <a:gd name="connsiteY64" fmla="*/ 313 h 1072"/>
                  <a:gd name="connsiteX65" fmla="*/ 4195 w 5810"/>
                  <a:gd name="connsiteY65" fmla="*/ 363 h 1072"/>
                  <a:gd name="connsiteX66" fmla="*/ 4162 w 5810"/>
                  <a:gd name="connsiteY66" fmla="*/ 415 h 1072"/>
                  <a:gd name="connsiteX67" fmla="*/ 4100 w 5810"/>
                  <a:gd name="connsiteY67" fmla="*/ 523 h 1072"/>
                  <a:gd name="connsiteX68" fmla="*/ 4007 w 5810"/>
                  <a:gd name="connsiteY68" fmla="*/ 691 h 1072"/>
                  <a:gd name="connsiteX69" fmla="*/ 3974 w 5810"/>
                  <a:gd name="connsiteY69" fmla="*/ 747 h 1072"/>
                  <a:gd name="connsiteX70" fmla="*/ 3939 w 5810"/>
                  <a:gd name="connsiteY70" fmla="*/ 799 h 1072"/>
                  <a:gd name="connsiteX71" fmla="*/ 3904 w 5810"/>
                  <a:gd name="connsiteY71" fmla="*/ 848 h 1072"/>
                  <a:gd name="connsiteX72" fmla="*/ 3865 w 5810"/>
                  <a:gd name="connsiteY72" fmla="*/ 894 h 1072"/>
                  <a:gd name="connsiteX73" fmla="*/ 3824 w 5810"/>
                  <a:gd name="connsiteY73" fmla="*/ 935 h 1072"/>
                  <a:gd name="connsiteX74" fmla="*/ 3778 w 5810"/>
                  <a:gd name="connsiteY74" fmla="*/ 971 h 1072"/>
                  <a:gd name="connsiteX75" fmla="*/ 3729 w 5810"/>
                  <a:gd name="connsiteY75" fmla="*/ 1000 h 1072"/>
                  <a:gd name="connsiteX76" fmla="*/ 3677 w 5810"/>
                  <a:gd name="connsiteY76" fmla="*/ 1022 h 1072"/>
                  <a:gd name="connsiteX77" fmla="*/ 3619 w 5810"/>
                  <a:gd name="connsiteY77" fmla="*/ 1037 h 1072"/>
                  <a:gd name="connsiteX78" fmla="*/ 3555 w 5810"/>
                  <a:gd name="connsiteY78" fmla="*/ 1043 h 1072"/>
                  <a:gd name="connsiteX79" fmla="*/ 3547 w 5810"/>
                  <a:gd name="connsiteY79" fmla="*/ 1043 h 1072"/>
                  <a:gd name="connsiteX80" fmla="*/ 3485 w 5810"/>
                  <a:gd name="connsiteY80" fmla="*/ 1039 h 1072"/>
                  <a:gd name="connsiteX81" fmla="*/ 3425 w 5810"/>
                  <a:gd name="connsiteY81" fmla="*/ 1025 h 1072"/>
                  <a:gd name="connsiteX82" fmla="*/ 3372 w 5810"/>
                  <a:gd name="connsiteY82" fmla="*/ 1002 h 1072"/>
                  <a:gd name="connsiteX83" fmla="*/ 3320 w 5810"/>
                  <a:gd name="connsiteY83" fmla="*/ 973 h 1072"/>
                  <a:gd name="connsiteX84" fmla="*/ 3272 w 5810"/>
                  <a:gd name="connsiteY84" fmla="*/ 935 h 1072"/>
                  <a:gd name="connsiteX85" fmla="*/ 3229 w 5810"/>
                  <a:gd name="connsiteY85" fmla="*/ 894 h 1072"/>
                  <a:gd name="connsiteX86" fmla="*/ 3186 w 5810"/>
                  <a:gd name="connsiteY86" fmla="*/ 846 h 1072"/>
                  <a:gd name="connsiteX87" fmla="*/ 3146 w 5810"/>
                  <a:gd name="connsiteY87" fmla="*/ 796 h 1072"/>
                  <a:gd name="connsiteX88" fmla="*/ 3107 w 5810"/>
                  <a:gd name="connsiteY88" fmla="*/ 740 h 1072"/>
                  <a:gd name="connsiteX89" fmla="*/ 3070 w 5810"/>
                  <a:gd name="connsiteY89" fmla="*/ 684 h 1072"/>
                  <a:gd name="connsiteX90" fmla="*/ 2965 w 5810"/>
                  <a:gd name="connsiteY90" fmla="*/ 510 h 1072"/>
                  <a:gd name="connsiteX91" fmla="*/ 2928 w 5810"/>
                  <a:gd name="connsiteY91" fmla="*/ 452 h 1072"/>
                  <a:gd name="connsiteX92" fmla="*/ 2890 w 5810"/>
                  <a:gd name="connsiteY92" fmla="*/ 396 h 1072"/>
                  <a:gd name="connsiteX93" fmla="*/ 2853 w 5810"/>
                  <a:gd name="connsiteY93" fmla="*/ 342 h 1072"/>
                  <a:gd name="connsiteX94" fmla="*/ 2814 w 5810"/>
                  <a:gd name="connsiteY94" fmla="*/ 293 h 1072"/>
                  <a:gd name="connsiteX95" fmla="*/ 2773 w 5810"/>
                  <a:gd name="connsiteY95" fmla="*/ 247 h 1072"/>
                  <a:gd name="connsiteX96" fmla="*/ 2731 w 5810"/>
                  <a:gd name="connsiteY96" fmla="*/ 205 h 1072"/>
                  <a:gd name="connsiteX97" fmla="*/ 2686 w 5810"/>
                  <a:gd name="connsiteY97" fmla="*/ 168 h 1072"/>
                  <a:gd name="connsiteX98" fmla="*/ 2639 w 5810"/>
                  <a:gd name="connsiteY98" fmla="*/ 139 h 1072"/>
                  <a:gd name="connsiteX99" fmla="*/ 2587 w 5810"/>
                  <a:gd name="connsiteY99" fmla="*/ 116 h 1072"/>
                  <a:gd name="connsiteX100" fmla="*/ 2531 w 5810"/>
                  <a:gd name="connsiteY100" fmla="*/ 100 h 1072"/>
                  <a:gd name="connsiteX101" fmla="*/ 2473 w 5810"/>
                  <a:gd name="connsiteY101" fmla="*/ 91 h 1072"/>
                  <a:gd name="connsiteX102" fmla="*/ 2409 w 5810"/>
                  <a:gd name="connsiteY102" fmla="*/ 93 h 1072"/>
                  <a:gd name="connsiteX103" fmla="*/ 2341 w 5810"/>
                  <a:gd name="connsiteY103" fmla="*/ 104 h 1072"/>
                  <a:gd name="connsiteX104" fmla="*/ 2279 w 5810"/>
                  <a:gd name="connsiteY104" fmla="*/ 122 h 1072"/>
                  <a:gd name="connsiteX105" fmla="*/ 2222 w 5810"/>
                  <a:gd name="connsiteY105" fmla="*/ 147 h 1072"/>
                  <a:gd name="connsiteX106" fmla="*/ 2168 w 5810"/>
                  <a:gd name="connsiteY106" fmla="*/ 181 h 1072"/>
                  <a:gd name="connsiteX107" fmla="*/ 2116 w 5810"/>
                  <a:gd name="connsiteY107" fmla="*/ 218 h 1072"/>
                  <a:gd name="connsiteX108" fmla="*/ 2071 w 5810"/>
                  <a:gd name="connsiteY108" fmla="*/ 261 h 1072"/>
                  <a:gd name="connsiteX109" fmla="*/ 2025 w 5810"/>
                  <a:gd name="connsiteY109" fmla="*/ 307 h 1072"/>
                  <a:gd name="connsiteX110" fmla="*/ 1984 w 5810"/>
                  <a:gd name="connsiteY110" fmla="*/ 359 h 1072"/>
                  <a:gd name="connsiteX111" fmla="*/ 1945 w 5810"/>
                  <a:gd name="connsiteY111" fmla="*/ 413 h 1072"/>
                  <a:gd name="connsiteX112" fmla="*/ 1908 w 5810"/>
                  <a:gd name="connsiteY112" fmla="*/ 467 h 1072"/>
                  <a:gd name="connsiteX113" fmla="*/ 1871 w 5810"/>
                  <a:gd name="connsiteY113" fmla="*/ 523 h 1072"/>
                  <a:gd name="connsiteX114" fmla="*/ 1833 w 5810"/>
                  <a:gd name="connsiteY114" fmla="*/ 581 h 1072"/>
                  <a:gd name="connsiteX115" fmla="*/ 1798 w 5810"/>
                  <a:gd name="connsiteY115" fmla="*/ 637 h 1072"/>
                  <a:gd name="connsiteX116" fmla="*/ 1724 w 5810"/>
                  <a:gd name="connsiteY116" fmla="*/ 749 h 1072"/>
                  <a:gd name="connsiteX117" fmla="*/ 1685 w 5810"/>
                  <a:gd name="connsiteY117" fmla="*/ 801 h 1072"/>
                  <a:gd name="connsiteX118" fmla="*/ 1643 w 5810"/>
                  <a:gd name="connsiteY118" fmla="*/ 850 h 1072"/>
                  <a:gd name="connsiteX119" fmla="*/ 1600 w 5810"/>
                  <a:gd name="connsiteY119" fmla="*/ 896 h 1072"/>
                  <a:gd name="connsiteX120" fmla="*/ 1553 w 5810"/>
                  <a:gd name="connsiteY120" fmla="*/ 937 h 1072"/>
                  <a:gd name="connsiteX121" fmla="*/ 1503 w 5810"/>
                  <a:gd name="connsiteY121" fmla="*/ 973 h 1072"/>
                  <a:gd name="connsiteX122" fmla="*/ 1449 w 5810"/>
                  <a:gd name="connsiteY122" fmla="*/ 1002 h 1072"/>
                  <a:gd name="connsiteX123" fmla="*/ 1394 w 5810"/>
                  <a:gd name="connsiteY123" fmla="*/ 1025 h 1072"/>
                  <a:gd name="connsiteX124" fmla="*/ 1330 w 5810"/>
                  <a:gd name="connsiteY124" fmla="*/ 1037 h 1072"/>
                  <a:gd name="connsiteX125" fmla="*/ 1264 w 5810"/>
                  <a:gd name="connsiteY125" fmla="*/ 1043 h 1072"/>
                  <a:gd name="connsiteX126" fmla="*/ 1257 w 5810"/>
                  <a:gd name="connsiteY126" fmla="*/ 1043 h 1072"/>
                  <a:gd name="connsiteX127" fmla="*/ 1189 w 5810"/>
                  <a:gd name="connsiteY127" fmla="*/ 1039 h 1072"/>
                  <a:gd name="connsiteX128" fmla="*/ 1127 w 5810"/>
                  <a:gd name="connsiteY128" fmla="*/ 1027 h 1072"/>
                  <a:gd name="connsiteX129" fmla="*/ 1069 w 5810"/>
                  <a:gd name="connsiteY129" fmla="*/ 1008 h 1072"/>
                  <a:gd name="connsiteX130" fmla="*/ 1018 w 5810"/>
                  <a:gd name="connsiteY130" fmla="*/ 983 h 1072"/>
                  <a:gd name="connsiteX131" fmla="*/ 970 w 5810"/>
                  <a:gd name="connsiteY131" fmla="*/ 952 h 1072"/>
                  <a:gd name="connsiteX132" fmla="*/ 925 w 5810"/>
                  <a:gd name="connsiteY132" fmla="*/ 915 h 1072"/>
                  <a:gd name="connsiteX133" fmla="*/ 884 w 5810"/>
                  <a:gd name="connsiteY133" fmla="*/ 873 h 1072"/>
                  <a:gd name="connsiteX134" fmla="*/ 846 w 5810"/>
                  <a:gd name="connsiteY134" fmla="*/ 828 h 1072"/>
                  <a:gd name="connsiteX135" fmla="*/ 809 w 5810"/>
                  <a:gd name="connsiteY135" fmla="*/ 780 h 1072"/>
                  <a:gd name="connsiteX136" fmla="*/ 776 w 5810"/>
                  <a:gd name="connsiteY136" fmla="*/ 728 h 1072"/>
                  <a:gd name="connsiteX137" fmla="*/ 741 w 5810"/>
                  <a:gd name="connsiteY137" fmla="*/ 674 h 1072"/>
                  <a:gd name="connsiteX138" fmla="*/ 710 w 5810"/>
                  <a:gd name="connsiteY138" fmla="*/ 618 h 1072"/>
                  <a:gd name="connsiteX139" fmla="*/ 677 w 5810"/>
                  <a:gd name="connsiteY139" fmla="*/ 560 h 1072"/>
                  <a:gd name="connsiteX140" fmla="*/ 615 w 5810"/>
                  <a:gd name="connsiteY140" fmla="*/ 448 h 1072"/>
                  <a:gd name="connsiteX141" fmla="*/ 547 w 5810"/>
                  <a:gd name="connsiteY141" fmla="*/ 340 h 1072"/>
                  <a:gd name="connsiteX142" fmla="*/ 504 w 5810"/>
                  <a:gd name="connsiteY142" fmla="*/ 284 h 1072"/>
                  <a:gd name="connsiteX143" fmla="*/ 456 w 5810"/>
                  <a:gd name="connsiteY143" fmla="*/ 239 h 1072"/>
                  <a:gd name="connsiteX144" fmla="*/ 409 w 5810"/>
                  <a:gd name="connsiteY144" fmla="*/ 199 h 1072"/>
                  <a:gd name="connsiteX145" fmla="*/ 357 w 5810"/>
                  <a:gd name="connsiteY145" fmla="*/ 168 h 1072"/>
                  <a:gd name="connsiteX146" fmla="*/ 256 w 5810"/>
                  <a:gd name="connsiteY146" fmla="*/ 127 h 1072"/>
                  <a:gd name="connsiteX147" fmla="*/ 0 w 5810"/>
                  <a:gd name="connsiteY147" fmla="*/ 13 h 1072"/>
                  <a:gd name="connsiteX148" fmla="*/ 8 w 5810"/>
                  <a:gd name="connsiteY148" fmla="*/ 13 h 1072"/>
                  <a:gd name="connsiteX149" fmla="*/ 29 w 5810"/>
                  <a:gd name="connsiteY149" fmla="*/ 10 h 1072"/>
                  <a:gd name="connsiteX150" fmla="*/ 91 w 5810"/>
                  <a:gd name="connsiteY150" fmla="*/ 10 h 1072"/>
                  <a:gd name="connsiteX151" fmla="*/ 134 w 5810"/>
                  <a:gd name="connsiteY151" fmla="*/ 13 h 1072"/>
                  <a:gd name="connsiteX152" fmla="*/ 182 w 5810"/>
                  <a:gd name="connsiteY152" fmla="*/ 19 h 1072"/>
                  <a:gd name="connsiteX153" fmla="*/ 233 w 5810"/>
                  <a:gd name="connsiteY153" fmla="*/ 29 h 1072"/>
                  <a:gd name="connsiteX154" fmla="*/ 287 w 5810"/>
                  <a:gd name="connsiteY154" fmla="*/ 46 h 1072"/>
                  <a:gd name="connsiteX155" fmla="*/ 345 w 5810"/>
                  <a:gd name="connsiteY155" fmla="*/ 66 h 1072"/>
                  <a:gd name="connsiteX156" fmla="*/ 403 w 5810"/>
                  <a:gd name="connsiteY156" fmla="*/ 93 h 1072"/>
                  <a:gd name="connsiteX157" fmla="*/ 458 w 5810"/>
                  <a:gd name="connsiteY157" fmla="*/ 131 h 1072"/>
                  <a:gd name="connsiteX158" fmla="*/ 514 w 5810"/>
                  <a:gd name="connsiteY158" fmla="*/ 174 h 1072"/>
                  <a:gd name="connsiteX159" fmla="*/ 568 w 5810"/>
                  <a:gd name="connsiteY159" fmla="*/ 228 h 1072"/>
                  <a:gd name="connsiteX160" fmla="*/ 617 w 5810"/>
                  <a:gd name="connsiteY160" fmla="*/ 293 h 1072"/>
                  <a:gd name="connsiteX161" fmla="*/ 667 w 5810"/>
                  <a:gd name="connsiteY161" fmla="*/ 367 h 1072"/>
                  <a:gd name="connsiteX162" fmla="*/ 754 w 5810"/>
                  <a:gd name="connsiteY162" fmla="*/ 516 h 1072"/>
                  <a:gd name="connsiteX163" fmla="*/ 787 w 5810"/>
                  <a:gd name="connsiteY163" fmla="*/ 575 h 1072"/>
                  <a:gd name="connsiteX164" fmla="*/ 820 w 5810"/>
                  <a:gd name="connsiteY164" fmla="*/ 631 h 1072"/>
                  <a:gd name="connsiteX165" fmla="*/ 853 w 5810"/>
                  <a:gd name="connsiteY165" fmla="*/ 684 h 1072"/>
                  <a:gd name="connsiteX166" fmla="*/ 886 w 5810"/>
                  <a:gd name="connsiteY166" fmla="*/ 736 h 1072"/>
                  <a:gd name="connsiteX167" fmla="*/ 921 w 5810"/>
                  <a:gd name="connsiteY167" fmla="*/ 782 h 1072"/>
                  <a:gd name="connsiteX168" fmla="*/ 958 w 5810"/>
                  <a:gd name="connsiteY168" fmla="*/ 825 h 1072"/>
                  <a:gd name="connsiteX169" fmla="*/ 999 w 5810"/>
                  <a:gd name="connsiteY169" fmla="*/ 863 h 1072"/>
                  <a:gd name="connsiteX170" fmla="*/ 1043 w 5810"/>
                  <a:gd name="connsiteY170" fmla="*/ 894 h 1072"/>
                  <a:gd name="connsiteX171" fmla="*/ 1090 w 5810"/>
                  <a:gd name="connsiteY171" fmla="*/ 921 h 1072"/>
                  <a:gd name="connsiteX172" fmla="*/ 1140 w 5810"/>
                  <a:gd name="connsiteY172" fmla="*/ 940 h 1072"/>
                  <a:gd name="connsiteX173" fmla="*/ 1195 w 5810"/>
                  <a:gd name="connsiteY173" fmla="*/ 952 h 1072"/>
                  <a:gd name="connsiteX174" fmla="*/ 1257 w 5810"/>
                  <a:gd name="connsiteY174" fmla="*/ 956 h 1072"/>
                  <a:gd name="connsiteX175" fmla="*/ 1264 w 5810"/>
                  <a:gd name="connsiteY175" fmla="*/ 956 h 1072"/>
                  <a:gd name="connsiteX176" fmla="*/ 1323 w 5810"/>
                  <a:gd name="connsiteY176" fmla="*/ 950 h 1072"/>
                  <a:gd name="connsiteX177" fmla="*/ 1379 w 5810"/>
                  <a:gd name="connsiteY177" fmla="*/ 935 h 1072"/>
                  <a:gd name="connsiteX178" fmla="*/ 1433 w 5810"/>
                  <a:gd name="connsiteY178" fmla="*/ 913 h 1072"/>
                  <a:gd name="connsiteX179" fmla="*/ 1480 w 5810"/>
                  <a:gd name="connsiteY179" fmla="*/ 884 h 1072"/>
                  <a:gd name="connsiteX180" fmla="*/ 1526 w 5810"/>
                  <a:gd name="connsiteY180" fmla="*/ 846 h 1072"/>
                  <a:gd name="connsiteX181" fmla="*/ 1569 w 5810"/>
                  <a:gd name="connsiteY181" fmla="*/ 803 h 1072"/>
                  <a:gd name="connsiteX182" fmla="*/ 1608 w 5810"/>
                  <a:gd name="connsiteY182" fmla="*/ 755 h 1072"/>
                  <a:gd name="connsiteX183" fmla="*/ 1648 w 5810"/>
                  <a:gd name="connsiteY183" fmla="*/ 703 h 1072"/>
                  <a:gd name="connsiteX184" fmla="*/ 1687 w 5810"/>
                  <a:gd name="connsiteY184" fmla="*/ 649 h 1072"/>
                  <a:gd name="connsiteX185" fmla="*/ 1798 w 5810"/>
                  <a:gd name="connsiteY185" fmla="*/ 475 h 1072"/>
                  <a:gd name="connsiteX186" fmla="*/ 1838 w 5810"/>
                  <a:gd name="connsiteY186" fmla="*/ 415 h 1072"/>
                  <a:gd name="connsiteX187" fmla="*/ 1879 w 5810"/>
                  <a:gd name="connsiteY187" fmla="*/ 357 h 1072"/>
                  <a:gd name="connsiteX188" fmla="*/ 1922 w 5810"/>
                  <a:gd name="connsiteY188" fmla="*/ 299 h 1072"/>
                  <a:gd name="connsiteX189" fmla="*/ 1968 w 5810"/>
                  <a:gd name="connsiteY189" fmla="*/ 245 h 1072"/>
                  <a:gd name="connsiteX190" fmla="*/ 2015 w 5810"/>
                  <a:gd name="connsiteY190" fmla="*/ 193 h 1072"/>
                  <a:gd name="connsiteX191" fmla="*/ 2069 w 5810"/>
                  <a:gd name="connsiteY191" fmla="*/ 145 h 1072"/>
                  <a:gd name="connsiteX192" fmla="*/ 2124 w 5810"/>
                  <a:gd name="connsiteY192" fmla="*/ 104 h 1072"/>
                  <a:gd name="connsiteX193" fmla="*/ 2186 w 5810"/>
                  <a:gd name="connsiteY193" fmla="*/ 69 h 1072"/>
                  <a:gd name="connsiteX194" fmla="*/ 2252 w 5810"/>
                  <a:gd name="connsiteY194" fmla="*/ 40 h 1072"/>
                  <a:gd name="connsiteX195" fmla="*/ 2325 w 5810"/>
                  <a:gd name="connsiteY195" fmla="*/ 19 h 1072"/>
                  <a:gd name="connsiteX196" fmla="*/ 2403 w 5810"/>
                  <a:gd name="connsiteY196" fmla="*/ 6 h 1072"/>
                  <a:gd name="connsiteX197" fmla="*/ 2473 w 5810"/>
                  <a:gd name="connsiteY197" fmla="*/ 4 h 1072"/>
                  <a:gd name="connsiteX198" fmla="*/ 2539 w 5810"/>
                  <a:gd name="connsiteY198" fmla="*/ 13 h 1072"/>
                  <a:gd name="connsiteX199" fmla="*/ 2599 w 5810"/>
                  <a:gd name="connsiteY199" fmla="*/ 27 h 1072"/>
                  <a:gd name="connsiteX200" fmla="*/ 2657 w 5810"/>
                  <a:gd name="connsiteY200" fmla="*/ 50 h 1072"/>
                  <a:gd name="connsiteX201" fmla="*/ 2711 w 5810"/>
                  <a:gd name="connsiteY201" fmla="*/ 81 h 1072"/>
                  <a:gd name="connsiteX202" fmla="*/ 2760 w 5810"/>
                  <a:gd name="connsiteY202" fmla="*/ 116 h 1072"/>
                  <a:gd name="connsiteX203" fmla="*/ 2806 w 5810"/>
                  <a:gd name="connsiteY203" fmla="*/ 158 h 1072"/>
                  <a:gd name="connsiteX204" fmla="*/ 2851 w 5810"/>
                  <a:gd name="connsiteY204" fmla="*/ 203 h 1072"/>
                  <a:gd name="connsiteX205" fmla="*/ 2893 w 5810"/>
                  <a:gd name="connsiteY205" fmla="*/ 251 h 1072"/>
                  <a:gd name="connsiteX206" fmla="*/ 2932 w 5810"/>
                  <a:gd name="connsiteY206" fmla="*/ 303 h 1072"/>
                  <a:gd name="connsiteX207" fmla="*/ 2969 w 5810"/>
                  <a:gd name="connsiteY207" fmla="*/ 357 h 1072"/>
                  <a:gd name="connsiteX208" fmla="*/ 3004 w 5810"/>
                  <a:gd name="connsiteY208" fmla="*/ 413 h 1072"/>
                  <a:gd name="connsiteX209" fmla="*/ 3039 w 5810"/>
                  <a:gd name="connsiteY209" fmla="*/ 467 h 1072"/>
                  <a:gd name="connsiteX210" fmla="*/ 3072 w 5810"/>
                  <a:gd name="connsiteY210" fmla="*/ 523 h 1072"/>
                  <a:gd name="connsiteX211" fmla="*/ 3109 w 5810"/>
                  <a:gd name="connsiteY211" fmla="*/ 585 h 1072"/>
                  <a:gd name="connsiteX212" fmla="*/ 3146 w 5810"/>
                  <a:gd name="connsiteY212" fmla="*/ 643 h 1072"/>
                  <a:gd name="connsiteX213" fmla="*/ 3186 w 5810"/>
                  <a:gd name="connsiteY213" fmla="*/ 701 h 1072"/>
                  <a:gd name="connsiteX214" fmla="*/ 3223 w 5810"/>
                  <a:gd name="connsiteY214" fmla="*/ 755 h 1072"/>
                  <a:gd name="connsiteX215" fmla="*/ 3264 w 5810"/>
                  <a:gd name="connsiteY215" fmla="*/ 805 h 1072"/>
                  <a:gd name="connsiteX216" fmla="*/ 3305 w 5810"/>
                  <a:gd name="connsiteY216" fmla="*/ 848 h 1072"/>
                  <a:gd name="connsiteX217" fmla="*/ 3349 w 5810"/>
                  <a:gd name="connsiteY217" fmla="*/ 886 h 1072"/>
                  <a:gd name="connsiteX218" fmla="*/ 3394 w 5810"/>
                  <a:gd name="connsiteY218" fmla="*/ 917 h 1072"/>
                  <a:gd name="connsiteX219" fmla="*/ 3444 w 5810"/>
                  <a:gd name="connsiteY219" fmla="*/ 940 h 1072"/>
                  <a:gd name="connsiteX220" fmla="*/ 3497 w 5810"/>
                  <a:gd name="connsiteY220" fmla="*/ 952 h 1072"/>
                  <a:gd name="connsiteX221" fmla="*/ 3553 w 5810"/>
                  <a:gd name="connsiteY221" fmla="*/ 956 h 1072"/>
                  <a:gd name="connsiteX222" fmla="*/ 3609 w 5810"/>
                  <a:gd name="connsiteY222" fmla="*/ 950 h 1072"/>
                  <a:gd name="connsiteX223" fmla="*/ 3659 w 5810"/>
                  <a:gd name="connsiteY223" fmla="*/ 935 h 1072"/>
                  <a:gd name="connsiteX224" fmla="*/ 3706 w 5810"/>
                  <a:gd name="connsiteY224" fmla="*/ 915 h 1072"/>
                  <a:gd name="connsiteX225" fmla="*/ 3749 w 5810"/>
                  <a:gd name="connsiteY225" fmla="*/ 884 h 1072"/>
                  <a:gd name="connsiteX226" fmla="*/ 3789 w 5810"/>
                  <a:gd name="connsiteY226" fmla="*/ 848 h 1072"/>
                  <a:gd name="connsiteX227" fmla="*/ 3826 w 5810"/>
                  <a:gd name="connsiteY227" fmla="*/ 807 h 1072"/>
                  <a:gd name="connsiteX228" fmla="*/ 3861 w 5810"/>
                  <a:gd name="connsiteY228" fmla="*/ 759 h 1072"/>
                  <a:gd name="connsiteX229" fmla="*/ 3894 w 5810"/>
                  <a:gd name="connsiteY229" fmla="*/ 709 h 1072"/>
                  <a:gd name="connsiteX230" fmla="*/ 3927 w 5810"/>
                  <a:gd name="connsiteY230" fmla="*/ 655 h 1072"/>
                  <a:gd name="connsiteX231" fmla="*/ 3960 w 5810"/>
                  <a:gd name="connsiteY231" fmla="*/ 597 h 1072"/>
                  <a:gd name="connsiteX232" fmla="*/ 3993 w 5810"/>
                  <a:gd name="connsiteY232" fmla="*/ 537 h 1072"/>
                  <a:gd name="connsiteX233" fmla="*/ 4022 w 5810"/>
                  <a:gd name="connsiteY233" fmla="*/ 483 h 1072"/>
                  <a:gd name="connsiteX234" fmla="*/ 4084 w 5810"/>
                  <a:gd name="connsiteY234" fmla="*/ 375 h 1072"/>
                  <a:gd name="connsiteX235" fmla="*/ 4154 w 5810"/>
                  <a:gd name="connsiteY235" fmla="*/ 272 h 1072"/>
                  <a:gd name="connsiteX236" fmla="*/ 4191 w 5810"/>
                  <a:gd name="connsiteY236" fmla="*/ 224 h 1072"/>
                  <a:gd name="connsiteX237" fmla="*/ 4232 w 5810"/>
                  <a:gd name="connsiteY237" fmla="*/ 178 h 1072"/>
                  <a:gd name="connsiteX238" fmla="*/ 4276 w 5810"/>
                  <a:gd name="connsiteY238" fmla="*/ 137 h 1072"/>
                  <a:gd name="connsiteX239" fmla="*/ 4323 w 5810"/>
                  <a:gd name="connsiteY239" fmla="*/ 100 h 1072"/>
                  <a:gd name="connsiteX240" fmla="*/ 4375 w 5810"/>
                  <a:gd name="connsiteY240" fmla="*/ 66 h 1072"/>
                  <a:gd name="connsiteX241" fmla="*/ 4433 w 5810"/>
                  <a:gd name="connsiteY241" fmla="*/ 40 h 1072"/>
                  <a:gd name="connsiteX242" fmla="*/ 4493 w 5810"/>
                  <a:gd name="connsiteY242" fmla="*/ 19 h 1072"/>
                  <a:gd name="connsiteX243" fmla="*/ 4559 w 5810"/>
                  <a:gd name="connsiteY243" fmla="*/ 6 h 1072"/>
                  <a:gd name="connsiteX244" fmla="*/ 4631 w 5810"/>
                  <a:gd name="connsiteY244" fmla="*/ 0 h 1072"/>
                  <a:gd name="connsiteX0" fmla="*/ 4631 w 5810"/>
                  <a:gd name="connsiteY0" fmla="*/ 0 h 1072"/>
                  <a:gd name="connsiteX1" fmla="*/ 4681 w 5810"/>
                  <a:gd name="connsiteY1" fmla="*/ 0 h 1072"/>
                  <a:gd name="connsiteX2" fmla="*/ 4709 w 5810"/>
                  <a:gd name="connsiteY2" fmla="*/ 4 h 1072"/>
                  <a:gd name="connsiteX3" fmla="*/ 4740 w 5810"/>
                  <a:gd name="connsiteY3" fmla="*/ 13 h 1072"/>
                  <a:gd name="connsiteX4" fmla="*/ 4778 w 5810"/>
                  <a:gd name="connsiteY4" fmla="*/ 23 h 1072"/>
                  <a:gd name="connsiteX5" fmla="*/ 4819 w 5810"/>
                  <a:gd name="connsiteY5" fmla="*/ 40 h 1072"/>
                  <a:gd name="connsiteX6" fmla="*/ 4862 w 5810"/>
                  <a:gd name="connsiteY6" fmla="*/ 60 h 1072"/>
                  <a:gd name="connsiteX7" fmla="*/ 4910 w 5810"/>
                  <a:gd name="connsiteY7" fmla="*/ 89 h 1072"/>
                  <a:gd name="connsiteX8" fmla="*/ 4959 w 5810"/>
                  <a:gd name="connsiteY8" fmla="*/ 125 h 1072"/>
                  <a:gd name="connsiteX9" fmla="*/ 5009 w 5810"/>
                  <a:gd name="connsiteY9" fmla="*/ 170 h 1072"/>
                  <a:gd name="connsiteX10" fmla="*/ 5060 w 5810"/>
                  <a:gd name="connsiteY10" fmla="*/ 224 h 1072"/>
                  <a:gd name="connsiteX11" fmla="*/ 5112 w 5810"/>
                  <a:gd name="connsiteY11" fmla="*/ 286 h 1072"/>
                  <a:gd name="connsiteX12" fmla="*/ 5164 w 5810"/>
                  <a:gd name="connsiteY12" fmla="*/ 361 h 1072"/>
                  <a:gd name="connsiteX13" fmla="*/ 5215 w 5810"/>
                  <a:gd name="connsiteY13" fmla="*/ 448 h 1072"/>
                  <a:gd name="connsiteX14" fmla="*/ 5267 w 5810"/>
                  <a:gd name="connsiteY14" fmla="*/ 548 h 1072"/>
                  <a:gd name="connsiteX15" fmla="*/ 5312 w 5810"/>
                  <a:gd name="connsiteY15" fmla="*/ 633 h 1072"/>
                  <a:gd name="connsiteX16" fmla="*/ 5358 w 5810"/>
                  <a:gd name="connsiteY16" fmla="*/ 705 h 1072"/>
                  <a:gd name="connsiteX17" fmla="*/ 5405 w 5810"/>
                  <a:gd name="connsiteY17" fmla="*/ 767 h 1072"/>
                  <a:gd name="connsiteX18" fmla="*/ 5453 w 5810"/>
                  <a:gd name="connsiteY18" fmla="*/ 819 h 1072"/>
                  <a:gd name="connsiteX19" fmla="*/ 5498 w 5810"/>
                  <a:gd name="connsiteY19" fmla="*/ 863 h 1072"/>
                  <a:gd name="connsiteX20" fmla="*/ 5546 w 5810"/>
                  <a:gd name="connsiteY20" fmla="*/ 898 h 1072"/>
                  <a:gd name="connsiteX21" fmla="*/ 5589 w 5810"/>
                  <a:gd name="connsiteY21" fmla="*/ 927 h 1072"/>
                  <a:gd name="connsiteX22" fmla="*/ 5632 w 5810"/>
                  <a:gd name="connsiteY22" fmla="*/ 948 h 1072"/>
                  <a:gd name="connsiteX23" fmla="*/ 5669 w 5810"/>
                  <a:gd name="connsiteY23" fmla="*/ 962 h 1072"/>
                  <a:gd name="connsiteX24" fmla="*/ 5707 w 5810"/>
                  <a:gd name="connsiteY24" fmla="*/ 973 h 1072"/>
                  <a:gd name="connsiteX25" fmla="*/ 5736 w 5810"/>
                  <a:gd name="connsiteY25" fmla="*/ 981 h 1072"/>
                  <a:gd name="connsiteX26" fmla="*/ 5762 w 5810"/>
                  <a:gd name="connsiteY26" fmla="*/ 983 h 1072"/>
                  <a:gd name="connsiteX27" fmla="*/ 5781 w 5810"/>
                  <a:gd name="connsiteY27" fmla="*/ 985 h 1072"/>
                  <a:gd name="connsiteX28" fmla="*/ 5802 w 5810"/>
                  <a:gd name="connsiteY28" fmla="*/ 985 h 1072"/>
                  <a:gd name="connsiteX29" fmla="*/ 5810 w 5810"/>
                  <a:gd name="connsiteY29" fmla="*/ 1072 h 1072"/>
                  <a:gd name="connsiteX30" fmla="*/ 5775 w 5810"/>
                  <a:gd name="connsiteY30" fmla="*/ 1072 h 1072"/>
                  <a:gd name="connsiteX31" fmla="*/ 5748 w 5810"/>
                  <a:gd name="connsiteY31" fmla="*/ 1070 h 1072"/>
                  <a:gd name="connsiteX32" fmla="*/ 5717 w 5810"/>
                  <a:gd name="connsiteY32" fmla="*/ 1064 h 1072"/>
                  <a:gd name="connsiteX33" fmla="*/ 5680 w 5810"/>
                  <a:gd name="connsiteY33" fmla="*/ 1056 h 1072"/>
                  <a:gd name="connsiteX34" fmla="*/ 5638 w 5810"/>
                  <a:gd name="connsiteY34" fmla="*/ 1043 h 1072"/>
                  <a:gd name="connsiteX35" fmla="*/ 5593 w 5810"/>
                  <a:gd name="connsiteY35" fmla="*/ 1025 h 1072"/>
                  <a:gd name="connsiteX36" fmla="*/ 5546 w 5810"/>
                  <a:gd name="connsiteY36" fmla="*/ 1002 h 1072"/>
                  <a:gd name="connsiteX37" fmla="*/ 5496 w 5810"/>
                  <a:gd name="connsiteY37" fmla="*/ 971 h 1072"/>
                  <a:gd name="connsiteX38" fmla="*/ 5444 w 5810"/>
                  <a:gd name="connsiteY38" fmla="*/ 931 h 1072"/>
                  <a:gd name="connsiteX39" fmla="*/ 5393 w 5810"/>
                  <a:gd name="connsiteY39" fmla="*/ 881 h 1072"/>
                  <a:gd name="connsiteX40" fmla="*/ 5339 w 5810"/>
                  <a:gd name="connsiteY40" fmla="*/ 823 h 1072"/>
                  <a:gd name="connsiteX41" fmla="*/ 5288 w 5810"/>
                  <a:gd name="connsiteY41" fmla="*/ 755 h 1072"/>
                  <a:gd name="connsiteX42" fmla="*/ 5238 w 5810"/>
                  <a:gd name="connsiteY42" fmla="*/ 676 h 1072"/>
                  <a:gd name="connsiteX43" fmla="*/ 5190 w 5810"/>
                  <a:gd name="connsiteY43" fmla="*/ 583 h 1072"/>
                  <a:gd name="connsiteX44" fmla="*/ 5141 w 5810"/>
                  <a:gd name="connsiteY44" fmla="*/ 487 h 1072"/>
                  <a:gd name="connsiteX45" fmla="*/ 5091 w 5810"/>
                  <a:gd name="connsiteY45" fmla="*/ 404 h 1072"/>
                  <a:gd name="connsiteX46" fmla="*/ 5042 w 5810"/>
                  <a:gd name="connsiteY46" fmla="*/ 336 h 1072"/>
                  <a:gd name="connsiteX47" fmla="*/ 4992 w 5810"/>
                  <a:gd name="connsiteY47" fmla="*/ 276 h 1072"/>
                  <a:gd name="connsiteX48" fmla="*/ 4945 w 5810"/>
                  <a:gd name="connsiteY48" fmla="*/ 228 h 1072"/>
                  <a:gd name="connsiteX49" fmla="*/ 4899 w 5810"/>
                  <a:gd name="connsiteY49" fmla="*/ 189 h 1072"/>
                  <a:gd name="connsiteX50" fmla="*/ 4858 w 5810"/>
                  <a:gd name="connsiteY50" fmla="*/ 158 h 1072"/>
                  <a:gd name="connsiteX51" fmla="*/ 4819 w 5810"/>
                  <a:gd name="connsiteY51" fmla="*/ 135 h 1072"/>
                  <a:gd name="connsiteX52" fmla="*/ 4769 w 5810"/>
                  <a:gd name="connsiteY52" fmla="*/ 112 h 1072"/>
                  <a:gd name="connsiteX53" fmla="*/ 4726 w 5810"/>
                  <a:gd name="connsiteY53" fmla="*/ 98 h 1072"/>
                  <a:gd name="connsiteX54" fmla="*/ 4691 w 5810"/>
                  <a:gd name="connsiteY54" fmla="*/ 89 h 1072"/>
                  <a:gd name="connsiteX55" fmla="*/ 4662 w 5810"/>
                  <a:gd name="connsiteY55" fmla="*/ 87 h 1072"/>
                  <a:gd name="connsiteX56" fmla="*/ 4635 w 5810"/>
                  <a:gd name="connsiteY56" fmla="*/ 87 h 1072"/>
                  <a:gd name="connsiteX57" fmla="*/ 4569 w 5810"/>
                  <a:gd name="connsiteY57" fmla="*/ 93 h 1072"/>
                  <a:gd name="connsiteX58" fmla="*/ 4507 w 5810"/>
                  <a:gd name="connsiteY58" fmla="*/ 106 h 1072"/>
                  <a:gd name="connsiteX59" fmla="*/ 4451 w 5810"/>
                  <a:gd name="connsiteY59" fmla="*/ 127 h 1072"/>
                  <a:gd name="connsiteX60" fmla="*/ 4400 w 5810"/>
                  <a:gd name="connsiteY60" fmla="*/ 154 h 1072"/>
                  <a:gd name="connsiteX61" fmla="*/ 4352 w 5810"/>
                  <a:gd name="connsiteY61" fmla="*/ 187 h 1072"/>
                  <a:gd name="connsiteX62" fmla="*/ 4309 w 5810"/>
                  <a:gd name="connsiteY62" fmla="*/ 224 h 1072"/>
                  <a:gd name="connsiteX63" fmla="*/ 4270 w 5810"/>
                  <a:gd name="connsiteY63" fmla="*/ 268 h 1072"/>
                  <a:gd name="connsiteX64" fmla="*/ 4230 w 5810"/>
                  <a:gd name="connsiteY64" fmla="*/ 313 h 1072"/>
                  <a:gd name="connsiteX65" fmla="*/ 4195 w 5810"/>
                  <a:gd name="connsiteY65" fmla="*/ 363 h 1072"/>
                  <a:gd name="connsiteX66" fmla="*/ 4162 w 5810"/>
                  <a:gd name="connsiteY66" fmla="*/ 415 h 1072"/>
                  <a:gd name="connsiteX67" fmla="*/ 4100 w 5810"/>
                  <a:gd name="connsiteY67" fmla="*/ 523 h 1072"/>
                  <a:gd name="connsiteX68" fmla="*/ 4007 w 5810"/>
                  <a:gd name="connsiteY68" fmla="*/ 691 h 1072"/>
                  <a:gd name="connsiteX69" fmla="*/ 3974 w 5810"/>
                  <a:gd name="connsiteY69" fmla="*/ 747 h 1072"/>
                  <a:gd name="connsiteX70" fmla="*/ 3939 w 5810"/>
                  <a:gd name="connsiteY70" fmla="*/ 799 h 1072"/>
                  <a:gd name="connsiteX71" fmla="*/ 3904 w 5810"/>
                  <a:gd name="connsiteY71" fmla="*/ 848 h 1072"/>
                  <a:gd name="connsiteX72" fmla="*/ 3865 w 5810"/>
                  <a:gd name="connsiteY72" fmla="*/ 894 h 1072"/>
                  <a:gd name="connsiteX73" fmla="*/ 3824 w 5810"/>
                  <a:gd name="connsiteY73" fmla="*/ 935 h 1072"/>
                  <a:gd name="connsiteX74" fmla="*/ 3778 w 5810"/>
                  <a:gd name="connsiteY74" fmla="*/ 971 h 1072"/>
                  <a:gd name="connsiteX75" fmla="*/ 3729 w 5810"/>
                  <a:gd name="connsiteY75" fmla="*/ 1000 h 1072"/>
                  <a:gd name="connsiteX76" fmla="*/ 3677 w 5810"/>
                  <a:gd name="connsiteY76" fmla="*/ 1022 h 1072"/>
                  <a:gd name="connsiteX77" fmla="*/ 3619 w 5810"/>
                  <a:gd name="connsiteY77" fmla="*/ 1037 h 1072"/>
                  <a:gd name="connsiteX78" fmla="*/ 3555 w 5810"/>
                  <a:gd name="connsiteY78" fmla="*/ 1043 h 1072"/>
                  <a:gd name="connsiteX79" fmla="*/ 3547 w 5810"/>
                  <a:gd name="connsiteY79" fmla="*/ 1043 h 1072"/>
                  <a:gd name="connsiteX80" fmla="*/ 3485 w 5810"/>
                  <a:gd name="connsiteY80" fmla="*/ 1039 h 1072"/>
                  <a:gd name="connsiteX81" fmla="*/ 3425 w 5810"/>
                  <a:gd name="connsiteY81" fmla="*/ 1025 h 1072"/>
                  <a:gd name="connsiteX82" fmla="*/ 3372 w 5810"/>
                  <a:gd name="connsiteY82" fmla="*/ 1002 h 1072"/>
                  <a:gd name="connsiteX83" fmla="*/ 3320 w 5810"/>
                  <a:gd name="connsiteY83" fmla="*/ 973 h 1072"/>
                  <a:gd name="connsiteX84" fmla="*/ 3272 w 5810"/>
                  <a:gd name="connsiteY84" fmla="*/ 935 h 1072"/>
                  <a:gd name="connsiteX85" fmla="*/ 3229 w 5810"/>
                  <a:gd name="connsiteY85" fmla="*/ 894 h 1072"/>
                  <a:gd name="connsiteX86" fmla="*/ 3186 w 5810"/>
                  <a:gd name="connsiteY86" fmla="*/ 846 h 1072"/>
                  <a:gd name="connsiteX87" fmla="*/ 3146 w 5810"/>
                  <a:gd name="connsiteY87" fmla="*/ 796 h 1072"/>
                  <a:gd name="connsiteX88" fmla="*/ 3107 w 5810"/>
                  <a:gd name="connsiteY88" fmla="*/ 740 h 1072"/>
                  <a:gd name="connsiteX89" fmla="*/ 3070 w 5810"/>
                  <a:gd name="connsiteY89" fmla="*/ 684 h 1072"/>
                  <a:gd name="connsiteX90" fmla="*/ 2965 w 5810"/>
                  <a:gd name="connsiteY90" fmla="*/ 510 h 1072"/>
                  <a:gd name="connsiteX91" fmla="*/ 2928 w 5810"/>
                  <a:gd name="connsiteY91" fmla="*/ 452 h 1072"/>
                  <a:gd name="connsiteX92" fmla="*/ 2890 w 5810"/>
                  <a:gd name="connsiteY92" fmla="*/ 396 h 1072"/>
                  <a:gd name="connsiteX93" fmla="*/ 2853 w 5810"/>
                  <a:gd name="connsiteY93" fmla="*/ 342 h 1072"/>
                  <a:gd name="connsiteX94" fmla="*/ 2814 w 5810"/>
                  <a:gd name="connsiteY94" fmla="*/ 293 h 1072"/>
                  <a:gd name="connsiteX95" fmla="*/ 2773 w 5810"/>
                  <a:gd name="connsiteY95" fmla="*/ 247 h 1072"/>
                  <a:gd name="connsiteX96" fmla="*/ 2731 w 5810"/>
                  <a:gd name="connsiteY96" fmla="*/ 205 h 1072"/>
                  <a:gd name="connsiteX97" fmla="*/ 2686 w 5810"/>
                  <a:gd name="connsiteY97" fmla="*/ 168 h 1072"/>
                  <a:gd name="connsiteX98" fmla="*/ 2639 w 5810"/>
                  <a:gd name="connsiteY98" fmla="*/ 139 h 1072"/>
                  <a:gd name="connsiteX99" fmla="*/ 2587 w 5810"/>
                  <a:gd name="connsiteY99" fmla="*/ 116 h 1072"/>
                  <a:gd name="connsiteX100" fmla="*/ 2531 w 5810"/>
                  <a:gd name="connsiteY100" fmla="*/ 100 h 1072"/>
                  <a:gd name="connsiteX101" fmla="*/ 2473 w 5810"/>
                  <a:gd name="connsiteY101" fmla="*/ 91 h 1072"/>
                  <a:gd name="connsiteX102" fmla="*/ 2409 w 5810"/>
                  <a:gd name="connsiteY102" fmla="*/ 93 h 1072"/>
                  <a:gd name="connsiteX103" fmla="*/ 2341 w 5810"/>
                  <a:gd name="connsiteY103" fmla="*/ 104 h 1072"/>
                  <a:gd name="connsiteX104" fmla="*/ 2279 w 5810"/>
                  <a:gd name="connsiteY104" fmla="*/ 122 h 1072"/>
                  <a:gd name="connsiteX105" fmla="*/ 2222 w 5810"/>
                  <a:gd name="connsiteY105" fmla="*/ 147 h 1072"/>
                  <a:gd name="connsiteX106" fmla="*/ 2168 w 5810"/>
                  <a:gd name="connsiteY106" fmla="*/ 181 h 1072"/>
                  <a:gd name="connsiteX107" fmla="*/ 2116 w 5810"/>
                  <a:gd name="connsiteY107" fmla="*/ 218 h 1072"/>
                  <a:gd name="connsiteX108" fmla="*/ 2071 w 5810"/>
                  <a:gd name="connsiteY108" fmla="*/ 261 h 1072"/>
                  <a:gd name="connsiteX109" fmla="*/ 2025 w 5810"/>
                  <a:gd name="connsiteY109" fmla="*/ 307 h 1072"/>
                  <a:gd name="connsiteX110" fmla="*/ 1984 w 5810"/>
                  <a:gd name="connsiteY110" fmla="*/ 359 h 1072"/>
                  <a:gd name="connsiteX111" fmla="*/ 1945 w 5810"/>
                  <a:gd name="connsiteY111" fmla="*/ 413 h 1072"/>
                  <a:gd name="connsiteX112" fmla="*/ 1908 w 5810"/>
                  <a:gd name="connsiteY112" fmla="*/ 467 h 1072"/>
                  <a:gd name="connsiteX113" fmla="*/ 1871 w 5810"/>
                  <a:gd name="connsiteY113" fmla="*/ 523 h 1072"/>
                  <a:gd name="connsiteX114" fmla="*/ 1833 w 5810"/>
                  <a:gd name="connsiteY114" fmla="*/ 581 h 1072"/>
                  <a:gd name="connsiteX115" fmla="*/ 1798 w 5810"/>
                  <a:gd name="connsiteY115" fmla="*/ 637 h 1072"/>
                  <a:gd name="connsiteX116" fmla="*/ 1724 w 5810"/>
                  <a:gd name="connsiteY116" fmla="*/ 749 h 1072"/>
                  <a:gd name="connsiteX117" fmla="*/ 1685 w 5810"/>
                  <a:gd name="connsiteY117" fmla="*/ 801 h 1072"/>
                  <a:gd name="connsiteX118" fmla="*/ 1643 w 5810"/>
                  <a:gd name="connsiteY118" fmla="*/ 850 h 1072"/>
                  <a:gd name="connsiteX119" fmla="*/ 1600 w 5810"/>
                  <a:gd name="connsiteY119" fmla="*/ 896 h 1072"/>
                  <a:gd name="connsiteX120" fmla="*/ 1553 w 5810"/>
                  <a:gd name="connsiteY120" fmla="*/ 937 h 1072"/>
                  <a:gd name="connsiteX121" fmla="*/ 1503 w 5810"/>
                  <a:gd name="connsiteY121" fmla="*/ 973 h 1072"/>
                  <a:gd name="connsiteX122" fmla="*/ 1449 w 5810"/>
                  <a:gd name="connsiteY122" fmla="*/ 1002 h 1072"/>
                  <a:gd name="connsiteX123" fmla="*/ 1394 w 5810"/>
                  <a:gd name="connsiteY123" fmla="*/ 1025 h 1072"/>
                  <a:gd name="connsiteX124" fmla="*/ 1330 w 5810"/>
                  <a:gd name="connsiteY124" fmla="*/ 1037 h 1072"/>
                  <a:gd name="connsiteX125" fmla="*/ 1264 w 5810"/>
                  <a:gd name="connsiteY125" fmla="*/ 1043 h 1072"/>
                  <a:gd name="connsiteX126" fmla="*/ 1257 w 5810"/>
                  <a:gd name="connsiteY126" fmla="*/ 1043 h 1072"/>
                  <a:gd name="connsiteX127" fmla="*/ 1189 w 5810"/>
                  <a:gd name="connsiteY127" fmla="*/ 1039 h 1072"/>
                  <a:gd name="connsiteX128" fmla="*/ 1127 w 5810"/>
                  <a:gd name="connsiteY128" fmla="*/ 1027 h 1072"/>
                  <a:gd name="connsiteX129" fmla="*/ 1069 w 5810"/>
                  <a:gd name="connsiteY129" fmla="*/ 1008 h 1072"/>
                  <a:gd name="connsiteX130" fmla="*/ 1018 w 5810"/>
                  <a:gd name="connsiteY130" fmla="*/ 983 h 1072"/>
                  <a:gd name="connsiteX131" fmla="*/ 970 w 5810"/>
                  <a:gd name="connsiteY131" fmla="*/ 952 h 1072"/>
                  <a:gd name="connsiteX132" fmla="*/ 925 w 5810"/>
                  <a:gd name="connsiteY132" fmla="*/ 915 h 1072"/>
                  <a:gd name="connsiteX133" fmla="*/ 884 w 5810"/>
                  <a:gd name="connsiteY133" fmla="*/ 873 h 1072"/>
                  <a:gd name="connsiteX134" fmla="*/ 846 w 5810"/>
                  <a:gd name="connsiteY134" fmla="*/ 828 h 1072"/>
                  <a:gd name="connsiteX135" fmla="*/ 809 w 5810"/>
                  <a:gd name="connsiteY135" fmla="*/ 780 h 1072"/>
                  <a:gd name="connsiteX136" fmla="*/ 776 w 5810"/>
                  <a:gd name="connsiteY136" fmla="*/ 728 h 1072"/>
                  <a:gd name="connsiteX137" fmla="*/ 741 w 5810"/>
                  <a:gd name="connsiteY137" fmla="*/ 674 h 1072"/>
                  <a:gd name="connsiteX138" fmla="*/ 710 w 5810"/>
                  <a:gd name="connsiteY138" fmla="*/ 618 h 1072"/>
                  <a:gd name="connsiteX139" fmla="*/ 677 w 5810"/>
                  <a:gd name="connsiteY139" fmla="*/ 560 h 1072"/>
                  <a:gd name="connsiteX140" fmla="*/ 615 w 5810"/>
                  <a:gd name="connsiteY140" fmla="*/ 448 h 1072"/>
                  <a:gd name="connsiteX141" fmla="*/ 547 w 5810"/>
                  <a:gd name="connsiteY141" fmla="*/ 340 h 1072"/>
                  <a:gd name="connsiteX142" fmla="*/ 504 w 5810"/>
                  <a:gd name="connsiteY142" fmla="*/ 284 h 1072"/>
                  <a:gd name="connsiteX143" fmla="*/ 456 w 5810"/>
                  <a:gd name="connsiteY143" fmla="*/ 239 h 1072"/>
                  <a:gd name="connsiteX144" fmla="*/ 409 w 5810"/>
                  <a:gd name="connsiteY144" fmla="*/ 199 h 1072"/>
                  <a:gd name="connsiteX145" fmla="*/ 357 w 5810"/>
                  <a:gd name="connsiteY145" fmla="*/ 168 h 1072"/>
                  <a:gd name="connsiteX146" fmla="*/ 256 w 5810"/>
                  <a:gd name="connsiteY146" fmla="*/ 127 h 1072"/>
                  <a:gd name="connsiteX147" fmla="*/ 0 w 5810"/>
                  <a:gd name="connsiteY147" fmla="*/ 13 h 1072"/>
                  <a:gd name="connsiteX148" fmla="*/ 8 w 5810"/>
                  <a:gd name="connsiteY148" fmla="*/ 13 h 1072"/>
                  <a:gd name="connsiteX149" fmla="*/ 91 w 5810"/>
                  <a:gd name="connsiteY149" fmla="*/ 10 h 1072"/>
                  <a:gd name="connsiteX150" fmla="*/ 134 w 5810"/>
                  <a:gd name="connsiteY150" fmla="*/ 13 h 1072"/>
                  <a:gd name="connsiteX151" fmla="*/ 182 w 5810"/>
                  <a:gd name="connsiteY151" fmla="*/ 19 h 1072"/>
                  <a:gd name="connsiteX152" fmla="*/ 233 w 5810"/>
                  <a:gd name="connsiteY152" fmla="*/ 29 h 1072"/>
                  <a:gd name="connsiteX153" fmla="*/ 287 w 5810"/>
                  <a:gd name="connsiteY153" fmla="*/ 46 h 1072"/>
                  <a:gd name="connsiteX154" fmla="*/ 345 w 5810"/>
                  <a:gd name="connsiteY154" fmla="*/ 66 h 1072"/>
                  <a:gd name="connsiteX155" fmla="*/ 403 w 5810"/>
                  <a:gd name="connsiteY155" fmla="*/ 93 h 1072"/>
                  <a:gd name="connsiteX156" fmla="*/ 458 w 5810"/>
                  <a:gd name="connsiteY156" fmla="*/ 131 h 1072"/>
                  <a:gd name="connsiteX157" fmla="*/ 514 w 5810"/>
                  <a:gd name="connsiteY157" fmla="*/ 174 h 1072"/>
                  <a:gd name="connsiteX158" fmla="*/ 568 w 5810"/>
                  <a:gd name="connsiteY158" fmla="*/ 228 h 1072"/>
                  <a:gd name="connsiteX159" fmla="*/ 617 w 5810"/>
                  <a:gd name="connsiteY159" fmla="*/ 293 h 1072"/>
                  <a:gd name="connsiteX160" fmla="*/ 667 w 5810"/>
                  <a:gd name="connsiteY160" fmla="*/ 367 h 1072"/>
                  <a:gd name="connsiteX161" fmla="*/ 754 w 5810"/>
                  <a:gd name="connsiteY161" fmla="*/ 516 h 1072"/>
                  <a:gd name="connsiteX162" fmla="*/ 787 w 5810"/>
                  <a:gd name="connsiteY162" fmla="*/ 575 h 1072"/>
                  <a:gd name="connsiteX163" fmla="*/ 820 w 5810"/>
                  <a:gd name="connsiteY163" fmla="*/ 631 h 1072"/>
                  <a:gd name="connsiteX164" fmla="*/ 853 w 5810"/>
                  <a:gd name="connsiteY164" fmla="*/ 684 h 1072"/>
                  <a:gd name="connsiteX165" fmla="*/ 886 w 5810"/>
                  <a:gd name="connsiteY165" fmla="*/ 736 h 1072"/>
                  <a:gd name="connsiteX166" fmla="*/ 921 w 5810"/>
                  <a:gd name="connsiteY166" fmla="*/ 782 h 1072"/>
                  <a:gd name="connsiteX167" fmla="*/ 958 w 5810"/>
                  <a:gd name="connsiteY167" fmla="*/ 825 h 1072"/>
                  <a:gd name="connsiteX168" fmla="*/ 999 w 5810"/>
                  <a:gd name="connsiteY168" fmla="*/ 863 h 1072"/>
                  <a:gd name="connsiteX169" fmla="*/ 1043 w 5810"/>
                  <a:gd name="connsiteY169" fmla="*/ 894 h 1072"/>
                  <a:gd name="connsiteX170" fmla="*/ 1090 w 5810"/>
                  <a:gd name="connsiteY170" fmla="*/ 921 h 1072"/>
                  <a:gd name="connsiteX171" fmla="*/ 1140 w 5810"/>
                  <a:gd name="connsiteY171" fmla="*/ 940 h 1072"/>
                  <a:gd name="connsiteX172" fmla="*/ 1195 w 5810"/>
                  <a:gd name="connsiteY172" fmla="*/ 952 h 1072"/>
                  <a:gd name="connsiteX173" fmla="*/ 1257 w 5810"/>
                  <a:gd name="connsiteY173" fmla="*/ 956 h 1072"/>
                  <a:gd name="connsiteX174" fmla="*/ 1264 w 5810"/>
                  <a:gd name="connsiteY174" fmla="*/ 956 h 1072"/>
                  <a:gd name="connsiteX175" fmla="*/ 1323 w 5810"/>
                  <a:gd name="connsiteY175" fmla="*/ 950 h 1072"/>
                  <a:gd name="connsiteX176" fmla="*/ 1379 w 5810"/>
                  <a:gd name="connsiteY176" fmla="*/ 935 h 1072"/>
                  <a:gd name="connsiteX177" fmla="*/ 1433 w 5810"/>
                  <a:gd name="connsiteY177" fmla="*/ 913 h 1072"/>
                  <a:gd name="connsiteX178" fmla="*/ 1480 w 5810"/>
                  <a:gd name="connsiteY178" fmla="*/ 884 h 1072"/>
                  <a:gd name="connsiteX179" fmla="*/ 1526 w 5810"/>
                  <a:gd name="connsiteY179" fmla="*/ 846 h 1072"/>
                  <a:gd name="connsiteX180" fmla="*/ 1569 w 5810"/>
                  <a:gd name="connsiteY180" fmla="*/ 803 h 1072"/>
                  <a:gd name="connsiteX181" fmla="*/ 1608 w 5810"/>
                  <a:gd name="connsiteY181" fmla="*/ 755 h 1072"/>
                  <a:gd name="connsiteX182" fmla="*/ 1648 w 5810"/>
                  <a:gd name="connsiteY182" fmla="*/ 703 h 1072"/>
                  <a:gd name="connsiteX183" fmla="*/ 1687 w 5810"/>
                  <a:gd name="connsiteY183" fmla="*/ 649 h 1072"/>
                  <a:gd name="connsiteX184" fmla="*/ 1798 w 5810"/>
                  <a:gd name="connsiteY184" fmla="*/ 475 h 1072"/>
                  <a:gd name="connsiteX185" fmla="*/ 1838 w 5810"/>
                  <a:gd name="connsiteY185" fmla="*/ 415 h 1072"/>
                  <a:gd name="connsiteX186" fmla="*/ 1879 w 5810"/>
                  <a:gd name="connsiteY186" fmla="*/ 357 h 1072"/>
                  <a:gd name="connsiteX187" fmla="*/ 1922 w 5810"/>
                  <a:gd name="connsiteY187" fmla="*/ 299 h 1072"/>
                  <a:gd name="connsiteX188" fmla="*/ 1968 w 5810"/>
                  <a:gd name="connsiteY188" fmla="*/ 245 h 1072"/>
                  <a:gd name="connsiteX189" fmla="*/ 2015 w 5810"/>
                  <a:gd name="connsiteY189" fmla="*/ 193 h 1072"/>
                  <a:gd name="connsiteX190" fmla="*/ 2069 w 5810"/>
                  <a:gd name="connsiteY190" fmla="*/ 145 h 1072"/>
                  <a:gd name="connsiteX191" fmla="*/ 2124 w 5810"/>
                  <a:gd name="connsiteY191" fmla="*/ 104 h 1072"/>
                  <a:gd name="connsiteX192" fmla="*/ 2186 w 5810"/>
                  <a:gd name="connsiteY192" fmla="*/ 69 h 1072"/>
                  <a:gd name="connsiteX193" fmla="*/ 2252 w 5810"/>
                  <a:gd name="connsiteY193" fmla="*/ 40 h 1072"/>
                  <a:gd name="connsiteX194" fmla="*/ 2325 w 5810"/>
                  <a:gd name="connsiteY194" fmla="*/ 19 h 1072"/>
                  <a:gd name="connsiteX195" fmla="*/ 2403 w 5810"/>
                  <a:gd name="connsiteY195" fmla="*/ 6 h 1072"/>
                  <a:gd name="connsiteX196" fmla="*/ 2473 w 5810"/>
                  <a:gd name="connsiteY196" fmla="*/ 4 h 1072"/>
                  <a:gd name="connsiteX197" fmla="*/ 2539 w 5810"/>
                  <a:gd name="connsiteY197" fmla="*/ 13 h 1072"/>
                  <a:gd name="connsiteX198" fmla="*/ 2599 w 5810"/>
                  <a:gd name="connsiteY198" fmla="*/ 27 h 1072"/>
                  <a:gd name="connsiteX199" fmla="*/ 2657 w 5810"/>
                  <a:gd name="connsiteY199" fmla="*/ 50 h 1072"/>
                  <a:gd name="connsiteX200" fmla="*/ 2711 w 5810"/>
                  <a:gd name="connsiteY200" fmla="*/ 81 h 1072"/>
                  <a:gd name="connsiteX201" fmla="*/ 2760 w 5810"/>
                  <a:gd name="connsiteY201" fmla="*/ 116 h 1072"/>
                  <a:gd name="connsiteX202" fmla="*/ 2806 w 5810"/>
                  <a:gd name="connsiteY202" fmla="*/ 158 h 1072"/>
                  <a:gd name="connsiteX203" fmla="*/ 2851 w 5810"/>
                  <a:gd name="connsiteY203" fmla="*/ 203 h 1072"/>
                  <a:gd name="connsiteX204" fmla="*/ 2893 w 5810"/>
                  <a:gd name="connsiteY204" fmla="*/ 251 h 1072"/>
                  <a:gd name="connsiteX205" fmla="*/ 2932 w 5810"/>
                  <a:gd name="connsiteY205" fmla="*/ 303 h 1072"/>
                  <a:gd name="connsiteX206" fmla="*/ 2969 w 5810"/>
                  <a:gd name="connsiteY206" fmla="*/ 357 h 1072"/>
                  <a:gd name="connsiteX207" fmla="*/ 3004 w 5810"/>
                  <a:gd name="connsiteY207" fmla="*/ 413 h 1072"/>
                  <a:gd name="connsiteX208" fmla="*/ 3039 w 5810"/>
                  <a:gd name="connsiteY208" fmla="*/ 467 h 1072"/>
                  <a:gd name="connsiteX209" fmla="*/ 3072 w 5810"/>
                  <a:gd name="connsiteY209" fmla="*/ 523 h 1072"/>
                  <a:gd name="connsiteX210" fmla="*/ 3109 w 5810"/>
                  <a:gd name="connsiteY210" fmla="*/ 585 h 1072"/>
                  <a:gd name="connsiteX211" fmla="*/ 3146 w 5810"/>
                  <a:gd name="connsiteY211" fmla="*/ 643 h 1072"/>
                  <a:gd name="connsiteX212" fmla="*/ 3186 w 5810"/>
                  <a:gd name="connsiteY212" fmla="*/ 701 h 1072"/>
                  <a:gd name="connsiteX213" fmla="*/ 3223 w 5810"/>
                  <a:gd name="connsiteY213" fmla="*/ 755 h 1072"/>
                  <a:gd name="connsiteX214" fmla="*/ 3264 w 5810"/>
                  <a:gd name="connsiteY214" fmla="*/ 805 h 1072"/>
                  <a:gd name="connsiteX215" fmla="*/ 3305 w 5810"/>
                  <a:gd name="connsiteY215" fmla="*/ 848 h 1072"/>
                  <a:gd name="connsiteX216" fmla="*/ 3349 w 5810"/>
                  <a:gd name="connsiteY216" fmla="*/ 886 h 1072"/>
                  <a:gd name="connsiteX217" fmla="*/ 3394 w 5810"/>
                  <a:gd name="connsiteY217" fmla="*/ 917 h 1072"/>
                  <a:gd name="connsiteX218" fmla="*/ 3444 w 5810"/>
                  <a:gd name="connsiteY218" fmla="*/ 940 h 1072"/>
                  <a:gd name="connsiteX219" fmla="*/ 3497 w 5810"/>
                  <a:gd name="connsiteY219" fmla="*/ 952 h 1072"/>
                  <a:gd name="connsiteX220" fmla="*/ 3553 w 5810"/>
                  <a:gd name="connsiteY220" fmla="*/ 956 h 1072"/>
                  <a:gd name="connsiteX221" fmla="*/ 3609 w 5810"/>
                  <a:gd name="connsiteY221" fmla="*/ 950 h 1072"/>
                  <a:gd name="connsiteX222" fmla="*/ 3659 w 5810"/>
                  <a:gd name="connsiteY222" fmla="*/ 935 h 1072"/>
                  <a:gd name="connsiteX223" fmla="*/ 3706 w 5810"/>
                  <a:gd name="connsiteY223" fmla="*/ 915 h 1072"/>
                  <a:gd name="connsiteX224" fmla="*/ 3749 w 5810"/>
                  <a:gd name="connsiteY224" fmla="*/ 884 h 1072"/>
                  <a:gd name="connsiteX225" fmla="*/ 3789 w 5810"/>
                  <a:gd name="connsiteY225" fmla="*/ 848 h 1072"/>
                  <a:gd name="connsiteX226" fmla="*/ 3826 w 5810"/>
                  <a:gd name="connsiteY226" fmla="*/ 807 h 1072"/>
                  <a:gd name="connsiteX227" fmla="*/ 3861 w 5810"/>
                  <a:gd name="connsiteY227" fmla="*/ 759 h 1072"/>
                  <a:gd name="connsiteX228" fmla="*/ 3894 w 5810"/>
                  <a:gd name="connsiteY228" fmla="*/ 709 h 1072"/>
                  <a:gd name="connsiteX229" fmla="*/ 3927 w 5810"/>
                  <a:gd name="connsiteY229" fmla="*/ 655 h 1072"/>
                  <a:gd name="connsiteX230" fmla="*/ 3960 w 5810"/>
                  <a:gd name="connsiteY230" fmla="*/ 597 h 1072"/>
                  <a:gd name="connsiteX231" fmla="*/ 3993 w 5810"/>
                  <a:gd name="connsiteY231" fmla="*/ 537 h 1072"/>
                  <a:gd name="connsiteX232" fmla="*/ 4022 w 5810"/>
                  <a:gd name="connsiteY232" fmla="*/ 483 h 1072"/>
                  <a:gd name="connsiteX233" fmla="*/ 4084 w 5810"/>
                  <a:gd name="connsiteY233" fmla="*/ 375 h 1072"/>
                  <a:gd name="connsiteX234" fmla="*/ 4154 w 5810"/>
                  <a:gd name="connsiteY234" fmla="*/ 272 h 1072"/>
                  <a:gd name="connsiteX235" fmla="*/ 4191 w 5810"/>
                  <a:gd name="connsiteY235" fmla="*/ 224 h 1072"/>
                  <a:gd name="connsiteX236" fmla="*/ 4232 w 5810"/>
                  <a:gd name="connsiteY236" fmla="*/ 178 h 1072"/>
                  <a:gd name="connsiteX237" fmla="*/ 4276 w 5810"/>
                  <a:gd name="connsiteY237" fmla="*/ 137 h 1072"/>
                  <a:gd name="connsiteX238" fmla="*/ 4323 w 5810"/>
                  <a:gd name="connsiteY238" fmla="*/ 100 h 1072"/>
                  <a:gd name="connsiteX239" fmla="*/ 4375 w 5810"/>
                  <a:gd name="connsiteY239" fmla="*/ 66 h 1072"/>
                  <a:gd name="connsiteX240" fmla="*/ 4433 w 5810"/>
                  <a:gd name="connsiteY240" fmla="*/ 40 h 1072"/>
                  <a:gd name="connsiteX241" fmla="*/ 4493 w 5810"/>
                  <a:gd name="connsiteY241" fmla="*/ 19 h 1072"/>
                  <a:gd name="connsiteX242" fmla="*/ 4559 w 5810"/>
                  <a:gd name="connsiteY242" fmla="*/ 6 h 1072"/>
                  <a:gd name="connsiteX243" fmla="*/ 4631 w 5810"/>
                  <a:gd name="connsiteY243" fmla="*/ 0 h 1072"/>
                  <a:gd name="connsiteX0" fmla="*/ 4631 w 5810"/>
                  <a:gd name="connsiteY0" fmla="*/ 0 h 1072"/>
                  <a:gd name="connsiteX1" fmla="*/ 4681 w 5810"/>
                  <a:gd name="connsiteY1" fmla="*/ 0 h 1072"/>
                  <a:gd name="connsiteX2" fmla="*/ 4709 w 5810"/>
                  <a:gd name="connsiteY2" fmla="*/ 4 h 1072"/>
                  <a:gd name="connsiteX3" fmla="*/ 4740 w 5810"/>
                  <a:gd name="connsiteY3" fmla="*/ 13 h 1072"/>
                  <a:gd name="connsiteX4" fmla="*/ 4778 w 5810"/>
                  <a:gd name="connsiteY4" fmla="*/ 23 h 1072"/>
                  <a:gd name="connsiteX5" fmla="*/ 4819 w 5810"/>
                  <a:gd name="connsiteY5" fmla="*/ 40 h 1072"/>
                  <a:gd name="connsiteX6" fmla="*/ 4862 w 5810"/>
                  <a:gd name="connsiteY6" fmla="*/ 60 h 1072"/>
                  <a:gd name="connsiteX7" fmla="*/ 4910 w 5810"/>
                  <a:gd name="connsiteY7" fmla="*/ 89 h 1072"/>
                  <a:gd name="connsiteX8" fmla="*/ 4959 w 5810"/>
                  <a:gd name="connsiteY8" fmla="*/ 125 h 1072"/>
                  <a:gd name="connsiteX9" fmla="*/ 5009 w 5810"/>
                  <a:gd name="connsiteY9" fmla="*/ 170 h 1072"/>
                  <a:gd name="connsiteX10" fmla="*/ 5060 w 5810"/>
                  <a:gd name="connsiteY10" fmla="*/ 224 h 1072"/>
                  <a:gd name="connsiteX11" fmla="*/ 5112 w 5810"/>
                  <a:gd name="connsiteY11" fmla="*/ 286 h 1072"/>
                  <a:gd name="connsiteX12" fmla="*/ 5164 w 5810"/>
                  <a:gd name="connsiteY12" fmla="*/ 361 h 1072"/>
                  <a:gd name="connsiteX13" fmla="*/ 5215 w 5810"/>
                  <a:gd name="connsiteY13" fmla="*/ 448 h 1072"/>
                  <a:gd name="connsiteX14" fmla="*/ 5267 w 5810"/>
                  <a:gd name="connsiteY14" fmla="*/ 548 h 1072"/>
                  <a:gd name="connsiteX15" fmla="*/ 5312 w 5810"/>
                  <a:gd name="connsiteY15" fmla="*/ 633 h 1072"/>
                  <a:gd name="connsiteX16" fmla="*/ 5358 w 5810"/>
                  <a:gd name="connsiteY16" fmla="*/ 705 h 1072"/>
                  <a:gd name="connsiteX17" fmla="*/ 5405 w 5810"/>
                  <a:gd name="connsiteY17" fmla="*/ 767 h 1072"/>
                  <a:gd name="connsiteX18" fmla="*/ 5453 w 5810"/>
                  <a:gd name="connsiteY18" fmla="*/ 819 h 1072"/>
                  <a:gd name="connsiteX19" fmla="*/ 5498 w 5810"/>
                  <a:gd name="connsiteY19" fmla="*/ 863 h 1072"/>
                  <a:gd name="connsiteX20" fmla="*/ 5546 w 5810"/>
                  <a:gd name="connsiteY20" fmla="*/ 898 h 1072"/>
                  <a:gd name="connsiteX21" fmla="*/ 5589 w 5810"/>
                  <a:gd name="connsiteY21" fmla="*/ 927 h 1072"/>
                  <a:gd name="connsiteX22" fmla="*/ 5632 w 5810"/>
                  <a:gd name="connsiteY22" fmla="*/ 948 h 1072"/>
                  <a:gd name="connsiteX23" fmla="*/ 5669 w 5810"/>
                  <a:gd name="connsiteY23" fmla="*/ 962 h 1072"/>
                  <a:gd name="connsiteX24" fmla="*/ 5707 w 5810"/>
                  <a:gd name="connsiteY24" fmla="*/ 973 h 1072"/>
                  <a:gd name="connsiteX25" fmla="*/ 5736 w 5810"/>
                  <a:gd name="connsiteY25" fmla="*/ 981 h 1072"/>
                  <a:gd name="connsiteX26" fmla="*/ 5762 w 5810"/>
                  <a:gd name="connsiteY26" fmla="*/ 983 h 1072"/>
                  <a:gd name="connsiteX27" fmla="*/ 5781 w 5810"/>
                  <a:gd name="connsiteY27" fmla="*/ 985 h 1072"/>
                  <a:gd name="connsiteX28" fmla="*/ 5802 w 5810"/>
                  <a:gd name="connsiteY28" fmla="*/ 985 h 1072"/>
                  <a:gd name="connsiteX29" fmla="*/ 5810 w 5810"/>
                  <a:gd name="connsiteY29" fmla="*/ 1072 h 1072"/>
                  <a:gd name="connsiteX30" fmla="*/ 5775 w 5810"/>
                  <a:gd name="connsiteY30" fmla="*/ 1072 h 1072"/>
                  <a:gd name="connsiteX31" fmla="*/ 5748 w 5810"/>
                  <a:gd name="connsiteY31" fmla="*/ 1070 h 1072"/>
                  <a:gd name="connsiteX32" fmla="*/ 5717 w 5810"/>
                  <a:gd name="connsiteY32" fmla="*/ 1064 h 1072"/>
                  <a:gd name="connsiteX33" fmla="*/ 5680 w 5810"/>
                  <a:gd name="connsiteY33" fmla="*/ 1056 h 1072"/>
                  <a:gd name="connsiteX34" fmla="*/ 5638 w 5810"/>
                  <a:gd name="connsiteY34" fmla="*/ 1043 h 1072"/>
                  <a:gd name="connsiteX35" fmla="*/ 5593 w 5810"/>
                  <a:gd name="connsiteY35" fmla="*/ 1025 h 1072"/>
                  <a:gd name="connsiteX36" fmla="*/ 5546 w 5810"/>
                  <a:gd name="connsiteY36" fmla="*/ 1002 h 1072"/>
                  <a:gd name="connsiteX37" fmla="*/ 5496 w 5810"/>
                  <a:gd name="connsiteY37" fmla="*/ 971 h 1072"/>
                  <a:gd name="connsiteX38" fmla="*/ 5444 w 5810"/>
                  <a:gd name="connsiteY38" fmla="*/ 931 h 1072"/>
                  <a:gd name="connsiteX39" fmla="*/ 5393 w 5810"/>
                  <a:gd name="connsiteY39" fmla="*/ 881 h 1072"/>
                  <a:gd name="connsiteX40" fmla="*/ 5339 w 5810"/>
                  <a:gd name="connsiteY40" fmla="*/ 823 h 1072"/>
                  <a:gd name="connsiteX41" fmla="*/ 5288 w 5810"/>
                  <a:gd name="connsiteY41" fmla="*/ 755 h 1072"/>
                  <a:gd name="connsiteX42" fmla="*/ 5238 w 5810"/>
                  <a:gd name="connsiteY42" fmla="*/ 676 h 1072"/>
                  <a:gd name="connsiteX43" fmla="*/ 5190 w 5810"/>
                  <a:gd name="connsiteY43" fmla="*/ 583 h 1072"/>
                  <a:gd name="connsiteX44" fmla="*/ 5141 w 5810"/>
                  <a:gd name="connsiteY44" fmla="*/ 487 h 1072"/>
                  <a:gd name="connsiteX45" fmla="*/ 5091 w 5810"/>
                  <a:gd name="connsiteY45" fmla="*/ 404 h 1072"/>
                  <a:gd name="connsiteX46" fmla="*/ 5042 w 5810"/>
                  <a:gd name="connsiteY46" fmla="*/ 336 h 1072"/>
                  <a:gd name="connsiteX47" fmla="*/ 4992 w 5810"/>
                  <a:gd name="connsiteY47" fmla="*/ 276 h 1072"/>
                  <a:gd name="connsiteX48" fmla="*/ 4945 w 5810"/>
                  <a:gd name="connsiteY48" fmla="*/ 228 h 1072"/>
                  <a:gd name="connsiteX49" fmla="*/ 4899 w 5810"/>
                  <a:gd name="connsiteY49" fmla="*/ 189 h 1072"/>
                  <a:gd name="connsiteX50" fmla="*/ 4858 w 5810"/>
                  <a:gd name="connsiteY50" fmla="*/ 158 h 1072"/>
                  <a:gd name="connsiteX51" fmla="*/ 4819 w 5810"/>
                  <a:gd name="connsiteY51" fmla="*/ 135 h 1072"/>
                  <a:gd name="connsiteX52" fmla="*/ 4769 w 5810"/>
                  <a:gd name="connsiteY52" fmla="*/ 112 h 1072"/>
                  <a:gd name="connsiteX53" fmla="*/ 4726 w 5810"/>
                  <a:gd name="connsiteY53" fmla="*/ 98 h 1072"/>
                  <a:gd name="connsiteX54" fmla="*/ 4691 w 5810"/>
                  <a:gd name="connsiteY54" fmla="*/ 89 h 1072"/>
                  <a:gd name="connsiteX55" fmla="*/ 4662 w 5810"/>
                  <a:gd name="connsiteY55" fmla="*/ 87 h 1072"/>
                  <a:gd name="connsiteX56" fmla="*/ 4635 w 5810"/>
                  <a:gd name="connsiteY56" fmla="*/ 87 h 1072"/>
                  <a:gd name="connsiteX57" fmla="*/ 4569 w 5810"/>
                  <a:gd name="connsiteY57" fmla="*/ 93 h 1072"/>
                  <a:gd name="connsiteX58" fmla="*/ 4507 w 5810"/>
                  <a:gd name="connsiteY58" fmla="*/ 106 h 1072"/>
                  <a:gd name="connsiteX59" fmla="*/ 4451 w 5810"/>
                  <a:gd name="connsiteY59" fmla="*/ 127 h 1072"/>
                  <a:gd name="connsiteX60" fmla="*/ 4400 w 5810"/>
                  <a:gd name="connsiteY60" fmla="*/ 154 h 1072"/>
                  <a:gd name="connsiteX61" fmla="*/ 4352 w 5810"/>
                  <a:gd name="connsiteY61" fmla="*/ 187 h 1072"/>
                  <a:gd name="connsiteX62" fmla="*/ 4309 w 5810"/>
                  <a:gd name="connsiteY62" fmla="*/ 224 h 1072"/>
                  <a:gd name="connsiteX63" fmla="*/ 4270 w 5810"/>
                  <a:gd name="connsiteY63" fmla="*/ 268 h 1072"/>
                  <a:gd name="connsiteX64" fmla="*/ 4230 w 5810"/>
                  <a:gd name="connsiteY64" fmla="*/ 313 h 1072"/>
                  <a:gd name="connsiteX65" fmla="*/ 4195 w 5810"/>
                  <a:gd name="connsiteY65" fmla="*/ 363 h 1072"/>
                  <a:gd name="connsiteX66" fmla="*/ 4162 w 5810"/>
                  <a:gd name="connsiteY66" fmla="*/ 415 h 1072"/>
                  <a:gd name="connsiteX67" fmla="*/ 4100 w 5810"/>
                  <a:gd name="connsiteY67" fmla="*/ 523 h 1072"/>
                  <a:gd name="connsiteX68" fmla="*/ 4007 w 5810"/>
                  <a:gd name="connsiteY68" fmla="*/ 691 h 1072"/>
                  <a:gd name="connsiteX69" fmla="*/ 3974 w 5810"/>
                  <a:gd name="connsiteY69" fmla="*/ 747 h 1072"/>
                  <a:gd name="connsiteX70" fmla="*/ 3939 w 5810"/>
                  <a:gd name="connsiteY70" fmla="*/ 799 h 1072"/>
                  <a:gd name="connsiteX71" fmla="*/ 3904 w 5810"/>
                  <a:gd name="connsiteY71" fmla="*/ 848 h 1072"/>
                  <a:gd name="connsiteX72" fmla="*/ 3865 w 5810"/>
                  <a:gd name="connsiteY72" fmla="*/ 894 h 1072"/>
                  <a:gd name="connsiteX73" fmla="*/ 3824 w 5810"/>
                  <a:gd name="connsiteY73" fmla="*/ 935 h 1072"/>
                  <a:gd name="connsiteX74" fmla="*/ 3778 w 5810"/>
                  <a:gd name="connsiteY74" fmla="*/ 971 h 1072"/>
                  <a:gd name="connsiteX75" fmla="*/ 3729 w 5810"/>
                  <a:gd name="connsiteY75" fmla="*/ 1000 h 1072"/>
                  <a:gd name="connsiteX76" fmla="*/ 3677 w 5810"/>
                  <a:gd name="connsiteY76" fmla="*/ 1022 h 1072"/>
                  <a:gd name="connsiteX77" fmla="*/ 3619 w 5810"/>
                  <a:gd name="connsiteY77" fmla="*/ 1037 h 1072"/>
                  <a:gd name="connsiteX78" fmla="*/ 3555 w 5810"/>
                  <a:gd name="connsiteY78" fmla="*/ 1043 h 1072"/>
                  <a:gd name="connsiteX79" fmla="*/ 3547 w 5810"/>
                  <a:gd name="connsiteY79" fmla="*/ 1043 h 1072"/>
                  <a:gd name="connsiteX80" fmla="*/ 3485 w 5810"/>
                  <a:gd name="connsiteY80" fmla="*/ 1039 h 1072"/>
                  <a:gd name="connsiteX81" fmla="*/ 3425 w 5810"/>
                  <a:gd name="connsiteY81" fmla="*/ 1025 h 1072"/>
                  <a:gd name="connsiteX82" fmla="*/ 3372 w 5810"/>
                  <a:gd name="connsiteY82" fmla="*/ 1002 h 1072"/>
                  <a:gd name="connsiteX83" fmla="*/ 3320 w 5810"/>
                  <a:gd name="connsiteY83" fmla="*/ 973 h 1072"/>
                  <a:gd name="connsiteX84" fmla="*/ 3272 w 5810"/>
                  <a:gd name="connsiteY84" fmla="*/ 935 h 1072"/>
                  <a:gd name="connsiteX85" fmla="*/ 3229 w 5810"/>
                  <a:gd name="connsiteY85" fmla="*/ 894 h 1072"/>
                  <a:gd name="connsiteX86" fmla="*/ 3186 w 5810"/>
                  <a:gd name="connsiteY86" fmla="*/ 846 h 1072"/>
                  <a:gd name="connsiteX87" fmla="*/ 3146 w 5810"/>
                  <a:gd name="connsiteY87" fmla="*/ 796 h 1072"/>
                  <a:gd name="connsiteX88" fmla="*/ 3107 w 5810"/>
                  <a:gd name="connsiteY88" fmla="*/ 740 h 1072"/>
                  <a:gd name="connsiteX89" fmla="*/ 3070 w 5810"/>
                  <a:gd name="connsiteY89" fmla="*/ 684 h 1072"/>
                  <a:gd name="connsiteX90" fmla="*/ 2965 w 5810"/>
                  <a:gd name="connsiteY90" fmla="*/ 510 h 1072"/>
                  <a:gd name="connsiteX91" fmla="*/ 2928 w 5810"/>
                  <a:gd name="connsiteY91" fmla="*/ 452 h 1072"/>
                  <a:gd name="connsiteX92" fmla="*/ 2890 w 5810"/>
                  <a:gd name="connsiteY92" fmla="*/ 396 h 1072"/>
                  <a:gd name="connsiteX93" fmla="*/ 2853 w 5810"/>
                  <a:gd name="connsiteY93" fmla="*/ 342 h 1072"/>
                  <a:gd name="connsiteX94" fmla="*/ 2814 w 5810"/>
                  <a:gd name="connsiteY94" fmla="*/ 293 h 1072"/>
                  <a:gd name="connsiteX95" fmla="*/ 2773 w 5810"/>
                  <a:gd name="connsiteY95" fmla="*/ 247 h 1072"/>
                  <a:gd name="connsiteX96" fmla="*/ 2731 w 5810"/>
                  <a:gd name="connsiteY96" fmla="*/ 205 h 1072"/>
                  <a:gd name="connsiteX97" fmla="*/ 2686 w 5810"/>
                  <a:gd name="connsiteY97" fmla="*/ 168 h 1072"/>
                  <a:gd name="connsiteX98" fmla="*/ 2639 w 5810"/>
                  <a:gd name="connsiteY98" fmla="*/ 139 h 1072"/>
                  <a:gd name="connsiteX99" fmla="*/ 2587 w 5810"/>
                  <a:gd name="connsiteY99" fmla="*/ 116 h 1072"/>
                  <a:gd name="connsiteX100" fmla="*/ 2531 w 5810"/>
                  <a:gd name="connsiteY100" fmla="*/ 100 h 1072"/>
                  <a:gd name="connsiteX101" fmla="*/ 2473 w 5810"/>
                  <a:gd name="connsiteY101" fmla="*/ 91 h 1072"/>
                  <a:gd name="connsiteX102" fmla="*/ 2409 w 5810"/>
                  <a:gd name="connsiteY102" fmla="*/ 93 h 1072"/>
                  <a:gd name="connsiteX103" fmla="*/ 2341 w 5810"/>
                  <a:gd name="connsiteY103" fmla="*/ 104 h 1072"/>
                  <a:gd name="connsiteX104" fmla="*/ 2279 w 5810"/>
                  <a:gd name="connsiteY104" fmla="*/ 122 h 1072"/>
                  <a:gd name="connsiteX105" fmla="*/ 2222 w 5810"/>
                  <a:gd name="connsiteY105" fmla="*/ 147 h 1072"/>
                  <a:gd name="connsiteX106" fmla="*/ 2168 w 5810"/>
                  <a:gd name="connsiteY106" fmla="*/ 181 h 1072"/>
                  <a:gd name="connsiteX107" fmla="*/ 2116 w 5810"/>
                  <a:gd name="connsiteY107" fmla="*/ 218 h 1072"/>
                  <a:gd name="connsiteX108" fmla="*/ 2071 w 5810"/>
                  <a:gd name="connsiteY108" fmla="*/ 261 h 1072"/>
                  <a:gd name="connsiteX109" fmla="*/ 2025 w 5810"/>
                  <a:gd name="connsiteY109" fmla="*/ 307 h 1072"/>
                  <a:gd name="connsiteX110" fmla="*/ 1984 w 5810"/>
                  <a:gd name="connsiteY110" fmla="*/ 359 h 1072"/>
                  <a:gd name="connsiteX111" fmla="*/ 1945 w 5810"/>
                  <a:gd name="connsiteY111" fmla="*/ 413 h 1072"/>
                  <a:gd name="connsiteX112" fmla="*/ 1908 w 5810"/>
                  <a:gd name="connsiteY112" fmla="*/ 467 h 1072"/>
                  <a:gd name="connsiteX113" fmla="*/ 1871 w 5810"/>
                  <a:gd name="connsiteY113" fmla="*/ 523 h 1072"/>
                  <a:gd name="connsiteX114" fmla="*/ 1833 w 5810"/>
                  <a:gd name="connsiteY114" fmla="*/ 581 h 1072"/>
                  <a:gd name="connsiteX115" fmla="*/ 1798 w 5810"/>
                  <a:gd name="connsiteY115" fmla="*/ 637 h 1072"/>
                  <a:gd name="connsiteX116" fmla="*/ 1724 w 5810"/>
                  <a:gd name="connsiteY116" fmla="*/ 749 h 1072"/>
                  <a:gd name="connsiteX117" fmla="*/ 1685 w 5810"/>
                  <a:gd name="connsiteY117" fmla="*/ 801 h 1072"/>
                  <a:gd name="connsiteX118" fmla="*/ 1643 w 5810"/>
                  <a:gd name="connsiteY118" fmla="*/ 850 h 1072"/>
                  <a:gd name="connsiteX119" fmla="*/ 1600 w 5810"/>
                  <a:gd name="connsiteY119" fmla="*/ 896 h 1072"/>
                  <a:gd name="connsiteX120" fmla="*/ 1553 w 5810"/>
                  <a:gd name="connsiteY120" fmla="*/ 937 h 1072"/>
                  <a:gd name="connsiteX121" fmla="*/ 1503 w 5810"/>
                  <a:gd name="connsiteY121" fmla="*/ 973 h 1072"/>
                  <a:gd name="connsiteX122" fmla="*/ 1449 w 5810"/>
                  <a:gd name="connsiteY122" fmla="*/ 1002 h 1072"/>
                  <a:gd name="connsiteX123" fmla="*/ 1394 w 5810"/>
                  <a:gd name="connsiteY123" fmla="*/ 1025 h 1072"/>
                  <a:gd name="connsiteX124" fmla="*/ 1330 w 5810"/>
                  <a:gd name="connsiteY124" fmla="*/ 1037 h 1072"/>
                  <a:gd name="connsiteX125" fmla="*/ 1264 w 5810"/>
                  <a:gd name="connsiteY125" fmla="*/ 1043 h 1072"/>
                  <a:gd name="connsiteX126" fmla="*/ 1257 w 5810"/>
                  <a:gd name="connsiteY126" fmla="*/ 1043 h 1072"/>
                  <a:gd name="connsiteX127" fmla="*/ 1189 w 5810"/>
                  <a:gd name="connsiteY127" fmla="*/ 1039 h 1072"/>
                  <a:gd name="connsiteX128" fmla="*/ 1127 w 5810"/>
                  <a:gd name="connsiteY128" fmla="*/ 1027 h 1072"/>
                  <a:gd name="connsiteX129" fmla="*/ 1069 w 5810"/>
                  <a:gd name="connsiteY129" fmla="*/ 1008 h 1072"/>
                  <a:gd name="connsiteX130" fmla="*/ 1018 w 5810"/>
                  <a:gd name="connsiteY130" fmla="*/ 983 h 1072"/>
                  <a:gd name="connsiteX131" fmla="*/ 970 w 5810"/>
                  <a:gd name="connsiteY131" fmla="*/ 952 h 1072"/>
                  <a:gd name="connsiteX132" fmla="*/ 925 w 5810"/>
                  <a:gd name="connsiteY132" fmla="*/ 915 h 1072"/>
                  <a:gd name="connsiteX133" fmla="*/ 884 w 5810"/>
                  <a:gd name="connsiteY133" fmla="*/ 873 h 1072"/>
                  <a:gd name="connsiteX134" fmla="*/ 846 w 5810"/>
                  <a:gd name="connsiteY134" fmla="*/ 828 h 1072"/>
                  <a:gd name="connsiteX135" fmla="*/ 809 w 5810"/>
                  <a:gd name="connsiteY135" fmla="*/ 780 h 1072"/>
                  <a:gd name="connsiteX136" fmla="*/ 776 w 5810"/>
                  <a:gd name="connsiteY136" fmla="*/ 728 h 1072"/>
                  <a:gd name="connsiteX137" fmla="*/ 741 w 5810"/>
                  <a:gd name="connsiteY137" fmla="*/ 674 h 1072"/>
                  <a:gd name="connsiteX138" fmla="*/ 710 w 5810"/>
                  <a:gd name="connsiteY138" fmla="*/ 618 h 1072"/>
                  <a:gd name="connsiteX139" fmla="*/ 677 w 5810"/>
                  <a:gd name="connsiteY139" fmla="*/ 560 h 1072"/>
                  <a:gd name="connsiteX140" fmla="*/ 615 w 5810"/>
                  <a:gd name="connsiteY140" fmla="*/ 448 h 1072"/>
                  <a:gd name="connsiteX141" fmla="*/ 547 w 5810"/>
                  <a:gd name="connsiteY141" fmla="*/ 340 h 1072"/>
                  <a:gd name="connsiteX142" fmla="*/ 504 w 5810"/>
                  <a:gd name="connsiteY142" fmla="*/ 284 h 1072"/>
                  <a:gd name="connsiteX143" fmla="*/ 456 w 5810"/>
                  <a:gd name="connsiteY143" fmla="*/ 239 h 1072"/>
                  <a:gd name="connsiteX144" fmla="*/ 409 w 5810"/>
                  <a:gd name="connsiteY144" fmla="*/ 199 h 1072"/>
                  <a:gd name="connsiteX145" fmla="*/ 357 w 5810"/>
                  <a:gd name="connsiteY145" fmla="*/ 168 h 1072"/>
                  <a:gd name="connsiteX146" fmla="*/ 256 w 5810"/>
                  <a:gd name="connsiteY146" fmla="*/ 127 h 1072"/>
                  <a:gd name="connsiteX147" fmla="*/ 0 w 5810"/>
                  <a:gd name="connsiteY147" fmla="*/ 13 h 1072"/>
                  <a:gd name="connsiteX148" fmla="*/ 91 w 5810"/>
                  <a:gd name="connsiteY148" fmla="*/ 10 h 1072"/>
                  <a:gd name="connsiteX149" fmla="*/ 134 w 5810"/>
                  <a:gd name="connsiteY149" fmla="*/ 13 h 1072"/>
                  <a:gd name="connsiteX150" fmla="*/ 182 w 5810"/>
                  <a:gd name="connsiteY150" fmla="*/ 19 h 1072"/>
                  <a:gd name="connsiteX151" fmla="*/ 233 w 5810"/>
                  <a:gd name="connsiteY151" fmla="*/ 29 h 1072"/>
                  <a:gd name="connsiteX152" fmla="*/ 287 w 5810"/>
                  <a:gd name="connsiteY152" fmla="*/ 46 h 1072"/>
                  <a:gd name="connsiteX153" fmla="*/ 345 w 5810"/>
                  <a:gd name="connsiteY153" fmla="*/ 66 h 1072"/>
                  <a:gd name="connsiteX154" fmla="*/ 403 w 5810"/>
                  <a:gd name="connsiteY154" fmla="*/ 93 h 1072"/>
                  <a:gd name="connsiteX155" fmla="*/ 458 w 5810"/>
                  <a:gd name="connsiteY155" fmla="*/ 131 h 1072"/>
                  <a:gd name="connsiteX156" fmla="*/ 514 w 5810"/>
                  <a:gd name="connsiteY156" fmla="*/ 174 h 1072"/>
                  <a:gd name="connsiteX157" fmla="*/ 568 w 5810"/>
                  <a:gd name="connsiteY157" fmla="*/ 228 h 1072"/>
                  <a:gd name="connsiteX158" fmla="*/ 617 w 5810"/>
                  <a:gd name="connsiteY158" fmla="*/ 293 h 1072"/>
                  <a:gd name="connsiteX159" fmla="*/ 667 w 5810"/>
                  <a:gd name="connsiteY159" fmla="*/ 367 h 1072"/>
                  <a:gd name="connsiteX160" fmla="*/ 754 w 5810"/>
                  <a:gd name="connsiteY160" fmla="*/ 516 h 1072"/>
                  <a:gd name="connsiteX161" fmla="*/ 787 w 5810"/>
                  <a:gd name="connsiteY161" fmla="*/ 575 h 1072"/>
                  <a:gd name="connsiteX162" fmla="*/ 820 w 5810"/>
                  <a:gd name="connsiteY162" fmla="*/ 631 h 1072"/>
                  <a:gd name="connsiteX163" fmla="*/ 853 w 5810"/>
                  <a:gd name="connsiteY163" fmla="*/ 684 h 1072"/>
                  <a:gd name="connsiteX164" fmla="*/ 886 w 5810"/>
                  <a:gd name="connsiteY164" fmla="*/ 736 h 1072"/>
                  <a:gd name="connsiteX165" fmla="*/ 921 w 5810"/>
                  <a:gd name="connsiteY165" fmla="*/ 782 h 1072"/>
                  <a:gd name="connsiteX166" fmla="*/ 958 w 5810"/>
                  <a:gd name="connsiteY166" fmla="*/ 825 h 1072"/>
                  <a:gd name="connsiteX167" fmla="*/ 999 w 5810"/>
                  <a:gd name="connsiteY167" fmla="*/ 863 h 1072"/>
                  <a:gd name="connsiteX168" fmla="*/ 1043 w 5810"/>
                  <a:gd name="connsiteY168" fmla="*/ 894 h 1072"/>
                  <a:gd name="connsiteX169" fmla="*/ 1090 w 5810"/>
                  <a:gd name="connsiteY169" fmla="*/ 921 h 1072"/>
                  <a:gd name="connsiteX170" fmla="*/ 1140 w 5810"/>
                  <a:gd name="connsiteY170" fmla="*/ 940 h 1072"/>
                  <a:gd name="connsiteX171" fmla="*/ 1195 w 5810"/>
                  <a:gd name="connsiteY171" fmla="*/ 952 h 1072"/>
                  <a:gd name="connsiteX172" fmla="*/ 1257 w 5810"/>
                  <a:gd name="connsiteY172" fmla="*/ 956 h 1072"/>
                  <a:gd name="connsiteX173" fmla="*/ 1264 w 5810"/>
                  <a:gd name="connsiteY173" fmla="*/ 956 h 1072"/>
                  <a:gd name="connsiteX174" fmla="*/ 1323 w 5810"/>
                  <a:gd name="connsiteY174" fmla="*/ 950 h 1072"/>
                  <a:gd name="connsiteX175" fmla="*/ 1379 w 5810"/>
                  <a:gd name="connsiteY175" fmla="*/ 935 h 1072"/>
                  <a:gd name="connsiteX176" fmla="*/ 1433 w 5810"/>
                  <a:gd name="connsiteY176" fmla="*/ 913 h 1072"/>
                  <a:gd name="connsiteX177" fmla="*/ 1480 w 5810"/>
                  <a:gd name="connsiteY177" fmla="*/ 884 h 1072"/>
                  <a:gd name="connsiteX178" fmla="*/ 1526 w 5810"/>
                  <a:gd name="connsiteY178" fmla="*/ 846 h 1072"/>
                  <a:gd name="connsiteX179" fmla="*/ 1569 w 5810"/>
                  <a:gd name="connsiteY179" fmla="*/ 803 h 1072"/>
                  <a:gd name="connsiteX180" fmla="*/ 1608 w 5810"/>
                  <a:gd name="connsiteY180" fmla="*/ 755 h 1072"/>
                  <a:gd name="connsiteX181" fmla="*/ 1648 w 5810"/>
                  <a:gd name="connsiteY181" fmla="*/ 703 h 1072"/>
                  <a:gd name="connsiteX182" fmla="*/ 1687 w 5810"/>
                  <a:gd name="connsiteY182" fmla="*/ 649 h 1072"/>
                  <a:gd name="connsiteX183" fmla="*/ 1798 w 5810"/>
                  <a:gd name="connsiteY183" fmla="*/ 475 h 1072"/>
                  <a:gd name="connsiteX184" fmla="*/ 1838 w 5810"/>
                  <a:gd name="connsiteY184" fmla="*/ 415 h 1072"/>
                  <a:gd name="connsiteX185" fmla="*/ 1879 w 5810"/>
                  <a:gd name="connsiteY185" fmla="*/ 357 h 1072"/>
                  <a:gd name="connsiteX186" fmla="*/ 1922 w 5810"/>
                  <a:gd name="connsiteY186" fmla="*/ 299 h 1072"/>
                  <a:gd name="connsiteX187" fmla="*/ 1968 w 5810"/>
                  <a:gd name="connsiteY187" fmla="*/ 245 h 1072"/>
                  <a:gd name="connsiteX188" fmla="*/ 2015 w 5810"/>
                  <a:gd name="connsiteY188" fmla="*/ 193 h 1072"/>
                  <a:gd name="connsiteX189" fmla="*/ 2069 w 5810"/>
                  <a:gd name="connsiteY189" fmla="*/ 145 h 1072"/>
                  <a:gd name="connsiteX190" fmla="*/ 2124 w 5810"/>
                  <a:gd name="connsiteY190" fmla="*/ 104 h 1072"/>
                  <a:gd name="connsiteX191" fmla="*/ 2186 w 5810"/>
                  <a:gd name="connsiteY191" fmla="*/ 69 h 1072"/>
                  <a:gd name="connsiteX192" fmla="*/ 2252 w 5810"/>
                  <a:gd name="connsiteY192" fmla="*/ 40 h 1072"/>
                  <a:gd name="connsiteX193" fmla="*/ 2325 w 5810"/>
                  <a:gd name="connsiteY193" fmla="*/ 19 h 1072"/>
                  <a:gd name="connsiteX194" fmla="*/ 2403 w 5810"/>
                  <a:gd name="connsiteY194" fmla="*/ 6 h 1072"/>
                  <a:gd name="connsiteX195" fmla="*/ 2473 w 5810"/>
                  <a:gd name="connsiteY195" fmla="*/ 4 h 1072"/>
                  <a:gd name="connsiteX196" fmla="*/ 2539 w 5810"/>
                  <a:gd name="connsiteY196" fmla="*/ 13 h 1072"/>
                  <a:gd name="connsiteX197" fmla="*/ 2599 w 5810"/>
                  <a:gd name="connsiteY197" fmla="*/ 27 h 1072"/>
                  <a:gd name="connsiteX198" fmla="*/ 2657 w 5810"/>
                  <a:gd name="connsiteY198" fmla="*/ 50 h 1072"/>
                  <a:gd name="connsiteX199" fmla="*/ 2711 w 5810"/>
                  <a:gd name="connsiteY199" fmla="*/ 81 h 1072"/>
                  <a:gd name="connsiteX200" fmla="*/ 2760 w 5810"/>
                  <a:gd name="connsiteY200" fmla="*/ 116 h 1072"/>
                  <a:gd name="connsiteX201" fmla="*/ 2806 w 5810"/>
                  <a:gd name="connsiteY201" fmla="*/ 158 h 1072"/>
                  <a:gd name="connsiteX202" fmla="*/ 2851 w 5810"/>
                  <a:gd name="connsiteY202" fmla="*/ 203 h 1072"/>
                  <a:gd name="connsiteX203" fmla="*/ 2893 w 5810"/>
                  <a:gd name="connsiteY203" fmla="*/ 251 h 1072"/>
                  <a:gd name="connsiteX204" fmla="*/ 2932 w 5810"/>
                  <a:gd name="connsiteY204" fmla="*/ 303 h 1072"/>
                  <a:gd name="connsiteX205" fmla="*/ 2969 w 5810"/>
                  <a:gd name="connsiteY205" fmla="*/ 357 h 1072"/>
                  <a:gd name="connsiteX206" fmla="*/ 3004 w 5810"/>
                  <a:gd name="connsiteY206" fmla="*/ 413 h 1072"/>
                  <a:gd name="connsiteX207" fmla="*/ 3039 w 5810"/>
                  <a:gd name="connsiteY207" fmla="*/ 467 h 1072"/>
                  <a:gd name="connsiteX208" fmla="*/ 3072 w 5810"/>
                  <a:gd name="connsiteY208" fmla="*/ 523 h 1072"/>
                  <a:gd name="connsiteX209" fmla="*/ 3109 w 5810"/>
                  <a:gd name="connsiteY209" fmla="*/ 585 h 1072"/>
                  <a:gd name="connsiteX210" fmla="*/ 3146 w 5810"/>
                  <a:gd name="connsiteY210" fmla="*/ 643 h 1072"/>
                  <a:gd name="connsiteX211" fmla="*/ 3186 w 5810"/>
                  <a:gd name="connsiteY211" fmla="*/ 701 h 1072"/>
                  <a:gd name="connsiteX212" fmla="*/ 3223 w 5810"/>
                  <a:gd name="connsiteY212" fmla="*/ 755 h 1072"/>
                  <a:gd name="connsiteX213" fmla="*/ 3264 w 5810"/>
                  <a:gd name="connsiteY213" fmla="*/ 805 h 1072"/>
                  <a:gd name="connsiteX214" fmla="*/ 3305 w 5810"/>
                  <a:gd name="connsiteY214" fmla="*/ 848 h 1072"/>
                  <a:gd name="connsiteX215" fmla="*/ 3349 w 5810"/>
                  <a:gd name="connsiteY215" fmla="*/ 886 h 1072"/>
                  <a:gd name="connsiteX216" fmla="*/ 3394 w 5810"/>
                  <a:gd name="connsiteY216" fmla="*/ 917 h 1072"/>
                  <a:gd name="connsiteX217" fmla="*/ 3444 w 5810"/>
                  <a:gd name="connsiteY217" fmla="*/ 940 h 1072"/>
                  <a:gd name="connsiteX218" fmla="*/ 3497 w 5810"/>
                  <a:gd name="connsiteY218" fmla="*/ 952 h 1072"/>
                  <a:gd name="connsiteX219" fmla="*/ 3553 w 5810"/>
                  <a:gd name="connsiteY219" fmla="*/ 956 h 1072"/>
                  <a:gd name="connsiteX220" fmla="*/ 3609 w 5810"/>
                  <a:gd name="connsiteY220" fmla="*/ 950 h 1072"/>
                  <a:gd name="connsiteX221" fmla="*/ 3659 w 5810"/>
                  <a:gd name="connsiteY221" fmla="*/ 935 h 1072"/>
                  <a:gd name="connsiteX222" fmla="*/ 3706 w 5810"/>
                  <a:gd name="connsiteY222" fmla="*/ 915 h 1072"/>
                  <a:gd name="connsiteX223" fmla="*/ 3749 w 5810"/>
                  <a:gd name="connsiteY223" fmla="*/ 884 h 1072"/>
                  <a:gd name="connsiteX224" fmla="*/ 3789 w 5810"/>
                  <a:gd name="connsiteY224" fmla="*/ 848 h 1072"/>
                  <a:gd name="connsiteX225" fmla="*/ 3826 w 5810"/>
                  <a:gd name="connsiteY225" fmla="*/ 807 h 1072"/>
                  <a:gd name="connsiteX226" fmla="*/ 3861 w 5810"/>
                  <a:gd name="connsiteY226" fmla="*/ 759 h 1072"/>
                  <a:gd name="connsiteX227" fmla="*/ 3894 w 5810"/>
                  <a:gd name="connsiteY227" fmla="*/ 709 h 1072"/>
                  <a:gd name="connsiteX228" fmla="*/ 3927 w 5810"/>
                  <a:gd name="connsiteY228" fmla="*/ 655 h 1072"/>
                  <a:gd name="connsiteX229" fmla="*/ 3960 w 5810"/>
                  <a:gd name="connsiteY229" fmla="*/ 597 h 1072"/>
                  <a:gd name="connsiteX230" fmla="*/ 3993 w 5810"/>
                  <a:gd name="connsiteY230" fmla="*/ 537 h 1072"/>
                  <a:gd name="connsiteX231" fmla="*/ 4022 w 5810"/>
                  <a:gd name="connsiteY231" fmla="*/ 483 h 1072"/>
                  <a:gd name="connsiteX232" fmla="*/ 4084 w 5810"/>
                  <a:gd name="connsiteY232" fmla="*/ 375 h 1072"/>
                  <a:gd name="connsiteX233" fmla="*/ 4154 w 5810"/>
                  <a:gd name="connsiteY233" fmla="*/ 272 h 1072"/>
                  <a:gd name="connsiteX234" fmla="*/ 4191 w 5810"/>
                  <a:gd name="connsiteY234" fmla="*/ 224 h 1072"/>
                  <a:gd name="connsiteX235" fmla="*/ 4232 w 5810"/>
                  <a:gd name="connsiteY235" fmla="*/ 178 h 1072"/>
                  <a:gd name="connsiteX236" fmla="*/ 4276 w 5810"/>
                  <a:gd name="connsiteY236" fmla="*/ 137 h 1072"/>
                  <a:gd name="connsiteX237" fmla="*/ 4323 w 5810"/>
                  <a:gd name="connsiteY237" fmla="*/ 100 h 1072"/>
                  <a:gd name="connsiteX238" fmla="*/ 4375 w 5810"/>
                  <a:gd name="connsiteY238" fmla="*/ 66 h 1072"/>
                  <a:gd name="connsiteX239" fmla="*/ 4433 w 5810"/>
                  <a:gd name="connsiteY239" fmla="*/ 40 h 1072"/>
                  <a:gd name="connsiteX240" fmla="*/ 4493 w 5810"/>
                  <a:gd name="connsiteY240" fmla="*/ 19 h 1072"/>
                  <a:gd name="connsiteX241" fmla="*/ 4559 w 5810"/>
                  <a:gd name="connsiteY241" fmla="*/ 6 h 1072"/>
                  <a:gd name="connsiteX242" fmla="*/ 4631 w 5810"/>
                  <a:gd name="connsiteY242" fmla="*/ 0 h 1072"/>
                  <a:gd name="connsiteX0" fmla="*/ 4540 w 5719"/>
                  <a:gd name="connsiteY0" fmla="*/ 0 h 1072"/>
                  <a:gd name="connsiteX1" fmla="*/ 4590 w 5719"/>
                  <a:gd name="connsiteY1" fmla="*/ 0 h 1072"/>
                  <a:gd name="connsiteX2" fmla="*/ 4618 w 5719"/>
                  <a:gd name="connsiteY2" fmla="*/ 4 h 1072"/>
                  <a:gd name="connsiteX3" fmla="*/ 4649 w 5719"/>
                  <a:gd name="connsiteY3" fmla="*/ 13 h 1072"/>
                  <a:gd name="connsiteX4" fmla="*/ 4687 w 5719"/>
                  <a:gd name="connsiteY4" fmla="*/ 23 h 1072"/>
                  <a:gd name="connsiteX5" fmla="*/ 4728 w 5719"/>
                  <a:gd name="connsiteY5" fmla="*/ 40 h 1072"/>
                  <a:gd name="connsiteX6" fmla="*/ 4771 w 5719"/>
                  <a:gd name="connsiteY6" fmla="*/ 60 h 1072"/>
                  <a:gd name="connsiteX7" fmla="*/ 4819 w 5719"/>
                  <a:gd name="connsiteY7" fmla="*/ 89 h 1072"/>
                  <a:gd name="connsiteX8" fmla="*/ 4868 w 5719"/>
                  <a:gd name="connsiteY8" fmla="*/ 125 h 1072"/>
                  <a:gd name="connsiteX9" fmla="*/ 4918 w 5719"/>
                  <a:gd name="connsiteY9" fmla="*/ 170 h 1072"/>
                  <a:gd name="connsiteX10" fmla="*/ 4969 w 5719"/>
                  <a:gd name="connsiteY10" fmla="*/ 224 h 1072"/>
                  <a:gd name="connsiteX11" fmla="*/ 5021 w 5719"/>
                  <a:gd name="connsiteY11" fmla="*/ 286 h 1072"/>
                  <a:gd name="connsiteX12" fmla="*/ 5073 w 5719"/>
                  <a:gd name="connsiteY12" fmla="*/ 361 h 1072"/>
                  <a:gd name="connsiteX13" fmla="*/ 5124 w 5719"/>
                  <a:gd name="connsiteY13" fmla="*/ 448 h 1072"/>
                  <a:gd name="connsiteX14" fmla="*/ 5176 w 5719"/>
                  <a:gd name="connsiteY14" fmla="*/ 548 h 1072"/>
                  <a:gd name="connsiteX15" fmla="*/ 5221 w 5719"/>
                  <a:gd name="connsiteY15" fmla="*/ 633 h 1072"/>
                  <a:gd name="connsiteX16" fmla="*/ 5267 w 5719"/>
                  <a:gd name="connsiteY16" fmla="*/ 705 h 1072"/>
                  <a:gd name="connsiteX17" fmla="*/ 5314 w 5719"/>
                  <a:gd name="connsiteY17" fmla="*/ 767 h 1072"/>
                  <a:gd name="connsiteX18" fmla="*/ 5362 w 5719"/>
                  <a:gd name="connsiteY18" fmla="*/ 819 h 1072"/>
                  <a:gd name="connsiteX19" fmla="*/ 5407 w 5719"/>
                  <a:gd name="connsiteY19" fmla="*/ 863 h 1072"/>
                  <a:gd name="connsiteX20" fmla="*/ 5455 w 5719"/>
                  <a:gd name="connsiteY20" fmla="*/ 898 h 1072"/>
                  <a:gd name="connsiteX21" fmla="*/ 5498 w 5719"/>
                  <a:gd name="connsiteY21" fmla="*/ 927 h 1072"/>
                  <a:gd name="connsiteX22" fmla="*/ 5541 w 5719"/>
                  <a:gd name="connsiteY22" fmla="*/ 948 h 1072"/>
                  <a:gd name="connsiteX23" fmla="*/ 5578 w 5719"/>
                  <a:gd name="connsiteY23" fmla="*/ 962 h 1072"/>
                  <a:gd name="connsiteX24" fmla="*/ 5616 w 5719"/>
                  <a:gd name="connsiteY24" fmla="*/ 973 h 1072"/>
                  <a:gd name="connsiteX25" fmla="*/ 5645 w 5719"/>
                  <a:gd name="connsiteY25" fmla="*/ 981 h 1072"/>
                  <a:gd name="connsiteX26" fmla="*/ 5671 w 5719"/>
                  <a:gd name="connsiteY26" fmla="*/ 983 h 1072"/>
                  <a:gd name="connsiteX27" fmla="*/ 5690 w 5719"/>
                  <a:gd name="connsiteY27" fmla="*/ 985 h 1072"/>
                  <a:gd name="connsiteX28" fmla="*/ 5711 w 5719"/>
                  <a:gd name="connsiteY28" fmla="*/ 985 h 1072"/>
                  <a:gd name="connsiteX29" fmla="*/ 5719 w 5719"/>
                  <a:gd name="connsiteY29" fmla="*/ 1072 h 1072"/>
                  <a:gd name="connsiteX30" fmla="*/ 5684 w 5719"/>
                  <a:gd name="connsiteY30" fmla="*/ 1072 h 1072"/>
                  <a:gd name="connsiteX31" fmla="*/ 5657 w 5719"/>
                  <a:gd name="connsiteY31" fmla="*/ 1070 h 1072"/>
                  <a:gd name="connsiteX32" fmla="*/ 5626 w 5719"/>
                  <a:gd name="connsiteY32" fmla="*/ 1064 h 1072"/>
                  <a:gd name="connsiteX33" fmla="*/ 5589 w 5719"/>
                  <a:gd name="connsiteY33" fmla="*/ 1056 h 1072"/>
                  <a:gd name="connsiteX34" fmla="*/ 5547 w 5719"/>
                  <a:gd name="connsiteY34" fmla="*/ 1043 h 1072"/>
                  <a:gd name="connsiteX35" fmla="*/ 5502 w 5719"/>
                  <a:gd name="connsiteY35" fmla="*/ 1025 h 1072"/>
                  <a:gd name="connsiteX36" fmla="*/ 5455 w 5719"/>
                  <a:gd name="connsiteY36" fmla="*/ 1002 h 1072"/>
                  <a:gd name="connsiteX37" fmla="*/ 5405 w 5719"/>
                  <a:gd name="connsiteY37" fmla="*/ 971 h 1072"/>
                  <a:gd name="connsiteX38" fmla="*/ 5353 w 5719"/>
                  <a:gd name="connsiteY38" fmla="*/ 931 h 1072"/>
                  <a:gd name="connsiteX39" fmla="*/ 5302 w 5719"/>
                  <a:gd name="connsiteY39" fmla="*/ 881 h 1072"/>
                  <a:gd name="connsiteX40" fmla="*/ 5248 w 5719"/>
                  <a:gd name="connsiteY40" fmla="*/ 823 h 1072"/>
                  <a:gd name="connsiteX41" fmla="*/ 5197 w 5719"/>
                  <a:gd name="connsiteY41" fmla="*/ 755 h 1072"/>
                  <a:gd name="connsiteX42" fmla="*/ 5147 w 5719"/>
                  <a:gd name="connsiteY42" fmla="*/ 676 h 1072"/>
                  <a:gd name="connsiteX43" fmla="*/ 5099 w 5719"/>
                  <a:gd name="connsiteY43" fmla="*/ 583 h 1072"/>
                  <a:gd name="connsiteX44" fmla="*/ 5050 w 5719"/>
                  <a:gd name="connsiteY44" fmla="*/ 487 h 1072"/>
                  <a:gd name="connsiteX45" fmla="*/ 5000 w 5719"/>
                  <a:gd name="connsiteY45" fmla="*/ 404 h 1072"/>
                  <a:gd name="connsiteX46" fmla="*/ 4951 w 5719"/>
                  <a:gd name="connsiteY46" fmla="*/ 336 h 1072"/>
                  <a:gd name="connsiteX47" fmla="*/ 4901 w 5719"/>
                  <a:gd name="connsiteY47" fmla="*/ 276 h 1072"/>
                  <a:gd name="connsiteX48" fmla="*/ 4854 w 5719"/>
                  <a:gd name="connsiteY48" fmla="*/ 228 h 1072"/>
                  <a:gd name="connsiteX49" fmla="*/ 4808 w 5719"/>
                  <a:gd name="connsiteY49" fmla="*/ 189 h 1072"/>
                  <a:gd name="connsiteX50" fmla="*/ 4767 w 5719"/>
                  <a:gd name="connsiteY50" fmla="*/ 158 h 1072"/>
                  <a:gd name="connsiteX51" fmla="*/ 4728 w 5719"/>
                  <a:gd name="connsiteY51" fmla="*/ 135 h 1072"/>
                  <a:gd name="connsiteX52" fmla="*/ 4678 w 5719"/>
                  <a:gd name="connsiteY52" fmla="*/ 112 h 1072"/>
                  <a:gd name="connsiteX53" fmla="*/ 4635 w 5719"/>
                  <a:gd name="connsiteY53" fmla="*/ 98 h 1072"/>
                  <a:gd name="connsiteX54" fmla="*/ 4600 w 5719"/>
                  <a:gd name="connsiteY54" fmla="*/ 89 h 1072"/>
                  <a:gd name="connsiteX55" fmla="*/ 4571 w 5719"/>
                  <a:gd name="connsiteY55" fmla="*/ 87 h 1072"/>
                  <a:gd name="connsiteX56" fmla="*/ 4544 w 5719"/>
                  <a:gd name="connsiteY56" fmla="*/ 87 h 1072"/>
                  <a:gd name="connsiteX57" fmla="*/ 4478 w 5719"/>
                  <a:gd name="connsiteY57" fmla="*/ 93 h 1072"/>
                  <a:gd name="connsiteX58" fmla="*/ 4416 w 5719"/>
                  <a:gd name="connsiteY58" fmla="*/ 106 h 1072"/>
                  <a:gd name="connsiteX59" fmla="*/ 4360 w 5719"/>
                  <a:gd name="connsiteY59" fmla="*/ 127 h 1072"/>
                  <a:gd name="connsiteX60" fmla="*/ 4309 w 5719"/>
                  <a:gd name="connsiteY60" fmla="*/ 154 h 1072"/>
                  <a:gd name="connsiteX61" fmla="*/ 4261 w 5719"/>
                  <a:gd name="connsiteY61" fmla="*/ 187 h 1072"/>
                  <a:gd name="connsiteX62" fmla="*/ 4218 w 5719"/>
                  <a:gd name="connsiteY62" fmla="*/ 224 h 1072"/>
                  <a:gd name="connsiteX63" fmla="*/ 4179 w 5719"/>
                  <a:gd name="connsiteY63" fmla="*/ 268 h 1072"/>
                  <a:gd name="connsiteX64" fmla="*/ 4139 w 5719"/>
                  <a:gd name="connsiteY64" fmla="*/ 313 h 1072"/>
                  <a:gd name="connsiteX65" fmla="*/ 4104 w 5719"/>
                  <a:gd name="connsiteY65" fmla="*/ 363 h 1072"/>
                  <a:gd name="connsiteX66" fmla="*/ 4071 w 5719"/>
                  <a:gd name="connsiteY66" fmla="*/ 415 h 1072"/>
                  <a:gd name="connsiteX67" fmla="*/ 4009 w 5719"/>
                  <a:gd name="connsiteY67" fmla="*/ 523 h 1072"/>
                  <a:gd name="connsiteX68" fmla="*/ 3916 w 5719"/>
                  <a:gd name="connsiteY68" fmla="*/ 691 h 1072"/>
                  <a:gd name="connsiteX69" fmla="*/ 3883 w 5719"/>
                  <a:gd name="connsiteY69" fmla="*/ 747 h 1072"/>
                  <a:gd name="connsiteX70" fmla="*/ 3848 w 5719"/>
                  <a:gd name="connsiteY70" fmla="*/ 799 h 1072"/>
                  <a:gd name="connsiteX71" fmla="*/ 3813 w 5719"/>
                  <a:gd name="connsiteY71" fmla="*/ 848 h 1072"/>
                  <a:gd name="connsiteX72" fmla="*/ 3774 w 5719"/>
                  <a:gd name="connsiteY72" fmla="*/ 894 h 1072"/>
                  <a:gd name="connsiteX73" fmla="*/ 3733 w 5719"/>
                  <a:gd name="connsiteY73" fmla="*/ 935 h 1072"/>
                  <a:gd name="connsiteX74" fmla="*/ 3687 w 5719"/>
                  <a:gd name="connsiteY74" fmla="*/ 971 h 1072"/>
                  <a:gd name="connsiteX75" fmla="*/ 3638 w 5719"/>
                  <a:gd name="connsiteY75" fmla="*/ 1000 h 1072"/>
                  <a:gd name="connsiteX76" fmla="*/ 3586 w 5719"/>
                  <a:gd name="connsiteY76" fmla="*/ 1022 h 1072"/>
                  <a:gd name="connsiteX77" fmla="*/ 3528 w 5719"/>
                  <a:gd name="connsiteY77" fmla="*/ 1037 h 1072"/>
                  <a:gd name="connsiteX78" fmla="*/ 3464 w 5719"/>
                  <a:gd name="connsiteY78" fmla="*/ 1043 h 1072"/>
                  <a:gd name="connsiteX79" fmla="*/ 3456 w 5719"/>
                  <a:gd name="connsiteY79" fmla="*/ 1043 h 1072"/>
                  <a:gd name="connsiteX80" fmla="*/ 3394 w 5719"/>
                  <a:gd name="connsiteY80" fmla="*/ 1039 h 1072"/>
                  <a:gd name="connsiteX81" fmla="*/ 3334 w 5719"/>
                  <a:gd name="connsiteY81" fmla="*/ 1025 h 1072"/>
                  <a:gd name="connsiteX82" fmla="*/ 3281 w 5719"/>
                  <a:gd name="connsiteY82" fmla="*/ 1002 h 1072"/>
                  <a:gd name="connsiteX83" fmla="*/ 3229 w 5719"/>
                  <a:gd name="connsiteY83" fmla="*/ 973 h 1072"/>
                  <a:gd name="connsiteX84" fmla="*/ 3181 w 5719"/>
                  <a:gd name="connsiteY84" fmla="*/ 935 h 1072"/>
                  <a:gd name="connsiteX85" fmla="*/ 3138 w 5719"/>
                  <a:gd name="connsiteY85" fmla="*/ 894 h 1072"/>
                  <a:gd name="connsiteX86" fmla="*/ 3095 w 5719"/>
                  <a:gd name="connsiteY86" fmla="*/ 846 h 1072"/>
                  <a:gd name="connsiteX87" fmla="*/ 3055 w 5719"/>
                  <a:gd name="connsiteY87" fmla="*/ 796 h 1072"/>
                  <a:gd name="connsiteX88" fmla="*/ 3016 w 5719"/>
                  <a:gd name="connsiteY88" fmla="*/ 740 h 1072"/>
                  <a:gd name="connsiteX89" fmla="*/ 2979 w 5719"/>
                  <a:gd name="connsiteY89" fmla="*/ 684 h 1072"/>
                  <a:gd name="connsiteX90" fmla="*/ 2874 w 5719"/>
                  <a:gd name="connsiteY90" fmla="*/ 510 h 1072"/>
                  <a:gd name="connsiteX91" fmla="*/ 2837 w 5719"/>
                  <a:gd name="connsiteY91" fmla="*/ 452 h 1072"/>
                  <a:gd name="connsiteX92" fmla="*/ 2799 w 5719"/>
                  <a:gd name="connsiteY92" fmla="*/ 396 h 1072"/>
                  <a:gd name="connsiteX93" fmla="*/ 2762 w 5719"/>
                  <a:gd name="connsiteY93" fmla="*/ 342 h 1072"/>
                  <a:gd name="connsiteX94" fmla="*/ 2723 w 5719"/>
                  <a:gd name="connsiteY94" fmla="*/ 293 h 1072"/>
                  <a:gd name="connsiteX95" fmla="*/ 2682 w 5719"/>
                  <a:gd name="connsiteY95" fmla="*/ 247 h 1072"/>
                  <a:gd name="connsiteX96" fmla="*/ 2640 w 5719"/>
                  <a:gd name="connsiteY96" fmla="*/ 205 h 1072"/>
                  <a:gd name="connsiteX97" fmla="*/ 2595 w 5719"/>
                  <a:gd name="connsiteY97" fmla="*/ 168 h 1072"/>
                  <a:gd name="connsiteX98" fmla="*/ 2548 w 5719"/>
                  <a:gd name="connsiteY98" fmla="*/ 139 h 1072"/>
                  <a:gd name="connsiteX99" fmla="*/ 2496 w 5719"/>
                  <a:gd name="connsiteY99" fmla="*/ 116 h 1072"/>
                  <a:gd name="connsiteX100" fmla="*/ 2440 w 5719"/>
                  <a:gd name="connsiteY100" fmla="*/ 100 h 1072"/>
                  <a:gd name="connsiteX101" fmla="*/ 2382 w 5719"/>
                  <a:gd name="connsiteY101" fmla="*/ 91 h 1072"/>
                  <a:gd name="connsiteX102" fmla="*/ 2318 w 5719"/>
                  <a:gd name="connsiteY102" fmla="*/ 93 h 1072"/>
                  <a:gd name="connsiteX103" fmla="*/ 2250 w 5719"/>
                  <a:gd name="connsiteY103" fmla="*/ 104 h 1072"/>
                  <a:gd name="connsiteX104" fmla="*/ 2188 w 5719"/>
                  <a:gd name="connsiteY104" fmla="*/ 122 h 1072"/>
                  <a:gd name="connsiteX105" fmla="*/ 2131 w 5719"/>
                  <a:gd name="connsiteY105" fmla="*/ 147 h 1072"/>
                  <a:gd name="connsiteX106" fmla="*/ 2077 w 5719"/>
                  <a:gd name="connsiteY106" fmla="*/ 181 h 1072"/>
                  <a:gd name="connsiteX107" fmla="*/ 2025 w 5719"/>
                  <a:gd name="connsiteY107" fmla="*/ 218 h 1072"/>
                  <a:gd name="connsiteX108" fmla="*/ 1980 w 5719"/>
                  <a:gd name="connsiteY108" fmla="*/ 261 h 1072"/>
                  <a:gd name="connsiteX109" fmla="*/ 1934 w 5719"/>
                  <a:gd name="connsiteY109" fmla="*/ 307 h 1072"/>
                  <a:gd name="connsiteX110" fmla="*/ 1893 w 5719"/>
                  <a:gd name="connsiteY110" fmla="*/ 359 h 1072"/>
                  <a:gd name="connsiteX111" fmla="*/ 1854 w 5719"/>
                  <a:gd name="connsiteY111" fmla="*/ 413 h 1072"/>
                  <a:gd name="connsiteX112" fmla="*/ 1817 w 5719"/>
                  <a:gd name="connsiteY112" fmla="*/ 467 h 1072"/>
                  <a:gd name="connsiteX113" fmla="*/ 1780 w 5719"/>
                  <a:gd name="connsiteY113" fmla="*/ 523 h 1072"/>
                  <a:gd name="connsiteX114" fmla="*/ 1742 w 5719"/>
                  <a:gd name="connsiteY114" fmla="*/ 581 h 1072"/>
                  <a:gd name="connsiteX115" fmla="*/ 1707 w 5719"/>
                  <a:gd name="connsiteY115" fmla="*/ 637 h 1072"/>
                  <a:gd name="connsiteX116" fmla="*/ 1633 w 5719"/>
                  <a:gd name="connsiteY116" fmla="*/ 749 h 1072"/>
                  <a:gd name="connsiteX117" fmla="*/ 1594 w 5719"/>
                  <a:gd name="connsiteY117" fmla="*/ 801 h 1072"/>
                  <a:gd name="connsiteX118" fmla="*/ 1552 w 5719"/>
                  <a:gd name="connsiteY118" fmla="*/ 850 h 1072"/>
                  <a:gd name="connsiteX119" fmla="*/ 1509 w 5719"/>
                  <a:gd name="connsiteY119" fmla="*/ 896 h 1072"/>
                  <a:gd name="connsiteX120" fmla="*/ 1462 w 5719"/>
                  <a:gd name="connsiteY120" fmla="*/ 937 h 1072"/>
                  <a:gd name="connsiteX121" fmla="*/ 1412 w 5719"/>
                  <a:gd name="connsiteY121" fmla="*/ 973 h 1072"/>
                  <a:gd name="connsiteX122" fmla="*/ 1358 w 5719"/>
                  <a:gd name="connsiteY122" fmla="*/ 1002 h 1072"/>
                  <a:gd name="connsiteX123" fmla="*/ 1303 w 5719"/>
                  <a:gd name="connsiteY123" fmla="*/ 1025 h 1072"/>
                  <a:gd name="connsiteX124" fmla="*/ 1239 w 5719"/>
                  <a:gd name="connsiteY124" fmla="*/ 1037 h 1072"/>
                  <a:gd name="connsiteX125" fmla="*/ 1173 w 5719"/>
                  <a:gd name="connsiteY125" fmla="*/ 1043 h 1072"/>
                  <a:gd name="connsiteX126" fmla="*/ 1166 w 5719"/>
                  <a:gd name="connsiteY126" fmla="*/ 1043 h 1072"/>
                  <a:gd name="connsiteX127" fmla="*/ 1098 w 5719"/>
                  <a:gd name="connsiteY127" fmla="*/ 1039 h 1072"/>
                  <a:gd name="connsiteX128" fmla="*/ 1036 w 5719"/>
                  <a:gd name="connsiteY128" fmla="*/ 1027 h 1072"/>
                  <a:gd name="connsiteX129" fmla="*/ 978 w 5719"/>
                  <a:gd name="connsiteY129" fmla="*/ 1008 h 1072"/>
                  <a:gd name="connsiteX130" fmla="*/ 927 w 5719"/>
                  <a:gd name="connsiteY130" fmla="*/ 983 h 1072"/>
                  <a:gd name="connsiteX131" fmla="*/ 879 w 5719"/>
                  <a:gd name="connsiteY131" fmla="*/ 952 h 1072"/>
                  <a:gd name="connsiteX132" fmla="*/ 834 w 5719"/>
                  <a:gd name="connsiteY132" fmla="*/ 915 h 1072"/>
                  <a:gd name="connsiteX133" fmla="*/ 793 w 5719"/>
                  <a:gd name="connsiteY133" fmla="*/ 873 h 1072"/>
                  <a:gd name="connsiteX134" fmla="*/ 755 w 5719"/>
                  <a:gd name="connsiteY134" fmla="*/ 828 h 1072"/>
                  <a:gd name="connsiteX135" fmla="*/ 718 w 5719"/>
                  <a:gd name="connsiteY135" fmla="*/ 780 h 1072"/>
                  <a:gd name="connsiteX136" fmla="*/ 685 w 5719"/>
                  <a:gd name="connsiteY136" fmla="*/ 728 h 1072"/>
                  <a:gd name="connsiteX137" fmla="*/ 650 w 5719"/>
                  <a:gd name="connsiteY137" fmla="*/ 674 h 1072"/>
                  <a:gd name="connsiteX138" fmla="*/ 619 w 5719"/>
                  <a:gd name="connsiteY138" fmla="*/ 618 h 1072"/>
                  <a:gd name="connsiteX139" fmla="*/ 586 w 5719"/>
                  <a:gd name="connsiteY139" fmla="*/ 560 h 1072"/>
                  <a:gd name="connsiteX140" fmla="*/ 524 w 5719"/>
                  <a:gd name="connsiteY140" fmla="*/ 448 h 1072"/>
                  <a:gd name="connsiteX141" fmla="*/ 456 w 5719"/>
                  <a:gd name="connsiteY141" fmla="*/ 340 h 1072"/>
                  <a:gd name="connsiteX142" fmla="*/ 413 w 5719"/>
                  <a:gd name="connsiteY142" fmla="*/ 284 h 1072"/>
                  <a:gd name="connsiteX143" fmla="*/ 365 w 5719"/>
                  <a:gd name="connsiteY143" fmla="*/ 239 h 1072"/>
                  <a:gd name="connsiteX144" fmla="*/ 318 w 5719"/>
                  <a:gd name="connsiteY144" fmla="*/ 199 h 1072"/>
                  <a:gd name="connsiteX145" fmla="*/ 266 w 5719"/>
                  <a:gd name="connsiteY145" fmla="*/ 168 h 1072"/>
                  <a:gd name="connsiteX146" fmla="*/ 165 w 5719"/>
                  <a:gd name="connsiteY146" fmla="*/ 127 h 1072"/>
                  <a:gd name="connsiteX147" fmla="*/ 0 w 5719"/>
                  <a:gd name="connsiteY147" fmla="*/ 10 h 1072"/>
                  <a:gd name="connsiteX148" fmla="*/ 43 w 5719"/>
                  <a:gd name="connsiteY148" fmla="*/ 13 h 1072"/>
                  <a:gd name="connsiteX149" fmla="*/ 91 w 5719"/>
                  <a:gd name="connsiteY149" fmla="*/ 19 h 1072"/>
                  <a:gd name="connsiteX150" fmla="*/ 142 w 5719"/>
                  <a:gd name="connsiteY150" fmla="*/ 29 h 1072"/>
                  <a:gd name="connsiteX151" fmla="*/ 196 w 5719"/>
                  <a:gd name="connsiteY151" fmla="*/ 46 h 1072"/>
                  <a:gd name="connsiteX152" fmla="*/ 254 w 5719"/>
                  <a:gd name="connsiteY152" fmla="*/ 66 h 1072"/>
                  <a:gd name="connsiteX153" fmla="*/ 312 w 5719"/>
                  <a:gd name="connsiteY153" fmla="*/ 93 h 1072"/>
                  <a:gd name="connsiteX154" fmla="*/ 367 w 5719"/>
                  <a:gd name="connsiteY154" fmla="*/ 131 h 1072"/>
                  <a:gd name="connsiteX155" fmla="*/ 423 w 5719"/>
                  <a:gd name="connsiteY155" fmla="*/ 174 h 1072"/>
                  <a:gd name="connsiteX156" fmla="*/ 477 w 5719"/>
                  <a:gd name="connsiteY156" fmla="*/ 228 h 1072"/>
                  <a:gd name="connsiteX157" fmla="*/ 526 w 5719"/>
                  <a:gd name="connsiteY157" fmla="*/ 293 h 1072"/>
                  <a:gd name="connsiteX158" fmla="*/ 576 w 5719"/>
                  <a:gd name="connsiteY158" fmla="*/ 367 h 1072"/>
                  <a:gd name="connsiteX159" fmla="*/ 663 w 5719"/>
                  <a:gd name="connsiteY159" fmla="*/ 516 h 1072"/>
                  <a:gd name="connsiteX160" fmla="*/ 696 w 5719"/>
                  <a:gd name="connsiteY160" fmla="*/ 575 h 1072"/>
                  <a:gd name="connsiteX161" fmla="*/ 729 w 5719"/>
                  <a:gd name="connsiteY161" fmla="*/ 631 h 1072"/>
                  <a:gd name="connsiteX162" fmla="*/ 762 w 5719"/>
                  <a:gd name="connsiteY162" fmla="*/ 684 h 1072"/>
                  <a:gd name="connsiteX163" fmla="*/ 795 w 5719"/>
                  <a:gd name="connsiteY163" fmla="*/ 736 h 1072"/>
                  <a:gd name="connsiteX164" fmla="*/ 830 w 5719"/>
                  <a:gd name="connsiteY164" fmla="*/ 782 h 1072"/>
                  <a:gd name="connsiteX165" fmla="*/ 867 w 5719"/>
                  <a:gd name="connsiteY165" fmla="*/ 825 h 1072"/>
                  <a:gd name="connsiteX166" fmla="*/ 908 w 5719"/>
                  <a:gd name="connsiteY166" fmla="*/ 863 h 1072"/>
                  <a:gd name="connsiteX167" fmla="*/ 952 w 5719"/>
                  <a:gd name="connsiteY167" fmla="*/ 894 h 1072"/>
                  <a:gd name="connsiteX168" fmla="*/ 999 w 5719"/>
                  <a:gd name="connsiteY168" fmla="*/ 921 h 1072"/>
                  <a:gd name="connsiteX169" fmla="*/ 1049 w 5719"/>
                  <a:gd name="connsiteY169" fmla="*/ 940 h 1072"/>
                  <a:gd name="connsiteX170" fmla="*/ 1104 w 5719"/>
                  <a:gd name="connsiteY170" fmla="*/ 952 h 1072"/>
                  <a:gd name="connsiteX171" fmla="*/ 1166 w 5719"/>
                  <a:gd name="connsiteY171" fmla="*/ 956 h 1072"/>
                  <a:gd name="connsiteX172" fmla="*/ 1173 w 5719"/>
                  <a:gd name="connsiteY172" fmla="*/ 956 h 1072"/>
                  <a:gd name="connsiteX173" fmla="*/ 1232 w 5719"/>
                  <a:gd name="connsiteY173" fmla="*/ 950 h 1072"/>
                  <a:gd name="connsiteX174" fmla="*/ 1288 w 5719"/>
                  <a:gd name="connsiteY174" fmla="*/ 935 h 1072"/>
                  <a:gd name="connsiteX175" fmla="*/ 1342 w 5719"/>
                  <a:gd name="connsiteY175" fmla="*/ 913 h 1072"/>
                  <a:gd name="connsiteX176" fmla="*/ 1389 w 5719"/>
                  <a:gd name="connsiteY176" fmla="*/ 884 h 1072"/>
                  <a:gd name="connsiteX177" fmla="*/ 1435 w 5719"/>
                  <a:gd name="connsiteY177" fmla="*/ 846 h 1072"/>
                  <a:gd name="connsiteX178" fmla="*/ 1478 w 5719"/>
                  <a:gd name="connsiteY178" fmla="*/ 803 h 1072"/>
                  <a:gd name="connsiteX179" fmla="*/ 1517 w 5719"/>
                  <a:gd name="connsiteY179" fmla="*/ 755 h 1072"/>
                  <a:gd name="connsiteX180" fmla="*/ 1557 w 5719"/>
                  <a:gd name="connsiteY180" fmla="*/ 703 h 1072"/>
                  <a:gd name="connsiteX181" fmla="*/ 1596 w 5719"/>
                  <a:gd name="connsiteY181" fmla="*/ 649 h 1072"/>
                  <a:gd name="connsiteX182" fmla="*/ 1707 w 5719"/>
                  <a:gd name="connsiteY182" fmla="*/ 475 h 1072"/>
                  <a:gd name="connsiteX183" fmla="*/ 1747 w 5719"/>
                  <a:gd name="connsiteY183" fmla="*/ 415 h 1072"/>
                  <a:gd name="connsiteX184" fmla="*/ 1788 w 5719"/>
                  <a:gd name="connsiteY184" fmla="*/ 357 h 1072"/>
                  <a:gd name="connsiteX185" fmla="*/ 1831 w 5719"/>
                  <a:gd name="connsiteY185" fmla="*/ 299 h 1072"/>
                  <a:gd name="connsiteX186" fmla="*/ 1877 w 5719"/>
                  <a:gd name="connsiteY186" fmla="*/ 245 h 1072"/>
                  <a:gd name="connsiteX187" fmla="*/ 1924 w 5719"/>
                  <a:gd name="connsiteY187" fmla="*/ 193 h 1072"/>
                  <a:gd name="connsiteX188" fmla="*/ 1978 w 5719"/>
                  <a:gd name="connsiteY188" fmla="*/ 145 h 1072"/>
                  <a:gd name="connsiteX189" fmla="*/ 2033 w 5719"/>
                  <a:gd name="connsiteY189" fmla="*/ 104 h 1072"/>
                  <a:gd name="connsiteX190" fmla="*/ 2095 w 5719"/>
                  <a:gd name="connsiteY190" fmla="*/ 69 h 1072"/>
                  <a:gd name="connsiteX191" fmla="*/ 2161 w 5719"/>
                  <a:gd name="connsiteY191" fmla="*/ 40 h 1072"/>
                  <a:gd name="connsiteX192" fmla="*/ 2234 w 5719"/>
                  <a:gd name="connsiteY192" fmla="*/ 19 h 1072"/>
                  <a:gd name="connsiteX193" fmla="*/ 2312 w 5719"/>
                  <a:gd name="connsiteY193" fmla="*/ 6 h 1072"/>
                  <a:gd name="connsiteX194" fmla="*/ 2382 w 5719"/>
                  <a:gd name="connsiteY194" fmla="*/ 4 h 1072"/>
                  <a:gd name="connsiteX195" fmla="*/ 2448 w 5719"/>
                  <a:gd name="connsiteY195" fmla="*/ 13 h 1072"/>
                  <a:gd name="connsiteX196" fmla="*/ 2508 w 5719"/>
                  <a:gd name="connsiteY196" fmla="*/ 27 h 1072"/>
                  <a:gd name="connsiteX197" fmla="*/ 2566 w 5719"/>
                  <a:gd name="connsiteY197" fmla="*/ 50 h 1072"/>
                  <a:gd name="connsiteX198" fmla="*/ 2620 w 5719"/>
                  <a:gd name="connsiteY198" fmla="*/ 81 h 1072"/>
                  <a:gd name="connsiteX199" fmla="*/ 2669 w 5719"/>
                  <a:gd name="connsiteY199" fmla="*/ 116 h 1072"/>
                  <a:gd name="connsiteX200" fmla="*/ 2715 w 5719"/>
                  <a:gd name="connsiteY200" fmla="*/ 158 h 1072"/>
                  <a:gd name="connsiteX201" fmla="*/ 2760 w 5719"/>
                  <a:gd name="connsiteY201" fmla="*/ 203 h 1072"/>
                  <a:gd name="connsiteX202" fmla="*/ 2802 w 5719"/>
                  <a:gd name="connsiteY202" fmla="*/ 251 h 1072"/>
                  <a:gd name="connsiteX203" fmla="*/ 2841 w 5719"/>
                  <a:gd name="connsiteY203" fmla="*/ 303 h 1072"/>
                  <a:gd name="connsiteX204" fmla="*/ 2878 w 5719"/>
                  <a:gd name="connsiteY204" fmla="*/ 357 h 1072"/>
                  <a:gd name="connsiteX205" fmla="*/ 2913 w 5719"/>
                  <a:gd name="connsiteY205" fmla="*/ 413 h 1072"/>
                  <a:gd name="connsiteX206" fmla="*/ 2948 w 5719"/>
                  <a:gd name="connsiteY206" fmla="*/ 467 h 1072"/>
                  <a:gd name="connsiteX207" fmla="*/ 2981 w 5719"/>
                  <a:gd name="connsiteY207" fmla="*/ 523 h 1072"/>
                  <a:gd name="connsiteX208" fmla="*/ 3018 w 5719"/>
                  <a:gd name="connsiteY208" fmla="*/ 585 h 1072"/>
                  <a:gd name="connsiteX209" fmla="*/ 3055 w 5719"/>
                  <a:gd name="connsiteY209" fmla="*/ 643 h 1072"/>
                  <a:gd name="connsiteX210" fmla="*/ 3095 w 5719"/>
                  <a:gd name="connsiteY210" fmla="*/ 701 h 1072"/>
                  <a:gd name="connsiteX211" fmla="*/ 3132 w 5719"/>
                  <a:gd name="connsiteY211" fmla="*/ 755 h 1072"/>
                  <a:gd name="connsiteX212" fmla="*/ 3173 w 5719"/>
                  <a:gd name="connsiteY212" fmla="*/ 805 h 1072"/>
                  <a:gd name="connsiteX213" fmla="*/ 3214 w 5719"/>
                  <a:gd name="connsiteY213" fmla="*/ 848 h 1072"/>
                  <a:gd name="connsiteX214" fmla="*/ 3258 w 5719"/>
                  <a:gd name="connsiteY214" fmla="*/ 886 h 1072"/>
                  <a:gd name="connsiteX215" fmla="*/ 3303 w 5719"/>
                  <a:gd name="connsiteY215" fmla="*/ 917 h 1072"/>
                  <a:gd name="connsiteX216" fmla="*/ 3353 w 5719"/>
                  <a:gd name="connsiteY216" fmla="*/ 940 h 1072"/>
                  <a:gd name="connsiteX217" fmla="*/ 3406 w 5719"/>
                  <a:gd name="connsiteY217" fmla="*/ 952 h 1072"/>
                  <a:gd name="connsiteX218" fmla="*/ 3462 w 5719"/>
                  <a:gd name="connsiteY218" fmla="*/ 956 h 1072"/>
                  <a:gd name="connsiteX219" fmla="*/ 3518 w 5719"/>
                  <a:gd name="connsiteY219" fmla="*/ 950 h 1072"/>
                  <a:gd name="connsiteX220" fmla="*/ 3568 w 5719"/>
                  <a:gd name="connsiteY220" fmla="*/ 935 h 1072"/>
                  <a:gd name="connsiteX221" fmla="*/ 3615 w 5719"/>
                  <a:gd name="connsiteY221" fmla="*/ 915 h 1072"/>
                  <a:gd name="connsiteX222" fmla="*/ 3658 w 5719"/>
                  <a:gd name="connsiteY222" fmla="*/ 884 h 1072"/>
                  <a:gd name="connsiteX223" fmla="*/ 3698 w 5719"/>
                  <a:gd name="connsiteY223" fmla="*/ 848 h 1072"/>
                  <a:gd name="connsiteX224" fmla="*/ 3735 w 5719"/>
                  <a:gd name="connsiteY224" fmla="*/ 807 h 1072"/>
                  <a:gd name="connsiteX225" fmla="*/ 3770 w 5719"/>
                  <a:gd name="connsiteY225" fmla="*/ 759 h 1072"/>
                  <a:gd name="connsiteX226" fmla="*/ 3803 w 5719"/>
                  <a:gd name="connsiteY226" fmla="*/ 709 h 1072"/>
                  <a:gd name="connsiteX227" fmla="*/ 3836 w 5719"/>
                  <a:gd name="connsiteY227" fmla="*/ 655 h 1072"/>
                  <a:gd name="connsiteX228" fmla="*/ 3869 w 5719"/>
                  <a:gd name="connsiteY228" fmla="*/ 597 h 1072"/>
                  <a:gd name="connsiteX229" fmla="*/ 3902 w 5719"/>
                  <a:gd name="connsiteY229" fmla="*/ 537 h 1072"/>
                  <a:gd name="connsiteX230" fmla="*/ 3931 w 5719"/>
                  <a:gd name="connsiteY230" fmla="*/ 483 h 1072"/>
                  <a:gd name="connsiteX231" fmla="*/ 3993 w 5719"/>
                  <a:gd name="connsiteY231" fmla="*/ 375 h 1072"/>
                  <a:gd name="connsiteX232" fmla="*/ 4063 w 5719"/>
                  <a:gd name="connsiteY232" fmla="*/ 272 h 1072"/>
                  <a:gd name="connsiteX233" fmla="*/ 4100 w 5719"/>
                  <a:gd name="connsiteY233" fmla="*/ 224 h 1072"/>
                  <a:gd name="connsiteX234" fmla="*/ 4141 w 5719"/>
                  <a:gd name="connsiteY234" fmla="*/ 178 h 1072"/>
                  <a:gd name="connsiteX235" fmla="*/ 4185 w 5719"/>
                  <a:gd name="connsiteY235" fmla="*/ 137 h 1072"/>
                  <a:gd name="connsiteX236" fmla="*/ 4232 w 5719"/>
                  <a:gd name="connsiteY236" fmla="*/ 100 h 1072"/>
                  <a:gd name="connsiteX237" fmla="*/ 4284 w 5719"/>
                  <a:gd name="connsiteY237" fmla="*/ 66 h 1072"/>
                  <a:gd name="connsiteX238" fmla="*/ 4342 w 5719"/>
                  <a:gd name="connsiteY238" fmla="*/ 40 h 1072"/>
                  <a:gd name="connsiteX239" fmla="*/ 4402 w 5719"/>
                  <a:gd name="connsiteY239" fmla="*/ 19 h 1072"/>
                  <a:gd name="connsiteX240" fmla="*/ 4468 w 5719"/>
                  <a:gd name="connsiteY240" fmla="*/ 6 h 1072"/>
                  <a:gd name="connsiteX241" fmla="*/ 4540 w 5719"/>
                  <a:gd name="connsiteY241" fmla="*/ 0 h 1072"/>
                  <a:gd name="connsiteX0" fmla="*/ 4540 w 5719"/>
                  <a:gd name="connsiteY0" fmla="*/ 0 h 1072"/>
                  <a:gd name="connsiteX1" fmla="*/ 4590 w 5719"/>
                  <a:gd name="connsiteY1" fmla="*/ 0 h 1072"/>
                  <a:gd name="connsiteX2" fmla="*/ 4618 w 5719"/>
                  <a:gd name="connsiteY2" fmla="*/ 4 h 1072"/>
                  <a:gd name="connsiteX3" fmla="*/ 4649 w 5719"/>
                  <a:gd name="connsiteY3" fmla="*/ 13 h 1072"/>
                  <a:gd name="connsiteX4" fmla="*/ 4687 w 5719"/>
                  <a:gd name="connsiteY4" fmla="*/ 23 h 1072"/>
                  <a:gd name="connsiteX5" fmla="*/ 4728 w 5719"/>
                  <a:gd name="connsiteY5" fmla="*/ 40 h 1072"/>
                  <a:gd name="connsiteX6" fmla="*/ 4771 w 5719"/>
                  <a:gd name="connsiteY6" fmla="*/ 60 h 1072"/>
                  <a:gd name="connsiteX7" fmla="*/ 4819 w 5719"/>
                  <a:gd name="connsiteY7" fmla="*/ 89 h 1072"/>
                  <a:gd name="connsiteX8" fmla="*/ 4868 w 5719"/>
                  <a:gd name="connsiteY8" fmla="*/ 125 h 1072"/>
                  <a:gd name="connsiteX9" fmla="*/ 4918 w 5719"/>
                  <a:gd name="connsiteY9" fmla="*/ 170 h 1072"/>
                  <a:gd name="connsiteX10" fmla="*/ 4969 w 5719"/>
                  <a:gd name="connsiteY10" fmla="*/ 224 h 1072"/>
                  <a:gd name="connsiteX11" fmla="*/ 5021 w 5719"/>
                  <a:gd name="connsiteY11" fmla="*/ 286 h 1072"/>
                  <a:gd name="connsiteX12" fmla="*/ 5073 w 5719"/>
                  <a:gd name="connsiteY12" fmla="*/ 361 h 1072"/>
                  <a:gd name="connsiteX13" fmla="*/ 5124 w 5719"/>
                  <a:gd name="connsiteY13" fmla="*/ 448 h 1072"/>
                  <a:gd name="connsiteX14" fmla="*/ 5176 w 5719"/>
                  <a:gd name="connsiteY14" fmla="*/ 548 h 1072"/>
                  <a:gd name="connsiteX15" fmla="*/ 5221 w 5719"/>
                  <a:gd name="connsiteY15" fmla="*/ 633 h 1072"/>
                  <a:gd name="connsiteX16" fmla="*/ 5267 w 5719"/>
                  <a:gd name="connsiteY16" fmla="*/ 705 h 1072"/>
                  <a:gd name="connsiteX17" fmla="*/ 5314 w 5719"/>
                  <a:gd name="connsiteY17" fmla="*/ 767 h 1072"/>
                  <a:gd name="connsiteX18" fmla="*/ 5362 w 5719"/>
                  <a:gd name="connsiteY18" fmla="*/ 819 h 1072"/>
                  <a:gd name="connsiteX19" fmla="*/ 5407 w 5719"/>
                  <a:gd name="connsiteY19" fmla="*/ 863 h 1072"/>
                  <a:gd name="connsiteX20" fmla="*/ 5455 w 5719"/>
                  <a:gd name="connsiteY20" fmla="*/ 898 h 1072"/>
                  <a:gd name="connsiteX21" fmla="*/ 5498 w 5719"/>
                  <a:gd name="connsiteY21" fmla="*/ 927 h 1072"/>
                  <a:gd name="connsiteX22" fmla="*/ 5541 w 5719"/>
                  <a:gd name="connsiteY22" fmla="*/ 948 h 1072"/>
                  <a:gd name="connsiteX23" fmla="*/ 5578 w 5719"/>
                  <a:gd name="connsiteY23" fmla="*/ 962 h 1072"/>
                  <a:gd name="connsiteX24" fmla="*/ 5616 w 5719"/>
                  <a:gd name="connsiteY24" fmla="*/ 973 h 1072"/>
                  <a:gd name="connsiteX25" fmla="*/ 5645 w 5719"/>
                  <a:gd name="connsiteY25" fmla="*/ 981 h 1072"/>
                  <a:gd name="connsiteX26" fmla="*/ 5671 w 5719"/>
                  <a:gd name="connsiteY26" fmla="*/ 983 h 1072"/>
                  <a:gd name="connsiteX27" fmla="*/ 5690 w 5719"/>
                  <a:gd name="connsiteY27" fmla="*/ 985 h 1072"/>
                  <a:gd name="connsiteX28" fmla="*/ 5711 w 5719"/>
                  <a:gd name="connsiteY28" fmla="*/ 985 h 1072"/>
                  <a:gd name="connsiteX29" fmla="*/ 5719 w 5719"/>
                  <a:gd name="connsiteY29" fmla="*/ 1072 h 1072"/>
                  <a:gd name="connsiteX30" fmla="*/ 5684 w 5719"/>
                  <a:gd name="connsiteY30" fmla="*/ 1072 h 1072"/>
                  <a:gd name="connsiteX31" fmla="*/ 5657 w 5719"/>
                  <a:gd name="connsiteY31" fmla="*/ 1070 h 1072"/>
                  <a:gd name="connsiteX32" fmla="*/ 5626 w 5719"/>
                  <a:gd name="connsiteY32" fmla="*/ 1064 h 1072"/>
                  <a:gd name="connsiteX33" fmla="*/ 5589 w 5719"/>
                  <a:gd name="connsiteY33" fmla="*/ 1056 h 1072"/>
                  <a:gd name="connsiteX34" fmla="*/ 5547 w 5719"/>
                  <a:gd name="connsiteY34" fmla="*/ 1043 h 1072"/>
                  <a:gd name="connsiteX35" fmla="*/ 5502 w 5719"/>
                  <a:gd name="connsiteY35" fmla="*/ 1025 h 1072"/>
                  <a:gd name="connsiteX36" fmla="*/ 5455 w 5719"/>
                  <a:gd name="connsiteY36" fmla="*/ 1002 h 1072"/>
                  <a:gd name="connsiteX37" fmla="*/ 5405 w 5719"/>
                  <a:gd name="connsiteY37" fmla="*/ 971 h 1072"/>
                  <a:gd name="connsiteX38" fmla="*/ 5353 w 5719"/>
                  <a:gd name="connsiteY38" fmla="*/ 931 h 1072"/>
                  <a:gd name="connsiteX39" fmla="*/ 5302 w 5719"/>
                  <a:gd name="connsiteY39" fmla="*/ 881 h 1072"/>
                  <a:gd name="connsiteX40" fmla="*/ 5248 w 5719"/>
                  <a:gd name="connsiteY40" fmla="*/ 823 h 1072"/>
                  <a:gd name="connsiteX41" fmla="*/ 5197 w 5719"/>
                  <a:gd name="connsiteY41" fmla="*/ 755 h 1072"/>
                  <a:gd name="connsiteX42" fmla="*/ 5147 w 5719"/>
                  <a:gd name="connsiteY42" fmla="*/ 676 h 1072"/>
                  <a:gd name="connsiteX43" fmla="*/ 5099 w 5719"/>
                  <a:gd name="connsiteY43" fmla="*/ 583 h 1072"/>
                  <a:gd name="connsiteX44" fmla="*/ 5050 w 5719"/>
                  <a:gd name="connsiteY44" fmla="*/ 487 h 1072"/>
                  <a:gd name="connsiteX45" fmla="*/ 5000 w 5719"/>
                  <a:gd name="connsiteY45" fmla="*/ 404 h 1072"/>
                  <a:gd name="connsiteX46" fmla="*/ 4951 w 5719"/>
                  <a:gd name="connsiteY46" fmla="*/ 336 h 1072"/>
                  <a:gd name="connsiteX47" fmla="*/ 4901 w 5719"/>
                  <a:gd name="connsiteY47" fmla="*/ 276 h 1072"/>
                  <a:gd name="connsiteX48" fmla="*/ 4854 w 5719"/>
                  <a:gd name="connsiteY48" fmla="*/ 228 h 1072"/>
                  <a:gd name="connsiteX49" fmla="*/ 4808 w 5719"/>
                  <a:gd name="connsiteY49" fmla="*/ 189 h 1072"/>
                  <a:gd name="connsiteX50" fmla="*/ 4767 w 5719"/>
                  <a:gd name="connsiteY50" fmla="*/ 158 h 1072"/>
                  <a:gd name="connsiteX51" fmla="*/ 4728 w 5719"/>
                  <a:gd name="connsiteY51" fmla="*/ 135 h 1072"/>
                  <a:gd name="connsiteX52" fmla="*/ 4678 w 5719"/>
                  <a:gd name="connsiteY52" fmla="*/ 112 h 1072"/>
                  <a:gd name="connsiteX53" fmla="*/ 4635 w 5719"/>
                  <a:gd name="connsiteY53" fmla="*/ 98 h 1072"/>
                  <a:gd name="connsiteX54" fmla="*/ 4600 w 5719"/>
                  <a:gd name="connsiteY54" fmla="*/ 89 h 1072"/>
                  <a:gd name="connsiteX55" fmla="*/ 4571 w 5719"/>
                  <a:gd name="connsiteY55" fmla="*/ 87 h 1072"/>
                  <a:gd name="connsiteX56" fmla="*/ 4544 w 5719"/>
                  <a:gd name="connsiteY56" fmla="*/ 87 h 1072"/>
                  <a:gd name="connsiteX57" fmla="*/ 4478 w 5719"/>
                  <a:gd name="connsiteY57" fmla="*/ 93 h 1072"/>
                  <a:gd name="connsiteX58" fmla="*/ 4416 w 5719"/>
                  <a:gd name="connsiteY58" fmla="*/ 106 h 1072"/>
                  <a:gd name="connsiteX59" fmla="*/ 4360 w 5719"/>
                  <a:gd name="connsiteY59" fmla="*/ 127 h 1072"/>
                  <a:gd name="connsiteX60" fmla="*/ 4309 w 5719"/>
                  <a:gd name="connsiteY60" fmla="*/ 154 h 1072"/>
                  <a:gd name="connsiteX61" fmla="*/ 4261 w 5719"/>
                  <a:gd name="connsiteY61" fmla="*/ 187 h 1072"/>
                  <a:gd name="connsiteX62" fmla="*/ 4218 w 5719"/>
                  <a:gd name="connsiteY62" fmla="*/ 224 h 1072"/>
                  <a:gd name="connsiteX63" fmla="*/ 4179 w 5719"/>
                  <a:gd name="connsiteY63" fmla="*/ 268 h 1072"/>
                  <a:gd name="connsiteX64" fmla="*/ 4139 w 5719"/>
                  <a:gd name="connsiteY64" fmla="*/ 313 h 1072"/>
                  <a:gd name="connsiteX65" fmla="*/ 4104 w 5719"/>
                  <a:gd name="connsiteY65" fmla="*/ 363 h 1072"/>
                  <a:gd name="connsiteX66" fmla="*/ 4071 w 5719"/>
                  <a:gd name="connsiteY66" fmla="*/ 415 h 1072"/>
                  <a:gd name="connsiteX67" fmla="*/ 4009 w 5719"/>
                  <a:gd name="connsiteY67" fmla="*/ 523 h 1072"/>
                  <a:gd name="connsiteX68" fmla="*/ 3916 w 5719"/>
                  <a:gd name="connsiteY68" fmla="*/ 691 h 1072"/>
                  <a:gd name="connsiteX69" fmla="*/ 3883 w 5719"/>
                  <a:gd name="connsiteY69" fmla="*/ 747 h 1072"/>
                  <a:gd name="connsiteX70" fmla="*/ 3848 w 5719"/>
                  <a:gd name="connsiteY70" fmla="*/ 799 h 1072"/>
                  <a:gd name="connsiteX71" fmla="*/ 3813 w 5719"/>
                  <a:gd name="connsiteY71" fmla="*/ 848 h 1072"/>
                  <a:gd name="connsiteX72" fmla="*/ 3774 w 5719"/>
                  <a:gd name="connsiteY72" fmla="*/ 894 h 1072"/>
                  <a:gd name="connsiteX73" fmla="*/ 3733 w 5719"/>
                  <a:gd name="connsiteY73" fmla="*/ 935 h 1072"/>
                  <a:gd name="connsiteX74" fmla="*/ 3687 w 5719"/>
                  <a:gd name="connsiteY74" fmla="*/ 971 h 1072"/>
                  <a:gd name="connsiteX75" fmla="*/ 3638 w 5719"/>
                  <a:gd name="connsiteY75" fmla="*/ 1000 h 1072"/>
                  <a:gd name="connsiteX76" fmla="*/ 3586 w 5719"/>
                  <a:gd name="connsiteY76" fmla="*/ 1022 h 1072"/>
                  <a:gd name="connsiteX77" fmla="*/ 3528 w 5719"/>
                  <a:gd name="connsiteY77" fmla="*/ 1037 h 1072"/>
                  <a:gd name="connsiteX78" fmla="*/ 3464 w 5719"/>
                  <a:gd name="connsiteY78" fmla="*/ 1043 h 1072"/>
                  <a:gd name="connsiteX79" fmla="*/ 3456 w 5719"/>
                  <a:gd name="connsiteY79" fmla="*/ 1043 h 1072"/>
                  <a:gd name="connsiteX80" fmla="*/ 3394 w 5719"/>
                  <a:gd name="connsiteY80" fmla="*/ 1039 h 1072"/>
                  <a:gd name="connsiteX81" fmla="*/ 3334 w 5719"/>
                  <a:gd name="connsiteY81" fmla="*/ 1025 h 1072"/>
                  <a:gd name="connsiteX82" fmla="*/ 3281 w 5719"/>
                  <a:gd name="connsiteY82" fmla="*/ 1002 h 1072"/>
                  <a:gd name="connsiteX83" fmla="*/ 3229 w 5719"/>
                  <a:gd name="connsiteY83" fmla="*/ 973 h 1072"/>
                  <a:gd name="connsiteX84" fmla="*/ 3181 w 5719"/>
                  <a:gd name="connsiteY84" fmla="*/ 935 h 1072"/>
                  <a:gd name="connsiteX85" fmla="*/ 3138 w 5719"/>
                  <a:gd name="connsiteY85" fmla="*/ 894 h 1072"/>
                  <a:gd name="connsiteX86" fmla="*/ 3095 w 5719"/>
                  <a:gd name="connsiteY86" fmla="*/ 846 h 1072"/>
                  <a:gd name="connsiteX87" fmla="*/ 3055 w 5719"/>
                  <a:gd name="connsiteY87" fmla="*/ 796 h 1072"/>
                  <a:gd name="connsiteX88" fmla="*/ 3016 w 5719"/>
                  <a:gd name="connsiteY88" fmla="*/ 740 h 1072"/>
                  <a:gd name="connsiteX89" fmla="*/ 2979 w 5719"/>
                  <a:gd name="connsiteY89" fmla="*/ 684 h 1072"/>
                  <a:gd name="connsiteX90" fmla="*/ 2874 w 5719"/>
                  <a:gd name="connsiteY90" fmla="*/ 510 h 1072"/>
                  <a:gd name="connsiteX91" fmla="*/ 2837 w 5719"/>
                  <a:gd name="connsiteY91" fmla="*/ 452 h 1072"/>
                  <a:gd name="connsiteX92" fmla="*/ 2799 w 5719"/>
                  <a:gd name="connsiteY92" fmla="*/ 396 h 1072"/>
                  <a:gd name="connsiteX93" fmla="*/ 2762 w 5719"/>
                  <a:gd name="connsiteY93" fmla="*/ 342 h 1072"/>
                  <a:gd name="connsiteX94" fmla="*/ 2723 w 5719"/>
                  <a:gd name="connsiteY94" fmla="*/ 293 h 1072"/>
                  <a:gd name="connsiteX95" fmla="*/ 2682 w 5719"/>
                  <a:gd name="connsiteY95" fmla="*/ 247 h 1072"/>
                  <a:gd name="connsiteX96" fmla="*/ 2640 w 5719"/>
                  <a:gd name="connsiteY96" fmla="*/ 205 h 1072"/>
                  <a:gd name="connsiteX97" fmla="*/ 2595 w 5719"/>
                  <a:gd name="connsiteY97" fmla="*/ 168 h 1072"/>
                  <a:gd name="connsiteX98" fmla="*/ 2548 w 5719"/>
                  <a:gd name="connsiteY98" fmla="*/ 139 h 1072"/>
                  <a:gd name="connsiteX99" fmla="*/ 2496 w 5719"/>
                  <a:gd name="connsiteY99" fmla="*/ 116 h 1072"/>
                  <a:gd name="connsiteX100" fmla="*/ 2440 w 5719"/>
                  <a:gd name="connsiteY100" fmla="*/ 100 h 1072"/>
                  <a:gd name="connsiteX101" fmla="*/ 2382 w 5719"/>
                  <a:gd name="connsiteY101" fmla="*/ 91 h 1072"/>
                  <a:gd name="connsiteX102" fmla="*/ 2318 w 5719"/>
                  <a:gd name="connsiteY102" fmla="*/ 93 h 1072"/>
                  <a:gd name="connsiteX103" fmla="*/ 2250 w 5719"/>
                  <a:gd name="connsiteY103" fmla="*/ 104 h 1072"/>
                  <a:gd name="connsiteX104" fmla="*/ 2188 w 5719"/>
                  <a:gd name="connsiteY104" fmla="*/ 122 h 1072"/>
                  <a:gd name="connsiteX105" fmla="*/ 2131 w 5719"/>
                  <a:gd name="connsiteY105" fmla="*/ 147 h 1072"/>
                  <a:gd name="connsiteX106" fmla="*/ 2077 w 5719"/>
                  <a:gd name="connsiteY106" fmla="*/ 181 h 1072"/>
                  <a:gd name="connsiteX107" fmla="*/ 2025 w 5719"/>
                  <a:gd name="connsiteY107" fmla="*/ 218 h 1072"/>
                  <a:gd name="connsiteX108" fmla="*/ 1980 w 5719"/>
                  <a:gd name="connsiteY108" fmla="*/ 261 h 1072"/>
                  <a:gd name="connsiteX109" fmla="*/ 1934 w 5719"/>
                  <a:gd name="connsiteY109" fmla="*/ 307 h 1072"/>
                  <a:gd name="connsiteX110" fmla="*/ 1893 w 5719"/>
                  <a:gd name="connsiteY110" fmla="*/ 359 h 1072"/>
                  <a:gd name="connsiteX111" fmla="*/ 1854 w 5719"/>
                  <a:gd name="connsiteY111" fmla="*/ 413 h 1072"/>
                  <a:gd name="connsiteX112" fmla="*/ 1817 w 5719"/>
                  <a:gd name="connsiteY112" fmla="*/ 467 h 1072"/>
                  <a:gd name="connsiteX113" fmla="*/ 1780 w 5719"/>
                  <a:gd name="connsiteY113" fmla="*/ 523 h 1072"/>
                  <a:gd name="connsiteX114" fmla="*/ 1742 w 5719"/>
                  <a:gd name="connsiteY114" fmla="*/ 581 h 1072"/>
                  <a:gd name="connsiteX115" fmla="*/ 1707 w 5719"/>
                  <a:gd name="connsiteY115" fmla="*/ 637 h 1072"/>
                  <a:gd name="connsiteX116" fmla="*/ 1633 w 5719"/>
                  <a:gd name="connsiteY116" fmla="*/ 749 h 1072"/>
                  <a:gd name="connsiteX117" fmla="*/ 1594 w 5719"/>
                  <a:gd name="connsiteY117" fmla="*/ 801 h 1072"/>
                  <a:gd name="connsiteX118" fmla="*/ 1552 w 5719"/>
                  <a:gd name="connsiteY118" fmla="*/ 850 h 1072"/>
                  <a:gd name="connsiteX119" fmla="*/ 1509 w 5719"/>
                  <a:gd name="connsiteY119" fmla="*/ 896 h 1072"/>
                  <a:gd name="connsiteX120" fmla="*/ 1462 w 5719"/>
                  <a:gd name="connsiteY120" fmla="*/ 937 h 1072"/>
                  <a:gd name="connsiteX121" fmla="*/ 1412 w 5719"/>
                  <a:gd name="connsiteY121" fmla="*/ 973 h 1072"/>
                  <a:gd name="connsiteX122" fmla="*/ 1358 w 5719"/>
                  <a:gd name="connsiteY122" fmla="*/ 1002 h 1072"/>
                  <a:gd name="connsiteX123" fmla="*/ 1303 w 5719"/>
                  <a:gd name="connsiteY123" fmla="*/ 1025 h 1072"/>
                  <a:gd name="connsiteX124" fmla="*/ 1239 w 5719"/>
                  <a:gd name="connsiteY124" fmla="*/ 1037 h 1072"/>
                  <a:gd name="connsiteX125" fmla="*/ 1173 w 5719"/>
                  <a:gd name="connsiteY125" fmla="*/ 1043 h 1072"/>
                  <a:gd name="connsiteX126" fmla="*/ 1166 w 5719"/>
                  <a:gd name="connsiteY126" fmla="*/ 1043 h 1072"/>
                  <a:gd name="connsiteX127" fmla="*/ 1098 w 5719"/>
                  <a:gd name="connsiteY127" fmla="*/ 1039 h 1072"/>
                  <a:gd name="connsiteX128" fmla="*/ 1036 w 5719"/>
                  <a:gd name="connsiteY128" fmla="*/ 1027 h 1072"/>
                  <a:gd name="connsiteX129" fmla="*/ 978 w 5719"/>
                  <a:gd name="connsiteY129" fmla="*/ 1008 h 1072"/>
                  <a:gd name="connsiteX130" fmla="*/ 927 w 5719"/>
                  <a:gd name="connsiteY130" fmla="*/ 983 h 1072"/>
                  <a:gd name="connsiteX131" fmla="*/ 879 w 5719"/>
                  <a:gd name="connsiteY131" fmla="*/ 952 h 1072"/>
                  <a:gd name="connsiteX132" fmla="*/ 834 w 5719"/>
                  <a:gd name="connsiteY132" fmla="*/ 915 h 1072"/>
                  <a:gd name="connsiteX133" fmla="*/ 793 w 5719"/>
                  <a:gd name="connsiteY133" fmla="*/ 873 h 1072"/>
                  <a:gd name="connsiteX134" fmla="*/ 755 w 5719"/>
                  <a:gd name="connsiteY134" fmla="*/ 828 h 1072"/>
                  <a:gd name="connsiteX135" fmla="*/ 718 w 5719"/>
                  <a:gd name="connsiteY135" fmla="*/ 780 h 1072"/>
                  <a:gd name="connsiteX136" fmla="*/ 685 w 5719"/>
                  <a:gd name="connsiteY136" fmla="*/ 728 h 1072"/>
                  <a:gd name="connsiteX137" fmla="*/ 650 w 5719"/>
                  <a:gd name="connsiteY137" fmla="*/ 674 h 1072"/>
                  <a:gd name="connsiteX138" fmla="*/ 619 w 5719"/>
                  <a:gd name="connsiteY138" fmla="*/ 618 h 1072"/>
                  <a:gd name="connsiteX139" fmla="*/ 586 w 5719"/>
                  <a:gd name="connsiteY139" fmla="*/ 560 h 1072"/>
                  <a:gd name="connsiteX140" fmla="*/ 524 w 5719"/>
                  <a:gd name="connsiteY140" fmla="*/ 448 h 1072"/>
                  <a:gd name="connsiteX141" fmla="*/ 456 w 5719"/>
                  <a:gd name="connsiteY141" fmla="*/ 340 h 1072"/>
                  <a:gd name="connsiteX142" fmla="*/ 413 w 5719"/>
                  <a:gd name="connsiteY142" fmla="*/ 284 h 1072"/>
                  <a:gd name="connsiteX143" fmla="*/ 365 w 5719"/>
                  <a:gd name="connsiteY143" fmla="*/ 239 h 1072"/>
                  <a:gd name="connsiteX144" fmla="*/ 318 w 5719"/>
                  <a:gd name="connsiteY144" fmla="*/ 199 h 1072"/>
                  <a:gd name="connsiteX145" fmla="*/ 266 w 5719"/>
                  <a:gd name="connsiteY145" fmla="*/ 168 h 1072"/>
                  <a:gd name="connsiteX146" fmla="*/ 165 w 5719"/>
                  <a:gd name="connsiteY146" fmla="*/ 127 h 1072"/>
                  <a:gd name="connsiteX147" fmla="*/ 0 w 5719"/>
                  <a:gd name="connsiteY147" fmla="*/ 10 h 1072"/>
                  <a:gd name="connsiteX148" fmla="*/ 91 w 5719"/>
                  <a:gd name="connsiteY148" fmla="*/ 19 h 1072"/>
                  <a:gd name="connsiteX149" fmla="*/ 142 w 5719"/>
                  <a:gd name="connsiteY149" fmla="*/ 29 h 1072"/>
                  <a:gd name="connsiteX150" fmla="*/ 196 w 5719"/>
                  <a:gd name="connsiteY150" fmla="*/ 46 h 1072"/>
                  <a:gd name="connsiteX151" fmla="*/ 254 w 5719"/>
                  <a:gd name="connsiteY151" fmla="*/ 66 h 1072"/>
                  <a:gd name="connsiteX152" fmla="*/ 312 w 5719"/>
                  <a:gd name="connsiteY152" fmla="*/ 93 h 1072"/>
                  <a:gd name="connsiteX153" fmla="*/ 367 w 5719"/>
                  <a:gd name="connsiteY153" fmla="*/ 131 h 1072"/>
                  <a:gd name="connsiteX154" fmla="*/ 423 w 5719"/>
                  <a:gd name="connsiteY154" fmla="*/ 174 h 1072"/>
                  <a:gd name="connsiteX155" fmla="*/ 477 w 5719"/>
                  <a:gd name="connsiteY155" fmla="*/ 228 h 1072"/>
                  <a:gd name="connsiteX156" fmla="*/ 526 w 5719"/>
                  <a:gd name="connsiteY156" fmla="*/ 293 h 1072"/>
                  <a:gd name="connsiteX157" fmla="*/ 576 w 5719"/>
                  <a:gd name="connsiteY157" fmla="*/ 367 h 1072"/>
                  <a:gd name="connsiteX158" fmla="*/ 663 w 5719"/>
                  <a:gd name="connsiteY158" fmla="*/ 516 h 1072"/>
                  <a:gd name="connsiteX159" fmla="*/ 696 w 5719"/>
                  <a:gd name="connsiteY159" fmla="*/ 575 h 1072"/>
                  <a:gd name="connsiteX160" fmla="*/ 729 w 5719"/>
                  <a:gd name="connsiteY160" fmla="*/ 631 h 1072"/>
                  <a:gd name="connsiteX161" fmla="*/ 762 w 5719"/>
                  <a:gd name="connsiteY161" fmla="*/ 684 h 1072"/>
                  <a:gd name="connsiteX162" fmla="*/ 795 w 5719"/>
                  <a:gd name="connsiteY162" fmla="*/ 736 h 1072"/>
                  <a:gd name="connsiteX163" fmla="*/ 830 w 5719"/>
                  <a:gd name="connsiteY163" fmla="*/ 782 h 1072"/>
                  <a:gd name="connsiteX164" fmla="*/ 867 w 5719"/>
                  <a:gd name="connsiteY164" fmla="*/ 825 h 1072"/>
                  <a:gd name="connsiteX165" fmla="*/ 908 w 5719"/>
                  <a:gd name="connsiteY165" fmla="*/ 863 h 1072"/>
                  <a:gd name="connsiteX166" fmla="*/ 952 w 5719"/>
                  <a:gd name="connsiteY166" fmla="*/ 894 h 1072"/>
                  <a:gd name="connsiteX167" fmla="*/ 999 w 5719"/>
                  <a:gd name="connsiteY167" fmla="*/ 921 h 1072"/>
                  <a:gd name="connsiteX168" fmla="*/ 1049 w 5719"/>
                  <a:gd name="connsiteY168" fmla="*/ 940 h 1072"/>
                  <a:gd name="connsiteX169" fmla="*/ 1104 w 5719"/>
                  <a:gd name="connsiteY169" fmla="*/ 952 h 1072"/>
                  <a:gd name="connsiteX170" fmla="*/ 1166 w 5719"/>
                  <a:gd name="connsiteY170" fmla="*/ 956 h 1072"/>
                  <a:gd name="connsiteX171" fmla="*/ 1173 w 5719"/>
                  <a:gd name="connsiteY171" fmla="*/ 956 h 1072"/>
                  <a:gd name="connsiteX172" fmla="*/ 1232 w 5719"/>
                  <a:gd name="connsiteY172" fmla="*/ 950 h 1072"/>
                  <a:gd name="connsiteX173" fmla="*/ 1288 w 5719"/>
                  <a:gd name="connsiteY173" fmla="*/ 935 h 1072"/>
                  <a:gd name="connsiteX174" fmla="*/ 1342 w 5719"/>
                  <a:gd name="connsiteY174" fmla="*/ 913 h 1072"/>
                  <a:gd name="connsiteX175" fmla="*/ 1389 w 5719"/>
                  <a:gd name="connsiteY175" fmla="*/ 884 h 1072"/>
                  <a:gd name="connsiteX176" fmla="*/ 1435 w 5719"/>
                  <a:gd name="connsiteY176" fmla="*/ 846 h 1072"/>
                  <a:gd name="connsiteX177" fmla="*/ 1478 w 5719"/>
                  <a:gd name="connsiteY177" fmla="*/ 803 h 1072"/>
                  <a:gd name="connsiteX178" fmla="*/ 1517 w 5719"/>
                  <a:gd name="connsiteY178" fmla="*/ 755 h 1072"/>
                  <a:gd name="connsiteX179" fmla="*/ 1557 w 5719"/>
                  <a:gd name="connsiteY179" fmla="*/ 703 h 1072"/>
                  <a:gd name="connsiteX180" fmla="*/ 1596 w 5719"/>
                  <a:gd name="connsiteY180" fmla="*/ 649 h 1072"/>
                  <a:gd name="connsiteX181" fmla="*/ 1707 w 5719"/>
                  <a:gd name="connsiteY181" fmla="*/ 475 h 1072"/>
                  <a:gd name="connsiteX182" fmla="*/ 1747 w 5719"/>
                  <a:gd name="connsiteY182" fmla="*/ 415 h 1072"/>
                  <a:gd name="connsiteX183" fmla="*/ 1788 w 5719"/>
                  <a:gd name="connsiteY183" fmla="*/ 357 h 1072"/>
                  <a:gd name="connsiteX184" fmla="*/ 1831 w 5719"/>
                  <a:gd name="connsiteY184" fmla="*/ 299 h 1072"/>
                  <a:gd name="connsiteX185" fmla="*/ 1877 w 5719"/>
                  <a:gd name="connsiteY185" fmla="*/ 245 h 1072"/>
                  <a:gd name="connsiteX186" fmla="*/ 1924 w 5719"/>
                  <a:gd name="connsiteY186" fmla="*/ 193 h 1072"/>
                  <a:gd name="connsiteX187" fmla="*/ 1978 w 5719"/>
                  <a:gd name="connsiteY187" fmla="*/ 145 h 1072"/>
                  <a:gd name="connsiteX188" fmla="*/ 2033 w 5719"/>
                  <a:gd name="connsiteY188" fmla="*/ 104 h 1072"/>
                  <a:gd name="connsiteX189" fmla="*/ 2095 w 5719"/>
                  <a:gd name="connsiteY189" fmla="*/ 69 h 1072"/>
                  <a:gd name="connsiteX190" fmla="*/ 2161 w 5719"/>
                  <a:gd name="connsiteY190" fmla="*/ 40 h 1072"/>
                  <a:gd name="connsiteX191" fmla="*/ 2234 w 5719"/>
                  <a:gd name="connsiteY191" fmla="*/ 19 h 1072"/>
                  <a:gd name="connsiteX192" fmla="*/ 2312 w 5719"/>
                  <a:gd name="connsiteY192" fmla="*/ 6 h 1072"/>
                  <a:gd name="connsiteX193" fmla="*/ 2382 w 5719"/>
                  <a:gd name="connsiteY193" fmla="*/ 4 h 1072"/>
                  <a:gd name="connsiteX194" fmla="*/ 2448 w 5719"/>
                  <a:gd name="connsiteY194" fmla="*/ 13 h 1072"/>
                  <a:gd name="connsiteX195" fmla="*/ 2508 w 5719"/>
                  <a:gd name="connsiteY195" fmla="*/ 27 h 1072"/>
                  <a:gd name="connsiteX196" fmla="*/ 2566 w 5719"/>
                  <a:gd name="connsiteY196" fmla="*/ 50 h 1072"/>
                  <a:gd name="connsiteX197" fmla="*/ 2620 w 5719"/>
                  <a:gd name="connsiteY197" fmla="*/ 81 h 1072"/>
                  <a:gd name="connsiteX198" fmla="*/ 2669 w 5719"/>
                  <a:gd name="connsiteY198" fmla="*/ 116 h 1072"/>
                  <a:gd name="connsiteX199" fmla="*/ 2715 w 5719"/>
                  <a:gd name="connsiteY199" fmla="*/ 158 h 1072"/>
                  <a:gd name="connsiteX200" fmla="*/ 2760 w 5719"/>
                  <a:gd name="connsiteY200" fmla="*/ 203 h 1072"/>
                  <a:gd name="connsiteX201" fmla="*/ 2802 w 5719"/>
                  <a:gd name="connsiteY201" fmla="*/ 251 h 1072"/>
                  <a:gd name="connsiteX202" fmla="*/ 2841 w 5719"/>
                  <a:gd name="connsiteY202" fmla="*/ 303 h 1072"/>
                  <a:gd name="connsiteX203" fmla="*/ 2878 w 5719"/>
                  <a:gd name="connsiteY203" fmla="*/ 357 h 1072"/>
                  <a:gd name="connsiteX204" fmla="*/ 2913 w 5719"/>
                  <a:gd name="connsiteY204" fmla="*/ 413 h 1072"/>
                  <a:gd name="connsiteX205" fmla="*/ 2948 w 5719"/>
                  <a:gd name="connsiteY205" fmla="*/ 467 h 1072"/>
                  <a:gd name="connsiteX206" fmla="*/ 2981 w 5719"/>
                  <a:gd name="connsiteY206" fmla="*/ 523 h 1072"/>
                  <a:gd name="connsiteX207" fmla="*/ 3018 w 5719"/>
                  <a:gd name="connsiteY207" fmla="*/ 585 h 1072"/>
                  <a:gd name="connsiteX208" fmla="*/ 3055 w 5719"/>
                  <a:gd name="connsiteY208" fmla="*/ 643 h 1072"/>
                  <a:gd name="connsiteX209" fmla="*/ 3095 w 5719"/>
                  <a:gd name="connsiteY209" fmla="*/ 701 h 1072"/>
                  <a:gd name="connsiteX210" fmla="*/ 3132 w 5719"/>
                  <a:gd name="connsiteY210" fmla="*/ 755 h 1072"/>
                  <a:gd name="connsiteX211" fmla="*/ 3173 w 5719"/>
                  <a:gd name="connsiteY211" fmla="*/ 805 h 1072"/>
                  <a:gd name="connsiteX212" fmla="*/ 3214 w 5719"/>
                  <a:gd name="connsiteY212" fmla="*/ 848 h 1072"/>
                  <a:gd name="connsiteX213" fmla="*/ 3258 w 5719"/>
                  <a:gd name="connsiteY213" fmla="*/ 886 h 1072"/>
                  <a:gd name="connsiteX214" fmla="*/ 3303 w 5719"/>
                  <a:gd name="connsiteY214" fmla="*/ 917 h 1072"/>
                  <a:gd name="connsiteX215" fmla="*/ 3353 w 5719"/>
                  <a:gd name="connsiteY215" fmla="*/ 940 h 1072"/>
                  <a:gd name="connsiteX216" fmla="*/ 3406 w 5719"/>
                  <a:gd name="connsiteY216" fmla="*/ 952 h 1072"/>
                  <a:gd name="connsiteX217" fmla="*/ 3462 w 5719"/>
                  <a:gd name="connsiteY217" fmla="*/ 956 h 1072"/>
                  <a:gd name="connsiteX218" fmla="*/ 3518 w 5719"/>
                  <a:gd name="connsiteY218" fmla="*/ 950 h 1072"/>
                  <a:gd name="connsiteX219" fmla="*/ 3568 w 5719"/>
                  <a:gd name="connsiteY219" fmla="*/ 935 h 1072"/>
                  <a:gd name="connsiteX220" fmla="*/ 3615 w 5719"/>
                  <a:gd name="connsiteY220" fmla="*/ 915 h 1072"/>
                  <a:gd name="connsiteX221" fmla="*/ 3658 w 5719"/>
                  <a:gd name="connsiteY221" fmla="*/ 884 h 1072"/>
                  <a:gd name="connsiteX222" fmla="*/ 3698 w 5719"/>
                  <a:gd name="connsiteY222" fmla="*/ 848 h 1072"/>
                  <a:gd name="connsiteX223" fmla="*/ 3735 w 5719"/>
                  <a:gd name="connsiteY223" fmla="*/ 807 h 1072"/>
                  <a:gd name="connsiteX224" fmla="*/ 3770 w 5719"/>
                  <a:gd name="connsiteY224" fmla="*/ 759 h 1072"/>
                  <a:gd name="connsiteX225" fmla="*/ 3803 w 5719"/>
                  <a:gd name="connsiteY225" fmla="*/ 709 h 1072"/>
                  <a:gd name="connsiteX226" fmla="*/ 3836 w 5719"/>
                  <a:gd name="connsiteY226" fmla="*/ 655 h 1072"/>
                  <a:gd name="connsiteX227" fmla="*/ 3869 w 5719"/>
                  <a:gd name="connsiteY227" fmla="*/ 597 h 1072"/>
                  <a:gd name="connsiteX228" fmla="*/ 3902 w 5719"/>
                  <a:gd name="connsiteY228" fmla="*/ 537 h 1072"/>
                  <a:gd name="connsiteX229" fmla="*/ 3931 w 5719"/>
                  <a:gd name="connsiteY229" fmla="*/ 483 h 1072"/>
                  <a:gd name="connsiteX230" fmla="*/ 3993 w 5719"/>
                  <a:gd name="connsiteY230" fmla="*/ 375 h 1072"/>
                  <a:gd name="connsiteX231" fmla="*/ 4063 w 5719"/>
                  <a:gd name="connsiteY231" fmla="*/ 272 h 1072"/>
                  <a:gd name="connsiteX232" fmla="*/ 4100 w 5719"/>
                  <a:gd name="connsiteY232" fmla="*/ 224 h 1072"/>
                  <a:gd name="connsiteX233" fmla="*/ 4141 w 5719"/>
                  <a:gd name="connsiteY233" fmla="*/ 178 h 1072"/>
                  <a:gd name="connsiteX234" fmla="*/ 4185 w 5719"/>
                  <a:gd name="connsiteY234" fmla="*/ 137 h 1072"/>
                  <a:gd name="connsiteX235" fmla="*/ 4232 w 5719"/>
                  <a:gd name="connsiteY235" fmla="*/ 100 h 1072"/>
                  <a:gd name="connsiteX236" fmla="*/ 4284 w 5719"/>
                  <a:gd name="connsiteY236" fmla="*/ 66 h 1072"/>
                  <a:gd name="connsiteX237" fmla="*/ 4342 w 5719"/>
                  <a:gd name="connsiteY237" fmla="*/ 40 h 1072"/>
                  <a:gd name="connsiteX238" fmla="*/ 4402 w 5719"/>
                  <a:gd name="connsiteY238" fmla="*/ 19 h 1072"/>
                  <a:gd name="connsiteX239" fmla="*/ 4468 w 5719"/>
                  <a:gd name="connsiteY239" fmla="*/ 6 h 1072"/>
                  <a:gd name="connsiteX240" fmla="*/ 4540 w 5719"/>
                  <a:gd name="connsiteY240" fmla="*/ 0 h 1072"/>
                  <a:gd name="connsiteX0" fmla="*/ 4540 w 5719"/>
                  <a:gd name="connsiteY0" fmla="*/ 0 h 1072"/>
                  <a:gd name="connsiteX1" fmla="*/ 4590 w 5719"/>
                  <a:gd name="connsiteY1" fmla="*/ 0 h 1072"/>
                  <a:gd name="connsiteX2" fmla="*/ 4618 w 5719"/>
                  <a:gd name="connsiteY2" fmla="*/ 4 h 1072"/>
                  <a:gd name="connsiteX3" fmla="*/ 4649 w 5719"/>
                  <a:gd name="connsiteY3" fmla="*/ 13 h 1072"/>
                  <a:gd name="connsiteX4" fmla="*/ 4687 w 5719"/>
                  <a:gd name="connsiteY4" fmla="*/ 23 h 1072"/>
                  <a:gd name="connsiteX5" fmla="*/ 4728 w 5719"/>
                  <a:gd name="connsiteY5" fmla="*/ 40 h 1072"/>
                  <a:gd name="connsiteX6" fmla="*/ 4771 w 5719"/>
                  <a:gd name="connsiteY6" fmla="*/ 60 h 1072"/>
                  <a:gd name="connsiteX7" fmla="*/ 4819 w 5719"/>
                  <a:gd name="connsiteY7" fmla="*/ 89 h 1072"/>
                  <a:gd name="connsiteX8" fmla="*/ 4868 w 5719"/>
                  <a:gd name="connsiteY8" fmla="*/ 125 h 1072"/>
                  <a:gd name="connsiteX9" fmla="*/ 4918 w 5719"/>
                  <a:gd name="connsiteY9" fmla="*/ 170 h 1072"/>
                  <a:gd name="connsiteX10" fmla="*/ 4969 w 5719"/>
                  <a:gd name="connsiteY10" fmla="*/ 224 h 1072"/>
                  <a:gd name="connsiteX11" fmla="*/ 5021 w 5719"/>
                  <a:gd name="connsiteY11" fmla="*/ 286 h 1072"/>
                  <a:gd name="connsiteX12" fmla="*/ 5073 w 5719"/>
                  <a:gd name="connsiteY12" fmla="*/ 361 h 1072"/>
                  <a:gd name="connsiteX13" fmla="*/ 5124 w 5719"/>
                  <a:gd name="connsiteY13" fmla="*/ 448 h 1072"/>
                  <a:gd name="connsiteX14" fmla="*/ 5176 w 5719"/>
                  <a:gd name="connsiteY14" fmla="*/ 548 h 1072"/>
                  <a:gd name="connsiteX15" fmla="*/ 5221 w 5719"/>
                  <a:gd name="connsiteY15" fmla="*/ 633 h 1072"/>
                  <a:gd name="connsiteX16" fmla="*/ 5267 w 5719"/>
                  <a:gd name="connsiteY16" fmla="*/ 705 h 1072"/>
                  <a:gd name="connsiteX17" fmla="*/ 5314 w 5719"/>
                  <a:gd name="connsiteY17" fmla="*/ 767 h 1072"/>
                  <a:gd name="connsiteX18" fmla="*/ 5362 w 5719"/>
                  <a:gd name="connsiteY18" fmla="*/ 819 h 1072"/>
                  <a:gd name="connsiteX19" fmla="*/ 5407 w 5719"/>
                  <a:gd name="connsiteY19" fmla="*/ 863 h 1072"/>
                  <a:gd name="connsiteX20" fmla="*/ 5455 w 5719"/>
                  <a:gd name="connsiteY20" fmla="*/ 898 h 1072"/>
                  <a:gd name="connsiteX21" fmla="*/ 5498 w 5719"/>
                  <a:gd name="connsiteY21" fmla="*/ 927 h 1072"/>
                  <a:gd name="connsiteX22" fmla="*/ 5541 w 5719"/>
                  <a:gd name="connsiteY22" fmla="*/ 948 h 1072"/>
                  <a:gd name="connsiteX23" fmla="*/ 5578 w 5719"/>
                  <a:gd name="connsiteY23" fmla="*/ 962 h 1072"/>
                  <a:gd name="connsiteX24" fmla="*/ 5616 w 5719"/>
                  <a:gd name="connsiteY24" fmla="*/ 973 h 1072"/>
                  <a:gd name="connsiteX25" fmla="*/ 5645 w 5719"/>
                  <a:gd name="connsiteY25" fmla="*/ 981 h 1072"/>
                  <a:gd name="connsiteX26" fmla="*/ 5671 w 5719"/>
                  <a:gd name="connsiteY26" fmla="*/ 983 h 1072"/>
                  <a:gd name="connsiteX27" fmla="*/ 5690 w 5719"/>
                  <a:gd name="connsiteY27" fmla="*/ 985 h 1072"/>
                  <a:gd name="connsiteX28" fmla="*/ 5711 w 5719"/>
                  <a:gd name="connsiteY28" fmla="*/ 985 h 1072"/>
                  <a:gd name="connsiteX29" fmla="*/ 5719 w 5719"/>
                  <a:gd name="connsiteY29" fmla="*/ 1072 h 1072"/>
                  <a:gd name="connsiteX30" fmla="*/ 5684 w 5719"/>
                  <a:gd name="connsiteY30" fmla="*/ 1072 h 1072"/>
                  <a:gd name="connsiteX31" fmla="*/ 5657 w 5719"/>
                  <a:gd name="connsiteY31" fmla="*/ 1070 h 1072"/>
                  <a:gd name="connsiteX32" fmla="*/ 5626 w 5719"/>
                  <a:gd name="connsiteY32" fmla="*/ 1064 h 1072"/>
                  <a:gd name="connsiteX33" fmla="*/ 5589 w 5719"/>
                  <a:gd name="connsiteY33" fmla="*/ 1056 h 1072"/>
                  <a:gd name="connsiteX34" fmla="*/ 5547 w 5719"/>
                  <a:gd name="connsiteY34" fmla="*/ 1043 h 1072"/>
                  <a:gd name="connsiteX35" fmla="*/ 5502 w 5719"/>
                  <a:gd name="connsiteY35" fmla="*/ 1025 h 1072"/>
                  <a:gd name="connsiteX36" fmla="*/ 5455 w 5719"/>
                  <a:gd name="connsiteY36" fmla="*/ 1002 h 1072"/>
                  <a:gd name="connsiteX37" fmla="*/ 5405 w 5719"/>
                  <a:gd name="connsiteY37" fmla="*/ 971 h 1072"/>
                  <a:gd name="connsiteX38" fmla="*/ 5353 w 5719"/>
                  <a:gd name="connsiteY38" fmla="*/ 931 h 1072"/>
                  <a:gd name="connsiteX39" fmla="*/ 5302 w 5719"/>
                  <a:gd name="connsiteY39" fmla="*/ 881 h 1072"/>
                  <a:gd name="connsiteX40" fmla="*/ 5248 w 5719"/>
                  <a:gd name="connsiteY40" fmla="*/ 823 h 1072"/>
                  <a:gd name="connsiteX41" fmla="*/ 5197 w 5719"/>
                  <a:gd name="connsiteY41" fmla="*/ 755 h 1072"/>
                  <a:gd name="connsiteX42" fmla="*/ 5147 w 5719"/>
                  <a:gd name="connsiteY42" fmla="*/ 676 h 1072"/>
                  <a:gd name="connsiteX43" fmla="*/ 5099 w 5719"/>
                  <a:gd name="connsiteY43" fmla="*/ 583 h 1072"/>
                  <a:gd name="connsiteX44" fmla="*/ 5050 w 5719"/>
                  <a:gd name="connsiteY44" fmla="*/ 487 h 1072"/>
                  <a:gd name="connsiteX45" fmla="*/ 5000 w 5719"/>
                  <a:gd name="connsiteY45" fmla="*/ 404 h 1072"/>
                  <a:gd name="connsiteX46" fmla="*/ 4951 w 5719"/>
                  <a:gd name="connsiteY46" fmla="*/ 336 h 1072"/>
                  <a:gd name="connsiteX47" fmla="*/ 4901 w 5719"/>
                  <a:gd name="connsiteY47" fmla="*/ 276 h 1072"/>
                  <a:gd name="connsiteX48" fmla="*/ 4854 w 5719"/>
                  <a:gd name="connsiteY48" fmla="*/ 228 h 1072"/>
                  <a:gd name="connsiteX49" fmla="*/ 4808 w 5719"/>
                  <a:gd name="connsiteY49" fmla="*/ 189 h 1072"/>
                  <a:gd name="connsiteX50" fmla="*/ 4767 w 5719"/>
                  <a:gd name="connsiteY50" fmla="*/ 158 h 1072"/>
                  <a:gd name="connsiteX51" fmla="*/ 4728 w 5719"/>
                  <a:gd name="connsiteY51" fmla="*/ 135 h 1072"/>
                  <a:gd name="connsiteX52" fmla="*/ 4678 w 5719"/>
                  <a:gd name="connsiteY52" fmla="*/ 112 h 1072"/>
                  <a:gd name="connsiteX53" fmla="*/ 4635 w 5719"/>
                  <a:gd name="connsiteY53" fmla="*/ 98 h 1072"/>
                  <a:gd name="connsiteX54" fmla="*/ 4600 w 5719"/>
                  <a:gd name="connsiteY54" fmla="*/ 89 h 1072"/>
                  <a:gd name="connsiteX55" fmla="*/ 4571 w 5719"/>
                  <a:gd name="connsiteY55" fmla="*/ 87 h 1072"/>
                  <a:gd name="connsiteX56" fmla="*/ 4544 w 5719"/>
                  <a:gd name="connsiteY56" fmla="*/ 87 h 1072"/>
                  <a:gd name="connsiteX57" fmla="*/ 4478 w 5719"/>
                  <a:gd name="connsiteY57" fmla="*/ 93 h 1072"/>
                  <a:gd name="connsiteX58" fmla="*/ 4416 w 5719"/>
                  <a:gd name="connsiteY58" fmla="*/ 106 h 1072"/>
                  <a:gd name="connsiteX59" fmla="*/ 4360 w 5719"/>
                  <a:gd name="connsiteY59" fmla="*/ 127 h 1072"/>
                  <a:gd name="connsiteX60" fmla="*/ 4309 w 5719"/>
                  <a:gd name="connsiteY60" fmla="*/ 154 h 1072"/>
                  <a:gd name="connsiteX61" fmla="*/ 4261 w 5719"/>
                  <a:gd name="connsiteY61" fmla="*/ 187 h 1072"/>
                  <a:gd name="connsiteX62" fmla="*/ 4218 w 5719"/>
                  <a:gd name="connsiteY62" fmla="*/ 224 h 1072"/>
                  <a:gd name="connsiteX63" fmla="*/ 4179 w 5719"/>
                  <a:gd name="connsiteY63" fmla="*/ 268 h 1072"/>
                  <a:gd name="connsiteX64" fmla="*/ 4139 w 5719"/>
                  <a:gd name="connsiteY64" fmla="*/ 313 h 1072"/>
                  <a:gd name="connsiteX65" fmla="*/ 4104 w 5719"/>
                  <a:gd name="connsiteY65" fmla="*/ 363 h 1072"/>
                  <a:gd name="connsiteX66" fmla="*/ 4071 w 5719"/>
                  <a:gd name="connsiteY66" fmla="*/ 415 h 1072"/>
                  <a:gd name="connsiteX67" fmla="*/ 4009 w 5719"/>
                  <a:gd name="connsiteY67" fmla="*/ 523 h 1072"/>
                  <a:gd name="connsiteX68" fmla="*/ 3916 w 5719"/>
                  <a:gd name="connsiteY68" fmla="*/ 691 h 1072"/>
                  <a:gd name="connsiteX69" fmla="*/ 3883 w 5719"/>
                  <a:gd name="connsiteY69" fmla="*/ 747 h 1072"/>
                  <a:gd name="connsiteX70" fmla="*/ 3848 w 5719"/>
                  <a:gd name="connsiteY70" fmla="*/ 799 h 1072"/>
                  <a:gd name="connsiteX71" fmla="*/ 3813 w 5719"/>
                  <a:gd name="connsiteY71" fmla="*/ 848 h 1072"/>
                  <a:gd name="connsiteX72" fmla="*/ 3774 w 5719"/>
                  <a:gd name="connsiteY72" fmla="*/ 894 h 1072"/>
                  <a:gd name="connsiteX73" fmla="*/ 3733 w 5719"/>
                  <a:gd name="connsiteY73" fmla="*/ 935 h 1072"/>
                  <a:gd name="connsiteX74" fmla="*/ 3687 w 5719"/>
                  <a:gd name="connsiteY74" fmla="*/ 971 h 1072"/>
                  <a:gd name="connsiteX75" fmla="*/ 3638 w 5719"/>
                  <a:gd name="connsiteY75" fmla="*/ 1000 h 1072"/>
                  <a:gd name="connsiteX76" fmla="*/ 3586 w 5719"/>
                  <a:gd name="connsiteY76" fmla="*/ 1022 h 1072"/>
                  <a:gd name="connsiteX77" fmla="*/ 3528 w 5719"/>
                  <a:gd name="connsiteY77" fmla="*/ 1037 h 1072"/>
                  <a:gd name="connsiteX78" fmla="*/ 3464 w 5719"/>
                  <a:gd name="connsiteY78" fmla="*/ 1043 h 1072"/>
                  <a:gd name="connsiteX79" fmla="*/ 3456 w 5719"/>
                  <a:gd name="connsiteY79" fmla="*/ 1043 h 1072"/>
                  <a:gd name="connsiteX80" fmla="*/ 3394 w 5719"/>
                  <a:gd name="connsiteY80" fmla="*/ 1039 h 1072"/>
                  <a:gd name="connsiteX81" fmla="*/ 3334 w 5719"/>
                  <a:gd name="connsiteY81" fmla="*/ 1025 h 1072"/>
                  <a:gd name="connsiteX82" fmla="*/ 3281 w 5719"/>
                  <a:gd name="connsiteY82" fmla="*/ 1002 h 1072"/>
                  <a:gd name="connsiteX83" fmla="*/ 3229 w 5719"/>
                  <a:gd name="connsiteY83" fmla="*/ 973 h 1072"/>
                  <a:gd name="connsiteX84" fmla="*/ 3181 w 5719"/>
                  <a:gd name="connsiteY84" fmla="*/ 935 h 1072"/>
                  <a:gd name="connsiteX85" fmla="*/ 3138 w 5719"/>
                  <a:gd name="connsiteY85" fmla="*/ 894 h 1072"/>
                  <a:gd name="connsiteX86" fmla="*/ 3095 w 5719"/>
                  <a:gd name="connsiteY86" fmla="*/ 846 h 1072"/>
                  <a:gd name="connsiteX87" fmla="*/ 3055 w 5719"/>
                  <a:gd name="connsiteY87" fmla="*/ 796 h 1072"/>
                  <a:gd name="connsiteX88" fmla="*/ 3016 w 5719"/>
                  <a:gd name="connsiteY88" fmla="*/ 740 h 1072"/>
                  <a:gd name="connsiteX89" fmla="*/ 2979 w 5719"/>
                  <a:gd name="connsiteY89" fmla="*/ 684 h 1072"/>
                  <a:gd name="connsiteX90" fmla="*/ 2874 w 5719"/>
                  <a:gd name="connsiteY90" fmla="*/ 510 h 1072"/>
                  <a:gd name="connsiteX91" fmla="*/ 2837 w 5719"/>
                  <a:gd name="connsiteY91" fmla="*/ 452 h 1072"/>
                  <a:gd name="connsiteX92" fmla="*/ 2799 w 5719"/>
                  <a:gd name="connsiteY92" fmla="*/ 396 h 1072"/>
                  <a:gd name="connsiteX93" fmla="*/ 2762 w 5719"/>
                  <a:gd name="connsiteY93" fmla="*/ 342 h 1072"/>
                  <a:gd name="connsiteX94" fmla="*/ 2723 w 5719"/>
                  <a:gd name="connsiteY94" fmla="*/ 293 h 1072"/>
                  <a:gd name="connsiteX95" fmla="*/ 2682 w 5719"/>
                  <a:gd name="connsiteY95" fmla="*/ 247 h 1072"/>
                  <a:gd name="connsiteX96" fmla="*/ 2640 w 5719"/>
                  <a:gd name="connsiteY96" fmla="*/ 205 h 1072"/>
                  <a:gd name="connsiteX97" fmla="*/ 2595 w 5719"/>
                  <a:gd name="connsiteY97" fmla="*/ 168 h 1072"/>
                  <a:gd name="connsiteX98" fmla="*/ 2548 w 5719"/>
                  <a:gd name="connsiteY98" fmla="*/ 139 h 1072"/>
                  <a:gd name="connsiteX99" fmla="*/ 2496 w 5719"/>
                  <a:gd name="connsiteY99" fmla="*/ 116 h 1072"/>
                  <a:gd name="connsiteX100" fmla="*/ 2440 w 5719"/>
                  <a:gd name="connsiteY100" fmla="*/ 100 h 1072"/>
                  <a:gd name="connsiteX101" fmla="*/ 2382 w 5719"/>
                  <a:gd name="connsiteY101" fmla="*/ 91 h 1072"/>
                  <a:gd name="connsiteX102" fmla="*/ 2318 w 5719"/>
                  <a:gd name="connsiteY102" fmla="*/ 93 h 1072"/>
                  <a:gd name="connsiteX103" fmla="*/ 2250 w 5719"/>
                  <a:gd name="connsiteY103" fmla="*/ 104 h 1072"/>
                  <a:gd name="connsiteX104" fmla="*/ 2188 w 5719"/>
                  <a:gd name="connsiteY104" fmla="*/ 122 h 1072"/>
                  <a:gd name="connsiteX105" fmla="*/ 2131 w 5719"/>
                  <a:gd name="connsiteY105" fmla="*/ 147 h 1072"/>
                  <a:gd name="connsiteX106" fmla="*/ 2077 w 5719"/>
                  <a:gd name="connsiteY106" fmla="*/ 181 h 1072"/>
                  <a:gd name="connsiteX107" fmla="*/ 2025 w 5719"/>
                  <a:gd name="connsiteY107" fmla="*/ 218 h 1072"/>
                  <a:gd name="connsiteX108" fmla="*/ 1980 w 5719"/>
                  <a:gd name="connsiteY108" fmla="*/ 261 h 1072"/>
                  <a:gd name="connsiteX109" fmla="*/ 1934 w 5719"/>
                  <a:gd name="connsiteY109" fmla="*/ 307 h 1072"/>
                  <a:gd name="connsiteX110" fmla="*/ 1893 w 5719"/>
                  <a:gd name="connsiteY110" fmla="*/ 359 h 1072"/>
                  <a:gd name="connsiteX111" fmla="*/ 1854 w 5719"/>
                  <a:gd name="connsiteY111" fmla="*/ 413 h 1072"/>
                  <a:gd name="connsiteX112" fmla="*/ 1817 w 5719"/>
                  <a:gd name="connsiteY112" fmla="*/ 467 h 1072"/>
                  <a:gd name="connsiteX113" fmla="*/ 1780 w 5719"/>
                  <a:gd name="connsiteY113" fmla="*/ 523 h 1072"/>
                  <a:gd name="connsiteX114" fmla="*/ 1742 w 5719"/>
                  <a:gd name="connsiteY114" fmla="*/ 581 h 1072"/>
                  <a:gd name="connsiteX115" fmla="*/ 1707 w 5719"/>
                  <a:gd name="connsiteY115" fmla="*/ 637 h 1072"/>
                  <a:gd name="connsiteX116" fmla="*/ 1633 w 5719"/>
                  <a:gd name="connsiteY116" fmla="*/ 749 h 1072"/>
                  <a:gd name="connsiteX117" fmla="*/ 1594 w 5719"/>
                  <a:gd name="connsiteY117" fmla="*/ 801 h 1072"/>
                  <a:gd name="connsiteX118" fmla="*/ 1552 w 5719"/>
                  <a:gd name="connsiteY118" fmla="*/ 850 h 1072"/>
                  <a:gd name="connsiteX119" fmla="*/ 1509 w 5719"/>
                  <a:gd name="connsiteY119" fmla="*/ 896 h 1072"/>
                  <a:gd name="connsiteX120" fmla="*/ 1462 w 5719"/>
                  <a:gd name="connsiteY120" fmla="*/ 937 h 1072"/>
                  <a:gd name="connsiteX121" fmla="*/ 1412 w 5719"/>
                  <a:gd name="connsiteY121" fmla="*/ 973 h 1072"/>
                  <a:gd name="connsiteX122" fmla="*/ 1358 w 5719"/>
                  <a:gd name="connsiteY122" fmla="*/ 1002 h 1072"/>
                  <a:gd name="connsiteX123" fmla="*/ 1303 w 5719"/>
                  <a:gd name="connsiteY123" fmla="*/ 1025 h 1072"/>
                  <a:gd name="connsiteX124" fmla="*/ 1239 w 5719"/>
                  <a:gd name="connsiteY124" fmla="*/ 1037 h 1072"/>
                  <a:gd name="connsiteX125" fmla="*/ 1173 w 5719"/>
                  <a:gd name="connsiteY125" fmla="*/ 1043 h 1072"/>
                  <a:gd name="connsiteX126" fmla="*/ 1166 w 5719"/>
                  <a:gd name="connsiteY126" fmla="*/ 1043 h 1072"/>
                  <a:gd name="connsiteX127" fmla="*/ 1098 w 5719"/>
                  <a:gd name="connsiteY127" fmla="*/ 1039 h 1072"/>
                  <a:gd name="connsiteX128" fmla="*/ 1036 w 5719"/>
                  <a:gd name="connsiteY128" fmla="*/ 1027 h 1072"/>
                  <a:gd name="connsiteX129" fmla="*/ 978 w 5719"/>
                  <a:gd name="connsiteY129" fmla="*/ 1008 h 1072"/>
                  <a:gd name="connsiteX130" fmla="*/ 927 w 5719"/>
                  <a:gd name="connsiteY130" fmla="*/ 983 h 1072"/>
                  <a:gd name="connsiteX131" fmla="*/ 879 w 5719"/>
                  <a:gd name="connsiteY131" fmla="*/ 952 h 1072"/>
                  <a:gd name="connsiteX132" fmla="*/ 834 w 5719"/>
                  <a:gd name="connsiteY132" fmla="*/ 915 h 1072"/>
                  <a:gd name="connsiteX133" fmla="*/ 793 w 5719"/>
                  <a:gd name="connsiteY133" fmla="*/ 873 h 1072"/>
                  <a:gd name="connsiteX134" fmla="*/ 755 w 5719"/>
                  <a:gd name="connsiteY134" fmla="*/ 828 h 1072"/>
                  <a:gd name="connsiteX135" fmla="*/ 718 w 5719"/>
                  <a:gd name="connsiteY135" fmla="*/ 780 h 1072"/>
                  <a:gd name="connsiteX136" fmla="*/ 685 w 5719"/>
                  <a:gd name="connsiteY136" fmla="*/ 728 h 1072"/>
                  <a:gd name="connsiteX137" fmla="*/ 650 w 5719"/>
                  <a:gd name="connsiteY137" fmla="*/ 674 h 1072"/>
                  <a:gd name="connsiteX138" fmla="*/ 619 w 5719"/>
                  <a:gd name="connsiteY138" fmla="*/ 618 h 1072"/>
                  <a:gd name="connsiteX139" fmla="*/ 586 w 5719"/>
                  <a:gd name="connsiteY139" fmla="*/ 560 h 1072"/>
                  <a:gd name="connsiteX140" fmla="*/ 524 w 5719"/>
                  <a:gd name="connsiteY140" fmla="*/ 448 h 1072"/>
                  <a:gd name="connsiteX141" fmla="*/ 456 w 5719"/>
                  <a:gd name="connsiteY141" fmla="*/ 340 h 1072"/>
                  <a:gd name="connsiteX142" fmla="*/ 413 w 5719"/>
                  <a:gd name="connsiteY142" fmla="*/ 284 h 1072"/>
                  <a:gd name="connsiteX143" fmla="*/ 365 w 5719"/>
                  <a:gd name="connsiteY143" fmla="*/ 239 h 1072"/>
                  <a:gd name="connsiteX144" fmla="*/ 318 w 5719"/>
                  <a:gd name="connsiteY144" fmla="*/ 199 h 1072"/>
                  <a:gd name="connsiteX145" fmla="*/ 266 w 5719"/>
                  <a:gd name="connsiteY145" fmla="*/ 168 h 1072"/>
                  <a:gd name="connsiteX146" fmla="*/ 165 w 5719"/>
                  <a:gd name="connsiteY146" fmla="*/ 127 h 1072"/>
                  <a:gd name="connsiteX147" fmla="*/ 0 w 5719"/>
                  <a:gd name="connsiteY147" fmla="*/ 10 h 1072"/>
                  <a:gd name="connsiteX148" fmla="*/ 142 w 5719"/>
                  <a:gd name="connsiteY148" fmla="*/ 29 h 1072"/>
                  <a:gd name="connsiteX149" fmla="*/ 196 w 5719"/>
                  <a:gd name="connsiteY149" fmla="*/ 46 h 1072"/>
                  <a:gd name="connsiteX150" fmla="*/ 254 w 5719"/>
                  <a:gd name="connsiteY150" fmla="*/ 66 h 1072"/>
                  <a:gd name="connsiteX151" fmla="*/ 312 w 5719"/>
                  <a:gd name="connsiteY151" fmla="*/ 93 h 1072"/>
                  <a:gd name="connsiteX152" fmla="*/ 367 w 5719"/>
                  <a:gd name="connsiteY152" fmla="*/ 131 h 1072"/>
                  <a:gd name="connsiteX153" fmla="*/ 423 w 5719"/>
                  <a:gd name="connsiteY153" fmla="*/ 174 h 1072"/>
                  <a:gd name="connsiteX154" fmla="*/ 477 w 5719"/>
                  <a:gd name="connsiteY154" fmla="*/ 228 h 1072"/>
                  <a:gd name="connsiteX155" fmla="*/ 526 w 5719"/>
                  <a:gd name="connsiteY155" fmla="*/ 293 h 1072"/>
                  <a:gd name="connsiteX156" fmla="*/ 576 w 5719"/>
                  <a:gd name="connsiteY156" fmla="*/ 367 h 1072"/>
                  <a:gd name="connsiteX157" fmla="*/ 663 w 5719"/>
                  <a:gd name="connsiteY157" fmla="*/ 516 h 1072"/>
                  <a:gd name="connsiteX158" fmla="*/ 696 w 5719"/>
                  <a:gd name="connsiteY158" fmla="*/ 575 h 1072"/>
                  <a:gd name="connsiteX159" fmla="*/ 729 w 5719"/>
                  <a:gd name="connsiteY159" fmla="*/ 631 h 1072"/>
                  <a:gd name="connsiteX160" fmla="*/ 762 w 5719"/>
                  <a:gd name="connsiteY160" fmla="*/ 684 h 1072"/>
                  <a:gd name="connsiteX161" fmla="*/ 795 w 5719"/>
                  <a:gd name="connsiteY161" fmla="*/ 736 h 1072"/>
                  <a:gd name="connsiteX162" fmla="*/ 830 w 5719"/>
                  <a:gd name="connsiteY162" fmla="*/ 782 h 1072"/>
                  <a:gd name="connsiteX163" fmla="*/ 867 w 5719"/>
                  <a:gd name="connsiteY163" fmla="*/ 825 h 1072"/>
                  <a:gd name="connsiteX164" fmla="*/ 908 w 5719"/>
                  <a:gd name="connsiteY164" fmla="*/ 863 h 1072"/>
                  <a:gd name="connsiteX165" fmla="*/ 952 w 5719"/>
                  <a:gd name="connsiteY165" fmla="*/ 894 h 1072"/>
                  <a:gd name="connsiteX166" fmla="*/ 999 w 5719"/>
                  <a:gd name="connsiteY166" fmla="*/ 921 h 1072"/>
                  <a:gd name="connsiteX167" fmla="*/ 1049 w 5719"/>
                  <a:gd name="connsiteY167" fmla="*/ 940 h 1072"/>
                  <a:gd name="connsiteX168" fmla="*/ 1104 w 5719"/>
                  <a:gd name="connsiteY168" fmla="*/ 952 h 1072"/>
                  <a:gd name="connsiteX169" fmla="*/ 1166 w 5719"/>
                  <a:gd name="connsiteY169" fmla="*/ 956 h 1072"/>
                  <a:gd name="connsiteX170" fmla="*/ 1173 w 5719"/>
                  <a:gd name="connsiteY170" fmla="*/ 956 h 1072"/>
                  <a:gd name="connsiteX171" fmla="*/ 1232 w 5719"/>
                  <a:gd name="connsiteY171" fmla="*/ 950 h 1072"/>
                  <a:gd name="connsiteX172" fmla="*/ 1288 w 5719"/>
                  <a:gd name="connsiteY172" fmla="*/ 935 h 1072"/>
                  <a:gd name="connsiteX173" fmla="*/ 1342 w 5719"/>
                  <a:gd name="connsiteY173" fmla="*/ 913 h 1072"/>
                  <a:gd name="connsiteX174" fmla="*/ 1389 w 5719"/>
                  <a:gd name="connsiteY174" fmla="*/ 884 h 1072"/>
                  <a:gd name="connsiteX175" fmla="*/ 1435 w 5719"/>
                  <a:gd name="connsiteY175" fmla="*/ 846 h 1072"/>
                  <a:gd name="connsiteX176" fmla="*/ 1478 w 5719"/>
                  <a:gd name="connsiteY176" fmla="*/ 803 h 1072"/>
                  <a:gd name="connsiteX177" fmla="*/ 1517 w 5719"/>
                  <a:gd name="connsiteY177" fmla="*/ 755 h 1072"/>
                  <a:gd name="connsiteX178" fmla="*/ 1557 w 5719"/>
                  <a:gd name="connsiteY178" fmla="*/ 703 h 1072"/>
                  <a:gd name="connsiteX179" fmla="*/ 1596 w 5719"/>
                  <a:gd name="connsiteY179" fmla="*/ 649 h 1072"/>
                  <a:gd name="connsiteX180" fmla="*/ 1707 w 5719"/>
                  <a:gd name="connsiteY180" fmla="*/ 475 h 1072"/>
                  <a:gd name="connsiteX181" fmla="*/ 1747 w 5719"/>
                  <a:gd name="connsiteY181" fmla="*/ 415 h 1072"/>
                  <a:gd name="connsiteX182" fmla="*/ 1788 w 5719"/>
                  <a:gd name="connsiteY182" fmla="*/ 357 h 1072"/>
                  <a:gd name="connsiteX183" fmla="*/ 1831 w 5719"/>
                  <a:gd name="connsiteY183" fmla="*/ 299 h 1072"/>
                  <a:gd name="connsiteX184" fmla="*/ 1877 w 5719"/>
                  <a:gd name="connsiteY184" fmla="*/ 245 h 1072"/>
                  <a:gd name="connsiteX185" fmla="*/ 1924 w 5719"/>
                  <a:gd name="connsiteY185" fmla="*/ 193 h 1072"/>
                  <a:gd name="connsiteX186" fmla="*/ 1978 w 5719"/>
                  <a:gd name="connsiteY186" fmla="*/ 145 h 1072"/>
                  <a:gd name="connsiteX187" fmla="*/ 2033 w 5719"/>
                  <a:gd name="connsiteY187" fmla="*/ 104 h 1072"/>
                  <a:gd name="connsiteX188" fmla="*/ 2095 w 5719"/>
                  <a:gd name="connsiteY188" fmla="*/ 69 h 1072"/>
                  <a:gd name="connsiteX189" fmla="*/ 2161 w 5719"/>
                  <a:gd name="connsiteY189" fmla="*/ 40 h 1072"/>
                  <a:gd name="connsiteX190" fmla="*/ 2234 w 5719"/>
                  <a:gd name="connsiteY190" fmla="*/ 19 h 1072"/>
                  <a:gd name="connsiteX191" fmla="*/ 2312 w 5719"/>
                  <a:gd name="connsiteY191" fmla="*/ 6 h 1072"/>
                  <a:gd name="connsiteX192" fmla="*/ 2382 w 5719"/>
                  <a:gd name="connsiteY192" fmla="*/ 4 h 1072"/>
                  <a:gd name="connsiteX193" fmla="*/ 2448 w 5719"/>
                  <a:gd name="connsiteY193" fmla="*/ 13 h 1072"/>
                  <a:gd name="connsiteX194" fmla="*/ 2508 w 5719"/>
                  <a:gd name="connsiteY194" fmla="*/ 27 h 1072"/>
                  <a:gd name="connsiteX195" fmla="*/ 2566 w 5719"/>
                  <a:gd name="connsiteY195" fmla="*/ 50 h 1072"/>
                  <a:gd name="connsiteX196" fmla="*/ 2620 w 5719"/>
                  <a:gd name="connsiteY196" fmla="*/ 81 h 1072"/>
                  <a:gd name="connsiteX197" fmla="*/ 2669 w 5719"/>
                  <a:gd name="connsiteY197" fmla="*/ 116 h 1072"/>
                  <a:gd name="connsiteX198" fmla="*/ 2715 w 5719"/>
                  <a:gd name="connsiteY198" fmla="*/ 158 h 1072"/>
                  <a:gd name="connsiteX199" fmla="*/ 2760 w 5719"/>
                  <a:gd name="connsiteY199" fmla="*/ 203 h 1072"/>
                  <a:gd name="connsiteX200" fmla="*/ 2802 w 5719"/>
                  <a:gd name="connsiteY200" fmla="*/ 251 h 1072"/>
                  <a:gd name="connsiteX201" fmla="*/ 2841 w 5719"/>
                  <a:gd name="connsiteY201" fmla="*/ 303 h 1072"/>
                  <a:gd name="connsiteX202" fmla="*/ 2878 w 5719"/>
                  <a:gd name="connsiteY202" fmla="*/ 357 h 1072"/>
                  <a:gd name="connsiteX203" fmla="*/ 2913 w 5719"/>
                  <a:gd name="connsiteY203" fmla="*/ 413 h 1072"/>
                  <a:gd name="connsiteX204" fmla="*/ 2948 w 5719"/>
                  <a:gd name="connsiteY204" fmla="*/ 467 h 1072"/>
                  <a:gd name="connsiteX205" fmla="*/ 2981 w 5719"/>
                  <a:gd name="connsiteY205" fmla="*/ 523 h 1072"/>
                  <a:gd name="connsiteX206" fmla="*/ 3018 w 5719"/>
                  <a:gd name="connsiteY206" fmla="*/ 585 h 1072"/>
                  <a:gd name="connsiteX207" fmla="*/ 3055 w 5719"/>
                  <a:gd name="connsiteY207" fmla="*/ 643 h 1072"/>
                  <a:gd name="connsiteX208" fmla="*/ 3095 w 5719"/>
                  <a:gd name="connsiteY208" fmla="*/ 701 h 1072"/>
                  <a:gd name="connsiteX209" fmla="*/ 3132 w 5719"/>
                  <a:gd name="connsiteY209" fmla="*/ 755 h 1072"/>
                  <a:gd name="connsiteX210" fmla="*/ 3173 w 5719"/>
                  <a:gd name="connsiteY210" fmla="*/ 805 h 1072"/>
                  <a:gd name="connsiteX211" fmla="*/ 3214 w 5719"/>
                  <a:gd name="connsiteY211" fmla="*/ 848 h 1072"/>
                  <a:gd name="connsiteX212" fmla="*/ 3258 w 5719"/>
                  <a:gd name="connsiteY212" fmla="*/ 886 h 1072"/>
                  <a:gd name="connsiteX213" fmla="*/ 3303 w 5719"/>
                  <a:gd name="connsiteY213" fmla="*/ 917 h 1072"/>
                  <a:gd name="connsiteX214" fmla="*/ 3353 w 5719"/>
                  <a:gd name="connsiteY214" fmla="*/ 940 h 1072"/>
                  <a:gd name="connsiteX215" fmla="*/ 3406 w 5719"/>
                  <a:gd name="connsiteY215" fmla="*/ 952 h 1072"/>
                  <a:gd name="connsiteX216" fmla="*/ 3462 w 5719"/>
                  <a:gd name="connsiteY216" fmla="*/ 956 h 1072"/>
                  <a:gd name="connsiteX217" fmla="*/ 3518 w 5719"/>
                  <a:gd name="connsiteY217" fmla="*/ 950 h 1072"/>
                  <a:gd name="connsiteX218" fmla="*/ 3568 w 5719"/>
                  <a:gd name="connsiteY218" fmla="*/ 935 h 1072"/>
                  <a:gd name="connsiteX219" fmla="*/ 3615 w 5719"/>
                  <a:gd name="connsiteY219" fmla="*/ 915 h 1072"/>
                  <a:gd name="connsiteX220" fmla="*/ 3658 w 5719"/>
                  <a:gd name="connsiteY220" fmla="*/ 884 h 1072"/>
                  <a:gd name="connsiteX221" fmla="*/ 3698 w 5719"/>
                  <a:gd name="connsiteY221" fmla="*/ 848 h 1072"/>
                  <a:gd name="connsiteX222" fmla="*/ 3735 w 5719"/>
                  <a:gd name="connsiteY222" fmla="*/ 807 h 1072"/>
                  <a:gd name="connsiteX223" fmla="*/ 3770 w 5719"/>
                  <a:gd name="connsiteY223" fmla="*/ 759 h 1072"/>
                  <a:gd name="connsiteX224" fmla="*/ 3803 w 5719"/>
                  <a:gd name="connsiteY224" fmla="*/ 709 h 1072"/>
                  <a:gd name="connsiteX225" fmla="*/ 3836 w 5719"/>
                  <a:gd name="connsiteY225" fmla="*/ 655 h 1072"/>
                  <a:gd name="connsiteX226" fmla="*/ 3869 w 5719"/>
                  <a:gd name="connsiteY226" fmla="*/ 597 h 1072"/>
                  <a:gd name="connsiteX227" fmla="*/ 3902 w 5719"/>
                  <a:gd name="connsiteY227" fmla="*/ 537 h 1072"/>
                  <a:gd name="connsiteX228" fmla="*/ 3931 w 5719"/>
                  <a:gd name="connsiteY228" fmla="*/ 483 h 1072"/>
                  <a:gd name="connsiteX229" fmla="*/ 3993 w 5719"/>
                  <a:gd name="connsiteY229" fmla="*/ 375 h 1072"/>
                  <a:gd name="connsiteX230" fmla="*/ 4063 w 5719"/>
                  <a:gd name="connsiteY230" fmla="*/ 272 h 1072"/>
                  <a:gd name="connsiteX231" fmla="*/ 4100 w 5719"/>
                  <a:gd name="connsiteY231" fmla="*/ 224 h 1072"/>
                  <a:gd name="connsiteX232" fmla="*/ 4141 w 5719"/>
                  <a:gd name="connsiteY232" fmla="*/ 178 h 1072"/>
                  <a:gd name="connsiteX233" fmla="*/ 4185 w 5719"/>
                  <a:gd name="connsiteY233" fmla="*/ 137 h 1072"/>
                  <a:gd name="connsiteX234" fmla="*/ 4232 w 5719"/>
                  <a:gd name="connsiteY234" fmla="*/ 100 h 1072"/>
                  <a:gd name="connsiteX235" fmla="*/ 4284 w 5719"/>
                  <a:gd name="connsiteY235" fmla="*/ 66 h 1072"/>
                  <a:gd name="connsiteX236" fmla="*/ 4342 w 5719"/>
                  <a:gd name="connsiteY236" fmla="*/ 40 h 1072"/>
                  <a:gd name="connsiteX237" fmla="*/ 4402 w 5719"/>
                  <a:gd name="connsiteY237" fmla="*/ 19 h 1072"/>
                  <a:gd name="connsiteX238" fmla="*/ 4468 w 5719"/>
                  <a:gd name="connsiteY238" fmla="*/ 6 h 1072"/>
                  <a:gd name="connsiteX239" fmla="*/ 4540 w 5719"/>
                  <a:gd name="connsiteY239" fmla="*/ 0 h 1072"/>
                  <a:gd name="connsiteX0" fmla="*/ 4398 w 5577"/>
                  <a:gd name="connsiteY0" fmla="*/ 0 h 1072"/>
                  <a:gd name="connsiteX1" fmla="*/ 4448 w 5577"/>
                  <a:gd name="connsiteY1" fmla="*/ 0 h 1072"/>
                  <a:gd name="connsiteX2" fmla="*/ 4476 w 5577"/>
                  <a:gd name="connsiteY2" fmla="*/ 4 h 1072"/>
                  <a:gd name="connsiteX3" fmla="*/ 4507 w 5577"/>
                  <a:gd name="connsiteY3" fmla="*/ 13 h 1072"/>
                  <a:gd name="connsiteX4" fmla="*/ 4545 w 5577"/>
                  <a:gd name="connsiteY4" fmla="*/ 23 h 1072"/>
                  <a:gd name="connsiteX5" fmla="*/ 4586 w 5577"/>
                  <a:gd name="connsiteY5" fmla="*/ 40 h 1072"/>
                  <a:gd name="connsiteX6" fmla="*/ 4629 w 5577"/>
                  <a:gd name="connsiteY6" fmla="*/ 60 h 1072"/>
                  <a:gd name="connsiteX7" fmla="*/ 4677 w 5577"/>
                  <a:gd name="connsiteY7" fmla="*/ 89 h 1072"/>
                  <a:gd name="connsiteX8" fmla="*/ 4726 w 5577"/>
                  <a:gd name="connsiteY8" fmla="*/ 125 h 1072"/>
                  <a:gd name="connsiteX9" fmla="*/ 4776 w 5577"/>
                  <a:gd name="connsiteY9" fmla="*/ 170 h 1072"/>
                  <a:gd name="connsiteX10" fmla="*/ 4827 w 5577"/>
                  <a:gd name="connsiteY10" fmla="*/ 224 h 1072"/>
                  <a:gd name="connsiteX11" fmla="*/ 4879 w 5577"/>
                  <a:gd name="connsiteY11" fmla="*/ 286 h 1072"/>
                  <a:gd name="connsiteX12" fmla="*/ 4931 w 5577"/>
                  <a:gd name="connsiteY12" fmla="*/ 361 h 1072"/>
                  <a:gd name="connsiteX13" fmla="*/ 4982 w 5577"/>
                  <a:gd name="connsiteY13" fmla="*/ 448 h 1072"/>
                  <a:gd name="connsiteX14" fmla="*/ 5034 w 5577"/>
                  <a:gd name="connsiteY14" fmla="*/ 548 h 1072"/>
                  <a:gd name="connsiteX15" fmla="*/ 5079 w 5577"/>
                  <a:gd name="connsiteY15" fmla="*/ 633 h 1072"/>
                  <a:gd name="connsiteX16" fmla="*/ 5125 w 5577"/>
                  <a:gd name="connsiteY16" fmla="*/ 705 h 1072"/>
                  <a:gd name="connsiteX17" fmla="*/ 5172 w 5577"/>
                  <a:gd name="connsiteY17" fmla="*/ 767 h 1072"/>
                  <a:gd name="connsiteX18" fmla="*/ 5220 w 5577"/>
                  <a:gd name="connsiteY18" fmla="*/ 819 h 1072"/>
                  <a:gd name="connsiteX19" fmla="*/ 5265 w 5577"/>
                  <a:gd name="connsiteY19" fmla="*/ 863 h 1072"/>
                  <a:gd name="connsiteX20" fmla="*/ 5313 w 5577"/>
                  <a:gd name="connsiteY20" fmla="*/ 898 h 1072"/>
                  <a:gd name="connsiteX21" fmla="*/ 5356 w 5577"/>
                  <a:gd name="connsiteY21" fmla="*/ 927 h 1072"/>
                  <a:gd name="connsiteX22" fmla="*/ 5399 w 5577"/>
                  <a:gd name="connsiteY22" fmla="*/ 948 h 1072"/>
                  <a:gd name="connsiteX23" fmla="*/ 5436 w 5577"/>
                  <a:gd name="connsiteY23" fmla="*/ 962 h 1072"/>
                  <a:gd name="connsiteX24" fmla="*/ 5474 w 5577"/>
                  <a:gd name="connsiteY24" fmla="*/ 973 h 1072"/>
                  <a:gd name="connsiteX25" fmla="*/ 5503 w 5577"/>
                  <a:gd name="connsiteY25" fmla="*/ 981 h 1072"/>
                  <a:gd name="connsiteX26" fmla="*/ 5529 w 5577"/>
                  <a:gd name="connsiteY26" fmla="*/ 983 h 1072"/>
                  <a:gd name="connsiteX27" fmla="*/ 5548 w 5577"/>
                  <a:gd name="connsiteY27" fmla="*/ 985 h 1072"/>
                  <a:gd name="connsiteX28" fmla="*/ 5569 w 5577"/>
                  <a:gd name="connsiteY28" fmla="*/ 985 h 1072"/>
                  <a:gd name="connsiteX29" fmla="*/ 5577 w 5577"/>
                  <a:gd name="connsiteY29" fmla="*/ 1072 h 1072"/>
                  <a:gd name="connsiteX30" fmla="*/ 5542 w 5577"/>
                  <a:gd name="connsiteY30" fmla="*/ 1072 h 1072"/>
                  <a:gd name="connsiteX31" fmla="*/ 5515 w 5577"/>
                  <a:gd name="connsiteY31" fmla="*/ 1070 h 1072"/>
                  <a:gd name="connsiteX32" fmla="*/ 5484 w 5577"/>
                  <a:gd name="connsiteY32" fmla="*/ 1064 h 1072"/>
                  <a:gd name="connsiteX33" fmla="*/ 5447 w 5577"/>
                  <a:gd name="connsiteY33" fmla="*/ 1056 h 1072"/>
                  <a:gd name="connsiteX34" fmla="*/ 5405 w 5577"/>
                  <a:gd name="connsiteY34" fmla="*/ 1043 h 1072"/>
                  <a:gd name="connsiteX35" fmla="*/ 5360 w 5577"/>
                  <a:gd name="connsiteY35" fmla="*/ 1025 h 1072"/>
                  <a:gd name="connsiteX36" fmla="*/ 5313 w 5577"/>
                  <a:gd name="connsiteY36" fmla="*/ 1002 h 1072"/>
                  <a:gd name="connsiteX37" fmla="*/ 5263 w 5577"/>
                  <a:gd name="connsiteY37" fmla="*/ 971 h 1072"/>
                  <a:gd name="connsiteX38" fmla="*/ 5211 w 5577"/>
                  <a:gd name="connsiteY38" fmla="*/ 931 h 1072"/>
                  <a:gd name="connsiteX39" fmla="*/ 5160 w 5577"/>
                  <a:gd name="connsiteY39" fmla="*/ 881 h 1072"/>
                  <a:gd name="connsiteX40" fmla="*/ 5106 w 5577"/>
                  <a:gd name="connsiteY40" fmla="*/ 823 h 1072"/>
                  <a:gd name="connsiteX41" fmla="*/ 5055 w 5577"/>
                  <a:gd name="connsiteY41" fmla="*/ 755 h 1072"/>
                  <a:gd name="connsiteX42" fmla="*/ 5005 w 5577"/>
                  <a:gd name="connsiteY42" fmla="*/ 676 h 1072"/>
                  <a:gd name="connsiteX43" fmla="*/ 4957 w 5577"/>
                  <a:gd name="connsiteY43" fmla="*/ 583 h 1072"/>
                  <a:gd name="connsiteX44" fmla="*/ 4908 w 5577"/>
                  <a:gd name="connsiteY44" fmla="*/ 487 h 1072"/>
                  <a:gd name="connsiteX45" fmla="*/ 4858 w 5577"/>
                  <a:gd name="connsiteY45" fmla="*/ 404 h 1072"/>
                  <a:gd name="connsiteX46" fmla="*/ 4809 w 5577"/>
                  <a:gd name="connsiteY46" fmla="*/ 336 h 1072"/>
                  <a:gd name="connsiteX47" fmla="*/ 4759 w 5577"/>
                  <a:gd name="connsiteY47" fmla="*/ 276 h 1072"/>
                  <a:gd name="connsiteX48" fmla="*/ 4712 w 5577"/>
                  <a:gd name="connsiteY48" fmla="*/ 228 h 1072"/>
                  <a:gd name="connsiteX49" fmla="*/ 4666 w 5577"/>
                  <a:gd name="connsiteY49" fmla="*/ 189 h 1072"/>
                  <a:gd name="connsiteX50" fmla="*/ 4625 w 5577"/>
                  <a:gd name="connsiteY50" fmla="*/ 158 h 1072"/>
                  <a:gd name="connsiteX51" fmla="*/ 4586 w 5577"/>
                  <a:gd name="connsiteY51" fmla="*/ 135 h 1072"/>
                  <a:gd name="connsiteX52" fmla="*/ 4536 w 5577"/>
                  <a:gd name="connsiteY52" fmla="*/ 112 h 1072"/>
                  <a:gd name="connsiteX53" fmla="*/ 4493 w 5577"/>
                  <a:gd name="connsiteY53" fmla="*/ 98 h 1072"/>
                  <a:gd name="connsiteX54" fmla="*/ 4458 w 5577"/>
                  <a:gd name="connsiteY54" fmla="*/ 89 h 1072"/>
                  <a:gd name="connsiteX55" fmla="*/ 4429 w 5577"/>
                  <a:gd name="connsiteY55" fmla="*/ 87 h 1072"/>
                  <a:gd name="connsiteX56" fmla="*/ 4402 w 5577"/>
                  <a:gd name="connsiteY56" fmla="*/ 87 h 1072"/>
                  <a:gd name="connsiteX57" fmla="*/ 4336 w 5577"/>
                  <a:gd name="connsiteY57" fmla="*/ 93 h 1072"/>
                  <a:gd name="connsiteX58" fmla="*/ 4274 w 5577"/>
                  <a:gd name="connsiteY58" fmla="*/ 106 h 1072"/>
                  <a:gd name="connsiteX59" fmla="*/ 4218 w 5577"/>
                  <a:gd name="connsiteY59" fmla="*/ 127 h 1072"/>
                  <a:gd name="connsiteX60" fmla="*/ 4167 w 5577"/>
                  <a:gd name="connsiteY60" fmla="*/ 154 h 1072"/>
                  <a:gd name="connsiteX61" fmla="*/ 4119 w 5577"/>
                  <a:gd name="connsiteY61" fmla="*/ 187 h 1072"/>
                  <a:gd name="connsiteX62" fmla="*/ 4076 w 5577"/>
                  <a:gd name="connsiteY62" fmla="*/ 224 h 1072"/>
                  <a:gd name="connsiteX63" fmla="*/ 4037 w 5577"/>
                  <a:gd name="connsiteY63" fmla="*/ 268 h 1072"/>
                  <a:gd name="connsiteX64" fmla="*/ 3997 w 5577"/>
                  <a:gd name="connsiteY64" fmla="*/ 313 h 1072"/>
                  <a:gd name="connsiteX65" fmla="*/ 3962 w 5577"/>
                  <a:gd name="connsiteY65" fmla="*/ 363 h 1072"/>
                  <a:gd name="connsiteX66" fmla="*/ 3929 w 5577"/>
                  <a:gd name="connsiteY66" fmla="*/ 415 h 1072"/>
                  <a:gd name="connsiteX67" fmla="*/ 3867 w 5577"/>
                  <a:gd name="connsiteY67" fmla="*/ 523 h 1072"/>
                  <a:gd name="connsiteX68" fmla="*/ 3774 w 5577"/>
                  <a:gd name="connsiteY68" fmla="*/ 691 h 1072"/>
                  <a:gd name="connsiteX69" fmla="*/ 3741 w 5577"/>
                  <a:gd name="connsiteY69" fmla="*/ 747 h 1072"/>
                  <a:gd name="connsiteX70" fmla="*/ 3706 w 5577"/>
                  <a:gd name="connsiteY70" fmla="*/ 799 h 1072"/>
                  <a:gd name="connsiteX71" fmla="*/ 3671 w 5577"/>
                  <a:gd name="connsiteY71" fmla="*/ 848 h 1072"/>
                  <a:gd name="connsiteX72" fmla="*/ 3632 w 5577"/>
                  <a:gd name="connsiteY72" fmla="*/ 894 h 1072"/>
                  <a:gd name="connsiteX73" fmla="*/ 3591 w 5577"/>
                  <a:gd name="connsiteY73" fmla="*/ 935 h 1072"/>
                  <a:gd name="connsiteX74" fmla="*/ 3545 w 5577"/>
                  <a:gd name="connsiteY74" fmla="*/ 971 h 1072"/>
                  <a:gd name="connsiteX75" fmla="*/ 3496 w 5577"/>
                  <a:gd name="connsiteY75" fmla="*/ 1000 h 1072"/>
                  <a:gd name="connsiteX76" fmla="*/ 3444 w 5577"/>
                  <a:gd name="connsiteY76" fmla="*/ 1022 h 1072"/>
                  <a:gd name="connsiteX77" fmla="*/ 3386 w 5577"/>
                  <a:gd name="connsiteY77" fmla="*/ 1037 h 1072"/>
                  <a:gd name="connsiteX78" fmla="*/ 3322 w 5577"/>
                  <a:gd name="connsiteY78" fmla="*/ 1043 h 1072"/>
                  <a:gd name="connsiteX79" fmla="*/ 3314 w 5577"/>
                  <a:gd name="connsiteY79" fmla="*/ 1043 h 1072"/>
                  <a:gd name="connsiteX80" fmla="*/ 3252 w 5577"/>
                  <a:gd name="connsiteY80" fmla="*/ 1039 h 1072"/>
                  <a:gd name="connsiteX81" fmla="*/ 3192 w 5577"/>
                  <a:gd name="connsiteY81" fmla="*/ 1025 h 1072"/>
                  <a:gd name="connsiteX82" fmla="*/ 3139 w 5577"/>
                  <a:gd name="connsiteY82" fmla="*/ 1002 h 1072"/>
                  <a:gd name="connsiteX83" fmla="*/ 3087 w 5577"/>
                  <a:gd name="connsiteY83" fmla="*/ 973 h 1072"/>
                  <a:gd name="connsiteX84" fmla="*/ 3039 w 5577"/>
                  <a:gd name="connsiteY84" fmla="*/ 935 h 1072"/>
                  <a:gd name="connsiteX85" fmla="*/ 2996 w 5577"/>
                  <a:gd name="connsiteY85" fmla="*/ 894 h 1072"/>
                  <a:gd name="connsiteX86" fmla="*/ 2953 w 5577"/>
                  <a:gd name="connsiteY86" fmla="*/ 846 h 1072"/>
                  <a:gd name="connsiteX87" fmla="*/ 2913 w 5577"/>
                  <a:gd name="connsiteY87" fmla="*/ 796 h 1072"/>
                  <a:gd name="connsiteX88" fmla="*/ 2874 w 5577"/>
                  <a:gd name="connsiteY88" fmla="*/ 740 h 1072"/>
                  <a:gd name="connsiteX89" fmla="*/ 2837 w 5577"/>
                  <a:gd name="connsiteY89" fmla="*/ 684 h 1072"/>
                  <a:gd name="connsiteX90" fmla="*/ 2732 w 5577"/>
                  <a:gd name="connsiteY90" fmla="*/ 510 h 1072"/>
                  <a:gd name="connsiteX91" fmla="*/ 2695 w 5577"/>
                  <a:gd name="connsiteY91" fmla="*/ 452 h 1072"/>
                  <a:gd name="connsiteX92" fmla="*/ 2657 w 5577"/>
                  <a:gd name="connsiteY92" fmla="*/ 396 h 1072"/>
                  <a:gd name="connsiteX93" fmla="*/ 2620 w 5577"/>
                  <a:gd name="connsiteY93" fmla="*/ 342 h 1072"/>
                  <a:gd name="connsiteX94" fmla="*/ 2581 w 5577"/>
                  <a:gd name="connsiteY94" fmla="*/ 293 h 1072"/>
                  <a:gd name="connsiteX95" fmla="*/ 2540 w 5577"/>
                  <a:gd name="connsiteY95" fmla="*/ 247 h 1072"/>
                  <a:gd name="connsiteX96" fmla="*/ 2498 w 5577"/>
                  <a:gd name="connsiteY96" fmla="*/ 205 h 1072"/>
                  <a:gd name="connsiteX97" fmla="*/ 2453 w 5577"/>
                  <a:gd name="connsiteY97" fmla="*/ 168 h 1072"/>
                  <a:gd name="connsiteX98" fmla="*/ 2406 w 5577"/>
                  <a:gd name="connsiteY98" fmla="*/ 139 h 1072"/>
                  <a:gd name="connsiteX99" fmla="*/ 2354 w 5577"/>
                  <a:gd name="connsiteY99" fmla="*/ 116 h 1072"/>
                  <a:gd name="connsiteX100" fmla="*/ 2298 w 5577"/>
                  <a:gd name="connsiteY100" fmla="*/ 100 h 1072"/>
                  <a:gd name="connsiteX101" fmla="*/ 2240 w 5577"/>
                  <a:gd name="connsiteY101" fmla="*/ 91 h 1072"/>
                  <a:gd name="connsiteX102" fmla="*/ 2176 w 5577"/>
                  <a:gd name="connsiteY102" fmla="*/ 93 h 1072"/>
                  <a:gd name="connsiteX103" fmla="*/ 2108 w 5577"/>
                  <a:gd name="connsiteY103" fmla="*/ 104 h 1072"/>
                  <a:gd name="connsiteX104" fmla="*/ 2046 w 5577"/>
                  <a:gd name="connsiteY104" fmla="*/ 122 h 1072"/>
                  <a:gd name="connsiteX105" fmla="*/ 1989 w 5577"/>
                  <a:gd name="connsiteY105" fmla="*/ 147 h 1072"/>
                  <a:gd name="connsiteX106" fmla="*/ 1935 w 5577"/>
                  <a:gd name="connsiteY106" fmla="*/ 181 h 1072"/>
                  <a:gd name="connsiteX107" fmla="*/ 1883 w 5577"/>
                  <a:gd name="connsiteY107" fmla="*/ 218 h 1072"/>
                  <a:gd name="connsiteX108" fmla="*/ 1838 w 5577"/>
                  <a:gd name="connsiteY108" fmla="*/ 261 h 1072"/>
                  <a:gd name="connsiteX109" fmla="*/ 1792 w 5577"/>
                  <a:gd name="connsiteY109" fmla="*/ 307 h 1072"/>
                  <a:gd name="connsiteX110" fmla="*/ 1751 w 5577"/>
                  <a:gd name="connsiteY110" fmla="*/ 359 h 1072"/>
                  <a:gd name="connsiteX111" fmla="*/ 1712 w 5577"/>
                  <a:gd name="connsiteY111" fmla="*/ 413 h 1072"/>
                  <a:gd name="connsiteX112" fmla="*/ 1675 w 5577"/>
                  <a:gd name="connsiteY112" fmla="*/ 467 h 1072"/>
                  <a:gd name="connsiteX113" fmla="*/ 1638 w 5577"/>
                  <a:gd name="connsiteY113" fmla="*/ 523 h 1072"/>
                  <a:gd name="connsiteX114" fmla="*/ 1600 w 5577"/>
                  <a:gd name="connsiteY114" fmla="*/ 581 h 1072"/>
                  <a:gd name="connsiteX115" fmla="*/ 1565 w 5577"/>
                  <a:gd name="connsiteY115" fmla="*/ 637 h 1072"/>
                  <a:gd name="connsiteX116" fmla="*/ 1491 w 5577"/>
                  <a:gd name="connsiteY116" fmla="*/ 749 h 1072"/>
                  <a:gd name="connsiteX117" fmla="*/ 1452 w 5577"/>
                  <a:gd name="connsiteY117" fmla="*/ 801 h 1072"/>
                  <a:gd name="connsiteX118" fmla="*/ 1410 w 5577"/>
                  <a:gd name="connsiteY118" fmla="*/ 850 h 1072"/>
                  <a:gd name="connsiteX119" fmla="*/ 1367 w 5577"/>
                  <a:gd name="connsiteY119" fmla="*/ 896 h 1072"/>
                  <a:gd name="connsiteX120" fmla="*/ 1320 w 5577"/>
                  <a:gd name="connsiteY120" fmla="*/ 937 h 1072"/>
                  <a:gd name="connsiteX121" fmla="*/ 1270 w 5577"/>
                  <a:gd name="connsiteY121" fmla="*/ 973 h 1072"/>
                  <a:gd name="connsiteX122" fmla="*/ 1216 w 5577"/>
                  <a:gd name="connsiteY122" fmla="*/ 1002 h 1072"/>
                  <a:gd name="connsiteX123" fmla="*/ 1161 w 5577"/>
                  <a:gd name="connsiteY123" fmla="*/ 1025 h 1072"/>
                  <a:gd name="connsiteX124" fmla="*/ 1097 w 5577"/>
                  <a:gd name="connsiteY124" fmla="*/ 1037 h 1072"/>
                  <a:gd name="connsiteX125" fmla="*/ 1031 w 5577"/>
                  <a:gd name="connsiteY125" fmla="*/ 1043 h 1072"/>
                  <a:gd name="connsiteX126" fmla="*/ 1024 w 5577"/>
                  <a:gd name="connsiteY126" fmla="*/ 1043 h 1072"/>
                  <a:gd name="connsiteX127" fmla="*/ 956 w 5577"/>
                  <a:gd name="connsiteY127" fmla="*/ 1039 h 1072"/>
                  <a:gd name="connsiteX128" fmla="*/ 894 w 5577"/>
                  <a:gd name="connsiteY128" fmla="*/ 1027 h 1072"/>
                  <a:gd name="connsiteX129" fmla="*/ 836 w 5577"/>
                  <a:gd name="connsiteY129" fmla="*/ 1008 h 1072"/>
                  <a:gd name="connsiteX130" fmla="*/ 785 w 5577"/>
                  <a:gd name="connsiteY130" fmla="*/ 983 h 1072"/>
                  <a:gd name="connsiteX131" fmla="*/ 737 w 5577"/>
                  <a:gd name="connsiteY131" fmla="*/ 952 h 1072"/>
                  <a:gd name="connsiteX132" fmla="*/ 692 w 5577"/>
                  <a:gd name="connsiteY132" fmla="*/ 915 h 1072"/>
                  <a:gd name="connsiteX133" fmla="*/ 651 w 5577"/>
                  <a:gd name="connsiteY133" fmla="*/ 873 h 1072"/>
                  <a:gd name="connsiteX134" fmla="*/ 613 w 5577"/>
                  <a:gd name="connsiteY134" fmla="*/ 828 h 1072"/>
                  <a:gd name="connsiteX135" fmla="*/ 576 w 5577"/>
                  <a:gd name="connsiteY135" fmla="*/ 780 h 1072"/>
                  <a:gd name="connsiteX136" fmla="*/ 543 w 5577"/>
                  <a:gd name="connsiteY136" fmla="*/ 728 h 1072"/>
                  <a:gd name="connsiteX137" fmla="*/ 508 w 5577"/>
                  <a:gd name="connsiteY137" fmla="*/ 674 h 1072"/>
                  <a:gd name="connsiteX138" fmla="*/ 477 w 5577"/>
                  <a:gd name="connsiteY138" fmla="*/ 618 h 1072"/>
                  <a:gd name="connsiteX139" fmla="*/ 444 w 5577"/>
                  <a:gd name="connsiteY139" fmla="*/ 560 h 1072"/>
                  <a:gd name="connsiteX140" fmla="*/ 382 w 5577"/>
                  <a:gd name="connsiteY140" fmla="*/ 448 h 1072"/>
                  <a:gd name="connsiteX141" fmla="*/ 314 w 5577"/>
                  <a:gd name="connsiteY141" fmla="*/ 340 h 1072"/>
                  <a:gd name="connsiteX142" fmla="*/ 271 w 5577"/>
                  <a:gd name="connsiteY142" fmla="*/ 284 h 1072"/>
                  <a:gd name="connsiteX143" fmla="*/ 223 w 5577"/>
                  <a:gd name="connsiteY143" fmla="*/ 239 h 1072"/>
                  <a:gd name="connsiteX144" fmla="*/ 176 w 5577"/>
                  <a:gd name="connsiteY144" fmla="*/ 199 h 1072"/>
                  <a:gd name="connsiteX145" fmla="*/ 124 w 5577"/>
                  <a:gd name="connsiteY145" fmla="*/ 168 h 1072"/>
                  <a:gd name="connsiteX146" fmla="*/ 23 w 5577"/>
                  <a:gd name="connsiteY146" fmla="*/ 127 h 1072"/>
                  <a:gd name="connsiteX147" fmla="*/ 0 w 5577"/>
                  <a:gd name="connsiteY147" fmla="*/ 29 h 1072"/>
                  <a:gd name="connsiteX148" fmla="*/ 54 w 5577"/>
                  <a:gd name="connsiteY148" fmla="*/ 46 h 1072"/>
                  <a:gd name="connsiteX149" fmla="*/ 112 w 5577"/>
                  <a:gd name="connsiteY149" fmla="*/ 66 h 1072"/>
                  <a:gd name="connsiteX150" fmla="*/ 170 w 5577"/>
                  <a:gd name="connsiteY150" fmla="*/ 93 h 1072"/>
                  <a:gd name="connsiteX151" fmla="*/ 225 w 5577"/>
                  <a:gd name="connsiteY151" fmla="*/ 131 h 1072"/>
                  <a:gd name="connsiteX152" fmla="*/ 281 w 5577"/>
                  <a:gd name="connsiteY152" fmla="*/ 174 h 1072"/>
                  <a:gd name="connsiteX153" fmla="*/ 335 w 5577"/>
                  <a:gd name="connsiteY153" fmla="*/ 228 h 1072"/>
                  <a:gd name="connsiteX154" fmla="*/ 384 w 5577"/>
                  <a:gd name="connsiteY154" fmla="*/ 293 h 1072"/>
                  <a:gd name="connsiteX155" fmla="*/ 434 w 5577"/>
                  <a:gd name="connsiteY155" fmla="*/ 367 h 1072"/>
                  <a:gd name="connsiteX156" fmla="*/ 521 w 5577"/>
                  <a:gd name="connsiteY156" fmla="*/ 516 h 1072"/>
                  <a:gd name="connsiteX157" fmla="*/ 554 w 5577"/>
                  <a:gd name="connsiteY157" fmla="*/ 575 h 1072"/>
                  <a:gd name="connsiteX158" fmla="*/ 587 w 5577"/>
                  <a:gd name="connsiteY158" fmla="*/ 631 h 1072"/>
                  <a:gd name="connsiteX159" fmla="*/ 620 w 5577"/>
                  <a:gd name="connsiteY159" fmla="*/ 684 h 1072"/>
                  <a:gd name="connsiteX160" fmla="*/ 653 w 5577"/>
                  <a:gd name="connsiteY160" fmla="*/ 736 h 1072"/>
                  <a:gd name="connsiteX161" fmla="*/ 688 w 5577"/>
                  <a:gd name="connsiteY161" fmla="*/ 782 h 1072"/>
                  <a:gd name="connsiteX162" fmla="*/ 725 w 5577"/>
                  <a:gd name="connsiteY162" fmla="*/ 825 h 1072"/>
                  <a:gd name="connsiteX163" fmla="*/ 766 w 5577"/>
                  <a:gd name="connsiteY163" fmla="*/ 863 h 1072"/>
                  <a:gd name="connsiteX164" fmla="*/ 810 w 5577"/>
                  <a:gd name="connsiteY164" fmla="*/ 894 h 1072"/>
                  <a:gd name="connsiteX165" fmla="*/ 857 w 5577"/>
                  <a:gd name="connsiteY165" fmla="*/ 921 h 1072"/>
                  <a:gd name="connsiteX166" fmla="*/ 907 w 5577"/>
                  <a:gd name="connsiteY166" fmla="*/ 940 h 1072"/>
                  <a:gd name="connsiteX167" fmla="*/ 962 w 5577"/>
                  <a:gd name="connsiteY167" fmla="*/ 952 h 1072"/>
                  <a:gd name="connsiteX168" fmla="*/ 1024 w 5577"/>
                  <a:gd name="connsiteY168" fmla="*/ 956 h 1072"/>
                  <a:gd name="connsiteX169" fmla="*/ 1031 w 5577"/>
                  <a:gd name="connsiteY169" fmla="*/ 956 h 1072"/>
                  <a:gd name="connsiteX170" fmla="*/ 1090 w 5577"/>
                  <a:gd name="connsiteY170" fmla="*/ 950 h 1072"/>
                  <a:gd name="connsiteX171" fmla="*/ 1146 w 5577"/>
                  <a:gd name="connsiteY171" fmla="*/ 935 h 1072"/>
                  <a:gd name="connsiteX172" fmla="*/ 1200 w 5577"/>
                  <a:gd name="connsiteY172" fmla="*/ 913 h 1072"/>
                  <a:gd name="connsiteX173" fmla="*/ 1247 w 5577"/>
                  <a:gd name="connsiteY173" fmla="*/ 884 h 1072"/>
                  <a:gd name="connsiteX174" fmla="*/ 1293 w 5577"/>
                  <a:gd name="connsiteY174" fmla="*/ 846 h 1072"/>
                  <a:gd name="connsiteX175" fmla="*/ 1336 w 5577"/>
                  <a:gd name="connsiteY175" fmla="*/ 803 h 1072"/>
                  <a:gd name="connsiteX176" fmla="*/ 1375 w 5577"/>
                  <a:gd name="connsiteY176" fmla="*/ 755 h 1072"/>
                  <a:gd name="connsiteX177" fmla="*/ 1415 w 5577"/>
                  <a:gd name="connsiteY177" fmla="*/ 703 h 1072"/>
                  <a:gd name="connsiteX178" fmla="*/ 1454 w 5577"/>
                  <a:gd name="connsiteY178" fmla="*/ 649 h 1072"/>
                  <a:gd name="connsiteX179" fmla="*/ 1565 w 5577"/>
                  <a:gd name="connsiteY179" fmla="*/ 475 h 1072"/>
                  <a:gd name="connsiteX180" fmla="*/ 1605 w 5577"/>
                  <a:gd name="connsiteY180" fmla="*/ 415 h 1072"/>
                  <a:gd name="connsiteX181" fmla="*/ 1646 w 5577"/>
                  <a:gd name="connsiteY181" fmla="*/ 357 h 1072"/>
                  <a:gd name="connsiteX182" fmla="*/ 1689 w 5577"/>
                  <a:gd name="connsiteY182" fmla="*/ 299 h 1072"/>
                  <a:gd name="connsiteX183" fmla="*/ 1735 w 5577"/>
                  <a:gd name="connsiteY183" fmla="*/ 245 h 1072"/>
                  <a:gd name="connsiteX184" fmla="*/ 1782 w 5577"/>
                  <a:gd name="connsiteY184" fmla="*/ 193 h 1072"/>
                  <a:gd name="connsiteX185" fmla="*/ 1836 w 5577"/>
                  <a:gd name="connsiteY185" fmla="*/ 145 h 1072"/>
                  <a:gd name="connsiteX186" fmla="*/ 1891 w 5577"/>
                  <a:gd name="connsiteY186" fmla="*/ 104 h 1072"/>
                  <a:gd name="connsiteX187" fmla="*/ 1953 w 5577"/>
                  <a:gd name="connsiteY187" fmla="*/ 69 h 1072"/>
                  <a:gd name="connsiteX188" fmla="*/ 2019 w 5577"/>
                  <a:gd name="connsiteY188" fmla="*/ 40 h 1072"/>
                  <a:gd name="connsiteX189" fmla="*/ 2092 w 5577"/>
                  <a:gd name="connsiteY189" fmla="*/ 19 h 1072"/>
                  <a:gd name="connsiteX190" fmla="*/ 2170 w 5577"/>
                  <a:gd name="connsiteY190" fmla="*/ 6 h 1072"/>
                  <a:gd name="connsiteX191" fmla="*/ 2240 w 5577"/>
                  <a:gd name="connsiteY191" fmla="*/ 4 h 1072"/>
                  <a:gd name="connsiteX192" fmla="*/ 2306 w 5577"/>
                  <a:gd name="connsiteY192" fmla="*/ 13 h 1072"/>
                  <a:gd name="connsiteX193" fmla="*/ 2366 w 5577"/>
                  <a:gd name="connsiteY193" fmla="*/ 27 h 1072"/>
                  <a:gd name="connsiteX194" fmla="*/ 2424 w 5577"/>
                  <a:gd name="connsiteY194" fmla="*/ 50 h 1072"/>
                  <a:gd name="connsiteX195" fmla="*/ 2478 w 5577"/>
                  <a:gd name="connsiteY195" fmla="*/ 81 h 1072"/>
                  <a:gd name="connsiteX196" fmla="*/ 2527 w 5577"/>
                  <a:gd name="connsiteY196" fmla="*/ 116 h 1072"/>
                  <a:gd name="connsiteX197" fmla="*/ 2573 w 5577"/>
                  <a:gd name="connsiteY197" fmla="*/ 158 h 1072"/>
                  <a:gd name="connsiteX198" fmla="*/ 2618 w 5577"/>
                  <a:gd name="connsiteY198" fmla="*/ 203 h 1072"/>
                  <a:gd name="connsiteX199" fmla="*/ 2660 w 5577"/>
                  <a:gd name="connsiteY199" fmla="*/ 251 h 1072"/>
                  <a:gd name="connsiteX200" fmla="*/ 2699 w 5577"/>
                  <a:gd name="connsiteY200" fmla="*/ 303 h 1072"/>
                  <a:gd name="connsiteX201" fmla="*/ 2736 w 5577"/>
                  <a:gd name="connsiteY201" fmla="*/ 357 h 1072"/>
                  <a:gd name="connsiteX202" fmla="*/ 2771 w 5577"/>
                  <a:gd name="connsiteY202" fmla="*/ 413 h 1072"/>
                  <a:gd name="connsiteX203" fmla="*/ 2806 w 5577"/>
                  <a:gd name="connsiteY203" fmla="*/ 467 h 1072"/>
                  <a:gd name="connsiteX204" fmla="*/ 2839 w 5577"/>
                  <a:gd name="connsiteY204" fmla="*/ 523 h 1072"/>
                  <a:gd name="connsiteX205" fmla="*/ 2876 w 5577"/>
                  <a:gd name="connsiteY205" fmla="*/ 585 h 1072"/>
                  <a:gd name="connsiteX206" fmla="*/ 2913 w 5577"/>
                  <a:gd name="connsiteY206" fmla="*/ 643 h 1072"/>
                  <a:gd name="connsiteX207" fmla="*/ 2953 w 5577"/>
                  <a:gd name="connsiteY207" fmla="*/ 701 h 1072"/>
                  <a:gd name="connsiteX208" fmla="*/ 2990 w 5577"/>
                  <a:gd name="connsiteY208" fmla="*/ 755 h 1072"/>
                  <a:gd name="connsiteX209" fmla="*/ 3031 w 5577"/>
                  <a:gd name="connsiteY209" fmla="*/ 805 h 1072"/>
                  <a:gd name="connsiteX210" fmla="*/ 3072 w 5577"/>
                  <a:gd name="connsiteY210" fmla="*/ 848 h 1072"/>
                  <a:gd name="connsiteX211" fmla="*/ 3116 w 5577"/>
                  <a:gd name="connsiteY211" fmla="*/ 886 h 1072"/>
                  <a:gd name="connsiteX212" fmla="*/ 3161 w 5577"/>
                  <a:gd name="connsiteY212" fmla="*/ 917 h 1072"/>
                  <a:gd name="connsiteX213" fmla="*/ 3211 w 5577"/>
                  <a:gd name="connsiteY213" fmla="*/ 940 h 1072"/>
                  <a:gd name="connsiteX214" fmla="*/ 3264 w 5577"/>
                  <a:gd name="connsiteY214" fmla="*/ 952 h 1072"/>
                  <a:gd name="connsiteX215" fmla="*/ 3320 w 5577"/>
                  <a:gd name="connsiteY215" fmla="*/ 956 h 1072"/>
                  <a:gd name="connsiteX216" fmla="*/ 3376 w 5577"/>
                  <a:gd name="connsiteY216" fmla="*/ 950 h 1072"/>
                  <a:gd name="connsiteX217" fmla="*/ 3426 w 5577"/>
                  <a:gd name="connsiteY217" fmla="*/ 935 h 1072"/>
                  <a:gd name="connsiteX218" fmla="*/ 3473 w 5577"/>
                  <a:gd name="connsiteY218" fmla="*/ 915 h 1072"/>
                  <a:gd name="connsiteX219" fmla="*/ 3516 w 5577"/>
                  <a:gd name="connsiteY219" fmla="*/ 884 h 1072"/>
                  <a:gd name="connsiteX220" fmla="*/ 3556 w 5577"/>
                  <a:gd name="connsiteY220" fmla="*/ 848 h 1072"/>
                  <a:gd name="connsiteX221" fmla="*/ 3593 w 5577"/>
                  <a:gd name="connsiteY221" fmla="*/ 807 h 1072"/>
                  <a:gd name="connsiteX222" fmla="*/ 3628 w 5577"/>
                  <a:gd name="connsiteY222" fmla="*/ 759 h 1072"/>
                  <a:gd name="connsiteX223" fmla="*/ 3661 w 5577"/>
                  <a:gd name="connsiteY223" fmla="*/ 709 h 1072"/>
                  <a:gd name="connsiteX224" fmla="*/ 3694 w 5577"/>
                  <a:gd name="connsiteY224" fmla="*/ 655 h 1072"/>
                  <a:gd name="connsiteX225" fmla="*/ 3727 w 5577"/>
                  <a:gd name="connsiteY225" fmla="*/ 597 h 1072"/>
                  <a:gd name="connsiteX226" fmla="*/ 3760 w 5577"/>
                  <a:gd name="connsiteY226" fmla="*/ 537 h 1072"/>
                  <a:gd name="connsiteX227" fmla="*/ 3789 w 5577"/>
                  <a:gd name="connsiteY227" fmla="*/ 483 h 1072"/>
                  <a:gd name="connsiteX228" fmla="*/ 3851 w 5577"/>
                  <a:gd name="connsiteY228" fmla="*/ 375 h 1072"/>
                  <a:gd name="connsiteX229" fmla="*/ 3921 w 5577"/>
                  <a:gd name="connsiteY229" fmla="*/ 272 h 1072"/>
                  <a:gd name="connsiteX230" fmla="*/ 3958 w 5577"/>
                  <a:gd name="connsiteY230" fmla="*/ 224 h 1072"/>
                  <a:gd name="connsiteX231" fmla="*/ 3999 w 5577"/>
                  <a:gd name="connsiteY231" fmla="*/ 178 h 1072"/>
                  <a:gd name="connsiteX232" fmla="*/ 4043 w 5577"/>
                  <a:gd name="connsiteY232" fmla="*/ 137 h 1072"/>
                  <a:gd name="connsiteX233" fmla="*/ 4090 w 5577"/>
                  <a:gd name="connsiteY233" fmla="*/ 100 h 1072"/>
                  <a:gd name="connsiteX234" fmla="*/ 4142 w 5577"/>
                  <a:gd name="connsiteY234" fmla="*/ 66 h 1072"/>
                  <a:gd name="connsiteX235" fmla="*/ 4200 w 5577"/>
                  <a:gd name="connsiteY235" fmla="*/ 40 h 1072"/>
                  <a:gd name="connsiteX236" fmla="*/ 4260 w 5577"/>
                  <a:gd name="connsiteY236" fmla="*/ 19 h 1072"/>
                  <a:gd name="connsiteX237" fmla="*/ 4326 w 5577"/>
                  <a:gd name="connsiteY237" fmla="*/ 6 h 1072"/>
                  <a:gd name="connsiteX238" fmla="*/ 4398 w 5577"/>
                  <a:gd name="connsiteY238" fmla="*/ 0 h 1072"/>
                  <a:gd name="connsiteX0" fmla="*/ 4387 w 5566"/>
                  <a:gd name="connsiteY0" fmla="*/ 0 h 1072"/>
                  <a:gd name="connsiteX1" fmla="*/ 4437 w 5566"/>
                  <a:gd name="connsiteY1" fmla="*/ 0 h 1072"/>
                  <a:gd name="connsiteX2" fmla="*/ 4465 w 5566"/>
                  <a:gd name="connsiteY2" fmla="*/ 4 h 1072"/>
                  <a:gd name="connsiteX3" fmla="*/ 4496 w 5566"/>
                  <a:gd name="connsiteY3" fmla="*/ 13 h 1072"/>
                  <a:gd name="connsiteX4" fmla="*/ 4534 w 5566"/>
                  <a:gd name="connsiteY4" fmla="*/ 23 h 1072"/>
                  <a:gd name="connsiteX5" fmla="*/ 4575 w 5566"/>
                  <a:gd name="connsiteY5" fmla="*/ 40 h 1072"/>
                  <a:gd name="connsiteX6" fmla="*/ 4618 w 5566"/>
                  <a:gd name="connsiteY6" fmla="*/ 60 h 1072"/>
                  <a:gd name="connsiteX7" fmla="*/ 4666 w 5566"/>
                  <a:gd name="connsiteY7" fmla="*/ 89 h 1072"/>
                  <a:gd name="connsiteX8" fmla="*/ 4715 w 5566"/>
                  <a:gd name="connsiteY8" fmla="*/ 125 h 1072"/>
                  <a:gd name="connsiteX9" fmla="*/ 4765 w 5566"/>
                  <a:gd name="connsiteY9" fmla="*/ 170 h 1072"/>
                  <a:gd name="connsiteX10" fmla="*/ 4816 w 5566"/>
                  <a:gd name="connsiteY10" fmla="*/ 224 h 1072"/>
                  <a:gd name="connsiteX11" fmla="*/ 4868 w 5566"/>
                  <a:gd name="connsiteY11" fmla="*/ 286 h 1072"/>
                  <a:gd name="connsiteX12" fmla="*/ 4920 w 5566"/>
                  <a:gd name="connsiteY12" fmla="*/ 361 h 1072"/>
                  <a:gd name="connsiteX13" fmla="*/ 4971 w 5566"/>
                  <a:gd name="connsiteY13" fmla="*/ 448 h 1072"/>
                  <a:gd name="connsiteX14" fmla="*/ 5023 w 5566"/>
                  <a:gd name="connsiteY14" fmla="*/ 548 h 1072"/>
                  <a:gd name="connsiteX15" fmla="*/ 5068 w 5566"/>
                  <a:gd name="connsiteY15" fmla="*/ 633 h 1072"/>
                  <a:gd name="connsiteX16" fmla="*/ 5114 w 5566"/>
                  <a:gd name="connsiteY16" fmla="*/ 705 h 1072"/>
                  <a:gd name="connsiteX17" fmla="*/ 5161 w 5566"/>
                  <a:gd name="connsiteY17" fmla="*/ 767 h 1072"/>
                  <a:gd name="connsiteX18" fmla="*/ 5209 w 5566"/>
                  <a:gd name="connsiteY18" fmla="*/ 819 h 1072"/>
                  <a:gd name="connsiteX19" fmla="*/ 5254 w 5566"/>
                  <a:gd name="connsiteY19" fmla="*/ 863 h 1072"/>
                  <a:gd name="connsiteX20" fmla="*/ 5302 w 5566"/>
                  <a:gd name="connsiteY20" fmla="*/ 898 h 1072"/>
                  <a:gd name="connsiteX21" fmla="*/ 5345 w 5566"/>
                  <a:gd name="connsiteY21" fmla="*/ 927 h 1072"/>
                  <a:gd name="connsiteX22" fmla="*/ 5388 w 5566"/>
                  <a:gd name="connsiteY22" fmla="*/ 948 h 1072"/>
                  <a:gd name="connsiteX23" fmla="*/ 5425 w 5566"/>
                  <a:gd name="connsiteY23" fmla="*/ 962 h 1072"/>
                  <a:gd name="connsiteX24" fmla="*/ 5463 w 5566"/>
                  <a:gd name="connsiteY24" fmla="*/ 973 h 1072"/>
                  <a:gd name="connsiteX25" fmla="*/ 5492 w 5566"/>
                  <a:gd name="connsiteY25" fmla="*/ 981 h 1072"/>
                  <a:gd name="connsiteX26" fmla="*/ 5518 w 5566"/>
                  <a:gd name="connsiteY26" fmla="*/ 983 h 1072"/>
                  <a:gd name="connsiteX27" fmla="*/ 5537 w 5566"/>
                  <a:gd name="connsiteY27" fmla="*/ 985 h 1072"/>
                  <a:gd name="connsiteX28" fmla="*/ 5558 w 5566"/>
                  <a:gd name="connsiteY28" fmla="*/ 985 h 1072"/>
                  <a:gd name="connsiteX29" fmla="*/ 5566 w 5566"/>
                  <a:gd name="connsiteY29" fmla="*/ 1072 h 1072"/>
                  <a:gd name="connsiteX30" fmla="*/ 5531 w 5566"/>
                  <a:gd name="connsiteY30" fmla="*/ 1072 h 1072"/>
                  <a:gd name="connsiteX31" fmla="*/ 5504 w 5566"/>
                  <a:gd name="connsiteY31" fmla="*/ 1070 h 1072"/>
                  <a:gd name="connsiteX32" fmla="*/ 5473 w 5566"/>
                  <a:gd name="connsiteY32" fmla="*/ 1064 h 1072"/>
                  <a:gd name="connsiteX33" fmla="*/ 5436 w 5566"/>
                  <a:gd name="connsiteY33" fmla="*/ 1056 h 1072"/>
                  <a:gd name="connsiteX34" fmla="*/ 5394 w 5566"/>
                  <a:gd name="connsiteY34" fmla="*/ 1043 h 1072"/>
                  <a:gd name="connsiteX35" fmla="*/ 5349 w 5566"/>
                  <a:gd name="connsiteY35" fmla="*/ 1025 h 1072"/>
                  <a:gd name="connsiteX36" fmla="*/ 5302 w 5566"/>
                  <a:gd name="connsiteY36" fmla="*/ 1002 h 1072"/>
                  <a:gd name="connsiteX37" fmla="*/ 5252 w 5566"/>
                  <a:gd name="connsiteY37" fmla="*/ 971 h 1072"/>
                  <a:gd name="connsiteX38" fmla="*/ 5200 w 5566"/>
                  <a:gd name="connsiteY38" fmla="*/ 931 h 1072"/>
                  <a:gd name="connsiteX39" fmla="*/ 5149 w 5566"/>
                  <a:gd name="connsiteY39" fmla="*/ 881 h 1072"/>
                  <a:gd name="connsiteX40" fmla="*/ 5095 w 5566"/>
                  <a:gd name="connsiteY40" fmla="*/ 823 h 1072"/>
                  <a:gd name="connsiteX41" fmla="*/ 5044 w 5566"/>
                  <a:gd name="connsiteY41" fmla="*/ 755 h 1072"/>
                  <a:gd name="connsiteX42" fmla="*/ 4994 w 5566"/>
                  <a:gd name="connsiteY42" fmla="*/ 676 h 1072"/>
                  <a:gd name="connsiteX43" fmla="*/ 4946 w 5566"/>
                  <a:gd name="connsiteY43" fmla="*/ 583 h 1072"/>
                  <a:gd name="connsiteX44" fmla="*/ 4897 w 5566"/>
                  <a:gd name="connsiteY44" fmla="*/ 487 h 1072"/>
                  <a:gd name="connsiteX45" fmla="*/ 4847 w 5566"/>
                  <a:gd name="connsiteY45" fmla="*/ 404 h 1072"/>
                  <a:gd name="connsiteX46" fmla="*/ 4798 w 5566"/>
                  <a:gd name="connsiteY46" fmla="*/ 336 h 1072"/>
                  <a:gd name="connsiteX47" fmla="*/ 4748 w 5566"/>
                  <a:gd name="connsiteY47" fmla="*/ 276 h 1072"/>
                  <a:gd name="connsiteX48" fmla="*/ 4701 w 5566"/>
                  <a:gd name="connsiteY48" fmla="*/ 228 h 1072"/>
                  <a:gd name="connsiteX49" fmla="*/ 4655 w 5566"/>
                  <a:gd name="connsiteY49" fmla="*/ 189 h 1072"/>
                  <a:gd name="connsiteX50" fmla="*/ 4614 w 5566"/>
                  <a:gd name="connsiteY50" fmla="*/ 158 h 1072"/>
                  <a:gd name="connsiteX51" fmla="*/ 4575 w 5566"/>
                  <a:gd name="connsiteY51" fmla="*/ 135 h 1072"/>
                  <a:gd name="connsiteX52" fmla="*/ 4525 w 5566"/>
                  <a:gd name="connsiteY52" fmla="*/ 112 h 1072"/>
                  <a:gd name="connsiteX53" fmla="*/ 4482 w 5566"/>
                  <a:gd name="connsiteY53" fmla="*/ 98 h 1072"/>
                  <a:gd name="connsiteX54" fmla="*/ 4447 w 5566"/>
                  <a:gd name="connsiteY54" fmla="*/ 89 h 1072"/>
                  <a:gd name="connsiteX55" fmla="*/ 4418 w 5566"/>
                  <a:gd name="connsiteY55" fmla="*/ 87 h 1072"/>
                  <a:gd name="connsiteX56" fmla="*/ 4391 w 5566"/>
                  <a:gd name="connsiteY56" fmla="*/ 87 h 1072"/>
                  <a:gd name="connsiteX57" fmla="*/ 4325 w 5566"/>
                  <a:gd name="connsiteY57" fmla="*/ 93 h 1072"/>
                  <a:gd name="connsiteX58" fmla="*/ 4263 w 5566"/>
                  <a:gd name="connsiteY58" fmla="*/ 106 h 1072"/>
                  <a:gd name="connsiteX59" fmla="*/ 4207 w 5566"/>
                  <a:gd name="connsiteY59" fmla="*/ 127 h 1072"/>
                  <a:gd name="connsiteX60" fmla="*/ 4156 w 5566"/>
                  <a:gd name="connsiteY60" fmla="*/ 154 h 1072"/>
                  <a:gd name="connsiteX61" fmla="*/ 4108 w 5566"/>
                  <a:gd name="connsiteY61" fmla="*/ 187 h 1072"/>
                  <a:gd name="connsiteX62" fmla="*/ 4065 w 5566"/>
                  <a:gd name="connsiteY62" fmla="*/ 224 h 1072"/>
                  <a:gd name="connsiteX63" fmla="*/ 4026 w 5566"/>
                  <a:gd name="connsiteY63" fmla="*/ 268 h 1072"/>
                  <a:gd name="connsiteX64" fmla="*/ 3986 w 5566"/>
                  <a:gd name="connsiteY64" fmla="*/ 313 h 1072"/>
                  <a:gd name="connsiteX65" fmla="*/ 3951 w 5566"/>
                  <a:gd name="connsiteY65" fmla="*/ 363 h 1072"/>
                  <a:gd name="connsiteX66" fmla="*/ 3918 w 5566"/>
                  <a:gd name="connsiteY66" fmla="*/ 415 h 1072"/>
                  <a:gd name="connsiteX67" fmla="*/ 3856 w 5566"/>
                  <a:gd name="connsiteY67" fmla="*/ 523 h 1072"/>
                  <a:gd name="connsiteX68" fmla="*/ 3763 w 5566"/>
                  <a:gd name="connsiteY68" fmla="*/ 691 h 1072"/>
                  <a:gd name="connsiteX69" fmla="*/ 3730 w 5566"/>
                  <a:gd name="connsiteY69" fmla="*/ 747 h 1072"/>
                  <a:gd name="connsiteX70" fmla="*/ 3695 w 5566"/>
                  <a:gd name="connsiteY70" fmla="*/ 799 h 1072"/>
                  <a:gd name="connsiteX71" fmla="*/ 3660 w 5566"/>
                  <a:gd name="connsiteY71" fmla="*/ 848 h 1072"/>
                  <a:gd name="connsiteX72" fmla="*/ 3621 w 5566"/>
                  <a:gd name="connsiteY72" fmla="*/ 894 h 1072"/>
                  <a:gd name="connsiteX73" fmla="*/ 3580 w 5566"/>
                  <a:gd name="connsiteY73" fmla="*/ 935 h 1072"/>
                  <a:gd name="connsiteX74" fmla="*/ 3534 w 5566"/>
                  <a:gd name="connsiteY74" fmla="*/ 971 h 1072"/>
                  <a:gd name="connsiteX75" fmla="*/ 3485 w 5566"/>
                  <a:gd name="connsiteY75" fmla="*/ 1000 h 1072"/>
                  <a:gd name="connsiteX76" fmla="*/ 3433 w 5566"/>
                  <a:gd name="connsiteY76" fmla="*/ 1022 h 1072"/>
                  <a:gd name="connsiteX77" fmla="*/ 3375 w 5566"/>
                  <a:gd name="connsiteY77" fmla="*/ 1037 h 1072"/>
                  <a:gd name="connsiteX78" fmla="*/ 3311 w 5566"/>
                  <a:gd name="connsiteY78" fmla="*/ 1043 h 1072"/>
                  <a:gd name="connsiteX79" fmla="*/ 3303 w 5566"/>
                  <a:gd name="connsiteY79" fmla="*/ 1043 h 1072"/>
                  <a:gd name="connsiteX80" fmla="*/ 3241 w 5566"/>
                  <a:gd name="connsiteY80" fmla="*/ 1039 h 1072"/>
                  <a:gd name="connsiteX81" fmla="*/ 3181 w 5566"/>
                  <a:gd name="connsiteY81" fmla="*/ 1025 h 1072"/>
                  <a:gd name="connsiteX82" fmla="*/ 3128 w 5566"/>
                  <a:gd name="connsiteY82" fmla="*/ 1002 h 1072"/>
                  <a:gd name="connsiteX83" fmla="*/ 3076 w 5566"/>
                  <a:gd name="connsiteY83" fmla="*/ 973 h 1072"/>
                  <a:gd name="connsiteX84" fmla="*/ 3028 w 5566"/>
                  <a:gd name="connsiteY84" fmla="*/ 935 h 1072"/>
                  <a:gd name="connsiteX85" fmla="*/ 2985 w 5566"/>
                  <a:gd name="connsiteY85" fmla="*/ 894 h 1072"/>
                  <a:gd name="connsiteX86" fmla="*/ 2942 w 5566"/>
                  <a:gd name="connsiteY86" fmla="*/ 846 h 1072"/>
                  <a:gd name="connsiteX87" fmla="*/ 2902 w 5566"/>
                  <a:gd name="connsiteY87" fmla="*/ 796 h 1072"/>
                  <a:gd name="connsiteX88" fmla="*/ 2863 w 5566"/>
                  <a:gd name="connsiteY88" fmla="*/ 740 h 1072"/>
                  <a:gd name="connsiteX89" fmla="*/ 2826 w 5566"/>
                  <a:gd name="connsiteY89" fmla="*/ 684 h 1072"/>
                  <a:gd name="connsiteX90" fmla="*/ 2721 w 5566"/>
                  <a:gd name="connsiteY90" fmla="*/ 510 h 1072"/>
                  <a:gd name="connsiteX91" fmla="*/ 2684 w 5566"/>
                  <a:gd name="connsiteY91" fmla="*/ 452 h 1072"/>
                  <a:gd name="connsiteX92" fmla="*/ 2646 w 5566"/>
                  <a:gd name="connsiteY92" fmla="*/ 396 h 1072"/>
                  <a:gd name="connsiteX93" fmla="*/ 2609 w 5566"/>
                  <a:gd name="connsiteY93" fmla="*/ 342 h 1072"/>
                  <a:gd name="connsiteX94" fmla="*/ 2570 w 5566"/>
                  <a:gd name="connsiteY94" fmla="*/ 293 h 1072"/>
                  <a:gd name="connsiteX95" fmla="*/ 2529 w 5566"/>
                  <a:gd name="connsiteY95" fmla="*/ 247 h 1072"/>
                  <a:gd name="connsiteX96" fmla="*/ 2487 w 5566"/>
                  <a:gd name="connsiteY96" fmla="*/ 205 h 1072"/>
                  <a:gd name="connsiteX97" fmla="*/ 2442 w 5566"/>
                  <a:gd name="connsiteY97" fmla="*/ 168 h 1072"/>
                  <a:gd name="connsiteX98" fmla="*/ 2395 w 5566"/>
                  <a:gd name="connsiteY98" fmla="*/ 139 h 1072"/>
                  <a:gd name="connsiteX99" fmla="*/ 2343 w 5566"/>
                  <a:gd name="connsiteY99" fmla="*/ 116 h 1072"/>
                  <a:gd name="connsiteX100" fmla="*/ 2287 w 5566"/>
                  <a:gd name="connsiteY100" fmla="*/ 100 h 1072"/>
                  <a:gd name="connsiteX101" fmla="*/ 2229 w 5566"/>
                  <a:gd name="connsiteY101" fmla="*/ 91 h 1072"/>
                  <a:gd name="connsiteX102" fmla="*/ 2165 w 5566"/>
                  <a:gd name="connsiteY102" fmla="*/ 93 h 1072"/>
                  <a:gd name="connsiteX103" fmla="*/ 2097 w 5566"/>
                  <a:gd name="connsiteY103" fmla="*/ 104 h 1072"/>
                  <a:gd name="connsiteX104" fmla="*/ 2035 w 5566"/>
                  <a:gd name="connsiteY104" fmla="*/ 122 h 1072"/>
                  <a:gd name="connsiteX105" fmla="*/ 1978 w 5566"/>
                  <a:gd name="connsiteY105" fmla="*/ 147 h 1072"/>
                  <a:gd name="connsiteX106" fmla="*/ 1924 w 5566"/>
                  <a:gd name="connsiteY106" fmla="*/ 181 h 1072"/>
                  <a:gd name="connsiteX107" fmla="*/ 1872 w 5566"/>
                  <a:gd name="connsiteY107" fmla="*/ 218 h 1072"/>
                  <a:gd name="connsiteX108" fmla="*/ 1827 w 5566"/>
                  <a:gd name="connsiteY108" fmla="*/ 261 h 1072"/>
                  <a:gd name="connsiteX109" fmla="*/ 1781 w 5566"/>
                  <a:gd name="connsiteY109" fmla="*/ 307 h 1072"/>
                  <a:gd name="connsiteX110" fmla="*/ 1740 w 5566"/>
                  <a:gd name="connsiteY110" fmla="*/ 359 h 1072"/>
                  <a:gd name="connsiteX111" fmla="*/ 1701 w 5566"/>
                  <a:gd name="connsiteY111" fmla="*/ 413 h 1072"/>
                  <a:gd name="connsiteX112" fmla="*/ 1664 w 5566"/>
                  <a:gd name="connsiteY112" fmla="*/ 467 h 1072"/>
                  <a:gd name="connsiteX113" fmla="*/ 1627 w 5566"/>
                  <a:gd name="connsiteY113" fmla="*/ 523 h 1072"/>
                  <a:gd name="connsiteX114" fmla="*/ 1589 w 5566"/>
                  <a:gd name="connsiteY114" fmla="*/ 581 h 1072"/>
                  <a:gd name="connsiteX115" fmla="*/ 1554 w 5566"/>
                  <a:gd name="connsiteY115" fmla="*/ 637 h 1072"/>
                  <a:gd name="connsiteX116" fmla="*/ 1480 w 5566"/>
                  <a:gd name="connsiteY116" fmla="*/ 749 h 1072"/>
                  <a:gd name="connsiteX117" fmla="*/ 1441 w 5566"/>
                  <a:gd name="connsiteY117" fmla="*/ 801 h 1072"/>
                  <a:gd name="connsiteX118" fmla="*/ 1399 w 5566"/>
                  <a:gd name="connsiteY118" fmla="*/ 850 h 1072"/>
                  <a:gd name="connsiteX119" fmla="*/ 1356 w 5566"/>
                  <a:gd name="connsiteY119" fmla="*/ 896 h 1072"/>
                  <a:gd name="connsiteX120" fmla="*/ 1309 w 5566"/>
                  <a:gd name="connsiteY120" fmla="*/ 937 h 1072"/>
                  <a:gd name="connsiteX121" fmla="*/ 1259 w 5566"/>
                  <a:gd name="connsiteY121" fmla="*/ 973 h 1072"/>
                  <a:gd name="connsiteX122" fmla="*/ 1205 w 5566"/>
                  <a:gd name="connsiteY122" fmla="*/ 1002 h 1072"/>
                  <a:gd name="connsiteX123" fmla="*/ 1150 w 5566"/>
                  <a:gd name="connsiteY123" fmla="*/ 1025 h 1072"/>
                  <a:gd name="connsiteX124" fmla="*/ 1086 w 5566"/>
                  <a:gd name="connsiteY124" fmla="*/ 1037 h 1072"/>
                  <a:gd name="connsiteX125" fmla="*/ 1020 w 5566"/>
                  <a:gd name="connsiteY125" fmla="*/ 1043 h 1072"/>
                  <a:gd name="connsiteX126" fmla="*/ 1013 w 5566"/>
                  <a:gd name="connsiteY126" fmla="*/ 1043 h 1072"/>
                  <a:gd name="connsiteX127" fmla="*/ 945 w 5566"/>
                  <a:gd name="connsiteY127" fmla="*/ 1039 h 1072"/>
                  <a:gd name="connsiteX128" fmla="*/ 883 w 5566"/>
                  <a:gd name="connsiteY128" fmla="*/ 1027 h 1072"/>
                  <a:gd name="connsiteX129" fmla="*/ 825 w 5566"/>
                  <a:gd name="connsiteY129" fmla="*/ 1008 h 1072"/>
                  <a:gd name="connsiteX130" fmla="*/ 774 w 5566"/>
                  <a:gd name="connsiteY130" fmla="*/ 983 h 1072"/>
                  <a:gd name="connsiteX131" fmla="*/ 726 w 5566"/>
                  <a:gd name="connsiteY131" fmla="*/ 952 h 1072"/>
                  <a:gd name="connsiteX132" fmla="*/ 681 w 5566"/>
                  <a:gd name="connsiteY132" fmla="*/ 915 h 1072"/>
                  <a:gd name="connsiteX133" fmla="*/ 640 w 5566"/>
                  <a:gd name="connsiteY133" fmla="*/ 873 h 1072"/>
                  <a:gd name="connsiteX134" fmla="*/ 602 w 5566"/>
                  <a:gd name="connsiteY134" fmla="*/ 828 h 1072"/>
                  <a:gd name="connsiteX135" fmla="*/ 565 w 5566"/>
                  <a:gd name="connsiteY135" fmla="*/ 780 h 1072"/>
                  <a:gd name="connsiteX136" fmla="*/ 532 w 5566"/>
                  <a:gd name="connsiteY136" fmla="*/ 728 h 1072"/>
                  <a:gd name="connsiteX137" fmla="*/ 497 w 5566"/>
                  <a:gd name="connsiteY137" fmla="*/ 674 h 1072"/>
                  <a:gd name="connsiteX138" fmla="*/ 466 w 5566"/>
                  <a:gd name="connsiteY138" fmla="*/ 618 h 1072"/>
                  <a:gd name="connsiteX139" fmla="*/ 433 w 5566"/>
                  <a:gd name="connsiteY139" fmla="*/ 560 h 1072"/>
                  <a:gd name="connsiteX140" fmla="*/ 371 w 5566"/>
                  <a:gd name="connsiteY140" fmla="*/ 448 h 1072"/>
                  <a:gd name="connsiteX141" fmla="*/ 303 w 5566"/>
                  <a:gd name="connsiteY141" fmla="*/ 340 h 1072"/>
                  <a:gd name="connsiteX142" fmla="*/ 260 w 5566"/>
                  <a:gd name="connsiteY142" fmla="*/ 284 h 1072"/>
                  <a:gd name="connsiteX143" fmla="*/ 212 w 5566"/>
                  <a:gd name="connsiteY143" fmla="*/ 239 h 1072"/>
                  <a:gd name="connsiteX144" fmla="*/ 165 w 5566"/>
                  <a:gd name="connsiteY144" fmla="*/ 199 h 1072"/>
                  <a:gd name="connsiteX145" fmla="*/ 113 w 5566"/>
                  <a:gd name="connsiteY145" fmla="*/ 168 h 1072"/>
                  <a:gd name="connsiteX146" fmla="*/ 12 w 5566"/>
                  <a:gd name="connsiteY146" fmla="*/ 127 h 1072"/>
                  <a:gd name="connsiteX147" fmla="*/ 43 w 5566"/>
                  <a:gd name="connsiteY147" fmla="*/ 46 h 1072"/>
                  <a:gd name="connsiteX148" fmla="*/ 101 w 5566"/>
                  <a:gd name="connsiteY148" fmla="*/ 66 h 1072"/>
                  <a:gd name="connsiteX149" fmla="*/ 159 w 5566"/>
                  <a:gd name="connsiteY149" fmla="*/ 93 h 1072"/>
                  <a:gd name="connsiteX150" fmla="*/ 214 w 5566"/>
                  <a:gd name="connsiteY150" fmla="*/ 131 h 1072"/>
                  <a:gd name="connsiteX151" fmla="*/ 270 w 5566"/>
                  <a:gd name="connsiteY151" fmla="*/ 174 h 1072"/>
                  <a:gd name="connsiteX152" fmla="*/ 324 w 5566"/>
                  <a:gd name="connsiteY152" fmla="*/ 228 h 1072"/>
                  <a:gd name="connsiteX153" fmla="*/ 373 w 5566"/>
                  <a:gd name="connsiteY153" fmla="*/ 293 h 1072"/>
                  <a:gd name="connsiteX154" fmla="*/ 423 w 5566"/>
                  <a:gd name="connsiteY154" fmla="*/ 367 h 1072"/>
                  <a:gd name="connsiteX155" fmla="*/ 510 w 5566"/>
                  <a:gd name="connsiteY155" fmla="*/ 516 h 1072"/>
                  <a:gd name="connsiteX156" fmla="*/ 543 w 5566"/>
                  <a:gd name="connsiteY156" fmla="*/ 575 h 1072"/>
                  <a:gd name="connsiteX157" fmla="*/ 576 w 5566"/>
                  <a:gd name="connsiteY157" fmla="*/ 631 h 1072"/>
                  <a:gd name="connsiteX158" fmla="*/ 609 w 5566"/>
                  <a:gd name="connsiteY158" fmla="*/ 684 h 1072"/>
                  <a:gd name="connsiteX159" fmla="*/ 642 w 5566"/>
                  <a:gd name="connsiteY159" fmla="*/ 736 h 1072"/>
                  <a:gd name="connsiteX160" fmla="*/ 677 w 5566"/>
                  <a:gd name="connsiteY160" fmla="*/ 782 h 1072"/>
                  <a:gd name="connsiteX161" fmla="*/ 714 w 5566"/>
                  <a:gd name="connsiteY161" fmla="*/ 825 h 1072"/>
                  <a:gd name="connsiteX162" fmla="*/ 755 w 5566"/>
                  <a:gd name="connsiteY162" fmla="*/ 863 h 1072"/>
                  <a:gd name="connsiteX163" fmla="*/ 799 w 5566"/>
                  <a:gd name="connsiteY163" fmla="*/ 894 h 1072"/>
                  <a:gd name="connsiteX164" fmla="*/ 846 w 5566"/>
                  <a:gd name="connsiteY164" fmla="*/ 921 h 1072"/>
                  <a:gd name="connsiteX165" fmla="*/ 896 w 5566"/>
                  <a:gd name="connsiteY165" fmla="*/ 940 h 1072"/>
                  <a:gd name="connsiteX166" fmla="*/ 951 w 5566"/>
                  <a:gd name="connsiteY166" fmla="*/ 952 h 1072"/>
                  <a:gd name="connsiteX167" fmla="*/ 1013 w 5566"/>
                  <a:gd name="connsiteY167" fmla="*/ 956 h 1072"/>
                  <a:gd name="connsiteX168" fmla="*/ 1020 w 5566"/>
                  <a:gd name="connsiteY168" fmla="*/ 956 h 1072"/>
                  <a:gd name="connsiteX169" fmla="*/ 1079 w 5566"/>
                  <a:gd name="connsiteY169" fmla="*/ 950 h 1072"/>
                  <a:gd name="connsiteX170" fmla="*/ 1135 w 5566"/>
                  <a:gd name="connsiteY170" fmla="*/ 935 h 1072"/>
                  <a:gd name="connsiteX171" fmla="*/ 1189 w 5566"/>
                  <a:gd name="connsiteY171" fmla="*/ 913 h 1072"/>
                  <a:gd name="connsiteX172" fmla="*/ 1236 w 5566"/>
                  <a:gd name="connsiteY172" fmla="*/ 884 h 1072"/>
                  <a:gd name="connsiteX173" fmla="*/ 1282 w 5566"/>
                  <a:gd name="connsiteY173" fmla="*/ 846 h 1072"/>
                  <a:gd name="connsiteX174" fmla="*/ 1325 w 5566"/>
                  <a:gd name="connsiteY174" fmla="*/ 803 h 1072"/>
                  <a:gd name="connsiteX175" fmla="*/ 1364 w 5566"/>
                  <a:gd name="connsiteY175" fmla="*/ 755 h 1072"/>
                  <a:gd name="connsiteX176" fmla="*/ 1404 w 5566"/>
                  <a:gd name="connsiteY176" fmla="*/ 703 h 1072"/>
                  <a:gd name="connsiteX177" fmla="*/ 1443 w 5566"/>
                  <a:gd name="connsiteY177" fmla="*/ 649 h 1072"/>
                  <a:gd name="connsiteX178" fmla="*/ 1554 w 5566"/>
                  <a:gd name="connsiteY178" fmla="*/ 475 h 1072"/>
                  <a:gd name="connsiteX179" fmla="*/ 1594 w 5566"/>
                  <a:gd name="connsiteY179" fmla="*/ 415 h 1072"/>
                  <a:gd name="connsiteX180" fmla="*/ 1635 w 5566"/>
                  <a:gd name="connsiteY180" fmla="*/ 357 h 1072"/>
                  <a:gd name="connsiteX181" fmla="*/ 1678 w 5566"/>
                  <a:gd name="connsiteY181" fmla="*/ 299 h 1072"/>
                  <a:gd name="connsiteX182" fmla="*/ 1724 w 5566"/>
                  <a:gd name="connsiteY182" fmla="*/ 245 h 1072"/>
                  <a:gd name="connsiteX183" fmla="*/ 1771 w 5566"/>
                  <a:gd name="connsiteY183" fmla="*/ 193 h 1072"/>
                  <a:gd name="connsiteX184" fmla="*/ 1825 w 5566"/>
                  <a:gd name="connsiteY184" fmla="*/ 145 h 1072"/>
                  <a:gd name="connsiteX185" fmla="*/ 1880 w 5566"/>
                  <a:gd name="connsiteY185" fmla="*/ 104 h 1072"/>
                  <a:gd name="connsiteX186" fmla="*/ 1942 w 5566"/>
                  <a:gd name="connsiteY186" fmla="*/ 69 h 1072"/>
                  <a:gd name="connsiteX187" fmla="*/ 2008 w 5566"/>
                  <a:gd name="connsiteY187" fmla="*/ 40 h 1072"/>
                  <a:gd name="connsiteX188" fmla="*/ 2081 w 5566"/>
                  <a:gd name="connsiteY188" fmla="*/ 19 h 1072"/>
                  <a:gd name="connsiteX189" fmla="*/ 2159 w 5566"/>
                  <a:gd name="connsiteY189" fmla="*/ 6 h 1072"/>
                  <a:gd name="connsiteX190" fmla="*/ 2229 w 5566"/>
                  <a:gd name="connsiteY190" fmla="*/ 4 h 1072"/>
                  <a:gd name="connsiteX191" fmla="*/ 2295 w 5566"/>
                  <a:gd name="connsiteY191" fmla="*/ 13 h 1072"/>
                  <a:gd name="connsiteX192" fmla="*/ 2355 w 5566"/>
                  <a:gd name="connsiteY192" fmla="*/ 27 h 1072"/>
                  <a:gd name="connsiteX193" fmla="*/ 2413 w 5566"/>
                  <a:gd name="connsiteY193" fmla="*/ 50 h 1072"/>
                  <a:gd name="connsiteX194" fmla="*/ 2467 w 5566"/>
                  <a:gd name="connsiteY194" fmla="*/ 81 h 1072"/>
                  <a:gd name="connsiteX195" fmla="*/ 2516 w 5566"/>
                  <a:gd name="connsiteY195" fmla="*/ 116 h 1072"/>
                  <a:gd name="connsiteX196" fmla="*/ 2562 w 5566"/>
                  <a:gd name="connsiteY196" fmla="*/ 158 h 1072"/>
                  <a:gd name="connsiteX197" fmla="*/ 2607 w 5566"/>
                  <a:gd name="connsiteY197" fmla="*/ 203 h 1072"/>
                  <a:gd name="connsiteX198" fmla="*/ 2649 w 5566"/>
                  <a:gd name="connsiteY198" fmla="*/ 251 h 1072"/>
                  <a:gd name="connsiteX199" fmla="*/ 2688 w 5566"/>
                  <a:gd name="connsiteY199" fmla="*/ 303 h 1072"/>
                  <a:gd name="connsiteX200" fmla="*/ 2725 w 5566"/>
                  <a:gd name="connsiteY200" fmla="*/ 357 h 1072"/>
                  <a:gd name="connsiteX201" fmla="*/ 2760 w 5566"/>
                  <a:gd name="connsiteY201" fmla="*/ 413 h 1072"/>
                  <a:gd name="connsiteX202" fmla="*/ 2795 w 5566"/>
                  <a:gd name="connsiteY202" fmla="*/ 467 h 1072"/>
                  <a:gd name="connsiteX203" fmla="*/ 2828 w 5566"/>
                  <a:gd name="connsiteY203" fmla="*/ 523 h 1072"/>
                  <a:gd name="connsiteX204" fmla="*/ 2865 w 5566"/>
                  <a:gd name="connsiteY204" fmla="*/ 585 h 1072"/>
                  <a:gd name="connsiteX205" fmla="*/ 2902 w 5566"/>
                  <a:gd name="connsiteY205" fmla="*/ 643 h 1072"/>
                  <a:gd name="connsiteX206" fmla="*/ 2942 w 5566"/>
                  <a:gd name="connsiteY206" fmla="*/ 701 h 1072"/>
                  <a:gd name="connsiteX207" fmla="*/ 2979 w 5566"/>
                  <a:gd name="connsiteY207" fmla="*/ 755 h 1072"/>
                  <a:gd name="connsiteX208" fmla="*/ 3020 w 5566"/>
                  <a:gd name="connsiteY208" fmla="*/ 805 h 1072"/>
                  <a:gd name="connsiteX209" fmla="*/ 3061 w 5566"/>
                  <a:gd name="connsiteY209" fmla="*/ 848 h 1072"/>
                  <a:gd name="connsiteX210" fmla="*/ 3105 w 5566"/>
                  <a:gd name="connsiteY210" fmla="*/ 886 h 1072"/>
                  <a:gd name="connsiteX211" fmla="*/ 3150 w 5566"/>
                  <a:gd name="connsiteY211" fmla="*/ 917 h 1072"/>
                  <a:gd name="connsiteX212" fmla="*/ 3200 w 5566"/>
                  <a:gd name="connsiteY212" fmla="*/ 940 h 1072"/>
                  <a:gd name="connsiteX213" fmla="*/ 3253 w 5566"/>
                  <a:gd name="connsiteY213" fmla="*/ 952 h 1072"/>
                  <a:gd name="connsiteX214" fmla="*/ 3309 w 5566"/>
                  <a:gd name="connsiteY214" fmla="*/ 956 h 1072"/>
                  <a:gd name="connsiteX215" fmla="*/ 3365 w 5566"/>
                  <a:gd name="connsiteY215" fmla="*/ 950 h 1072"/>
                  <a:gd name="connsiteX216" fmla="*/ 3415 w 5566"/>
                  <a:gd name="connsiteY216" fmla="*/ 935 h 1072"/>
                  <a:gd name="connsiteX217" fmla="*/ 3462 w 5566"/>
                  <a:gd name="connsiteY217" fmla="*/ 915 h 1072"/>
                  <a:gd name="connsiteX218" fmla="*/ 3505 w 5566"/>
                  <a:gd name="connsiteY218" fmla="*/ 884 h 1072"/>
                  <a:gd name="connsiteX219" fmla="*/ 3545 w 5566"/>
                  <a:gd name="connsiteY219" fmla="*/ 848 h 1072"/>
                  <a:gd name="connsiteX220" fmla="*/ 3582 w 5566"/>
                  <a:gd name="connsiteY220" fmla="*/ 807 h 1072"/>
                  <a:gd name="connsiteX221" fmla="*/ 3617 w 5566"/>
                  <a:gd name="connsiteY221" fmla="*/ 759 h 1072"/>
                  <a:gd name="connsiteX222" fmla="*/ 3650 w 5566"/>
                  <a:gd name="connsiteY222" fmla="*/ 709 h 1072"/>
                  <a:gd name="connsiteX223" fmla="*/ 3683 w 5566"/>
                  <a:gd name="connsiteY223" fmla="*/ 655 h 1072"/>
                  <a:gd name="connsiteX224" fmla="*/ 3716 w 5566"/>
                  <a:gd name="connsiteY224" fmla="*/ 597 h 1072"/>
                  <a:gd name="connsiteX225" fmla="*/ 3749 w 5566"/>
                  <a:gd name="connsiteY225" fmla="*/ 537 h 1072"/>
                  <a:gd name="connsiteX226" fmla="*/ 3778 w 5566"/>
                  <a:gd name="connsiteY226" fmla="*/ 483 h 1072"/>
                  <a:gd name="connsiteX227" fmla="*/ 3840 w 5566"/>
                  <a:gd name="connsiteY227" fmla="*/ 375 h 1072"/>
                  <a:gd name="connsiteX228" fmla="*/ 3910 w 5566"/>
                  <a:gd name="connsiteY228" fmla="*/ 272 h 1072"/>
                  <a:gd name="connsiteX229" fmla="*/ 3947 w 5566"/>
                  <a:gd name="connsiteY229" fmla="*/ 224 h 1072"/>
                  <a:gd name="connsiteX230" fmla="*/ 3988 w 5566"/>
                  <a:gd name="connsiteY230" fmla="*/ 178 h 1072"/>
                  <a:gd name="connsiteX231" fmla="*/ 4032 w 5566"/>
                  <a:gd name="connsiteY231" fmla="*/ 137 h 1072"/>
                  <a:gd name="connsiteX232" fmla="*/ 4079 w 5566"/>
                  <a:gd name="connsiteY232" fmla="*/ 100 h 1072"/>
                  <a:gd name="connsiteX233" fmla="*/ 4131 w 5566"/>
                  <a:gd name="connsiteY233" fmla="*/ 66 h 1072"/>
                  <a:gd name="connsiteX234" fmla="*/ 4189 w 5566"/>
                  <a:gd name="connsiteY234" fmla="*/ 40 h 1072"/>
                  <a:gd name="connsiteX235" fmla="*/ 4249 w 5566"/>
                  <a:gd name="connsiteY235" fmla="*/ 19 h 1072"/>
                  <a:gd name="connsiteX236" fmla="*/ 4315 w 5566"/>
                  <a:gd name="connsiteY236" fmla="*/ 6 h 1072"/>
                  <a:gd name="connsiteX237" fmla="*/ 4387 w 5566"/>
                  <a:gd name="connsiteY237" fmla="*/ 0 h 1072"/>
                  <a:gd name="connsiteX0" fmla="*/ 4377 w 5556"/>
                  <a:gd name="connsiteY0" fmla="*/ 0 h 1072"/>
                  <a:gd name="connsiteX1" fmla="*/ 4427 w 5556"/>
                  <a:gd name="connsiteY1" fmla="*/ 0 h 1072"/>
                  <a:gd name="connsiteX2" fmla="*/ 4455 w 5556"/>
                  <a:gd name="connsiteY2" fmla="*/ 4 h 1072"/>
                  <a:gd name="connsiteX3" fmla="*/ 4486 w 5556"/>
                  <a:gd name="connsiteY3" fmla="*/ 13 h 1072"/>
                  <a:gd name="connsiteX4" fmla="*/ 4524 w 5556"/>
                  <a:gd name="connsiteY4" fmla="*/ 23 h 1072"/>
                  <a:gd name="connsiteX5" fmla="*/ 4565 w 5556"/>
                  <a:gd name="connsiteY5" fmla="*/ 40 h 1072"/>
                  <a:gd name="connsiteX6" fmla="*/ 4608 w 5556"/>
                  <a:gd name="connsiteY6" fmla="*/ 60 h 1072"/>
                  <a:gd name="connsiteX7" fmla="*/ 4656 w 5556"/>
                  <a:gd name="connsiteY7" fmla="*/ 89 h 1072"/>
                  <a:gd name="connsiteX8" fmla="*/ 4705 w 5556"/>
                  <a:gd name="connsiteY8" fmla="*/ 125 h 1072"/>
                  <a:gd name="connsiteX9" fmla="*/ 4755 w 5556"/>
                  <a:gd name="connsiteY9" fmla="*/ 170 h 1072"/>
                  <a:gd name="connsiteX10" fmla="*/ 4806 w 5556"/>
                  <a:gd name="connsiteY10" fmla="*/ 224 h 1072"/>
                  <a:gd name="connsiteX11" fmla="*/ 4858 w 5556"/>
                  <a:gd name="connsiteY11" fmla="*/ 286 h 1072"/>
                  <a:gd name="connsiteX12" fmla="*/ 4910 w 5556"/>
                  <a:gd name="connsiteY12" fmla="*/ 361 h 1072"/>
                  <a:gd name="connsiteX13" fmla="*/ 4961 w 5556"/>
                  <a:gd name="connsiteY13" fmla="*/ 448 h 1072"/>
                  <a:gd name="connsiteX14" fmla="*/ 5013 w 5556"/>
                  <a:gd name="connsiteY14" fmla="*/ 548 h 1072"/>
                  <a:gd name="connsiteX15" fmla="*/ 5058 w 5556"/>
                  <a:gd name="connsiteY15" fmla="*/ 633 h 1072"/>
                  <a:gd name="connsiteX16" fmla="*/ 5104 w 5556"/>
                  <a:gd name="connsiteY16" fmla="*/ 705 h 1072"/>
                  <a:gd name="connsiteX17" fmla="*/ 5151 w 5556"/>
                  <a:gd name="connsiteY17" fmla="*/ 767 h 1072"/>
                  <a:gd name="connsiteX18" fmla="*/ 5199 w 5556"/>
                  <a:gd name="connsiteY18" fmla="*/ 819 h 1072"/>
                  <a:gd name="connsiteX19" fmla="*/ 5244 w 5556"/>
                  <a:gd name="connsiteY19" fmla="*/ 863 h 1072"/>
                  <a:gd name="connsiteX20" fmla="*/ 5292 w 5556"/>
                  <a:gd name="connsiteY20" fmla="*/ 898 h 1072"/>
                  <a:gd name="connsiteX21" fmla="*/ 5335 w 5556"/>
                  <a:gd name="connsiteY21" fmla="*/ 927 h 1072"/>
                  <a:gd name="connsiteX22" fmla="*/ 5378 w 5556"/>
                  <a:gd name="connsiteY22" fmla="*/ 948 h 1072"/>
                  <a:gd name="connsiteX23" fmla="*/ 5415 w 5556"/>
                  <a:gd name="connsiteY23" fmla="*/ 962 h 1072"/>
                  <a:gd name="connsiteX24" fmla="*/ 5453 w 5556"/>
                  <a:gd name="connsiteY24" fmla="*/ 973 h 1072"/>
                  <a:gd name="connsiteX25" fmla="*/ 5482 w 5556"/>
                  <a:gd name="connsiteY25" fmla="*/ 981 h 1072"/>
                  <a:gd name="connsiteX26" fmla="*/ 5508 w 5556"/>
                  <a:gd name="connsiteY26" fmla="*/ 983 h 1072"/>
                  <a:gd name="connsiteX27" fmla="*/ 5527 w 5556"/>
                  <a:gd name="connsiteY27" fmla="*/ 985 h 1072"/>
                  <a:gd name="connsiteX28" fmla="*/ 5548 w 5556"/>
                  <a:gd name="connsiteY28" fmla="*/ 985 h 1072"/>
                  <a:gd name="connsiteX29" fmla="*/ 5556 w 5556"/>
                  <a:gd name="connsiteY29" fmla="*/ 1072 h 1072"/>
                  <a:gd name="connsiteX30" fmla="*/ 5521 w 5556"/>
                  <a:gd name="connsiteY30" fmla="*/ 1072 h 1072"/>
                  <a:gd name="connsiteX31" fmla="*/ 5494 w 5556"/>
                  <a:gd name="connsiteY31" fmla="*/ 1070 h 1072"/>
                  <a:gd name="connsiteX32" fmla="*/ 5463 w 5556"/>
                  <a:gd name="connsiteY32" fmla="*/ 1064 h 1072"/>
                  <a:gd name="connsiteX33" fmla="*/ 5426 w 5556"/>
                  <a:gd name="connsiteY33" fmla="*/ 1056 h 1072"/>
                  <a:gd name="connsiteX34" fmla="*/ 5384 w 5556"/>
                  <a:gd name="connsiteY34" fmla="*/ 1043 h 1072"/>
                  <a:gd name="connsiteX35" fmla="*/ 5339 w 5556"/>
                  <a:gd name="connsiteY35" fmla="*/ 1025 h 1072"/>
                  <a:gd name="connsiteX36" fmla="*/ 5292 w 5556"/>
                  <a:gd name="connsiteY36" fmla="*/ 1002 h 1072"/>
                  <a:gd name="connsiteX37" fmla="*/ 5242 w 5556"/>
                  <a:gd name="connsiteY37" fmla="*/ 971 h 1072"/>
                  <a:gd name="connsiteX38" fmla="*/ 5190 w 5556"/>
                  <a:gd name="connsiteY38" fmla="*/ 931 h 1072"/>
                  <a:gd name="connsiteX39" fmla="*/ 5139 w 5556"/>
                  <a:gd name="connsiteY39" fmla="*/ 881 h 1072"/>
                  <a:gd name="connsiteX40" fmla="*/ 5085 w 5556"/>
                  <a:gd name="connsiteY40" fmla="*/ 823 h 1072"/>
                  <a:gd name="connsiteX41" fmla="*/ 5034 w 5556"/>
                  <a:gd name="connsiteY41" fmla="*/ 755 h 1072"/>
                  <a:gd name="connsiteX42" fmla="*/ 4984 w 5556"/>
                  <a:gd name="connsiteY42" fmla="*/ 676 h 1072"/>
                  <a:gd name="connsiteX43" fmla="*/ 4936 w 5556"/>
                  <a:gd name="connsiteY43" fmla="*/ 583 h 1072"/>
                  <a:gd name="connsiteX44" fmla="*/ 4887 w 5556"/>
                  <a:gd name="connsiteY44" fmla="*/ 487 h 1072"/>
                  <a:gd name="connsiteX45" fmla="*/ 4837 w 5556"/>
                  <a:gd name="connsiteY45" fmla="*/ 404 h 1072"/>
                  <a:gd name="connsiteX46" fmla="*/ 4788 w 5556"/>
                  <a:gd name="connsiteY46" fmla="*/ 336 h 1072"/>
                  <a:gd name="connsiteX47" fmla="*/ 4738 w 5556"/>
                  <a:gd name="connsiteY47" fmla="*/ 276 h 1072"/>
                  <a:gd name="connsiteX48" fmla="*/ 4691 w 5556"/>
                  <a:gd name="connsiteY48" fmla="*/ 228 h 1072"/>
                  <a:gd name="connsiteX49" fmla="*/ 4645 w 5556"/>
                  <a:gd name="connsiteY49" fmla="*/ 189 h 1072"/>
                  <a:gd name="connsiteX50" fmla="*/ 4604 w 5556"/>
                  <a:gd name="connsiteY50" fmla="*/ 158 h 1072"/>
                  <a:gd name="connsiteX51" fmla="*/ 4565 w 5556"/>
                  <a:gd name="connsiteY51" fmla="*/ 135 h 1072"/>
                  <a:gd name="connsiteX52" fmla="*/ 4515 w 5556"/>
                  <a:gd name="connsiteY52" fmla="*/ 112 h 1072"/>
                  <a:gd name="connsiteX53" fmla="*/ 4472 w 5556"/>
                  <a:gd name="connsiteY53" fmla="*/ 98 h 1072"/>
                  <a:gd name="connsiteX54" fmla="*/ 4437 w 5556"/>
                  <a:gd name="connsiteY54" fmla="*/ 89 h 1072"/>
                  <a:gd name="connsiteX55" fmla="*/ 4408 w 5556"/>
                  <a:gd name="connsiteY55" fmla="*/ 87 h 1072"/>
                  <a:gd name="connsiteX56" fmla="*/ 4381 w 5556"/>
                  <a:gd name="connsiteY56" fmla="*/ 87 h 1072"/>
                  <a:gd name="connsiteX57" fmla="*/ 4315 w 5556"/>
                  <a:gd name="connsiteY57" fmla="*/ 93 h 1072"/>
                  <a:gd name="connsiteX58" fmla="*/ 4253 w 5556"/>
                  <a:gd name="connsiteY58" fmla="*/ 106 h 1072"/>
                  <a:gd name="connsiteX59" fmla="*/ 4197 w 5556"/>
                  <a:gd name="connsiteY59" fmla="*/ 127 h 1072"/>
                  <a:gd name="connsiteX60" fmla="*/ 4146 w 5556"/>
                  <a:gd name="connsiteY60" fmla="*/ 154 h 1072"/>
                  <a:gd name="connsiteX61" fmla="*/ 4098 w 5556"/>
                  <a:gd name="connsiteY61" fmla="*/ 187 h 1072"/>
                  <a:gd name="connsiteX62" fmla="*/ 4055 w 5556"/>
                  <a:gd name="connsiteY62" fmla="*/ 224 h 1072"/>
                  <a:gd name="connsiteX63" fmla="*/ 4016 w 5556"/>
                  <a:gd name="connsiteY63" fmla="*/ 268 h 1072"/>
                  <a:gd name="connsiteX64" fmla="*/ 3976 w 5556"/>
                  <a:gd name="connsiteY64" fmla="*/ 313 h 1072"/>
                  <a:gd name="connsiteX65" fmla="*/ 3941 w 5556"/>
                  <a:gd name="connsiteY65" fmla="*/ 363 h 1072"/>
                  <a:gd name="connsiteX66" fmla="*/ 3908 w 5556"/>
                  <a:gd name="connsiteY66" fmla="*/ 415 h 1072"/>
                  <a:gd name="connsiteX67" fmla="*/ 3846 w 5556"/>
                  <a:gd name="connsiteY67" fmla="*/ 523 h 1072"/>
                  <a:gd name="connsiteX68" fmla="*/ 3753 w 5556"/>
                  <a:gd name="connsiteY68" fmla="*/ 691 h 1072"/>
                  <a:gd name="connsiteX69" fmla="*/ 3720 w 5556"/>
                  <a:gd name="connsiteY69" fmla="*/ 747 h 1072"/>
                  <a:gd name="connsiteX70" fmla="*/ 3685 w 5556"/>
                  <a:gd name="connsiteY70" fmla="*/ 799 h 1072"/>
                  <a:gd name="connsiteX71" fmla="*/ 3650 w 5556"/>
                  <a:gd name="connsiteY71" fmla="*/ 848 h 1072"/>
                  <a:gd name="connsiteX72" fmla="*/ 3611 w 5556"/>
                  <a:gd name="connsiteY72" fmla="*/ 894 h 1072"/>
                  <a:gd name="connsiteX73" fmla="*/ 3570 w 5556"/>
                  <a:gd name="connsiteY73" fmla="*/ 935 h 1072"/>
                  <a:gd name="connsiteX74" fmla="*/ 3524 w 5556"/>
                  <a:gd name="connsiteY74" fmla="*/ 971 h 1072"/>
                  <a:gd name="connsiteX75" fmla="*/ 3475 w 5556"/>
                  <a:gd name="connsiteY75" fmla="*/ 1000 h 1072"/>
                  <a:gd name="connsiteX76" fmla="*/ 3423 w 5556"/>
                  <a:gd name="connsiteY76" fmla="*/ 1022 h 1072"/>
                  <a:gd name="connsiteX77" fmla="*/ 3365 w 5556"/>
                  <a:gd name="connsiteY77" fmla="*/ 1037 h 1072"/>
                  <a:gd name="connsiteX78" fmla="*/ 3301 w 5556"/>
                  <a:gd name="connsiteY78" fmla="*/ 1043 h 1072"/>
                  <a:gd name="connsiteX79" fmla="*/ 3293 w 5556"/>
                  <a:gd name="connsiteY79" fmla="*/ 1043 h 1072"/>
                  <a:gd name="connsiteX80" fmla="*/ 3231 w 5556"/>
                  <a:gd name="connsiteY80" fmla="*/ 1039 h 1072"/>
                  <a:gd name="connsiteX81" fmla="*/ 3171 w 5556"/>
                  <a:gd name="connsiteY81" fmla="*/ 1025 h 1072"/>
                  <a:gd name="connsiteX82" fmla="*/ 3118 w 5556"/>
                  <a:gd name="connsiteY82" fmla="*/ 1002 h 1072"/>
                  <a:gd name="connsiteX83" fmla="*/ 3066 w 5556"/>
                  <a:gd name="connsiteY83" fmla="*/ 973 h 1072"/>
                  <a:gd name="connsiteX84" fmla="*/ 3018 w 5556"/>
                  <a:gd name="connsiteY84" fmla="*/ 935 h 1072"/>
                  <a:gd name="connsiteX85" fmla="*/ 2975 w 5556"/>
                  <a:gd name="connsiteY85" fmla="*/ 894 h 1072"/>
                  <a:gd name="connsiteX86" fmla="*/ 2932 w 5556"/>
                  <a:gd name="connsiteY86" fmla="*/ 846 h 1072"/>
                  <a:gd name="connsiteX87" fmla="*/ 2892 w 5556"/>
                  <a:gd name="connsiteY87" fmla="*/ 796 h 1072"/>
                  <a:gd name="connsiteX88" fmla="*/ 2853 w 5556"/>
                  <a:gd name="connsiteY88" fmla="*/ 740 h 1072"/>
                  <a:gd name="connsiteX89" fmla="*/ 2816 w 5556"/>
                  <a:gd name="connsiteY89" fmla="*/ 684 h 1072"/>
                  <a:gd name="connsiteX90" fmla="*/ 2711 w 5556"/>
                  <a:gd name="connsiteY90" fmla="*/ 510 h 1072"/>
                  <a:gd name="connsiteX91" fmla="*/ 2674 w 5556"/>
                  <a:gd name="connsiteY91" fmla="*/ 452 h 1072"/>
                  <a:gd name="connsiteX92" fmla="*/ 2636 w 5556"/>
                  <a:gd name="connsiteY92" fmla="*/ 396 h 1072"/>
                  <a:gd name="connsiteX93" fmla="*/ 2599 w 5556"/>
                  <a:gd name="connsiteY93" fmla="*/ 342 h 1072"/>
                  <a:gd name="connsiteX94" fmla="*/ 2560 w 5556"/>
                  <a:gd name="connsiteY94" fmla="*/ 293 h 1072"/>
                  <a:gd name="connsiteX95" fmla="*/ 2519 w 5556"/>
                  <a:gd name="connsiteY95" fmla="*/ 247 h 1072"/>
                  <a:gd name="connsiteX96" fmla="*/ 2477 w 5556"/>
                  <a:gd name="connsiteY96" fmla="*/ 205 h 1072"/>
                  <a:gd name="connsiteX97" fmla="*/ 2432 w 5556"/>
                  <a:gd name="connsiteY97" fmla="*/ 168 h 1072"/>
                  <a:gd name="connsiteX98" fmla="*/ 2385 w 5556"/>
                  <a:gd name="connsiteY98" fmla="*/ 139 h 1072"/>
                  <a:gd name="connsiteX99" fmla="*/ 2333 w 5556"/>
                  <a:gd name="connsiteY99" fmla="*/ 116 h 1072"/>
                  <a:gd name="connsiteX100" fmla="*/ 2277 w 5556"/>
                  <a:gd name="connsiteY100" fmla="*/ 100 h 1072"/>
                  <a:gd name="connsiteX101" fmla="*/ 2219 w 5556"/>
                  <a:gd name="connsiteY101" fmla="*/ 91 h 1072"/>
                  <a:gd name="connsiteX102" fmla="*/ 2155 w 5556"/>
                  <a:gd name="connsiteY102" fmla="*/ 93 h 1072"/>
                  <a:gd name="connsiteX103" fmla="*/ 2087 w 5556"/>
                  <a:gd name="connsiteY103" fmla="*/ 104 h 1072"/>
                  <a:gd name="connsiteX104" fmla="*/ 2025 w 5556"/>
                  <a:gd name="connsiteY104" fmla="*/ 122 h 1072"/>
                  <a:gd name="connsiteX105" fmla="*/ 1968 w 5556"/>
                  <a:gd name="connsiteY105" fmla="*/ 147 h 1072"/>
                  <a:gd name="connsiteX106" fmla="*/ 1914 w 5556"/>
                  <a:gd name="connsiteY106" fmla="*/ 181 h 1072"/>
                  <a:gd name="connsiteX107" fmla="*/ 1862 w 5556"/>
                  <a:gd name="connsiteY107" fmla="*/ 218 h 1072"/>
                  <a:gd name="connsiteX108" fmla="*/ 1817 w 5556"/>
                  <a:gd name="connsiteY108" fmla="*/ 261 h 1072"/>
                  <a:gd name="connsiteX109" fmla="*/ 1771 w 5556"/>
                  <a:gd name="connsiteY109" fmla="*/ 307 h 1072"/>
                  <a:gd name="connsiteX110" fmla="*/ 1730 w 5556"/>
                  <a:gd name="connsiteY110" fmla="*/ 359 h 1072"/>
                  <a:gd name="connsiteX111" fmla="*/ 1691 w 5556"/>
                  <a:gd name="connsiteY111" fmla="*/ 413 h 1072"/>
                  <a:gd name="connsiteX112" fmla="*/ 1654 w 5556"/>
                  <a:gd name="connsiteY112" fmla="*/ 467 h 1072"/>
                  <a:gd name="connsiteX113" fmla="*/ 1617 w 5556"/>
                  <a:gd name="connsiteY113" fmla="*/ 523 h 1072"/>
                  <a:gd name="connsiteX114" fmla="*/ 1579 w 5556"/>
                  <a:gd name="connsiteY114" fmla="*/ 581 h 1072"/>
                  <a:gd name="connsiteX115" fmla="*/ 1544 w 5556"/>
                  <a:gd name="connsiteY115" fmla="*/ 637 h 1072"/>
                  <a:gd name="connsiteX116" fmla="*/ 1470 w 5556"/>
                  <a:gd name="connsiteY116" fmla="*/ 749 h 1072"/>
                  <a:gd name="connsiteX117" fmla="*/ 1431 w 5556"/>
                  <a:gd name="connsiteY117" fmla="*/ 801 h 1072"/>
                  <a:gd name="connsiteX118" fmla="*/ 1389 w 5556"/>
                  <a:gd name="connsiteY118" fmla="*/ 850 h 1072"/>
                  <a:gd name="connsiteX119" fmla="*/ 1346 w 5556"/>
                  <a:gd name="connsiteY119" fmla="*/ 896 h 1072"/>
                  <a:gd name="connsiteX120" fmla="*/ 1299 w 5556"/>
                  <a:gd name="connsiteY120" fmla="*/ 937 h 1072"/>
                  <a:gd name="connsiteX121" fmla="*/ 1249 w 5556"/>
                  <a:gd name="connsiteY121" fmla="*/ 973 h 1072"/>
                  <a:gd name="connsiteX122" fmla="*/ 1195 w 5556"/>
                  <a:gd name="connsiteY122" fmla="*/ 1002 h 1072"/>
                  <a:gd name="connsiteX123" fmla="*/ 1140 w 5556"/>
                  <a:gd name="connsiteY123" fmla="*/ 1025 h 1072"/>
                  <a:gd name="connsiteX124" fmla="*/ 1076 w 5556"/>
                  <a:gd name="connsiteY124" fmla="*/ 1037 h 1072"/>
                  <a:gd name="connsiteX125" fmla="*/ 1010 w 5556"/>
                  <a:gd name="connsiteY125" fmla="*/ 1043 h 1072"/>
                  <a:gd name="connsiteX126" fmla="*/ 1003 w 5556"/>
                  <a:gd name="connsiteY126" fmla="*/ 1043 h 1072"/>
                  <a:gd name="connsiteX127" fmla="*/ 935 w 5556"/>
                  <a:gd name="connsiteY127" fmla="*/ 1039 h 1072"/>
                  <a:gd name="connsiteX128" fmla="*/ 873 w 5556"/>
                  <a:gd name="connsiteY128" fmla="*/ 1027 h 1072"/>
                  <a:gd name="connsiteX129" fmla="*/ 815 w 5556"/>
                  <a:gd name="connsiteY129" fmla="*/ 1008 h 1072"/>
                  <a:gd name="connsiteX130" fmla="*/ 764 w 5556"/>
                  <a:gd name="connsiteY130" fmla="*/ 983 h 1072"/>
                  <a:gd name="connsiteX131" fmla="*/ 716 w 5556"/>
                  <a:gd name="connsiteY131" fmla="*/ 952 h 1072"/>
                  <a:gd name="connsiteX132" fmla="*/ 671 w 5556"/>
                  <a:gd name="connsiteY132" fmla="*/ 915 h 1072"/>
                  <a:gd name="connsiteX133" fmla="*/ 630 w 5556"/>
                  <a:gd name="connsiteY133" fmla="*/ 873 h 1072"/>
                  <a:gd name="connsiteX134" fmla="*/ 592 w 5556"/>
                  <a:gd name="connsiteY134" fmla="*/ 828 h 1072"/>
                  <a:gd name="connsiteX135" fmla="*/ 555 w 5556"/>
                  <a:gd name="connsiteY135" fmla="*/ 780 h 1072"/>
                  <a:gd name="connsiteX136" fmla="*/ 522 w 5556"/>
                  <a:gd name="connsiteY136" fmla="*/ 728 h 1072"/>
                  <a:gd name="connsiteX137" fmla="*/ 487 w 5556"/>
                  <a:gd name="connsiteY137" fmla="*/ 674 h 1072"/>
                  <a:gd name="connsiteX138" fmla="*/ 456 w 5556"/>
                  <a:gd name="connsiteY138" fmla="*/ 618 h 1072"/>
                  <a:gd name="connsiteX139" fmla="*/ 423 w 5556"/>
                  <a:gd name="connsiteY139" fmla="*/ 560 h 1072"/>
                  <a:gd name="connsiteX140" fmla="*/ 361 w 5556"/>
                  <a:gd name="connsiteY140" fmla="*/ 448 h 1072"/>
                  <a:gd name="connsiteX141" fmla="*/ 293 w 5556"/>
                  <a:gd name="connsiteY141" fmla="*/ 340 h 1072"/>
                  <a:gd name="connsiteX142" fmla="*/ 250 w 5556"/>
                  <a:gd name="connsiteY142" fmla="*/ 284 h 1072"/>
                  <a:gd name="connsiteX143" fmla="*/ 202 w 5556"/>
                  <a:gd name="connsiteY143" fmla="*/ 239 h 1072"/>
                  <a:gd name="connsiteX144" fmla="*/ 155 w 5556"/>
                  <a:gd name="connsiteY144" fmla="*/ 199 h 1072"/>
                  <a:gd name="connsiteX145" fmla="*/ 103 w 5556"/>
                  <a:gd name="connsiteY145" fmla="*/ 168 h 1072"/>
                  <a:gd name="connsiteX146" fmla="*/ 2 w 5556"/>
                  <a:gd name="connsiteY146" fmla="*/ 127 h 1072"/>
                  <a:gd name="connsiteX147" fmla="*/ 91 w 5556"/>
                  <a:gd name="connsiteY147" fmla="*/ 66 h 1072"/>
                  <a:gd name="connsiteX148" fmla="*/ 149 w 5556"/>
                  <a:gd name="connsiteY148" fmla="*/ 93 h 1072"/>
                  <a:gd name="connsiteX149" fmla="*/ 204 w 5556"/>
                  <a:gd name="connsiteY149" fmla="*/ 131 h 1072"/>
                  <a:gd name="connsiteX150" fmla="*/ 260 w 5556"/>
                  <a:gd name="connsiteY150" fmla="*/ 174 h 1072"/>
                  <a:gd name="connsiteX151" fmla="*/ 314 w 5556"/>
                  <a:gd name="connsiteY151" fmla="*/ 228 h 1072"/>
                  <a:gd name="connsiteX152" fmla="*/ 363 w 5556"/>
                  <a:gd name="connsiteY152" fmla="*/ 293 h 1072"/>
                  <a:gd name="connsiteX153" fmla="*/ 413 w 5556"/>
                  <a:gd name="connsiteY153" fmla="*/ 367 h 1072"/>
                  <a:gd name="connsiteX154" fmla="*/ 500 w 5556"/>
                  <a:gd name="connsiteY154" fmla="*/ 516 h 1072"/>
                  <a:gd name="connsiteX155" fmla="*/ 533 w 5556"/>
                  <a:gd name="connsiteY155" fmla="*/ 575 h 1072"/>
                  <a:gd name="connsiteX156" fmla="*/ 566 w 5556"/>
                  <a:gd name="connsiteY156" fmla="*/ 631 h 1072"/>
                  <a:gd name="connsiteX157" fmla="*/ 599 w 5556"/>
                  <a:gd name="connsiteY157" fmla="*/ 684 h 1072"/>
                  <a:gd name="connsiteX158" fmla="*/ 632 w 5556"/>
                  <a:gd name="connsiteY158" fmla="*/ 736 h 1072"/>
                  <a:gd name="connsiteX159" fmla="*/ 667 w 5556"/>
                  <a:gd name="connsiteY159" fmla="*/ 782 h 1072"/>
                  <a:gd name="connsiteX160" fmla="*/ 704 w 5556"/>
                  <a:gd name="connsiteY160" fmla="*/ 825 h 1072"/>
                  <a:gd name="connsiteX161" fmla="*/ 745 w 5556"/>
                  <a:gd name="connsiteY161" fmla="*/ 863 h 1072"/>
                  <a:gd name="connsiteX162" fmla="*/ 789 w 5556"/>
                  <a:gd name="connsiteY162" fmla="*/ 894 h 1072"/>
                  <a:gd name="connsiteX163" fmla="*/ 836 w 5556"/>
                  <a:gd name="connsiteY163" fmla="*/ 921 h 1072"/>
                  <a:gd name="connsiteX164" fmla="*/ 886 w 5556"/>
                  <a:gd name="connsiteY164" fmla="*/ 940 h 1072"/>
                  <a:gd name="connsiteX165" fmla="*/ 941 w 5556"/>
                  <a:gd name="connsiteY165" fmla="*/ 952 h 1072"/>
                  <a:gd name="connsiteX166" fmla="*/ 1003 w 5556"/>
                  <a:gd name="connsiteY166" fmla="*/ 956 h 1072"/>
                  <a:gd name="connsiteX167" fmla="*/ 1010 w 5556"/>
                  <a:gd name="connsiteY167" fmla="*/ 956 h 1072"/>
                  <a:gd name="connsiteX168" fmla="*/ 1069 w 5556"/>
                  <a:gd name="connsiteY168" fmla="*/ 950 h 1072"/>
                  <a:gd name="connsiteX169" fmla="*/ 1125 w 5556"/>
                  <a:gd name="connsiteY169" fmla="*/ 935 h 1072"/>
                  <a:gd name="connsiteX170" fmla="*/ 1179 w 5556"/>
                  <a:gd name="connsiteY170" fmla="*/ 913 h 1072"/>
                  <a:gd name="connsiteX171" fmla="*/ 1226 w 5556"/>
                  <a:gd name="connsiteY171" fmla="*/ 884 h 1072"/>
                  <a:gd name="connsiteX172" fmla="*/ 1272 w 5556"/>
                  <a:gd name="connsiteY172" fmla="*/ 846 h 1072"/>
                  <a:gd name="connsiteX173" fmla="*/ 1315 w 5556"/>
                  <a:gd name="connsiteY173" fmla="*/ 803 h 1072"/>
                  <a:gd name="connsiteX174" fmla="*/ 1354 w 5556"/>
                  <a:gd name="connsiteY174" fmla="*/ 755 h 1072"/>
                  <a:gd name="connsiteX175" fmla="*/ 1394 w 5556"/>
                  <a:gd name="connsiteY175" fmla="*/ 703 h 1072"/>
                  <a:gd name="connsiteX176" fmla="*/ 1433 w 5556"/>
                  <a:gd name="connsiteY176" fmla="*/ 649 h 1072"/>
                  <a:gd name="connsiteX177" fmla="*/ 1544 w 5556"/>
                  <a:gd name="connsiteY177" fmla="*/ 475 h 1072"/>
                  <a:gd name="connsiteX178" fmla="*/ 1584 w 5556"/>
                  <a:gd name="connsiteY178" fmla="*/ 415 h 1072"/>
                  <a:gd name="connsiteX179" fmla="*/ 1625 w 5556"/>
                  <a:gd name="connsiteY179" fmla="*/ 357 h 1072"/>
                  <a:gd name="connsiteX180" fmla="*/ 1668 w 5556"/>
                  <a:gd name="connsiteY180" fmla="*/ 299 h 1072"/>
                  <a:gd name="connsiteX181" fmla="*/ 1714 w 5556"/>
                  <a:gd name="connsiteY181" fmla="*/ 245 h 1072"/>
                  <a:gd name="connsiteX182" fmla="*/ 1761 w 5556"/>
                  <a:gd name="connsiteY182" fmla="*/ 193 h 1072"/>
                  <a:gd name="connsiteX183" fmla="*/ 1815 w 5556"/>
                  <a:gd name="connsiteY183" fmla="*/ 145 h 1072"/>
                  <a:gd name="connsiteX184" fmla="*/ 1870 w 5556"/>
                  <a:gd name="connsiteY184" fmla="*/ 104 h 1072"/>
                  <a:gd name="connsiteX185" fmla="*/ 1932 w 5556"/>
                  <a:gd name="connsiteY185" fmla="*/ 69 h 1072"/>
                  <a:gd name="connsiteX186" fmla="*/ 1998 w 5556"/>
                  <a:gd name="connsiteY186" fmla="*/ 40 h 1072"/>
                  <a:gd name="connsiteX187" fmla="*/ 2071 w 5556"/>
                  <a:gd name="connsiteY187" fmla="*/ 19 h 1072"/>
                  <a:gd name="connsiteX188" fmla="*/ 2149 w 5556"/>
                  <a:gd name="connsiteY188" fmla="*/ 6 h 1072"/>
                  <a:gd name="connsiteX189" fmla="*/ 2219 w 5556"/>
                  <a:gd name="connsiteY189" fmla="*/ 4 h 1072"/>
                  <a:gd name="connsiteX190" fmla="*/ 2285 w 5556"/>
                  <a:gd name="connsiteY190" fmla="*/ 13 h 1072"/>
                  <a:gd name="connsiteX191" fmla="*/ 2345 w 5556"/>
                  <a:gd name="connsiteY191" fmla="*/ 27 h 1072"/>
                  <a:gd name="connsiteX192" fmla="*/ 2403 w 5556"/>
                  <a:gd name="connsiteY192" fmla="*/ 50 h 1072"/>
                  <a:gd name="connsiteX193" fmla="*/ 2457 w 5556"/>
                  <a:gd name="connsiteY193" fmla="*/ 81 h 1072"/>
                  <a:gd name="connsiteX194" fmla="*/ 2506 w 5556"/>
                  <a:gd name="connsiteY194" fmla="*/ 116 h 1072"/>
                  <a:gd name="connsiteX195" fmla="*/ 2552 w 5556"/>
                  <a:gd name="connsiteY195" fmla="*/ 158 h 1072"/>
                  <a:gd name="connsiteX196" fmla="*/ 2597 w 5556"/>
                  <a:gd name="connsiteY196" fmla="*/ 203 h 1072"/>
                  <a:gd name="connsiteX197" fmla="*/ 2639 w 5556"/>
                  <a:gd name="connsiteY197" fmla="*/ 251 h 1072"/>
                  <a:gd name="connsiteX198" fmla="*/ 2678 w 5556"/>
                  <a:gd name="connsiteY198" fmla="*/ 303 h 1072"/>
                  <a:gd name="connsiteX199" fmla="*/ 2715 w 5556"/>
                  <a:gd name="connsiteY199" fmla="*/ 357 h 1072"/>
                  <a:gd name="connsiteX200" fmla="*/ 2750 w 5556"/>
                  <a:gd name="connsiteY200" fmla="*/ 413 h 1072"/>
                  <a:gd name="connsiteX201" fmla="*/ 2785 w 5556"/>
                  <a:gd name="connsiteY201" fmla="*/ 467 h 1072"/>
                  <a:gd name="connsiteX202" fmla="*/ 2818 w 5556"/>
                  <a:gd name="connsiteY202" fmla="*/ 523 h 1072"/>
                  <a:gd name="connsiteX203" fmla="*/ 2855 w 5556"/>
                  <a:gd name="connsiteY203" fmla="*/ 585 h 1072"/>
                  <a:gd name="connsiteX204" fmla="*/ 2892 w 5556"/>
                  <a:gd name="connsiteY204" fmla="*/ 643 h 1072"/>
                  <a:gd name="connsiteX205" fmla="*/ 2932 w 5556"/>
                  <a:gd name="connsiteY205" fmla="*/ 701 h 1072"/>
                  <a:gd name="connsiteX206" fmla="*/ 2969 w 5556"/>
                  <a:gd name="connsiteY206" fmla="*/ 755 h 1072"/>
                  <a:gd name="connsiteX207" fmla="*/ 3010 w 5556"/>
                  <a:gd name="connsiteY207" fmla="*/ 805 h 1072"/>
                  <a:gd name="connsiteX208" fmla="*/ 3051 w 5556"/>
                  <a:gd name="connsiteY208" fmla="*/ 848 h 1072"/>
                  <a:gd name="connsiteX209" fmla="*/ 3095 w 5556"/>
                  <a:gd name="connsiteY209" fmla="*/ 886 h 1072"/>
                  <a:gd name="connsiteX210" fmla="*/ 3140 w 5556"/>
                  <a:gd name="connsiteY210" fmla="*/ 917 h 1072"/>
                  <a:gd name="connsiteX211" fmla="*/ 3190 w 5556"/>
                  <a:gd name="connsiteY211" fmla="*/ 940 h 1072"/>
                  <a:gd name="connsiteX212" fmla="*/ 3243 w 5556"/>
                  <a:gd name="connsiteY212" fmla="*/ 952 h 1072"/>
                  <a:gd name="connsiteX213" fmla="*/ 3299 w 5556"/>
                  <a:gd name="connsiteY213" fmla="*/ 956 h 1072"/>
                  <a:gd name="connsiteX214" fmla="*/ 3355 w 5556"/>
                  <a:gd name="connsiteY214" fmla="*/ 950 h 1072"/>
                  <a:gd name="connsiteX215" fmla="*/ 3405 w 5556"/>
                  <a:gd name="connsiteY215" fmla="*/ 935 h 1072"/>
                  <a:gd name="connsiteX216" fmla="*/ 3452 w 5556"/>
                  <a:gd name="connsiteY216" fmla="*/ 915 h 1072"/>
                  <a:gd name="connsiteX217" fmla="*/ 3495 w 5556"/>
                  <a:gd name="connsiteY217" fmla="*/ 884 h 1072"/>
                  <a:gd name="connsiteX218" fmla="*/ 3535 w 5556"/>
                  <a:gd name="connsiteY218" fmla="*/ 848 h 1072"/>
                  <a:gd name="connsiteX219" fmla="*/ 3572 w 5556"/>
                  <a:gd name="connsiteY219" fmla="*/ 807 h 1072"/>
                  <a:gd name="connsiteX220" fmla="*/ 3607 w 5556"/>
                  <a:gd name="connsiteY220" fmla="*/ 759 h 1072"/>
                  <a:gd name="connsiteX221" fmla="*/ 3640 w 5556"/>
                  <a:gd name="connsiteY221" fmla="*/ 709 h 1072"/>
                  <a:gd name="connsiteX222" fmla="*/ 3673 w 5556"/>
                  <a:gd name="connsiteY222" fmla="*/ 655 h 1072"/>
                  <a:gd name="connsiteX223" fmla="*/ 3706 w 5556"/>
                  <a:gd name="connsiteY223" fmla="*/ 597 h 1072"/>
                  <a:gd name="connsiteX224" fmla="*/ 3739 w 5556"/>
                  <a:gd name="connsiteY224" fmla="*/ 537 h 1072"/>
                  <a:gd name="connsiteX225" fmla="*/ 3768 w 5556"/>
                  <a:gd name="connsiteY225" fmla="*/ 483 h 1072"/>
                  <a:gd name="connsiteX226" fmla="*/ 3830 w 5556"/>
                  <a:gd name="connsiteY226" fmla="*/ 375 h 1072"/>
                  <a:gd name="connsiteX227" fmla="*/ 3900 w 5556"/>
                  <a:gd name="connsiteY227" fmla="*/ 272 h 1072"/>
                  <a:gd name="connsiteX228" fmla="*/ 3937 w 5556"/>
                  <a:gd name="connsiteY228" fmla="*/ 224 h 1072"/>
                  <a:gd name="connsiteX229" fmla="*/ 3978 w 5556"/>
                  <a:gd name="connsiteY229" fmla="*/ 178 h 1072"/>
                  <a:gd name="connsiteX230" fmla="*/ 4022 w 5556"/>
                  <a:gd name="connsiteY230" fmla="*/ 137 h 1072"/>
                  <a:gd name="connsiteX231" fmla="*/ 4069 w 5556"/>
                  <a:gd name="connsiteY231" fmla="*/ 100 h 1072"/>
                  <a:gd name="connsiteX232" fmla="*/ 4121 w 5556"/>
                  <a:gd name="connsiteY232" fmla="*/ 66 h 1072"/>
                  <a:gd name="connsiteX233" fmla="*/ 4179 w 5556"/>
                  <a:gd name="connsiteY233" fmla="*/ 40 h 1072"/>
                  <a:gd name="connsiteX234" fmla="*/ 4239 w 5556"/>
                  <a:gd name="connsiteY234" fmla="*/ 19 h 1072"/>
                  <a:gd name="connsiteX235" fmla="*/ 4305 w 5556"/>
                  <a:gd name="connsiteY235" fmla="*/ 6 h 1072"/>
                  <a:gd name="connsiteX236" fmla="*/ 4377 w 5556"/>
                  <a:gd name="connsiteY236" fmla="*/ 0 h 1072"/>
                  <a:gd name="connsiteX0" fmla="*/ 4375 w 5554"/>
                  <a:gd name="connsiteY0" fmla="*/ 0 h 1072"/>
                  <a:gd name="connsiteX1" fmla="*/ 4425 w 5554"/>
                  <a:gd name="connsiteY1" fmla="*/ 0 h 1072"/>
                  <a:gd name="connsiteX2" fmla="*/ 4453 w 5554"/>
                  <a:gd name="connsiteY2" fmla="*/ 4 h 1072"/>
                  <a:gd name="connsiteX3" fmla="*/ 4484 w 5554"/>
                  <a:gd name="connsiteY3" fmla="*/ 13 h 1072"/>
                  <a:gd name="connsiteX4" fmla="*/ 4522 w 5554"/>
                  <a:gd name="connsiteY4" fmla="*/ 23 h 1072"/>
                  <a:gd name="connsiteX5" fmla="*/ 4563 w 5554"/>
                  <a:gd name="connsiteY5" fmla="*/ 40 h 1072"/>
                  <a:gd name="connsiteX6" fmla="*/ 4606 w 5554"/>
                  <a:gd name="connsiteY6" fmla="*/ 60 h 1072"/>
                  <a:gd name="connsiteX7" fmla="*/ 4654 w 5554"/>
                  <a:gd name="connsiteY7" fmla="*/ 89 h 1072"/>
                  <a:gd name="connsiteX8" fmla="*/ 4703 w 5554"/>
                  <a:gd name="connsiteY8" fmla="*/ 125 h 1072"/>
                  <a:gd name="connsiteX9" fmla="*/ 4753 w 5554"/>
                  <a:gd name="connsiteY9" fmla="*/ 170 h 1072"/>
                  <a:gd name="connsiteX10" fmla="*/ 4804 w 5554"/>
                  <a:gd name="connsiteY10" fmla="*/ 224 h 1072"/>
                  <a:gd name="connsiteX11" fmla="*/ 4856 w 5554"/>
                  <a:gd name="connsiteY11" fmla="*/ 286 h 1072"/>
                  <a:gd name="connsiteX12" fmla="*/ 4908 w 5554"/>
                  <a:gd name="connsiteY12" fmla="*/ 361 h 1072"/>
                  <a:gd name="connsiteX13" fmla="*/ 4959 w 5554"/>
                  <a:gd name="connsiteY13" fmla="*/ 448 h 1072"/>
                  <a:gd name="connsiteX14" fmla="*/ 5011 w 5554"/>
                  <a:gd name="connsiteY14" fmla="*/ 548 h 1072"/>
                  <a:gd name="connsiteX15" fmla="*/ 5056 w 5554"/>
                  <a:gd name="connsiteY15" fmla="*/ 633 h 1072"/>
                  <a:gd name="connsiteX16" fmla="*/ 5102 w 5554"/>
                  <a:gd name="connsiteY16" fmla="*/ 705 h 1072"/>
                  <a:gd name="connsiteX17" fmla="*/ 5149 w 5554"/>
                  <a:gd name="connsiteY17" fmla="*/ 767 h 1072"/>
                  <a:gd name="connsiteX18" fmla="*/ 5197 w 5554"/>
                  <a:gd name="connsiteY18" fmla="*/ 819 h 1072"/>
                  <a:gd name="connsiteX19" fmla="*/ 5242 w 5554"/>
                  <a:gd name="connsiteY19" fmla="*/ 863 h 1072"/>
                  <a:gd name="connsiteX20" fmla="*/ 5290 w 5554"/>
                  <a:gd name="connsiteY20" fmla="*/ 898 h 1072"/>
                  <a:gd name="connsiteX21" fmla="*/ 5333 w 5554"/>
                  <a:gd name="connsiteY21" fmla="*/ 927 h 1072"/>
                  <a:gd name="connsiteX22" fmla="*/ 5376 w 5554"/>
                  <a:gd name="connsiteY22" fmla="*/ 948 h 1072"/>
                  <a:gd name="connsiteX23" fmla="*/ 5413 w 5554"/>
                  <a:gd name="connsiteY23" fmla="*/ 962 h 1072"/>
                  <a:gd name="connsiteX24" fmla="*/ 5451 w 5554"/>
                  <a:gd name="connsiteY24" fmla="*/ 973 h 1072"/>
                  <a:gd name="connsiteX25" fmla="*/ 5480 w 5554"/>
                  <a:gd name="connsiteY25" fmla="*/ 981 h 1072"/>
                  <a:gd name="connsiteX26" fmla="*/ 5506 w 5554"/>
                  <a:gd name="connsiteY26" fmla="*/ 983 h 1072"/>
                  <a:gd name="connsiteX27" fmla="*/ 5525 w 5554"/>
                  <a:gd name="connsiteY27" fmla="*/ 985 h 1072"/>
                  <a:gd name="connsiteX28" fmla="*/ 5546 w 5554"/>
                  <a:gd name="connsiteY28" fmla="*/ 985 h 1072"/>
                  <a:gd name="connsiteX29" fmla="*/ 5554 w 5554"/>
                  <a:gd name="connsiteY29" fmla="*/ 1072 h 1072"/>
                  <a:gd name="connsiteX30" fmla="*/ 5519 w 5554"/>
                  <a:gd name="connsiteY30" fmla="*/ 1072 h 1072"/>
                  <a:gd name="connsiteX31" fmla="*/ 5492 w 5554"/>
                  <a:gd name="connsiteY31" fmla="*/ 1070 h 1072"/>
                  <a:gd name="connsiteX32" fmla="*/ 5461 w 5554"/>
                  <a:gd name="connsiteY32" fmla="*/ 1064 h 1072"/>
                  <a:gd name="connsiteX33" fmla="*/ 5424 w 5554"/>
                  <a:gd name="connsiteY33" fmla="*/ 1056 h 1072"/>
                  <a:gd name="connsiteX34" fmla="*/ 5382 w 5554"/>
                  <a:gd name="connsiteY34" fmla="*/ 1043 h 1072"/>
                  <a:gd name="connsiteX35" fmla="*/ 5337 w 5554"/>
                  <a:gd name="connsiteY35" fmla="*/ 1025 h 1072"/>
                  <a:gd name="connsiteX36" fmla="*/ 5290 w 5554"/>
                  <a:gd name="connsiteY36" fmla="*/ 1002 h 1072"/>
                  <a:gd name="connsiteX37" fmla="*/ 5240 w 5554"/>
                  <a:gd name="connsiteY37" fmla="*/ 971 h 1072"/>
                  <a:gd name="connsiteX38" fmla="*/ 5188 w 5554"/>
                  <a:gd name="connsiteY38" fmla="*/ 931 h 1072"/>
                  <a:gd name="connsiteX39" fmla="*/ 5137 w 5554"/>
                  <a:gd name="connsiteY39" fmla="*/ 881 h 1072"/>
                  <a:gd name="connsiteX40" fmla="*/ 5083 w 5554"/>
                  <a:gd name="connsiteY40" fmla="*/ 823 h 1072"/>
                  <a:gd name="connsiteX41" fmla="*/ 5032 w 5554"/>
                  <a:gd name="connsiteY41" fmla="*/ 755 h 1072"/>
                  <a:gd name="connsiteX42" fmla="*/ 4982 w 5554"/>
                  <a:gd name="connsiteY42" fmla="*/ 676 h 1072"/>
                  <a:gd name="connsiteX43" fmla="*/ 4934 w 5554"/>
                  <a:gd name="connsiteY43" fmla="*/ 583 h 1072"/>
                  <a:gd name="connsiteX44" fmla="*/ 4885 w 5554"/>
                  <a:gd name="connsiteY44" fmla="*/ 487 h 1072"/>
                  <a:gd name="connsiteX45" fmla="*/ 4835 w 5554"/>
                  <a:gd name="connsiteY45" fmla="*/ 404 h 1072"/>
                  <a:gd name="connsiteX46" fmla="*/ 4786 w 5554"/>
                  <a:gd name="connsiteY46" fmla="*/ 336 h 1072"/>
                  <a:gd name="connsiteX47" fmla="*/ 4736 w 5554"/>
                  <a:gd name="connsiteY47" fmla="*/ 276 h 1072"/>
                  <a:gd name="connsiteX48" fmla="*/ 4689 w 5554"/>
                  <a:gd name="connsiteY48" fmla="*/ 228 h 1072"/>
                  <a:gd name="connsiteX49" fmla="*/ 4643 w 5554"/>
                  <a:gd name="connsiteY49" fmla="*/ 189 h 1072"/>
                  <a:gd name="connsiteX50" fmla="*/ 4602 w 5554"/>
                  <a:gd name="connsiteY50" fmla="*/ 158 h 1072"/>
                  <a:gd name="connsiteX51" fmla="*/ 4563 w 5554"/>
                  <a:gd name="connsiteY51" fmla="*/ 135 h 1072"/>
                  <a:gd name="connsiteX52" fmla="*/ 4513 w 5554"/>
                  <a:gd name="connsiteY52" fmla="*/ 112 h 1072"/>
                  <a:gd name="connsiteX53" fmla="*/ 4470 w 5554"/>
                  <a:gd name="connsiteY53" fmla="*/ 98 h 1072"/>
                  <a:gd name="connsiteX54" fmla="*/ 4435 w 5554"/>
                  <a:gd name="connsiteY54" fmla="*/ 89 h 1072"/>
                  <a:gd name="connsiteX55" fmla="*/ 4406 w 5554"/>
                  <a:gd name="connsiteY55" fmla="*/ 87 h 1072"/>
                  <a:gd name="connsiteX56" fmla="*/ 4379 w 5554"/>
                  <a:gd name="connsiteY56" fmla="*/ 87 h 1072"/>
                  <a:gd name="connsiteX57" fmla="*/ 4313 w 5554"/>
                  <a:gd name="connsiteY57" fmla="*/ 93 h 1072"/>
                  <a:gd name="connsiteX58" fmla="*/ 4251 w 5554"/>
                  <a:gd name="connsiteY58" fmla="*/ 106 h 1072"/>
                  <a:gd name="connsiteX59" fmla="*/ 4195 w 5554"/>
                  <a:gd name="connsiteY59" fmla="*/ 127 h 1072"/>
                  <a:gd name="connsiteX60" fmla="*/ 4144 w 5554"/>
                  <a:gd name="connsiteY60" fmla="*/ 154 h 1072"/>
                  <a:gd name="connsiteX61" fmla="*/ 4096 w 5554"/>
                  <a:gd name="connsiteY61" fmla="*/ 187 h 1072"/>
                  <a:gd name="connsiteX62" fmla="*/ 4053 w 5554"/>
                  <a:gd name="connsiteY62" fmla="*/ 224 h 1072"/>
                  <a:gd name="connsiteX63" fmla="*/ 4014 w 5554"/>
                  <a:gd name="connsiteY63" fmla="*/ 268 h 1072"/>
                  <a:gd name="connsiteX64" fmla="*/ 3974 w 5554"/>
                  <a:gd name="connsiteY64" fmla="*/ 313 h 1072"/>
                  <a:gd name="connsiteX65" fmla="*/ 3939 w 5554"/>
                  <a:gd name="connsiteY65" fmla="*/ 363 h 1072"/>
                  <a:gd name="connsiteX66" fmla="*/ 3906 w 5554"/>
                  <a:gd name="connsiteY66" fmla="*/ 415 h 1072"/>
                  <a:gd name="connsiteX67" fmla="*/ 3844 w 5554"/>
                  <a:gd name="connsiteY67" fmla="*/ 523 h 1072"/>
                  <a:gd name="connsiteX68" fmla="*/ 3751 w 5554"/>
                  <a:gd name="connsiteY68" fmla="*/ 691 h 1072"/>
                  <a:gd name="connsiteX69" fmla="*/ 3718 w 5554"/>
                  <a:gd name="connsiteY69" fmla="*/ 747 h 1072"/>
                  <a:gd name="connsiteX70" fmla="*/ 3683 w 5554"/>
                  <a:gd name="connsiteY70" fmla="*/ 799 h 1072"/>
                  <a:gd name="connsiteX71" fmla="*/ 3648 w 5554"/>
                  <a:gd name="connsiteY71" fmla="*/ 848 h 1072"/>
                  <a:gd name="connsiteX72" fmla="*/ 3609 w 5554"/>
                  <a:gd name="connsiteY72" fmla="*/ 894 h 1072"/>
                  <a:gd name="connsiteX73" fmla="*/ 3568 w 5554"/>
                  <a:gd name="connsiteY73" fmla="*/ 935 h 1072"/>
                  <a:gd name="connsiteX74" fmla="*/ 3522 w 5554"/>
                  <a:gd name="connsiteY74" fmla="*/ 971 h 1072"/>
                  <a:gd name="connsiteX75" fmla="*/ 3473 w 5554"/>
                  <a:gd name="connsiteY75" fmla="*/ 1000 h 1072"/>
                  <a:gd name="connsiteX76" fmla="*/ 3421 w 5554"/>
                  <a:gd name="connsiteY76" fmla="*/ 1022 h 1072"/>
                  <a:gd name="connsiteX77" fmla="*/ 3363 w 5554"/>
                  <a:gd name="connsiteY77" fmla="*/ 1037 h 1072"/>
                  <a:gd name="connsiteX78" fmla="*/ 3299 w 5554"/>
                  <a:gd name="connsiteY78" fmla="*/ 1043 h 1072"/>
                  <a:gd name="connsiteX79" fmla="*/ 3291 w 5554"/>
                  <a:gd name="connsiteY79" fmla="*/ 1043 h 1072"/>
                  <a:gd name="connsiteX80" fmla="*/ 3229 w 5554"/>
                  <a:gd name="connsiteY80" fmla="*/ 1039 h 1072"/>
                  <a:gd name="connsiteX81" fmla="*/ 3169 w 5554"/>
                  <a:gd name="connsiteY81" fmla="*/ 1025 h 1072"/>
                  <a:gd name="connsiteX82" fmla="*/ 3116 w 5554"/>
                  <a:gd name="connsiteY82" fmla="*/ 1002 h 1072"/>
                  <a:gd name="connsiteX83" fmla="*/ 3064 w 5554"/>
                  <a:gd name="connsiteY83" fmla="*/ 973 h 1072"/>
                  <a:gd name="connsiteX84" fmla="*/ 3016 w 5554"/>
                  <a:gd name="connsiteY84" fmla="*/ 935 h 1072"/>
                  <a:gd name="connsiteX85" fmla="*/ 2973 w 5554"/>
                  <a:gd name="connsiteY85" fmla="*/ 894 h 1072"/>
                  <a:gd name="connsiteX86" fmla="*/ 2930 w 5554"/>
                  <a:gd name="connsiteY86" fmla="*/ 846 h 1072"/>
                  <a:gd name="connsiteX87" fmla="*/ 2890 w 5554"/>
                  <a:gd name="connsiteY87" fmla="*/ 796 h 1072"/>
                  <a:gd name="connsiteX88" fmla="*/ 2851 w 5554"/>
                  <a:gd name="connsiteY88" fmla="*/ 740 h 1072"/>
                  <a:gd name="connsiteX89" fmla="*/ 2814 w 5554"/>
                  <a:gd name="connsiteY89" fmla="*/ 684 h 1072"/>
                  <a:gd name="connsiteX90" fmla="*/ 2709 w 5554"/>
                  <a:gd name="connsiteY90" fmla="*/ 510 h 1072"/>
                  <a:gd name="connsiteX91" fmla="*/ 2672 w 5554"/>
                  <a:gd name="connsiteY91" fmla="*/ 452 h 1072"/>
                  <a:gd name="connsiteX92" fmla="*/ 2634 w 5554"/>
                  <a:gd name="connsiteY92" fmla="*/ 396 h 1072"/>
                  <a:gd name="connsiteX93" fmla="*/ 2597 w 5554"/>
                  <a:gd name="connsiteY93" fmla="*/ 342 h 1072"/>
                  <a:gd name="connsiteX94" fmla="*/ 2558 w 5554"/>
                  <a:gd name="connsiteY94" fmla="*/ 293 h 1072"/>
                  <a:gd name="connsiteX95" fmla="*/ 2517 w 5554"/>
                  <a:gd name="connsiteY95" fmla="*/ 247 h 1072"/>
                  <a:gd name="connsiteX96" fmla="*/ 2475 w 5554"/>
                  <a:gd name="connsiteY96" fmla="*/ 205 h 1072"/>
                  <a:gd name="connsiteX97" fmla="*/ 2430 w 5554"/>
                  <a:gd name="connsiteY97" fmla="*/ 168 h 1072"/>
                  <a:gd name="connsiteX98" fmla="*/ 2383 w 5554"/>
                  <a:gd name="connsiteY98" fmla="*/ 139 h 1072"/>
                  <a:gd name="connsiteX99" fmla="*/ 2331 w 5554"/>
                  <a:gd name="connsiteY99" fmla="*/ 116 h 1072"/>
                  <a:gd name="connsiteX100" fmla="*/ 2275 w 5554"/>
                  <a:gd name="connsiteY100" fmla="*/ 100 h 1072"/>
                  <a:gd name="connsiteX101" fmla="*/ 2217 w 5554"/>
                  <a:gd name="connsiteY101" fmla="*/ 91 h 1072"/>
                  <a:gd name="connsiteX102" fmla="*/ 2153 w 5554"/>
                  <a:gd name="connsiteY102" fmla="*/ 93 h 1072"/>
                  <a:gd name="connsiteX103" fmla="*/ 2085 w 5554"/>
                  <a:gd name="connsiteY103" fmla="*/ 104 h 1072"/>
                  <a:gd name="connsiteX104" fmla="*/ 2023 w 5554"/>
                  <a:gd name="connsiteY104" fmla="*/ 122 h 1072"/>
                  <a:gd name="connsiteX105" fmla="*/ 1966 w 5554"/>
                  <a:gd name="connsiteY105" fmla="*/ 147 h 1072"/>
                  <a:gd name="connsiteX106" fmla="*/ 1912 w 5554"/>
                  <a:gd name="connsiteY106" fmla="*/ 181 h 1072"/>
                  <a:gd name="connsiteX107" fmla="*/ 1860 w 5554"/>
                  <a:gd name="connsiteY107" fmla="*/ 218 h 1072"/>
                  <a:gd name="connsiteX108" fmla="*/ 1815 w 5554"/>
                  <a:gd name="connsiteY108" fmla="*/ 261 h 1072"/>
                  <a:gd name="connsiteX109" fmla="*/ 1769 w 5554"/>
                  <a:gd name="connsiteY109" fmla="*/ 307 h 1072"/>
                  <a:gd name="connsiteX110" fmla="*/ 1728 w 5554"/>
                  <a:gd name="connsiteY110" fmla="*/ 359 h 1072"/>
                  <a:gd name="connsiteX111" fmla="*/ 1689 w 5554"/>
                  <a:gd name="connsiteY111" fmla="*/ 413 h 1072"/>
                  <a:gd name="connsiteX112" fmla="*/ 1652 w 5554"/>
                  <a:gd name="connsiteY112" fmla="*/ 467 h 1072"/>
                  <a:gd name="connsiteX113" fmla="*/ 1615 w 5554"/>
                  <a:gd name="connsiteY113" fmla="*/ 523 h 1072"/>
                  <a:gd name="connsiteX114" fmla="*/ 1577 w 5554"/>
                  <a:gd name="connsiteY114" fmla="*/ 581 h 1072"/>
                  <a:gd name="connsiteX115" fmla="*/ 1542 w 5554"/>
                  <a:gd name="connsiteY115" fmla="*/ 637 h 1072"/>
                  <a:gd name="connsiteX116" fmla="*/ 1468 w 5554"/>
                  <a:gd name="connsiteY116" fmla="*/ 749 h 1072"/>
                  <a:gd name="connsiteX117" fmla="*/ 1429 w 5554"/>
                  <a:gd name="connsiteY117" fmla="*/ 801 h 1072"/>
                  <a:gd name="connsiteX118" fmla="*/ 1387 w 5554"/>
                  <a:gd name="connsiteY118" fmla="*/ 850 h 1072"/>
                  <a:gd name="connsiteX119" fmla="*/ 1344 w 5554"/>
                  <a:gd name="connsiteY119" fmla="*/ 896 h 1072"/>
                  <a:gd name="connsiteX120" fmla="*/ 1297 w 5554"/>
                  <a:gd name="connsiteY120" fmla="*/ 937 h 1072"/>
                  <a:gd name="connsiteX121" fmla="*/ 1247 w 5554"/>
                  <a:gd name="connsiteY121" fmla="*/ 973 h 1072"/>
                  <a:gd name="connsiteX122" fmla="*/ 1193 w 5554"/>
                  <a:gd name="connsiteY122" fmla="*/ 1002 h 1072"/>
                  <a:gd name="connsiteX123" fmla="*/ 1138 w 5554"/>
                  <a:gd name="connsiteY123" fmla="*/ 1025 h 1072"/>
                  <a:gd name="connsiteX124" fmla="*/ 1074 w 5554"/>
                  <a:gd name="connsiteY124" fmla="*/ 1037 h 1072"/>
                  <a:gd name="connsiteX125" fmla="*/ 1008 w 5554"/>
                  <a:gd name="connsiteY125" fmla="*/ 1043 h 1072"/>
                  <a:gd name="connsiteX126" fmla="*/ 1001 w 5554"/>
                  <a:gd name="connsiteY126" fmla="*/ 1043 h 1072"/>
                  <a:gd name="connsiteX127" fmla="*/ 933 w 5554"/>
                  <a:gd name="connsiteY127" fmla="*/ 1039 h 1072"/>
                  <a:gd name="connsiteX128" fmla="*/ 871 w 5554"/>
                  <a:gd name="connsiteY128" fmla="*/ 1027 h 1072"/>
                  <a:gd name="connsiteX129" fmla="*/ 813 w 5554"/>
                  <a:gd name="connsiteY129" fmla="*/ 1008 h 1072"/>
                  <a:gd name="connsiteX130" fmla="*/ 762 w 5554"/>
                  <a:gd name="connsiteY130" fmla="*/ 983 h 1072"/>
                  <a:gd name="connsiteX131" fmla="*/ 714 w 5554"/>
                  <a:gd name="connsiteY131" fmla="*/ 952 h 1072"/>
                  <a:gd name="connsiteX132" fmla="*/ 669 w 5554"/>
                  <a:gd name="connsiteY132" fmla="*/ 915 h 1072"/>
                  <a:gd name="connsiteX133" fmla="*/ 628 w 5554"/>
                  <a:gd name="connsiteY133" fmla="*/ 873 h 1072"/>
                  <a:gd name="connsiteX134" fmla="*/ 590 w 5554"/>
                  <a:gd name="connsiteY134" fmla="*/ 828 h 1072"/>
                  <a:gd name="connsiteX135" fmla="*/ 553 w 5554"/>
                  <a:gd name="connsiteY135" fmla="*/ 780 h 1072"/>
                  <a:gd name="connsiteX136" fmla="*/ 520 w 5554"/>
                  <a:gd name="connsiteY136" fmla="*/ 728 h 1072"/>
                  <a:gd name="connsiteX137" fmla="*/ 485 w 5554"/>
                  <a:gd name="connsiteY137" fmla="*/ 674 h 1072"/>
                  <a:gd name="connsiteX138" fmla="*/ 454 w 5554"/>
                  <a:gd name="connsiteY138" fmla="*/ 618 h 1072"/>
                  <a:gd name="connsiteX139" fmla="*/ 421 w 5554"/>
                  <a:gd name="connsiteY139" fmla="*/ 560 h 1072"/>
                  <a:gd name="connsiteX140" fmla="*/ 359 w 5554"/>
                  <a:gd name="connsiteY140" fmla="*/ 448 h 1072"/>
                  <a:gd name="connsiteX141" fmla="*/ 291 w 5554"/>
                  <a:gd name="connsiteY141" fmla="*/ 340 h 1072"/>
                  <a:gd name="connsiteX142" fmla="*/ 248 w 5554"/>
                  <a:gd name="connsiteY142" fmla="*/ 284 h 1072"/>
                  <a:gd name="connsiteX143" fmla="*/ 200 w 5554"/>
                  <a:gd name="connsiteY143" fmla="*/ 239 h 1072"/>
                  <a:gd name="connsiteX144" fmla="*/ 153 w 5554"/>
                  <a:gd name="connsiteY144" fmla="*/ 199 h 1072"/>
                  <a:gd name="connsiteX145" fmla="*/ 101 w 5554"/>
                  <a:gd name="connsiteY145" fmla="*/ 168 h 1072"/>
                  <a:gd name="connsiteX146" fmla="*/ 0 w 5554"/>
                  <a:gd name="connsiteY146" fmla="*/ 127 h 1072"/>
                  <a:gd name="connsiteX147" fmla="*/ 147 w 5554"/>
                  <a:gd name="connsiteY147" fmla="*/ 93 h 1072"/>
                  <a:gd name="connsiteX148" fmla="*/ 202 w 5554"/>
                  <a:gd name="connsiteY148" fmla="*/ 131 h 1072"/>
                  <a:gd name="connsiteX149" fmla="*/ 258 w 5554"/>
                  <a:gd name="connsiteY149" fmla="*/ 174 h 1072"/>
                  <a:gd name="connsiteX150" fmla="*/ 312 w 5554"/>
                  <a:gd name="connsiteY150" fmla="*/ 228 h 1072"/>
                  <a:gd name="connsiteX151" fmla="*/ 361 w 5554"/>
                  <a:gd name="connsiteY151" fmla="*/ 293 h 1072"/>
                  <a:gd name="connsiteX152" fmla="*/ 411 w 5554"/>
                  <a:gd name="connsiteY152" fmla="*/ 367 h 1072"/>
                  <a:gd name="connsiteX153" fmla="*/ 498 w 5554"/>
                  <a:gd name="connsiteY153" fmla="*/ 516 h 1072"/>
                  <a:gd name="connsiteX154" fmla="*/ 531 w 5554"/>
                  <a:gd name="connsiteY154" fmla="*/ 575 h 1072"/>
                  <a:gd name="connsiteX155" fmla="*/ 564 w 5554"/>
                  <a:gd name="connsiteY155" fmla="*/ 631 h 1072"/>
                  <a:gd name="connsiteX156" fmla="*/ 597 w 5554"/>
                  <a:gd name="connsiteY156" fmla="*/ 684 h 1072"/>
                  <a:gd name="connsiteX157" fmla="*/ 630 w 5554"/>
                  <a:gd name="connsiteY157" fmla="*/ 736 h 1072"/>
                  <a:gd name="connsiteX158" fmla="*/ 665 w 5554"/>
                  <a:gd name="connsiteY158" fmla="*/ 782 h 1072"/>
                  <a:gd name="connsiteX159" fmla="*/ 702 w 5554"/>
                  <a:gd name="connsiteY159" fmla="*/ 825 h 1072"/>
                  <a:gd name="connsiteX160" fmla="*/ 743 w 5554"/>
                  <a:gd name="connsiteY160" fmla="*/ 863 h 1072"/>
                  <a:gd name="connsiteX161" fmla="*/ 787 w 5554"/>
                  <a:gd name="connsiteY161" fmla="*/ 894 h 1072"/>
                  <a:gd name="connsiteX162" fmla="*/ 834 w 5554"/>
                  <a:gd name="connsiteY162" fmla="*/ 921 h 1072"/>
                  <a:gd name="connsiteX163" fmla="*/ 884 w 5554"/>
                  <a:gd name="connsiteY163" fmla="*/ 940 h 1072"/>
                  <a:gd name="connsiteX164" fmla="*/ 939 w 5554"/>
                  <a:gd name="connsiteY164" fmla="*/ 952 h 1072"/>
                  <a:gd name="connsiteX165" fmla="*/ 1001 w 5554"/>
                  <a:gd name="connsiteY165" fmla="*/ 956 h 1072"/>
                  <a:gd name="connsiteX166" fmla="*/ 1008 w 5554"/>
                  <a:gd name="connsiteY166" fmla="*/ 956 h 1072"/>
                  <a:gd name="connsiteX167" fmla="*/ 1067 w 5554"/>
                  <a:gd name="connsiteY167" fmla="*/ 950 h 1072"/>
                  <a:gd name="connsiteX168" fmla="*/ 1123 w 5554"/>
                  <a:gd name="connsiteY168" fmla="*/ 935 h 1072"/>
                  <a:gd name="connsiteX169" fmla="*/ 1177 w 5554"/>
                  <a:gd name="connsiteY169" fmla="*/ 913 h 1072"/>
                  <a:gd name="connsiteX170" fmla="*/ 1224 w 5554"/>
                  <a:gd name="connsiteY170" fmla="*/ 884 h 1072"/>
                  <a:gd name="connsiteX171" fmla="*/ 1270 w 5554"/>
                  <a:gd name="connsiteY171" fmla="*/ 846 h 1072"/>
                  <a:gd name="connsiteX172" fmla="*/ 1313 w 5554"/>
                  <a:gd name="connsiteY172" fmla="*/ 803 h 1072"/>
                  <a:gd name="connsiteX173" fmla="*/ 1352 w 5554"/>
                  <a:gd name="connsiteY173" fmla="*/ 755 h 1072"/>
                  <a:gd name="connsiteX174" fmla="*/ 1392 w 5554"/>
                  <a:gd name="connsiteY174" fmla="*/ 703 h 1072"/>
                  <a:gd name="connsiteX175" fmla="*/ 1431 w 5554"/>
                  <a:gd name="connsiteY175" fmla="*/ 649 h 1072"/>
                  <a:gd name="connsiteX176" fmla="*/ 1542 w 5554"/>
                  <a:gd name="connsiteY176" fmla="*/ 475 h 1072"/>
                  <a:gd name="connsiteX177" fmla="*/ 1582 w 5554"/>
                  <a:gd name="connsiteY177" fmla="*/ 415 h 1072"/>
                  <a:gd name="connsiteX178" fmla="*/ 1623 w 5554"/>
                  <a:gd name="connsiteY178" fmla="*/ 357 h 1072"/>
                  <a:gd name="connsiteX179" fmla="*/ 1666 w 5554"/>
                  <a:gd name="connsiteY179" fmla="*/ 299 h 1072"/>
                  <a:gd name="connsiteX180" fmla="*/ 1712 w 5554"/>
                  <a:gd name="connsiteY180" fmla="*/ 245 h 1072"/>
                  <a:gd name="connsiteX181" fmla="*/ 1759 w 5554"/>
                  <a:gd name="connsiteY181" fmla="*/ 193 h 1072"/>
                  <a:gd name="connsiteX182" fmla="*/ 1813 w 5554"/>
                  <a:gd name="connsiteY182" fmla="*/ 145 h 1072"/>
                  <a:gd name="connsiteX183" fmla="*/ 1868 w 5554"/>
                  <a:gd name="connsiteY183" fmla="*/ 104 h 1072"/>
                  <a:gd name="connsiteX184" fmla="*/ 1930 w 5554"/>
                  <a:gd name="connsiteY184" fmla="*/ 69 h 1072"/>
                  <a:gd name="connsiteX185" fmla="*/ 1996 w 5554"/>
                  <a:gd name="connsiteY185" fmla="*/ 40 h 1072"/>
                  <a:gd name="connsiteX186" fmla="*/ 2069 w 5554"/>
                  <a:gd name="connsiteY186" fmla="*/ 19 h 1072"/>
                  <a:gd name="connsiteX187" fmla="*/ 2147 w 5554"/>
                  <a:gd name="connsiteY187" fmla="*/ 6 h 1072"/>
                  <a:gd name="connsiteX188" fmla="*/ 2217 w 5554"/>
                  <a:gd name="connsiteY188" fmla="*/ 4 h 1072"/>
                  <a:gd name="connsiteX189" fmla="*/ 2283 w 5554"/>
                  <a:gd name="connsiteY189" fmla="*/ 13 h 1072"/>
                  <a:gd name="connsiteX190" fmla="*/ 2343 w 5554"/>
                  <a:gd name="connsiteY190" fmla="*/ 27 h 1072"/>
                  <a:gd name="connsiteX191" fmla="*/ 2401 w 5554"/>
                  <a:gd name="connsiteY191" fmla="*/ 50 h 1072"/>
                  <a:gd name="connsiteX192" fmla="*/ 2455 w 5554"/>
                  <a:gd name="connsiteY192" fmla="*/ 81 h 1072"/>
                  <a:gd name="connsiteX193" fmla="*/ 2504 w 5554"/>
                  <a:gd name="connsiteY193" fmla="*/ 116 h 1072"/>
                  <a:gd name="connsiteX194" fmla="*/ 2550 w 5554"/>
                  <a:gd name="connsiteY194" fmla="*/ 158 h 1072"/>
                  <a:gd name="connsiteX195" fmla="*/ 2595 w 5554"/>
                  <a:gd name="connsiteY195" fmla="*/ 203 h 1072"/>
                  <a:gd name="connsiteX196" fmla="*/ 2637 w 5554"/>
                  <a:gd name="connsiteY196" fmla="*/ 251 h 1072"/>
                  <a:gd name="connsiteX197" fmla="*/ 2676 w 5554"/>
                  <a:gd name="connsiteY197" fmla="*/ 303 h 1072"/>
                  <a:gd name="connsiteX198" fmla="*/ 2713 w 5554"/>
                  <a:gd name="connsiteY198" fmla="*/ 357 h 1072"/>
                  <a:gd name="connsiteX199" fmla="*/ 2748 w 5554"/>
                  <a:gd name="connsiteY199" fmla="*/ 413 h 1072"/>
                  <a:gd name="connsiteX200" fmla="*/ 2783 w 5554"/>
                  <a:gd name="connsiteY200" fmla="*/ 467 h 1072"/>
                  <a:gd name="connsiteX201" fmla="*/ 2816 w 5554"/>
                  <a:gd name="connsiteY201" fmla="*/ 523 h 1072"/>
                  <a:gd name="connsiteX202" fmla="*/ 2853 w 5554"/>
                  <a:gd name="connsiteY202" fmla="*/ 585 h 1072"/>
                  <a:gd name="connsiteX203" fmla="*/ 2890 w 5554"/>
                  <a:gd name="connsiteY203" fmla="*/ 643 h 1072"/>
                  <a:gd name="connsiteX204" fmla="*/ 2930 w 5554"/>
                  <a:gd name="connsiteY204" fmla="*/ 701 h 1072"/>
                  <a:gd name="connsiteX205" fmla="*/ 2967 w 5554"/>
                  <a:gd name="connsiteY205" fmla="*/ 755 h 1072"/>
                  <a:gd name="connsiteX206" fmla="*/ 3008 w 5554"/>
                  <a:gd name="connsiteY206" fmla="*/ 805 h 1072"/>
                  <a:gd name="connsiteX207" fmla="*/ 3049 w 5554"/>
                  <a:gd name="connsiteY207" fmla="*/ 848 h 1072"/>
                  <a:gd name="connsiteX208" fmla="*/ 3093 w 5554"/>
                  <a:gd name="connsiteY208" fmla="*/ 886 h 1072"/>
                  <a:gd name="connsiteX209" fmla="*/ 3138 w 5554"/>
                  <a:gd name="connsiteY209" fmla="*/ 917 h 1072"/>
                  <a:gd name="connsiteX210" fmla="*/ 3188 w 5554"/>
                  <a:gd name="connsiteY210" fmla="*/ 940 h 1072"/>
                  <a:gd name="connsiteX211" fmla="*/ 3241 w 5554"/>
                  <a:gd name="connsiteY211" fmla="*/ 952 h 1072"/>
                  <a:gd name="connsiteX212" fmla="*/ 3297 w 5554"/>
                  <a:gd name="connsiteY212" fmla="*/ 956 h 1072"/>
                  <a:gd name="connsiteX213" fmla="*/ 3353 w 5554"/>
                  <a:gd name="connsiteY213" fmla="*/ 950 h 1072"/>
                  <a:gd name="connsiteX214" fmla="*/ 3403 w 5554"/>
                  <a:gd name="connsiteY214" fmla="*/ 935 h 1072"/>
                  <a:gd name="connsiteX215" fmla="*/ 3450 w 5554"/>
                  <a:gd name="connsiteY215" fmla="*/ 915 h 1072"/>
                  <a:gd name="connsiteX216" fmla="*/ 3493 w 5554"/>
                  <a:gd name="connsiteY216" fmla="*/ 884 h 1072"/>
                  <a:gd name="connsiteX217" fmla="*/ 3533 w 5554"/>
                  <a:gd name="connsiteY217" fmla="*/ 848 h 1072"/>
                  <a:gd name="connsiteX218" fmla="*/ 3570 w 5554"/>
                  <a:gd name="connsiteY218" fmla="*/ 807 h 1072"/>
                  <a:gd name="connsiteX219" fmla="*/ 3605 w 5554"/>
                  <a:gd name="connsiteY219" fmla="*/ 759 h 1072"/>
                  <a:gd name="connsiteX220" fmla="*/ 3638 w 5554"/>
                  <a:gd name="connsiteY220" fmla="*/ 709 h 1072"/>
                  <a:gd name="connsiteX221" fmla="*/ 3671 w 5554"/>
                  <a:gd name="connsiteY221" fmla="*/ 655 h 1072"/>
                  <a:gd name="connsiteX222" fmla="*/ 3704 w 5554"/>
                  <a:gd name="connsiteY222" fmla="*/ 597 h 1072"/>
                  <a:gd name="connsiteX223" fmla="*/ 3737 w 5554"/>
                  <a:gd name="connsiteY223" fmla="*/ 537 h 1072"/>
                  <a:gd name="connsiteX224" fmla="*/ 3766 w 5554"/>
                  <a:gd name="connsiteY224" fmla="*/ 483 h 1072"/>
                  <a:gd name="connsiteX225" fmla="*/ 3828 w 5554"/>
                  <a:gd name="connsiteY225" fmla="*/ 375 h 1072"/>
                  <a:gd name="connsiteX226" fmla="*/ 3898 w 5554"/>
                  <a:gd name="connsiteY226" fmla="*/ 272 h 1072"/>
                  <a:gd name="connsiteX227" fmla="*/ 3935 w 5554"/>
                  <a:gd name="connsiteY227" fmla="*/ 224 h 1072"/>
                  <a:gd name="connsiteX228" fmla="*/ 3976 w 5554"/>
                  <a:gd name="connsiteY228" fmla="*/ 178 h 1072"/>
                  <a:gd name="connsiteX229" fmla="*/ 4020 w 5554"/>
                  <a:gd name="connsiteY229" fmla="*/ 137 h 1072"/>
                  <a:gd name="connsiteX230" fmla="*/ 4067 w 5554"/>
                  <a:gd name="connsiteY230" fmla="*/ 100 h 1072"/>
                  <a:gd name="connsiteX231" fmla="*/ 4119 w 5554"/>
                  <a:gd name="connsiteY231" fmla="*/ 66 h 1072"/>
                  <a:gd name="connsiteX232" fmla="*/ 4177 w 5554"/>
                  <a:gd name="connsiteY232" fmla="*/ 40 h 1072"/>
                  <a:gd name="connsiteX233" fmla="*/ 4237 w 5554"/>
                  <a:gd name="connsiteY233" fmla="*/ 19 h 1072"/>
                  <a:gd name="connsiteX234" fmla="*/ 4303 w 5554"/>
                  <a:gd name="connsiteY234" fmla="*/ 6 h 1072"/>
                  <a:gd name="connsiteX235" fmla="*/ 4375 w 5554"/>
                  <a:gd name="connsiteY235" fmla="*/ 0 h 1072"/>
                  <a:gd name="connsiteX0" fmla="*/ 4375 w 5554"/>
                  <a:gd name="connsiteY0" fmla="*/ 0 h 1072"/>
                  <a:gd name="connsiteX1" fmla="*/ 4425 w 5554"/>
                  <a:gd name="connsiteY1" fmla="*/ 0 h 1072"/>
                  <a:gd name="connsiteX2" fmla="*/ 4453 w 5554"/>
                  <a:gd name="connsiteY2" fmla="*/ 4 h 1072"/>
                  <a:gd name="connsiteX3" fmla="*/ 4484 w 5554"/>
                  <a:gd name="connsiteY3" fmla="*/ 13 h 1072"/>
                  <a:gd name="connsiteX4" fmla="*/ 4522 w 5554"/>
                  <a:gd name="connsiteY4" fmla="*/ 23 h 1072"/>
                  <a:gd name="connsiteX5" fmla="*/ 4563 w 5554"/>
                  <a:gd name="connsiteY5" fmla="*/ 40 h 1072"/>
                  <a:gd name="connsiteX6" fmla="*/ 4606 w 5554"/>
                  <a:gd name="connsiteY6" fmla="*/ 60 h 1072"/>
                  <a:gd name="connsiteX7" fmla="*/ 4654 w 5554"/>
                  <a:gd name="connsiteY7" fmla="*/ 89 h 1072"/>
                  <a:gd name="connsiteX8" fmla="*/ 4703 w 5554"/>
                  <a:gd name="connsiteY8" fmla="*/ 125 h 1072"/>
                  <a:gd name="connsiteX9" fmla="*/ 4753 w 5554"/>
                  <a:gd name="connsiteY9" fmla="*/ 170 h 1072"/>
                  <a:gd name="connsiteX10" fmla="*/ 4804 w 5554"/>
                  <a:gd name="connsiteY10" fmla="*/ 224 h 1072"/>
                  <a:gd name="connsiteX11" fmla="*/ 4856 w 5554"/>
                  <a:gd name="connsiteY11" fmla="*/ 286 h 1072"/>
                  <a:gd name="connsiteX12" fmla="*/ 4908 w 5554"/>
                  <a:gd name="connsiteY12" fmla="*/ 361 h 1072"/>
                  <a:gd name="connsiteX13" fmla="*/ 4959 w 5554"/>
                  <a:gd name="connsiteY13" fmla="*/ 448 h 1072"/>
                  <a:gd name="connsiteX14" fmla="*/ 5011 w 5554"/>
                  <a:gd name="connsiteY14" fmla="*/ 548 h 1072"/>
                  <a:gd name="connsiteX15" fmla="*/ 5056 w 5554"/>
                  <a:gd name="connsiteY15" fmla="*/ 633 h 1072"/>
                  <a:gd name="connsiteX16" fmla="*/ 5102 w 5554"/>
                  <a:gd name="connsiteY16" fmla="*/ 705 h 1072"/>
                  <a:gd name="connsiteX17" fmla="*/ 5149 w 5554"/>
                  <a:gd name="connsiteY17" fmla="*/ 767 h 1072"/>
                  <a:gd name="connsiteX18" fmla="*/ 5197 w 5554"/>
                  <a:gd name="connsiteY18" fmla="*/ 819 h 1072"/>
                  <a:gd name="connsiteX19" fmla="*/ 5242 w 5554"/>
                  <a:gd name="connsiteY19" fmla="*/ 863 h 1072"/>
                  <a:gd name="connsiteX20" fmla="*/ 5290 w 5554"/>
                  <a:gd name="connsiteY20" fmla="*/ 898 h 1072"/>
                  <a:gd name="connsiteX21" fmla="*/ 5333 w 5554"/>
                  <a:gd name="connsiteY21" fmla="*/ 927 h 1072"/>
                  <a:gd name="connsiteX22" fmla="*/ 5376 w 5554"/>
                  <a:gd name="connsiteY22" fmla="*/ 948 h 1072"/>
                  <a:gd name="connsiteX23" fmla="*/ 5413 w 5554"/>
                  <a:gd name="connsiteY23" fmla="*/ 962 h 1072"/>
                  <a:gd name="connsiteX24" fmla="*/ 5451 w 5554"/>
                  <a:gd name="connsiteY24" fmla="*/ 973 h 1072"/>
                  <a:gd name="connsiteX25" fmla="*/ 5480 w 5554"/>
                  <a:gd name="connsiteY25" fmla="*/ 981 h 1072"/>
                  <a:gd name="connsiteX26" fmla="*/ 5506 w 5554"/>
                  <a:gd name="connsiteY26" fmla="*/ 983 h 1072"/>
                  <a:gd name="connsiteX27" fmla="*/ 5525 w 5554"/>
                  <a:gd name="connsiteY27" fmla="*/ 985 h 1072"/>
                  <a:gd name="connsiteX28" fmla="*/ 5546 w 5554"/>
                  <a:gd name="connsiteY28" fmla="*/ 985 h 1072"/>
                  <a:gd name="connsiteX29" fmla="*/ 5554 w 5554"/>
                  <a:gd name="connsiteY29" fmla="*/ 1072 h 1072"/>
                  <a:gd name="connsiteX30" fmla="*/ 5519 w 5554"/>
                  <a:gd name="connsiteY30" fmla="*/ 1072 h 1072"/>
                  <a:gd name="connsiteX31" fmla="*/ 5492 w 5554"/>
                  <a:gd name="connsiteY31" fmla="*/ 1070 h 1072"/>
                  <a:gd name="connsiteX32" fmla="*/ 5461 w 5554"/>
                  <a:gd name="connsiteY32" fmla="*/ 1064 h 1072"/>
                  <a:gd name="connsiteX33" fmla="*/ 5424 w 5554"/>
                  <a:gd name="connsiteY33" fmla="*/ 1056 h 1072"/>
                  <a:gd name="connsiteX34" fmla="*/ 5382 w 5554"/>
                  <a:gd name="connsiteY34" fmla="*/ 1043 h 1072"/>
                  <a:gd name="connsiteX35" fmla="*/ 5337 w 5554"/>
                  <a:gd name="connsiteY35" fmla="*/ 1025 h 1072"/>
                  <a:gd name="connsiteX36" fmla="*/ 5290 w 5554"/>
                  <a:gd name="connsiteY36" fmla="*/ 1002 h 1072"/>
                  <a:gd name="connsiteX37" fmla="*/ 5240 w 5554"/>
                  <a:gd name="connsiteY37" fmla="*/ 971 h 1072"/>
                  <a:gd name="connsiteX38" fmla="*/ 5188 w 5554"/>
                  <a:gd name="connsiteY38" fmla="*/ 931 h 1072"/>
                  <a:gd name="connsiteX39" fmla="*/ 5137 w 5554"/>
                  <a:gd name="connsiteY39" fmla="*/ 881 h 1072"/>
                  <a:gd name="connsiteX40" fmla="*/ 5083 w 5554"/>
                  <a:gd name="connsiteY40" fmla="*/ 823 h 1072"/>
                  <a:gd name="connsiteX41" fmla="*/ 5032 w 5554"/>
                  <a:gd name="connsiteY41" fmla="*/ 755 h 1072"/>
                  <a:gd name="connsiteX42" fmla="*/ 4982 w 5554"/>
                  <a:gd name="connsiteY42" fmla="*/ 676 h 1072"/>
                  <a:gd name="connsiteX43" fmla="*/ 4934 w 5554"/>
                  <a:gd name="connsiteY43" fmla="*/ 583 h 1072"/>
                  <a:gd name="connsiteX44" fmla="*/ 4885 w 5554"/>
                  <a:gd name="connsiteY44" fmla="*/ 487 h 1072"/>
                  <a:gd name="connsiteX45" fmla="*/ 4835 w 5554"/>
                  <a:gd name="connsiteY45" fmla="*/ 404 h 1072"/>
                  <a:gd name="connsiteX46" fmla="*/ 4786 w 5554"/>
                  <a:gd name="connsiteY46" fmla="*/ 336 h 1072"/>
                  <a:gd name="connsiteX47" fmla="*/ 4736 w 5554"/>
                  <a:gd name="connsiteY47" fmla="*/ 276 h 1072"/>
                  <a:gd name="connsiteX48" fmla="*/ 4689 w 5554"/>
                  <a:gd name="connsiteY48" fmla="*/ 228 h 1072"/>
                  <a:gd name="connsiteX49" fmla="*/ 4643 w 5554"/>
                  <a:gd name="connsiteY49" fmla="*/ 189 h 1072"/>
                  <a:gd name="connsiteX50" fmla="*/ 4602 w 5554"/>
                  <a:gd name="connsiteY50" fmla="*/ 158 h 1072"/>
                  <a:gd name="connsiteX51" fmla="*/ 4563 w 5554"/>
                  <a:gd name="connsiteY51" fmla="*/ 135 h 1072"/>
                  <a:gd name="connsiteX52" fmla="*/ 4513 w 5554"/>
                  <a:gd name="connsiteY52" fmla="*/ 112 h 1072"/>
                  <a:gd name="connsiteX53" fmla="*/ 4470 w 5554"/>
                  <a:gd name="connsiteY53" fmla="*/ 98 h 1072"/>
                  <a:gd name="connsiteX54" fmla="*/ 4435 w 5554"/>
                  <a:gd name="connsiteY54" fmla="*/ 89 h 1072"/>
                  <a:gd name="connsiteX55" fmla="*/ 4406 w 5554"/>
                  <a:gd name="connsiteY55" fmla="*/ 87 h 1072"/>
                  <a:gd name="connsiteX56" fmla="*/ 4379 w 5554"/>
                  <a:gd name="connsiteY56" fmla="*/ 87 h 1072"/>
                  <a:gd name="connsiteX57" fmla="*/ 4313 w 5554"/>
                  <a:gd name="connsiteY57" fmla="*/ 93 h 1072"/>
                  <a:gd name="connsiteX58" fmla="*/ 4251 w 5554"/>
                  <a:gd name="connsiteY58" fmla="*/ 106 h 1072"/>
                  <a:gd name="connsiteX59" fmla="*/ 4195 w 5554"/>
                  <a:gd name="connsiteY59" fmla="*/ 127 h 1072"/>
                  <a:gd name="connsiteX60" fmla="*/ 4144 w 5554"/>
                  <a:gd name="connsiteY60" fmla="*/ 154 h 1072"/>
                  <a:gd name="connsiteX61" fmla="*/ 4096 w 5554"/>
                  <a:gd name="connsiteY61" fmla="*/ 187 h 1072"/>
                  <a:gd name="connsiteX62" fmla="*/ 4053 w 5554"/>
                  <a:gd name="connsiteY62" fmla="*/ 224 h 1072"/>
                  <a:gd name="connsiteX63" fmla="*/ 4014 w 5554"/>
                  <a:gd name="connsiteY63" fmla="*/ 268 h 1072"/>
                  <a:gd name="connsiteX64" fmla="*/ 3974 w 5554"/>
                  <a:gd name="connsiteY64" fmla="*/ 313 h 1072"/>
                  <a:gd name="connsiteX65" fmla="*/ 3939 w 5554"/>
                  <a:gd name="connsiteY65" fmla="*/ 363 h 1072"/>
                  <a:gd name="connsiteX66" fmla="*/ 3906 w 5554"/>
                  <a:gd name="connsiteY66" fmla="*/ 415 h 1072"/>
                  <a:gd name="connsiteX67" fmla="*/ 3844 w 5554"/>
                  <a:gd name="connsiteY67" fmla="*/ 523 h 1072"/>
                  <a:gd name="connsiteX68" fmla="*/ 3751 w 5554"/>
                  <a:gd name="connsiteY68" fmla="*/ 691 h 1072"/>
                  <a:gd name="connsiteX69" fmla="*/ 3718 w 5554"/>
                  <a:gd name="connsiteY69" fmla="*/ 747 h 1072"/>
                  <a:gd name="connsiteX70" fmla="*/ 3683 w 5554"/>
                  <a:gd name="connsiteY70" fmla="*/ 799 h 1072"/>
                  <a:gd name="connsiteX71" fmla="*/ 3648 w 5554"/>
                  <a:gd name="connsiteY71" fmla="*/ 848 h 1072"/>
                  <a:gd name="connsiteX72" fmla="*/ 3609 w 5554"/>
                  <a:gd name="connsiteY72" fmla="*/ 894 h 1072"/>
                  <a:gd name="connsiteX73" fmla="*/ 3568 w 5554"/>
                  <a:gd name="connsiteY73" fmla="*/ 935 h 1072"/>
                  <a:gd name="connsiteX74" fmla="*/ 3522 w 5554"/>
                  <a:gd name="connsiteY74" fmla="*/ 971 h 1072"/>
                  <a:gd name="connsiteX75" fmla="*/ 3473 w 5554"/>
                  <a:gd name="connsiteY75" fmla="*/ 1000 h 1072"/>
                  <a:gd name="connsiteX76" fmla="*/ 3421 w 5554"/>
                  <a:gd name="connsiteY76" fmla="*/ 1022 h 1072"/>
                  <a:gd name="connsiteX77" fmla="*/ 3363 w 5554"/>
                  <a:gd name="connsiteY77" fmla="*/ 1037 h 1072"/>
                  <a:gd name="connsiteX78" fmla="*/ 3299 w 5554"/>
                  <a:gd name="connsiteY78" fmla="*/ 1043 h 1072"/>
                  <a:gd name="connsiteX79" fmla="*/ 3291 w 5554"/>
                  <a:gd name="connsiteY79" fmla="*/ 1043 h 1072"/>
                  <a:gd name="connsiteX80" fmla="*/ 3229 w 5554"/>
                  <a:gd name="connsiteY80" fmla="*/ 1039 h 1072"/>
                  <a:gd name="connsiteX81" fmla="*/ 3169 w 5554"/>
                  <a:gd name="connsiteY81" fmla="*/ 1025 h 1072"/>
                  <a:gd name="connsiteX82" fmla="*/ 3116 w 5554"/>
                  <a:gd name="connsiteY82" fmla="*/ 1002 h 1072"/>
                  <a:gd name="connsiteX83" fmla="*/ 3064 w 5554"/>
                  <a:gd name="connsiteY83" fmla="*/ 973 h 1072"/>
                  <a:gd name="connsiteX84" fmla="*/ 3016 w 5554"/>
                  <a:gd name="connsiteY84" fmla="*/ 935 h 1072"/>
                  <a:gd name="connsiteX85" fmla="*/ 2973 w 5554"/>
                  <a:gd name="connsiteY85" fmla="*/ 894 h 1072"/>
                  <a:gd name="connsiteX86" fmla="*/ 2930 w 5554"/>
                  <a:gd name="connsiteY86" fmla="*/ 846 h 1072"/>
                  <a:gd name="connsiteX87" fmla="*/ 2890 w 5554"/>
                  <a:gd name="connsiteY87" fmla="*/ 796 h 1072"/>
                  <a:gd name="connsiteX88" fmla="*/ 2851 w 5554"/>
                  <a:gd name="connsiteY88" fmla="*/ 740 h 1072"/>
                  <a:gd name="connsiteX89" fmla="*/ 2814 w 5554"/>
                  <a:gd name="connsiteY89" fmla="*/ 684 h 1072"/>
                  <a:gd name="connsiteX90" fmla="*/ 2709 w 5554"/>
                  <a:gd name="connsiteY90" fmla="*/ 510 h 1072"/>
                  <a:gd name="connsiteX91" fmla="*/ 2672 w 5554"/>
                  <a:gd name="connsiteY91" fmla="*/ 452 h 1072"/>
                  <a:gd name="connsiteX92" fmla="*/ 2634 w 5554"/>
                  <a:gd name="connsiteY92" fmla="*/ 396 h 1072"/>
                  <a:gd name="connsiteX93" fmla="*/ 2597 w 5554"/>
                  <a:gd name="connsiteY93" fmla="*/ 342 h 1072"/>
                  <a:gd name="connsiteX94" fmla="*/ 2558 w 5554"/>
                  <a:gd name="connsiteY94" fmla="*/ 293 h 1072"/>
                  <a:gd name="connsiteX95" fmla="*/ 2517 w 5554"/>
                  <a:gd name="connsiteY95" fmla="*/ 247 h 1072"/>
                  <a:gd name="connsiteX96" fmla="*/ 2475 w 5554"/>
                  <a:gd name="connsiteY96" fmla="*/ 205 h 1072"/>
                  <a:gd name="connsiteX97" fmla="*/ 2430 w 5554"/>
                  <a:gd name="connsiteY97" fmla="*/ 168 h 1072"/>
                  <a:gd name="connsiteX98" fmla="*/ 2383 w 5554"/>
                  <a:gd name="connsiteY98" fmla="*/ 139 h 1072"/>
                  <a:gd name="connsiteX99" fmla="*/ 2331 w 5554"/>
                  <a:gd name="connsiteY99" fmla="*/ 116 h 1072"/>
                  <a:gd name="connsiteX100" fmla="*/ 2275 w 5554"/>
                  <a:gd name="connsiteY100" fmla="*/ 100 h 1072"/>
                  <a:gd name="connsiteX101" fmla="*/ 2217 w 5554"/>
                  <a:gd name="connsiteY101" fmla="*/ 91 h 1072"/>
                  <a:gd name="connsiteX102" fmla="*/ 2153 w 5554"/>
                  <a:gd name="connsiteY102" fmla="*/ 93 h 1072"/>
                  <a:gd name="connsiteX103" fmla="*/ 2085 w 5554"/>
                  <a:gd name="connsiteY103" fmla="*/ 104 h 1072"/>
                  <a:gd name="connsiteX104" fmla="*/ 2023 w 5554"/>
                  <a:gd name="connsiteY104" fmla="*/ 122 h 1072"/>
                  <a:gd name="connsiteX105" fmla="*/ 1966 w 5554"/>
                  <a:gd name="connsiteY105" fmla="*/ 147 h 1072"/>
                  <a:gd name="connsiteX106" fmla="*/ 1912 w 5554"/>
                  <a:gd name="connsiteY106" fmla="*/ 181 h 1072"/>
                  <a:gd name="connsiteX107" fmla="*/ 1860 w 5554"/>
                  <a:gd name="connsiteY107" fmla="*/ 218 h 1072"/>
                  <a:gd name="connsiteX108" fmla="*/ 1815 w 5554"/>
                  <a:gd name="connsiteY108" fmla="*/ 261 h 1072"/>
                  <a:gd name="connsiteX109" fmla="*/ 1769 w 5554"/>
                  <a:gd name="connsiteY109" fmla="*/ 307 h 1072"/>
                  <a:gd name="connsiteX110" fmla="*/ 1728 w 5554"/>
                  <a:gd name="connsiteY110" fmla="*/ 359 h 1072"/>
                  <a:gd name="connsiteX111" fmla="*/ 1689 w 5554"/>
                  <a:gd name="connsiteY111" fmla="*/ 413 h 1072"/>
                  <a:gd name="connsiteX112" fmla="*/ 1652 w 5554"/>
                  <a:gd name="connsiteY112" fmla="*/ 467 h 1072"/>
                  <a:gd name="connsiteX113" fmla="*/ 1615 w 5554"/>
                  <a:gd name="connsiteY113" fmla="*/ 523 h 1072"/>
                  <a:gd name="connsiteX114" fmla="*/ 1577 w 5554"/>
                  <a:gd name="connsiteY114" fmla="*/ 581 h 1072"/>
                  <a:gd name="connsiteX115" fmla="*/ 1542 w 5554"/>
                  <a:gd name="connsiteY115" fmla="*/ 637 h 1072"/>
                  <a:gd name="connsiteX116" fmla="*/ 1468 w 5554"/>
                  <a:gd name="connsiteY116" fmla="*/ 749 h 1072"/>
                  <a:gd name="connsiteX117" fmla="*/ 1429 w 5554"/>
                  <a:gd name="connsiteY117" fmla="*/ 801 h 1072"/>
                  <a:gd name="connsiteX118" fmla="*/ 1387 w 5554"/>
                  <a:gd name="connsiteY118" fmla="*/ 850 h 1072"/>
                  <a:gd name="connsiteX119" fmla="*/ 1344 w 5554"/>
                  <a:gd name="connsiteY119" fmla="*/ 896 h 1072"/>
                  <a:gd name="connsiteX120" fmla="*/ 1297 w 5554"/>
                  <a:gd name="connsiteY120" fmla="*/ 937 h 1072"/>
                  <a:gd name="connsiteX121" fmla="*/ 1247 w 5554"/>
                  <a:gd name="connsiteY121" fmla="*/ 973 h 1072"/>
                  <a:gd name="connsiteX122" fmla="*/ 1193 w 5554"/>
                  <a:gd name="connsiteY122" fmla="*/ 1002 h 1072"/>
                  <a:gd name="connsiteX123" fmla="*/ 1138 w 5554"/>
                  <a:gd name="connsiteY123" fmla="*/ 1025 h 1072"/>
                  <a:gd name="connsiteX124" fmla="*/ 1074 w 5554"/>
                  <a:gd name="connsiteY124" fmla="*/ 1037 h 1072"/>
                  <a:gd name="connsiteX125" fmla="*/ 1008 w 5554"/>
                  <a:gd name="connsiteY125" fmla="*/ 1043 h 1072"/>
                  <a:gd name="connsiteX126" fmla="*/ 1001 w 5554"/>
                  <a:gd name="connsiteY126" fmla="*/ 1043 h 1072"/>
                  <a:gd name="connsiteX127" fmla="*/ 933 w 5554"/>
                  <a:gd name="connsiteY127" fmla="*/ 1039 h 1072"/>
                  <a:gd name="connsiteX128" fmla="*/ 871 w 5554"/>
                  <a:gd name="connsiteY128" fmla="*/ 1027 h 1072"/>
                  <a:gd name="connsiteX129" fmla="*/ 813 w 5554"/>
                  <a:gd name="connsiteY129" fmla="*/ 1008 h 1072"/>
                  <a:gd name="connsiteX130" fmla="*/ 762 w 5554"/>
                  <a:gd name="connsiteY130" fmla="*/ 983 h 1072"/>
                  <a:gd name="connsiteX131" fmla="*/ 714 w 5554"/>
                  <a:gd name="connsiteY131" fmla="*/ 952 h 1072"/>
                  <a:gd name="connsiteX132" fmla="*/ 669 w 5554"/>
                  <a:gd name="connsiteY132" fmla="*/ 915 h 1072"/>
                  <a:gd name="connsiteX133" fmla="*/ 628 w 5554"/>
                  <a:gd name="connsiteY133" fmla="*/ 873 h 1072"/>
                  <a:gd name="connsiteX134" fmla="*/ 590 w 5554"/>
                  <a:gd name="connsiteY134" fmla="*/ 828 h 1072"/>
                  <a:gd name="connsiteX135" fmla="*/ 553 w 5554"/>
                  <a:gd name="connsiteY135" fmla="*/ 780 h 1072"/>
                  <a:gd name="connsiteX136" fmla="*/ 520 w 5554"/>
                  <a:gd name="connsiteY136" fmla="*/ 728 h 1072"/>
                  <a:gd name="connsiteX137" fmla="*/ 485 w 5554"/>
                  <a:gd name="connsiteY137" fmla="*/ 674 h 1072"/>
                  <a:gd name="connsiteX138" fmla="*/ 454 w 5554"/>
                  <a:gd name="connsiteY138" fmla="*/ 618 h 1072"/>
                  <a:gd name="connsiteX139" fmla="*/ 421 w 5554"/>
                  <a:gd name="connsiteY139" fmla="*/ 560 h 1072"/>
                  <a:gd name="connsiteX140" fmla="*/ 359 w 5554"/>
                  <a:gd name="connsiteY140" fmla="*/ 448 h 1072"/>
                  <a:gd name="connsiteX141" fmla="*/ 291 w 5554"/>
                  <a:gd name="connsiteY141" fmla="*/ 340 h 1072"/>
                  <a:gd name="connsiteX142" fmla="*/ 248 w 5554"/>
                  <a:gd name="connsiteY142" fmla="*/ 284 h 1072"/>
                  <a:gd name="connsiteX143" fmla="*/ 200 w 5554"/>
                  <a:gd name="connsiteY143" fmla="*/ 239 h 1072"/>
                  <a:gd name="connsiteX144" fmla="*/ 153 w 5554"/>
                  <a:gd name="connsiteY144" fmla="*/ 199 h 1072"/>
                  <a:gd name="connsiteX145" fmla="*/ 101 w 5554"/>
                  <a:gd name="connsiteY145" fmla="*/ 168 h 1072"/>
                  <a:gd name="connsiteX146" fmla="*/ 0 w 5554"/>
                  <a:gd name="connsiteY146" fmla="*/ 127 h 1072"/>
                  <a:gd name="connsiteX147" fmla="*/ 202 w 5554"/>
                  <a:gd name="connsiteY147" fmla="*/ 131 h 1072"/>
                  <a:gd name="connsiteX148" fmla="*/ 258 w 5554"/>
                  <a:gd name="connsiteY148" fmla="*/ 174 h 1072"/>
                  <a:gd name="connsiteX149" fmla="*/ 312 w 5554"/>
                  <a:gd name="connsiteY149" fmla="*/ 228 h 1072"/>
                  <a:gd name="connsiteX150" fmla="*/ 361 w 5554"/>
                  <a:gd name="connsiteY150" fmla="*/ 293 h 1072"/>
                  <a:gd name="connsiteX151" fmla="*/ 411 w 5554"/>
                  <a:gd name="connsiteY151" fmla="*/ 367 h 1072"/>
                  <a:gd name="connsiteX152" fmla="*/ 498 w 5554"/>
                  <a:gd name="connsiteY152" fmla="*/ 516 h 1072"/>
                  <a:gd name="connsiteX153" fmla="*/ 531 w 5554"/>
                  <a:gd name="connsiteY153" fmla="*/ 575 h 1072"/>
                  <a:gd name="connsiteX154" fmla="*/ 564 w 5554"/>
                  <a:gd name="connsiteY154" fmla="*/ 631 h 1072"/>
                  <a:gd name="connsiteX155" fmla="*/ 597 w 5554"/>
                  <a:gd name="connsiteY155" fmla="*/ 684 h 1072"/>
                  <a:gd name="connsiteX156" fmla="*/ 630 w 5554"/>
                  <a:gd name="connsiteY156" fmla="*/ 736 h 1072"/>
                  <a:gd name="connsiteX157" fmla="*/ 665 w 5554"/>
                  <a:gd name="connsiteY157" fmla="*/ 782 h 1072"/>
                  <a:gd name="connsiteX158" fmla="*/ 702 w 5554"/>
                  <a:gd name="connsiteY158" fmla="*/ 825 h 1072"/>
                  <a:gd name="connsiteX159" fmla="*/ 743 w 5554"/>
                  <a:gd name="connsiteY159" fmla="*/ 863 h 1072"/>
                  <a:gd name="connsiteX160" fmla="*/ 787 w 5554"/>
                  <a:gd name="connsiteY160" fmla="*/ 894 h 1072"/>
                  <a:gd name="connsiteX161" fmla="*/ 834 w 5554"/>
                  <a:gd name="connsiteY161" fmla="*/ 921 h 1072"/>
                  <a:gd name="connsiteX162" fmla="*/ 884 w 5554"/>
                  <a:gd name="connsiteY162" fmla="*/ 940 h 1072"/>
                  <a:gd name="connsiteX163" fmla="*/ 939 w 5554"/>
                  <a:gd name="connsiteY163" fmla="*/ 952 h 1072"/>
                  <a:gd name="connsiteX164" fmla="*/ 1001 w 5554"/>
                  <a:gd name="connsiteY164" fmla="*/ 956 h 1072"/>
                  <a:gd name="connsiteX165" fmla="*/ 1008 w 5554"/>
                  <a:gd name="connsiteY165" fmla="*/ 956 h 1072"/>
                  <a:gd name="connsiteX166" fmla="*/ 1067 w 5554"/>
                  <a:gd name="connsiteY166" fmla="*/ 950 h 1072"/>
                  <a:gd name="connsiteX167" fmla="*/ 1123 w 5554"/>
                  <a:gd name="connsiteY167" fmla="*/ 935 h 1072"/>
                  <a:gd name="connsiteX168" fmla="*/ 1177 w 5554"/>
                  <a:gd name="connsiteY168" fmla="*/ 913 h 1072"/>
                  <a:gd name="connsiteX169" fmla="*/ 1224 w 5554"/>
                  <a:gd name="connsiteY169" fmla="*/ 884 h 1072"/>
                  <a:gd name="connsiteX170" fmla="*/ 1270 w 5554"/>
                  <a:gd name="connsiteY170" fmla="*/ 846 h 1072"/>
                  <a:gd name="connsiteX171" fmla="*/ 1313 w 5554"/>
                  <a:gd name="connsiteY171" fmla="*/ 803 h 1072"/>
                  <a:gd name="connsiteX172" fmla="*/ 1352 w 5554"/>
                  <a:gd name="connsiteY172" fmla="*/ 755 h 1072"/>
                  <a:gd name="connsiteX173" fmla="*/ 1392 w 5554"/>
                  <a:gd name="connsiteY173" fmla="*/ 703 h 1072"/>
                  <a:gd name="connsiteX174" fmla="*/ 1431 w 5554"/>
                  <a:gd name="connsiteY174" fmla="*/ 649 h 1072"/>
                  <a:gd name="connsiteX175" fmla="*/ 1542 w 5554"/>
                  <a:gd name="connsiteY175" fmla="*/ 475 h 1072"/>
                  <a:gd name="connsiteX176" fmla="*/ 1582 w 5554"/>
                  <a:gd name="connsiteY176" fmla="*/ 415 h 1072"/>
                  <a:gd name="connsiteX177" fmla="*/ 1623 w 5554"/>
                  <a:gd name="connsiteY177" fmla="*/ 357 h 1072"/>
                  <a:gd name="connsiteX178" fmla="*/ 1666 w 5554"/>
                  <a:gd name="connsiteY178" fmla="*/ 299 h 1072"/>
                  <a:gd name="connsiteX179" fmla="*/ 1712 w 5554"/>
                  <a:gd name="connsiteY179" fmla="*/ 245 h 1072"/>
                  <a:gd name="connsiteX180" fmla="*/ 1759 w 5554"/>
                  <a:gd name="connsiteY180" fmla="*/ 193 h 1072"/>
                  <a:gd name="connsiteX181" fmla="*/ 1813 w 5554"/>
                  <a:gd name="connsiteY181" fmla="*/ 145 h 1072"/>
                  <a:gd name="connsiteX182" fmla="*/ 1868 w 5554"/>
                  <a:gd name="connsiteY182" fmla="*/ 104 h 1072"/>
                  <a:gd name="connsiteX183" fmla="*/ 1930 w 5554"/>
                  <a:gd name="connsiteY183" fmla="*/ 69 h 1072"/>
                  <a:gd name="connsiteX184" fmla="*/ 1996 w 5554"/>
                  <a:gd name="connsiteY184" fmla="*/ 40 h 1072"/>
                  <a:gd name="connsiteX185" fmla="*/ 2069 w 5554"/>
                  <a:gd name="connsiteY185" fmla="*/ 19 h 1072"/>
                  <a:gd name="connsiteX186" fmla="*/ 2147 w 5554"/>
                  <a:gd name="connsiteY186" fmla="*/ 6 h 1072"/>
                  <a:gd name="connsiteX187" fmla="*/ 2217 w 5554"/>
                  <a:gd name="connsiteY187" fmla="*/ 4 h 1072"/>
                  <a:gd name="connsiteX188" fmla="*/ 2283 w 5554"/>
                  <a:gd name="connsiteY188" fmla="*/ 13 h 1072"/>
                  <a:gd name="connsiteX189" fmla="*/ 2343 w 5554"/>
                  <a:gd name="connsiteY189" fmla="*/ 27 h 1072"/>
                  <a:gd name="connsiteX190" fmla="*/ 2401 w 5554"/>
                  <a:gd name="connsiteY190" fmla="*/ 50 h 1072"/>
                  <a:gd name="connsiteX191" fmla="*/ 2455 w 5554"/>
                  <a:gd name="connsiteY191" fmla="*/ 81 h 1072"/>
                  <a:gd name="connsiteX192" fmla="*/ 2504 w 5554"/>
                  <a:gd name="connsiteY192" fmla="*/ 116 h 1072"/>
                  <a:gd name="connsiteX193" fmla="*/ 2550 w 5554"/>
                  <a:gd name="connsiteY193" fmla="*/ 158 h 1072"/>
                  <a:gd name="connsiteX194" fmla="*/ 2595 w 5554"/>
                  <a:gd name="connsiteY194" fmla="*/ 203 h 1072"/>
                  <a:gd name="connsiteX195" fmla="*/ 2637 w 5554"/>
                  <a:gd name="connsiteY195" fmla="*/ 251 h 1072"/>
                  <a:gd name="connsiteX196" fmla="*/ 2676 w 5554"/>
                  <a:gd name="connsiteY196" fmla="*/ 303 h 1072"/>
                  <a:gd name="connsiteX197" fmla="*/ 2713 w 5554"/>
                  <a:gd name="connsiteY197" fmla="*/ 357 h 1072"/>
                  <a:gd name="connsiteX198" fmla="*/ 2748 w 5554"/>
                  <a:gd name="connsiteY198" fmla="*/ 413 h 1072"/>
                  <a:gd name="connsiteX199" fmla="*/ 2783 w 5554"/>
                  <a:gd name="connsiteY199" fmla="*/ 467 h 1072"/>
                  <a:gd name="connsiteX200" fmla="*/ 2816 w 5554"/>
                  <a:gd name="connsiteY200" fmla="*/ 523 h 1072"/>
                  <a:gd name="connsiteX201" fmla="*/ 2853 w 5554"/>
                  <a:gd name="connsiteY201" fmla="*/ 585 h 1072"/>
                  <a:gd name="connsiteX202" fmla="*/ 2890 w 5554"/>
                  <a:gd name="connsiteY202" fmla="*/ 643 h 1072"/>
                  <a:gd name="connsiteX203" fmla="*/ 2930 w 5554"/>
                  <a:gd name="connsiteY203" fmla="*/ 701 h 1072"/>
                  <a:gd name="connsiteX204" fmla="*/ 2967 w 5554"/>
                  <a:gd name="connsiteY204" fmla="*/ 755 h 1072"/>
                  <a:gd name="connsiteX205" fmla="*/ 3008 w 5554"/>
                  <a:gd name="connsiteY205" fmla="*/ 805 h 1072"/>
                  <a:gd name="connsiteX206" fmla="*/ 3049 w 5554"/>
                  <a:gd name="connsiteY206" fmla="*/ 848 h 1072"/>
                  <a:gd name="connsiteX207" fmla="*/ 3093 w 5554"/>
                  <a:gd name="connsiteY207" fmla="*/ 886 h 1072"/>
                  <a:gd name="connsiteX208" fmla="*/ 3138 w 5554"/>
                  <a:gd name="connsiteY208" fmla="*/ 917 h 1072"/>
                  <a:gd name="connsiteX209" fmla="*/ 3188 w 5554"/>
                  <a:gd name="connsiteY209" fmla="*/ 940 h 1072"/>
                  <a:gd name="connsiteX210" fmla="*/ 3241 w 5554"/>
                  <a:gd name="connsiteY210" fmla="*/ 952 h 1072"/>
                  <a:gd name="connsiteX211" fmla="*/ 3297 w 5554"/>
                  <a:gd name="connsiteY211" fmla="*/ 956 h 1072"/>
                  <a:gd name="connsiteX212" fmla="*/ 3353 w 5554"/>
                  <a:gd name="connsiteY212" fmla="*/ 950 h 1072"/>
                  <a:gd name="connsiteX213" fmla="*/ 3403 w 5554"/>
                  <a:gd name="connsiteY213" fmla="*/ 935 h 1072"/>
                  <a:gd name="connsiteX214" fmla="*/ 3450 w 5554"/>
                  <a:gd name="connsiteY214" fmla="*/ 915 h 1072"/>
                  <a:gd name="connsiteX215" fmla="*/ 3493 w 5554"/>
                  <a:gd name="connsiteY215" fmla="*/ 884 h 1072"/>
                  <a:gd name="connsiteX216" fmla="*/ 3533 w 5554"/>
                  <a:gd name="connsiteY216" fmla="*/ 848 h 1072"/>
                  <a:gd name="connsiteX217" fmla="*/ 3570 w 5554"/>
                  <a:gd name="connsiteY217" fmla="*/ 807 h 1072"/>
                  <a:gd name="connsiteX218" fmla="*/ 3605 w 5554"/>
                  <a:gd name="connsiteY218" fmla="*/ 759 h 1072"/>
                  <a:gd name="connsiteX219" fmla="*/ 3638 w 5554"/>
                  <a:gd name="connsiteY219" fmla="*/ 709 h 1072"/>
                  <a:gd name="connsiteX220" fmla="*/ 3671 w 5554"/>
                  <a:gd name="connsiteY220" fmla="*/ 655 h 1072"/>
                  <a:gd name="connsiteX221" fmla="*/ 3704 w 5554"/>
                  <a:gd name="connsiteY221" fmla="*/ 597 h 1072"/>
                  <a:gd name="connsiteX222" fmla="*/ 3737 w 5554"/>
                  <a:gd name="connsiteY222" fmla="*/ 537 h 1072"/>
                  <a:gd name="connsiteX223" fmla="*/ 3766 w 5554"/>
                  <a:gd name="connsiteY223" fmla="*/ 483 h 1072"/>
                  <a:gd name="connsiteX224" fmla="*/ 3828 w 5554"/>
                  <a:gd name="connsiteY224" fmla="*/ 375 h 1072"/>
                  <a:gd name="connsiteX225" fmla="*/ 3898 w 5554"/>
                  <a:gd name="connsiteY225" fmla="*/ 272 h 1072"/>
                  <a:gd name="connsiteX226" fmla="*/ 3935 w 5554"/>
                  <a:gd name="connsiteY226" fmla="*/ 224 h 1072"/>
                  <a:gd name="connsiteX227" fmla="*/ 3976 w 5554"/>
                  <a:gd name="connsiteY227" fmla="*/ 178 h 1072"/>
                  <a:gd name="connsiteX228" fmla="*/ 4020 w 5554"/>
                  <a:gd name="connsiteY228" fmla="*/ 137 h 1072"/>
                  <a:gd name="connsiteX229" fmla="*/ 4067 w 5554"/>
                  <a:gd name="connsiteY229" fmla="*/ 100 h 1072"/>
                  <a:gd name="connsiteX230" fmla="*/ 4119 w 5554"/>
                  <a:gd name="connsiteY230" fmla="*/ 66 h 1072"/>
                  <a:gd name="connsiteX231" fmla="*/ 4177 w 5554"/>
                  <a:gd name="connsiteY231" fmla="*/ 40 h 1072"/>
                  <a:gd name="connsiteX232" fmla="*/ 4237 w 5554"/>
                  <a:gd name="connsiteY232" fmla="*/ 19 h 1072"/>
                  <a:gd name="connsiteX233" fmla="*/ 4303 w 5554"/>
                  <a:gd name="connsiteY233" fmla="*/ 6 h 1072"/>
                  <a:gd name="connsiteX234" fmla="*/ 4375 w 5554"/>
                  <a:gd name="connsiteY234" fmla="*/ 0 h 1072"/>
                  <a:gd name="connsiteX0" fmla="*/ 4375 w 5554"/>
                  <a:gd name="connsiteY0" fmla="*/ 0 h 1072"/>
                  <a:gd name="connsiteX1" fmla="*/ 4425 w 5554"/>
                  <a:gd name="connsiteY1" fmla="*/ 0 h 1072"/>
                  <a:gd name="connsiteX2" fmla="*/ 4453 w 5554"/>
                  <a:gd name="connsiteY2" fmla="*/ 4 h 1072"/>
                  <a:gd name="connsiteX3" fmla="*/ 4484 w 5554"/>
                  <a:gd name="connsiteY3" fmla="*/ 13 h 1072"/>
                  <a:gd name="connsiteX4" fmla="*/ 4522 w 5554"/>
                  <a:gd name="connsiteY4" fmla="*/ 23 h 1072"/>
                  <a:gd name="connsiteX5" fmla="*/ 4563 w 5554"/>
                  <a:gd name="connsiteY5" fmla="*/ 40 h 1072"/>
                  <a:gd name="connsiteX6" fmla="*/ 4606 w 5554"/>
                  <a:gd name="connsiteY6" fmla="*/ 60 h 1072"/>
                  <a:gd name="connsiteX7" fmla="*/ 4654 w 5554"/>
                  <a:gd name="connsiteY7" fmla="*/ 89 h 1072"/>
                  <a:gd name="connsiteX8" fmla="*/ 4703 w 5554"/>
                  <a:gd name="connsiteY8" fmla="*/ 125 h 1072"/>
                  <a:gd name="connsiteX9" fmla="*/ 4753 w 5554"/>
                  <a:gd name="connsiteY9" fmla="*/ 170 h 1072"/>
                  <a:gd name="connsiteX10" fmla="*/ 4804 w 5554"/>
                  <a:gd name="connsiteY10" fmla="*/ 224 h 1072"/>
                  <a:gd name="connsiteX11" fmla="*/ 4856 w 5554"/>
                  <a:gd name="connsiteY11" fmla="*/ 286 h 1072"/>
                  <a:gd name="connsiteX12" fmla="*/ 4908 w 5554"/>
                  <a:gd name="connsiteY12" fmla="*/ 361 h 1072"/>
                  <a:gd name="connsiteX13" fmla="*/ 4959 w 5554"/>
                  <a:gd name="connsiteY13" fmla="*/ 448 h 1072"/>
                  <a:gd name="connsiteX14" fmla="*/ 5011 w 5554"/>
                  <a:gd name="connsiteY14" fmla="*/ 548 h 1072"/>
                  <a:gd name="connsiteX15" fmla="*/ 5056 w 5554"/>
                  <a:gd name="connsiteY15" fmla="*/ 633 h 1072"/>
                  <a:gd name="connsiteX16" fmla="*/ 5102 w 5554"/>
                  <a:gd name="connsiteY16" fmla="*/ 705 h 1072"/>
                  <a:gd name="connsiteX17" fmla="*/ 5149 w 5554"/>
                  <a:gd name="connsiteY17" fmla="*/ 767 h 1072"/>
                  <a:gd name="connsiteX18" fmla="*/ 5197 w 5554"/>
                  <a:gd name="connsiteY18" fmla="*/ 819 h 1072"/>
                  <a:gd name="connsiteX19" fmla="*/ 5242 w 5554"/>
                  <a:gd name="connsiteY19" fmla="*/ 863 h 1072"/>
                  <a:gd name="connsiteX20" fmla="*/ 5290 w 5554"/>
                  <a:gd name="connsiteY20" fmla="*/ 898 h 1072"/>
                  <a:gd name="connsiteX21" fmla="*/ 5333 w 5554"/>
                  <a:gd name="connsiteY21" fmla="*/ 927 h 1072"/>
                  <a:gd name="connsiteX22" fmla="*/ 5376 w 5554"/>
                  <a:gd name="connsiteY22" fmla="*/ 948 h 1072"/>
                  <a:gd name="connsiteX23" fmla="*/ 5413 w 5554"/>
                  <a:gd name="connsiteY23" fmla="*/ 962 h 1072"/>
                  <a:gd name="connsiteX24" fmla="*/ 5451 w 5554"/>
                  <a:gd name="connsiteY24" fmla="*/ 973 h 1072"/>
                  <a:gd name="connsiteX25" fmla="*/ 5480 w 5554"/>
                  <a:gd name="connsiteY25" fmla="*/ 981 h 1072"/>
                  <a:gd name="connsiteX26" fmla="*/ 5506 w 5554"/>
                  <a:gd name="connsiteY26" fmla="*/ 983 h 1072"/>
                  <a:gd name="connsiteX27" fmla="*/ 5525 w 5554"/>
                  <a:gd name="connsiteY27" fmla="*/ 985 h 1072"/>
                  <a:gd name="connsiteX28" fmla="*/ 5546 w 5554"/>
                  <a:gd name="connsiteY28" fmla="*/ 985 h 1072"/>
                  <a:gd name="connsiteX29" fmla="*/ 5554 w 5554"/>
                  <a:gd name="connsiteY29" fmla="*/ 1072 h 1072"/>
                  <a:gd name="connsiteX30" fmla="*/ 5519 w 5554"/>
                  <a:gd name="connsiteY30" fmla="*/ 1072 h 1072"/>
                  <a:gd name="connsiteX31" fmla="*/ 5492 w 5554"/>
                  <a:gd name="connsiteY31" fmla="*/ 1070 h 1072"/>
                  <a:gd name="connsiteX32" fmla="*/ 5461 w 5554"/>
                  <a:gd name="connsiteY32" fmla="*/ 1064 h 1072"/>
                  <a:gd name="connsiteX33" fmla="*/ 5424 w 5554"/>
                  <a:gd name="connsiteY33" fmla="*/ 1056 h 1072"/>
                  <a:gd name="connsiteX34" fmla="*/ 5382 w 5554"/>
                  <a:gd name="connsiteY34" fmla="*/ 1043 h 1072"/>
                  <a:gd name="connsiteX35" fmla="*/ 5337 w 5554"/>
                  <a:gd name="connsiteY35" fmla="*/ 1025 h 1072"/>
                  <a:gd name="connsiteX36" fmla="*/ 5290 w 5554"/>
                  <a:gd name="connsiteY36" fmla="*/ 1002 h 1072"/>
                  <a:gd name="connsiteX37" fmla="*/ 5240 w 5554"/>
                  <a:gd name="connsiteY37" fmla="*/ 971 h 1072"/>
                  <a:gd name="connsiteX38" fmla="*/ 5188 w 5554"/>
                  <a:gd name="connsiteY38" fmla="*/ 931 h 1072"/>
                  <a:gd name="connsiteX39" fmla="*/ 5137 w 5554"/>
                  <a:gd name="connsiteY39" fmla="*/ 881 h 1072"/>
                  <a:gd name="connsiteX40" fmla="*/ 5083 w 5554"/>
                  <a:gd name="connsiteY40" fmla="*/ 823 h 1072"/>
                  <a:gd name="connsiteX41" fmla="*/ 5032 w 5554"/>
                  <a:gd name="connsiteY41" fmla="*/ 755 h 1072"/>
                  <a:gd name="connsiteX42" fmla="*/ 4982 w 5554"/>
                  <a:gd name="connsiteY42" fmla="*/ 676 h 1072"/>
                  <a:gd name="connsiteX43" fmla="*/ 4934 w 5554"/>
                  <a:gd name="connsiteY43" fmla="*/ 583 h 1072"/>
                  <a:gd name="connsiteX44" fmla="*/ 4885 w 5554"/>
                  <a:gd name="connsiteY44" fmla="*/ 487 h 1072"/>
                  <a:gd name="connsiteX45" fmla="*/ 4835 w 5554"/>
                  <a:gd name="connsiteY45" fmla="*/ 404 h 1072"/>
                  <a:gd name="connsiteX46" fmla="*/ 4786 w 5554"/>
                  <a:gd name="connsiteY46" fmla="*/ 336 h 1072"/>
                  <a:gd name="connsiteX47" fmla="*/ 4736 w 5554"/>
                  <a:gd name="connsiteY47" fmla="*/ 276 h 1072"/>
                  <a:gd name="connsiteX48" fmla="*/ 4689 w 5554"/>
                  <a:gd name="connsiteY48" fmla="*/ 228 h 1072"/>
                  <a:gd name="connsiteX49" fmla="*/ 4643 w 5554"/>
                  <a:gd name="connsiteY49" fmla="*/ 189 h 1072"/>
                  <a:gd name="connsiteX50" fmla="*/ 4602 w 5554"/>
                  <a:gd name="connsiteY50" fmla="*/ 158 h 1072"/>
                  <a:gd name="connsiteX51" fmla="*/ 4563 w 5554"/>
                  <a:gd name="connsiteY51" fmla="*/ 135 h 1072"/>
                  <a:gd name="connsiteX52" fmla="*/ 4513 w 5554"/>
                  <a:gd name="connsiteY52" fmla="*/ 112 h 1072"/>
                  <a:gd name="connsiteX53" fmla="*/ 4470 w 5554"/>
                  <a:gd name="connsiteY53" fmla="*/ 98 h 1072"/>
                  <a:gd name="connsiteX54" fmla="*/ 4435 w 5554"/>
                  <a:gd name="connsiteY54" fmla="*/ 89 h 1072"/>
                  <a:gd name="connsiteX55" fmla="*/ 4406 w 5554"/>
                  <a:gd name="connsiteY55" fmla="*/ 87 h 1072"/>
                  <a:gd name="connsiteX56" fmla="*/ 4379 w 5554"/>
                  <a:gd name="connsiteY56" fmla="*/ 87 h 1072"/>
                  <a:gd name="connsiteX57" fmla="*/ 4313 w 5554"/>
                  <a:gd name="connsiteY57" fmla="*/ 93 h 1072"/>
                  <a:gd name="connsiteX58" fmla="*/ 4251 w 5554"/>
                  <a:gd name="connsiteY58" fmla="*/ 106 h 1072"/>
                  <a:gd name="connsiteX59" fmla="*/ 4195 w 5554"/>
                  <a:gd name="connsiteY59" fmla="*/ 127 h 1072"/>
                  <a:gd name="connsiteX60" fmla="*/ 4144 w 5554"/>
                  <a:gd name="connsiteY60" fmla="*/ 154 h 1072"/>
                  <a:gd name="connsiteX61" fmla="*/ 4096 w 5554"/>
                  <a:gd name="connsiteY61" fmla="*/ 187 h 1072"/>
                  <a:gd name="connsiteX62" fmla="*/ 4053 w 5554"/>
                  <a:gd name="connsiteY62" fmla="*/ 224 h 1072"/>
                  <a:gd name="connsiteX63" fmla="*/ 4014 w 5554"/>
                  <a:gd name="connsiteY63" fmla="*/ 268 h 1072"/>
                  <a:gd name="connsiteX64" fmla="*/ 3974 w 5554"/>
                  <a:gd name="connsiteY64" fmla="*/ 313 h 1072"/>
                  <a:gd name="connsiteX65" fmla="*/ 3939 w 5554"/>
                  <a:gd name="connsiteY65" fmla="*/ 363 h 1072"/>
                  <a:gd name="connsiteX66" fmla="*/ 3906 w 5554"/>
                  <a:gd name="connsiteY66" fmla="*/ 415 h 1072"/>
                  <a:gd name="connsiteX67" fmla="*/ 3844 w 5554"/>
                  <a:gd name="connsiteY67" fmla="*/ 523 h 1072"/>
                  <a:gd name="connsiteX68" fmla="*/ 3751 w 5554"/>
                  <a:gd name="connsiteY68" fmla="*/ 691 h 1072"/>
                  <a:gd name="connsiteX69" fmla="*/ 3718 w 5554"/>
                  <a:gd name="connsiteY69" fmla="*/ 747 h 1072"/>
                  <a:gd name="connsiteX70" fmla="*/ 3683 w 5554"/>
                  <a:gd name="connsiteY70" fmla="*/ 799 h 1072"/>
                  <a:gd name="connsiteX71" fmla="*/ 3648 w 5554"/>
                  <a:gd name="connsiteY71" fmla="*/ 848 h 1072"/>
                  <a:gd name="connsiteX72" fmla="*/ 3609 w 5554"/>
                  <a:gd name="connsiteY72" fmla="*/ 894 h 1072"/>
                  <a:gd name="connsiteX73" fmla="*/ 3568 w 5554"/>
                  <a:gd name="connsiteY73" fmla="*/ 935 h 1072"/>
                  <a:gd name="connsiteX74" fmla="*/ 3522 w 5554"/>
                  <a:gd name="connsiteY74" fmla="*/ 971 h 1072"/>
                  <a:gd name="connsiteX75" fmla="*/ 3473 w 5554"/>
                  <a:gd name="connsiteY75" fmla="*/ 1000 h 1072"/>
                  <a:gd name="connsiteX76" fmla="*/ 3421 w 5554"/>
                  <a:gd name="connsiteY76" fmla="*/ 1022 h 1072"/>
                  <a:gd name="connsiteX77" fmla="*/ 3363 w 5554"/>
                  <a:gd name="connsiteY77" fmla="*/ 1037 h 1072"/>
                  <a:gd name="connsiteX78" fmla="*/ 3299 w 5554"/>
                  <a:gd name="connsiteY78" fmla="*/ 1043 h 1072"/>
                  <a:gd name="connsiteX79" fmla="*/ 3291 w 5554"/>
                  <a:gd name="connsiteY79" fmla="*/ 1043 h 1072"/>
                  <a:gd name="connsiteX80" fmla="*/ 3229 w 5554"/>
                  <a:gd name="connsiteY80" fmla="*/ 1039 h 1072"/>
                  <a:gd name="connsiteX81" fmla="*/ 3169 w 5554"/>
                  <a:gd name="connsiteY81" fmla="*/ 1025 h 1072"/>
                  <a:gd name="connsiteX82" fmla="*/ 3116 w 5554"/>
                  <a:gd name="connsiteY82" fmla="*/ 1002 h 1072"/>
                  <a:gd name="connsiteX83" fmla="*/ 3064 w 5554"/>
                  <a:gd name="connsiteY83" fmla="*/ 973 h 1072"/>
                  <a:gd name="connsiteX84" fmla="*/ 3016 w 5554"/>
                  <a:gd name="connsiteY84" fmla="*/ 935 h 1072"/>
                  <a:gd name="connsiteX85" fmla="*/ 2973 w 5554"/>
                  <a:gd name="connsiteY85" fmla="*/ 894 h 1072"/>
                  <a:gd name="connsiteX86" fmla="*/ 2930 w 5554"/>
                  <a:gd name="connsiteY86" fmla="*/ 846 h 1072"/>
                  <a:gd name="connsiteX87" fmla="*/ 2890 w 5554"/>
                  <a:gd name="connsiteY87" fmla="*/ 796 h 1072"/>
                  <a:gd name="connsiteX88" fmla="*/ 2851 w 5554"/>
                  <a:gd name="connsiteY88" fmla="*/ 740 h 1072"/>
                  <a:gd name="connsiteX89" fmla="*/ 2814 w 5554"/>
                  <a:gd name="connsiteY89" fmla="*/ 684 h 1072"/>
                  <a:gd name="connsiteX90" fmla="*/ 2709 w 5554"/>
                  <a:gd name="connsiteY90" fmla="*/ 510 h 1072"/>
                  <a:gd name="connsiteX91" fmla="*/ 2672 w 5554"/>
                  <a:gd name="connsiteY91" fmla="*/ 452 h 1072"/>
                  <a:gd name="connsiteX92" fmla="*/ 2634 w 5554"/>
                  <a:gd name="connsiteY92" fmla="*/ 396 h 1072"/>
                  <a:gd name="connsiteX93" fmla="*/ 2597 w 5554"/>
                  <a:gd name="connsiteY93" fmla="*/ 342 h 1072"/>
                  <a:gd name="connsiteX94" fmla="*/ 2558 w 5554"/>
                  <a:gd name="connsiteY94" fmla="*/ 293 h 1072"/>
                  <a:gd name="connsiteX95" fmla="*/ 2517 w 5554"/>
                  <a:gd name="connsiteY95" fmla="*/ 247 h 1072"/>
                  <a:gd name="connsiteX96" fmla="*/ 2475 w 5554"/>
                  <a:gd name="connsiteY96" fmla="*/ 205 h 1072"/>
                  <a:gd name="connsiteX97" fmla="*/ 2430 w 5554"/>
                  <a:gd name="connsiteY97" fmla="*/ 168 h 1072"/>
                  <a:gd name="connsiteX98" fmla="*/ 2383 w 5554"/>
                  <a:gd name="connsiteY98" fmla="*/ 139 h 1072"/>
                  <a:gd name="connsiteX99" fmla="*/ 2331 w 5554"/>
                  <a:gd name="connsiteY99" fmla="*/ 116 h 1072"/>
                  <a:gd name="connsiteX100" fmla="*/ 2275 w 5554"/>
                  <a:gd name="connsiteY100" fmla="*/ 100 h 1072"/>
                  <a:gd name="connsiteX101" fmla="*/ 2217 w 5554"/>
                  <a:gd name="connsiteY101" fmla="*/ 91 h 1072"/>
                  <a:gd name="connsiteX102" fmla="*/ 2153 w 5554"/>
                  <a:gd name="connsiteY102" fmla="*/ 93 h 1072"/>
                  <a:gd name="connsiteX103" fmla="*/ 2085 w 5554"/>
                  <a:gd name="connsiteY103" fmla="*/ 104 h 1072"/>
                  <a:gd name="connsiteX104" fmla="*/ 2023 w 5554"/>
                  <a:gd name="connsiteY104" fmla="*/ 122 h 1072"/>
                  <a:gd name="connsiteX105" fmla="*/ 1966 w 5554"/>
                  <a:gd name="connsiteY105" fmla="*/ 147 h 1072"/>
                  <a:gd name="connsiteX106" fmla="*/ 1912 w 5554"/>
                  <a:gd name="connsiteY106" fmla="*/ 181 h 1072"/>
                  <a:gd name="connsiteX107" fmla="*/ 1860 w 5554"/>
                  <a:gd name="connsiteY107" fmla="*/ 218 h 1072"/>
                  <a:gd name="connsiteX108" fmla="*/ 1815 w 5554"/>
                  <a:gd name="connsiteY108" fmla="*/ 261 h 1072"/>
                  <a:gd name="connsiteX109" fmla="*/ 1769 w 5554"/>
                  <a:gd name="connsiteY109" fmla="*/ 307 h 1072"/>
                  <a:gd name="connsiteX110" fmla="*/ 1728 w 5554"/>
                  <a:gd name="connsiteY110" fmla="*/ 359 h 1072"/>
                  <a:gd name="connsiteX111" fmla="*/ 1689 w 5554"/>
                  <a:gd name="connsiteY111" fmla="*/ 413 h 1072"/>
                  <a:gd name="connsiteX112" fmla="*/ 1652 w 5554"/>
                  <a:gd name="connsiteY112" fmla="*/ 467 h 1072"/>
                  <a:gd name="connsiteX113" fmla="*/ 1615 w 5554"/>
                  <a:gd name="connsiteY113" fmla="*/ 523 h 1072"/>
                  <a:gd name="connsiteX114" fmla="*/ 1577 w 5554"/>
                  <a:gd name="connsiteY114" fmla="*/ 581 h 1072"/>
                  <a:gd name="connsiteX115" fmla="*/ 1542 w 5554"/>
                  <a:gd name="connsiteY115" fmla="*/ 637 h 1072"/>
                  <a:gd name="connsiteX116" fmla="*/ 1468 w 5554"/>
                  <a:gd name="connsiteY116" fmla="*/ 749 h 1072"/>
                  <a:gd name="connsiteX117" fmla="*/ 1429 w 5554"/>
                  <a:gd name="connsiteY117" fmla="*/ 801 h 1072"/>
                  <a:gd name="connsiteX118" fmla="*/ 1387 w 5554"/>
                  <a:gd name="connsiteY118" fmla="*/ 850 h 1072"/>
                  <a:gd name="connsiteX119" fmla="*/ 1344 w 5554"/>
                  <a:gd name="connsiteY119" fmla="*/ 896 h 1072"/>
                  <a:gd name="connsiteX120" fmla="*/ 1297 w 5554"/>
                  <a:gd name="connsiteY120" fmla="*/ 937 h 1072"/>
                  <a:gd name="connsiteX121" fmla="*/ 1247 w 5554"/>
                  <a:gd name="connsiteY121" fmla="*/ 973 h 1072"/>
                  <a:gd name="connsiteX122" fmla="*/ 1193 w 5554"/>
                  <a:gd name="connsiteY122" fmla="*/ 1002 h 1072"/>
                  <a:gd name="connsiteX123" fmla="*/ 1138 w 5554"/>
                  <a:gd name="connsiteY123" fmla="*/ 1025 h 1072"/>
                  <a:gd name="connsiteX124" fmla="*/ 1074 w 5554"/>
                  <a:gd name="connsiteY124" fmla="*/ 1037 h 1072"/>
                  <a:gd name="connsiteX125" fmla="*/ 1008 w 5554"/>
                  <a:gd name="connsiteY125" fmla="*/ 1043 h 1072"/>
                  <a:gd name="connsiteX126" fmla="*/ 1001 w 5554"/>
                  <a:gd name="connsiteY126" fmla="*/ 1043 h 1072"/>
                  <a:gd name="connsiteX127" fmla="*/ 933 w 5554"/>
                  <a:gd name="connsiteY127" fmla="*/ 1039 h 1072"/>
                  <a:gd name="connsiteX128" fmla="*/ 871 w 5554"/>
                  <a:gd name="connsiteY128" fmla="*/ 1027 h 1072"/>
                  <a:gd name="connsiteX129" fmla="*/ 813 w 5554"/>
                  <a:gd name="connsiteY129" fmla="*/ 1008 h 1072"/>
                  <a:gd name="connsiteX130" fmla="*/ 762 w 5554"/>
                  <a:gd name="connsiteY130" fmla="*/ 983 h 1072"/>
                  <a:gd name="connsiteX131" fmla="*/ 714 w 5554"/>
                  <a:gd name="connsiteY131" fmla="*/ 952 h 1072"/>
                  <a:gd name="connsiteX132" fmla="*/ 669 w 5554"/>
                  <a:gd name="connsiteY132" fmla="*/ 915 h 1072"/>
                  <a:gd name="connsiteX133" fmla="*/ 628 w 5554"/>
                  <a:gd name="connsiteY133" fmla="*/ 873 h 1072"/>
                  <a:gd name="connsiteX134" fmla="*/ 590 w 5554"/>
                  <a:gd name="connsiteY134" fmla="*/ 828 h 1072"/>
                  <a:gd name="connsiteX135" fmla="*/ 553 w 5554"/>
                  <a:gd name="connsiteY135" fmla="*/ 780 h 1072"/>
                  <a:gd name="connsiteX136" fmla="*/ 520 w 5554"/>
                  <a:gd name="connsiteY136" fmla="*/ 728 h 1072"/>
                  <a:gd name="connsiteX137" fmla="*/ 485 w 5554"/>
                  <a:gd name="connsiteY137" fmla="*/ 674 h 1072"/>
                  <a:gd name="connsiteX138" fmla="*/ 454 w 5554"/>
                  <a:gd name="connsiteY138" fmla="*/ 618 h 1072"/>
                  <a:gd name="connsiteX139" fmla="*/ 421 w 5554"/>
                  <a:gd name="connsiteY139" fmla="*/ 560 h 1072"/>
                  <a:gd name="connsiteX140" fmla="*/ 359 w 5554"/>
                  <a:gd name="connsiteY140" fmla="*/ 448 h 1072"/>
                  <a:gd name="connsiteX141" fmla="*/ 291 w 5554"/>
                  <a:gd name="connsiteY141" fmla="*/ 340 h 1072"/>
                  <a:gd name="connsiteX142" fmla="*/ 248 w 5554"/>
                  <a:gd name="connsiteY142" fmla="*/ 284 h 1072"/>
                  <a:gd name="connsiteX143" fmla="*/ 200 w 5554"/>
                  <a:gd name="connsiteY143" fmla="*/ 239 h 1072"/>
                  <a:gd name="connsiteX144" fmla="*/ 153 w 5554"/>
                  <a:gd name="connsiteY144" fmla="*/ 199 h 1072"/>
                  <a:gd name="connsiteX145" fmla="*/ 101 w 5554"/>
                  <a:gd name="connsiteY145" fmla="*/ 168 h 1072"/>
                  <a:gd name="connsiteX146" fmla="*/ 0 w 5554"/>
                  <a:gd name="connsiteY146" fmla="*/ 127 h 1072"/>
                  <a:gd name="connsiteX147" fmla="*/ 258 w 5554"/>
                  <a:gd name="connsiteY147" fmla="*/ 174 h 1072"/>
                  <a:gd name="connsiteX148" fmla="*/ 312 w 5554"/>
                  <a:gd name="connsiteY148" fmla="*/ 228 h 1072"/>
                  <a:gd name="connsiteX149" fmla="*/ 361 w 5554"/>
                  <a:gd name="connsiteY149" fmla="*/ 293 h 1072"/>
                  <a:gd name="connsiteX150" fmla="*/ 411 w 5554"/>
                  <a:gd name="connsiteY150" fmla="*/ 367 h 1072"/>
                  <a:gd name="connsiteX151" fmla="*/ 498 w 5554"/>
                  <a:gd name="connsiteY151" fmla="*/ 516 h 1072"/>
                  <a:gd name="connsiteX152" fmla="*/ 531 w 5554"/>
                  <a:gd name="connsiteY152" fmla="*/ 575 h 1072"/>
                  <a:gd name="connsiteX153" fmla="*/ 564 w 5554"/>
                  <a:gd name="connsiteY153" fmla="*/ 631 h 1072"/>
                  <a:gd name="connsiteX154" fmla="*/ 597 w 5554"/>
                  <a:gd name="connsiteY154" fmla="*/ 684 h 1072"/>
                  <a:gd name="connsiteX155" fmla="*/ 630 w 5554"/>
                  <a:gd name="connsiteY155" fmla="*/ 736 h 1072"/>
                  <a:gd name="connsiteX156" fmla="*/ 665 w 5554"/>
                  <a:gd name="connsiteY156" fmla="*/ 782 h 1072"/>
                  <a:gd name="connsiteX157" fmla="*/ 702 w 5554"/>
                  <a:gd name="connsiteY157" fmla="*/ 825 h 1072"/>
                  <a:gd name="connsiteX158" fmla="*/ 743 w 5554"/>
                  <a:gd name="connsiteY158" fmla="*/ 863 h 1072"/>
                  <a:gd name="connsiteX159" fmla="*/ 787 w 5554"/>
                  <a:gd name="connsiteY159" fmla="*/ 894 h 1072"/>
                  <a:gd name="connsiteX160" fmla="*/ 834 w 5554"/>
                  <a:gd name="connsiteY160" fmla="*/ 921 h 1072"/>
                  <a:gd name="connsiteX161" fmla="*/ 884 w 5554"/>
                  <a:gd name="connsiteY161" fmla="*/ 940 h 1072"/>
                  <a:gd name="connsiteX162" fmla="*/ 939 w 5554"/>
                  <a:gd name="connsiteY162" fmla="*/ 952 h 1072"/>
                  <a:gd name="connsiteX163" fmla="*/ 1001 w 5554"/>
                  <a:gd name="connsiteY163" fmla="*/ 956 h 1072"/>
                  <a:gd name="connsiteX164" fmla="*/ 1008 w 5554"/>
                  <a:gd name="connsiteY164" fmla="*/ 956 h 1072"/>
                  <a:gd name="connsiteX165" fmla="*/ 1067 w 5554"/>
                  <a:gd name="connsiteY165" fmla="*/ 950 h 1072"/>
                  <a:gd name="connsiteX166" fmla="*/ 1123 w 5554"/>
                  <a:gd name="connsiteY166" fmla="*/ 935 h 1072"/>
                  <a:gd name="connsiteX167" fmla="*/ 1177 w 5554"/>
                  <a:gd name="connsiteY167" fmla="*/ 913 h 1072"/>
                  <a:gd name="connsiteX168" fmla="*/ 1224 w 5554"/>
                  <a:gd name="connsiteY168" fmla="*/ 884 h 1072"/>
                  <a:gd name="connsiteX169" fmla="*/ 1270 w 5554"/>
                  <a:gd name="connsiteY169" fmla="*/ 846 h 1072"/>
                  <a:gd name="connsiteX170" fmla="*/ 1313 w 5554"/>
                  <a:gd name="connsiteY170" fmla="*/ 803 h 1072"/>
                  <a:gd name="connsiteX171" fmla="*/ 1352 w 5554"/>
                  <a:gd name="connsiteY171" fmla="*/ 755 h 1072"/>
                  <a:gd name="connsiteX172" fmla="*/ 1392 w 5554"/>
                  <a:gd name="connsiteY172" fmla="*/ 703 h 1072"/>
                  <a:gd name="connsiteX173" fmla="*/ 1431 w 5554"/>
                  <a:gd name="connsiteY173" fmla="*/ 649 h 1072"/>
                  <a:gd name="connsiteX174" fmla="*/ 1542 w 5554"/>
                  <a:gd name="connsiteY174" fmla="*/ 475 h 1072"/>
                  <a:gd name="connsiteX175" fmla="*/ 1582 w 5554"/>
                  <a:gd name="connsiteY175" fmla="*/ 415 h 1072"/>
                  <a:gd name="connsiteX176" fmla="*/ 1623 w 5554"/>
                  <a:gd name="connsiteY176" fmla="*/ 357 h 1072"/>
                  <a:gd name="connsiteX177" fmla="*/ 1666 w 5554"/>
                  <a:gd name="connsiteY177" fmla="*/ 299 h 1072"/>
                  <a:gd name="connsiteX178" fmla="*/ 1712 w 5554"/>
                  <a:gd name="connsiteY178" fmla="*/ 245 h 1072"/>
                  <a:gd name="connsiteX179" fmla="*/ 1759 w 5554"/>
                  <a:gd name="connsiteY179" fmla="*/ 193 h 1072"/>
                  <a:gd name="connsiteX180" fmla="*/ 1813 w 5554"/>
                  <a:gd name="connsiteY180" fmla="*/ 145 h 1072"/>
                  <a:gd name="connsiteX181" fmla="*/ 1868 w 5554"/>
                  <a:gd name="connsiteY181" fmla="*/ 104 h 1072"/>
                  <a:gd name="connsiteX182" fmla="*/ 1930 w 5554"/>
                  <a:gd name="connsiteY182" fmla="*/ 69 h 1072"/>
                  <a:gd name="connsiteX183" fmla="*/ 1996 w 5554"/>
                  <a:gd name="connsiteY183" fmla="*/ 40 h 1072"/>
                  <a:gd name="connsiteX184" fmla="*/ 2069 w 5554"/>
                  <a:gd name="connsiteY184" fmla="*/ 19 h 1072"/>
                  <a:gd name="connsiteX185" fmla="*/ 2147 w 5554"/>
                  <a:gd name="connsiteY185" fmla="*/ 6 h 1072"/>
                  <a:gd name="connsiteX186" fmla="*/ 2217 w 5554"/>
                  <a:gd name="connsiteY186" fmla="*/ 4 h 1072"/>
                  <a:gd name="connsiteX187" fmla="*/ 2283 w 5554"/>
                  <a:gd name="connsiteY187" fmla="*/ 13 h 1072"/>
                  <a:gd name="connsiteX188" fmla="*/ 2343 w 5554"/>
                  <a:gd name="connsiteY188" fmla="*/ 27 h 1072"/>
                  <a:gd name="connsiteX189" fmla="*/ 2401 w 5554"/>
                  <a:gd name="connsiteY189" fmla="*/ 50 h 1072"/>
                  <a:gd name="connsiteX190" fmla="*/ 2455 w 5554"/>
                  <a:gd name="connsiteY190" fmla="*/ 81 h 1072"/>
                  <a:gd name="connsiteX191" fmla="*/ 2504 w 5554"/>
                  <a:gd name="connsiteY191" fmla="*/ 116 h 1072"/>
                  <a:gd name="connsiteX192" fmla="*/ 2550 w 5554"/>
                  <a:gd name="connsiteY192" fmla="*/ 158 h 1072"/>
                  <a:gd name="connsiteX193" fmla="*/ 2595 w 5554"/>
                  <a:gd name="connsiteY193" fmla="*/ 203 h 1072"/>
                  <a:gd name="connsiteX194" fmla="*/ 2637 w 5554"/>
                  <a:gd name="connsiteY194" fmla="*/ 251 h 1072"/>
                  <a:gd name="connsiteX195" fmla="*/ 2676 w 5554"/>
                  <a:gd name="connsiteY195" fmla="*/ 303 h 1072"/>
                  <a:gd name="connsiteX196" fmla="*/ 2713 w 5554"/>
                  <a:gd name="connsiteY196" fmla="*/ 357 h 1072"/>
                  <a:gd name="connsiteX197" fmla="*/ 2748 w 5554"/>
                  <a:gd name="connsiteY197" fmla="*/ 413 h 1072"/>
                  <a:gd name="connsiteX198" fmla="*/ 2783 w 5554"/>
                  <a:gd name="connsiteY198" fmla="*/ 467 h 1072"/>
                  <a:gd name="connsiteX199" fmla="*/ 2816 w 5554"/>
                  <a:gd name="connsiteY199" fmla="*/ 523 h 1072"/>
                  <a:gd name="connsiteX200" fmla="*/ 2853 w 5554"/>
                  <a:gd name="connsiteY200" fmla="*/ 585 h 1072"/>
                  <a:gd name="connsiteX201" fmla="*/ 2890 w 5554"/>
                  <a:gd name="connsiteY201" fmla="*/ 643 h 1072"/>
                  <a:gd name="connsiteX202" fmla="*/ 2930 w 5554"/>
                  <a:gd name="connsiteY202" fmla="*/ 701 h 1072"/>
                  <a:gd name="connsiteX203" fmla="*/ 2967 w 5554"/>
                  <a:gd name="connsiteY203" fmla="*/ 755 h 1072"/>
                  <a:gd name="connsiteX204" fmla="*/ 3008 w 5554"/>
                  <a:gd name="connsiteY204" fmla="*/ 805 h 1072"/>
                  <a:gd name="connsiteX205" fmla="*/ 3049 w 5554"/>
                  <a:gd name="connsiteY205" fmla="*/ 848 h 1072"/>
                  <a:gd name="connsiteX206" fmla="*/ 3093 w 5554"/>
                  <a:gd name="connsiteY206" fmla="*/ 886 h 1072"/>
                  <a:gd name="connsiteX207" fmla="*/ 3138 w 5554"/>
                  <a:gd name="connsiteY207" fmla="*/ 917 h 1072"/>
                  <a:gd name="connsiteX208" fmla="*/ 3188 w 5554"/>
                  <a:gd name="connsiteY208" fmla="*/ 940 h 1072"/>
                  <a:gd name="connsiteX209" fmla="*/ 3241 w 5554"/>
                  <a:gd name="connsiteY209" fmla="*/ 952 h 1072"/>
                  <a:gd name="connsiteX210" fmla="*/ 3297 w 5554"/>
                  <a:gd name="connsiteY210" fmla="*/ 956 h 1072"/>
                  <a:gd name="connsiteX211" fmla="*/ 3353 w 5554"/>
                  <a:gd name="connsiteY211" fmla="*/ 950 h 1072"/>
                  <a:gd name="connsiteX212" fmla="*/ 3403 w 5554"/>
                  <a:gd name="connsiteY212" fmla="*/ 935 h 1072"/>
                  <a:gd name="connsiteX213" fmla="*/ 3450 w 5554"/>
                  <a:gd name="connsiteY213" fmla="*/ 915 h 1072"/>
                  <a:gd name="connsiteX214" fmla="*/ 3493 w 5554"/>
                  <a:gd name="connsiteY214" fmla="*/ 884 h 1072"/>
                  <a:gd name="connsiteX215" fmla="*/ 3533 w 5554"/>
                  <a:gd name="connsiteY215" fmla="*/ 848 h 1072"/>
                  <a:gd name="connsiteX216" fmla="*/ 3570 w 5554"/>
                  <a:gd name="connsiteY216" fmla="*/ 807 h 1072"/>
                  <a:gd name="connsiteX217" fmla="*/ 3605 w 5554"/>
                  <a:gd name="connsiteY217" fmla="*/ 759 h 1072"/>
                  <a:gd name="connsiteX218" fmla="*/ 3638 w 5554"/>
                  <a:gd name="connsiteY218" fmla="*/ 709 h 1072"/>
                  <a:gd name="connsiteX219" fmla="*/ 3671 w 5554"/>
                  <a:gd name="connsiteY219" fmla="*/ 655 h 1072"/>
                  <a:gd name="connsiteX220" fmla="*/ 3704 w 5554"/>
                  <a:gd name="connsiteY220" fmla="*/ 597 h 1072"/>
                  <a:gd name="connsiteX221" fmla="*/ 3737 w 5554"/>
                  <a:gd name="connsiteY221" fmla="*/ 537 h 1072"/>
                  <a:gd name="connsiteX222" fmla="*/ 3766 w 5554"/>
                  <a:gd name="connsiteY222" fmla="*/ 483 h 1072"/>
                  <a:gd name="connsiteX223" fmla="*/ 3828 w 5554"/>
                  <a:gd name="connsiteY223" fmla="*/ 375 h 1072"/>
                  <a:gd name="connsiteX224" fmla="*/ 3898 w 5554"/>
                  <a:gd name="connsiteY224" fmla="*/ 272 h 1072"/>
                  <a:gd name="connsiteX225" fmla="*/ 3935 w 5554"/>
                  <a:gd name="connsiteY225" fmla="*/ 224 h 1072"/>
                  <a:gd name="connsiteX226" fmla="*/ 3976 w 5554"/>
                  <a:gd name="connsiteY226" fmla="*/ 178 h 1072"/>
                  <a:gd name="connsiteX227" fmla="*/ 4020 w 5554"/>
                  <a:gd name="connsiteY227" fmla="*/ 137 h 1072"/>
                  <a:gd name="connsiteX228" fmla="*/ 4067 w 5554"/>
                  <a:gd name="connsiteY228" fmla="*/ 100 h 1072"/>
                  <a:gd name="connsiteX229" fmla="*/ 4119 w 5554"/>
                  <a:gd name="connsiteY229" fmla="*/ 66 h 1072"/>
                  <a:gd name="connsiteX230" fmla="*/ 4177 w 5554"/>
                  <a:gd name="connsiteY230" fmla="*/ 40 h 1072"/>
                  <a:gd name="connsiteX231" fmla="*/ 4237 w 5554"/>
                  <a:gd name="connsiteY231" fmla="*/ 19 h 1072"/>
                  <a:gd name="connsiteX232" fmla="*/ 4303 w 5554"/>
                  <a:gd name="connsiteY232" fmla="*/ 6 h 1072"/>
                  <a:gd name="connsiteX233" fmla="*/ 4375 w 5554"/>
                  <a:gd name="connsiteY233" fmla="*/ 0 h 1072"/>
                  <a:gd name="connsiteX0" fmla="*/ 4375 w 5554"/>
                  <a:gd name="connsiteY0" fmla="*/ 0 h 1072"/>
                  <a:gd name="connsiteX1" fmla="*/ 4425 w 5554"/>
                  <a:gd name="connsiteY1" fmla="*/ 0 h 1072"/>
                  <a:gd name="connsiteX2" fmla="*/ 4453 w 5554"/>
                  <a:gd name="connsiteY2" fmla="*/ 4 h 1072"/>
                  <a:gd name="connsiteX3" fmla="*/ 4484 w 5554"/>
                  <a:gd name="connsiteY3" fmla="*/ 13 h 1072"/>
                  <a:gd name="connsiteX4" fmla="*/ 4522 w 5554"/>
                  <a:gd name="connsiteY4" fmla="*/ 23 h 1072"/>
                  <a:gd name="connsiteX5" fmla="*/ 4563 w 5554"/>
                  <a:gd name="connsiteY5" fmla="*/ 40 h 1072"/>
                  <a:gd name="connsiteX6" fmla="*/ 4606 w 5554"/>
                  <a:gd name="connsiteY6" fmla="*/ 60 h 1072"/>
                  <a:gd name="connsiteX7" fmla="*/ 4654 w 5554"/>
                  <a:gd name="connsiteY7" fmla="*/ 89 h 1072"/>
                  <a:gd name="connsiteX8" fmla="*/ 4703 w 5554"/>
                  <a:gd name="connsiteY8" fmla="*/ 125 h 1072"/>
                  <a:gd name="connsiteX9" fmla="*/ 4753 w 5554"/>
                  <a:gd name="connsiteY9" fmla="*/ 170 h 1072"/>
                  <a:gd name="connsiteX10" fmla="*/ 4804 w 5554"/>
                  <a:gd name="connsiteY10" fmla="*/ 224 h 1072"/>
                  <a:gd name="connsiteX11" fmla="*/ 4856 w 5554"/>
                  <a:gd name="connsiteY11" fmla="*/ 286 h 1072"/>
                  <a:gd name="connsiteX12" fmla="*/ 4908 w 5554"/>
                  <a:gd name="connsiteY12" fmla="*/ 361 h 1072"/>
                  <a:gd name="connsiteX13" fmla="*/ 4959 w 5554"/>
                  <a:gd name="connsiteY13" fmla="*/ 448 h 1072"/>
                  <a:gd name="connsiteX14" fmla="*/ 5011 w 5554"/>
                  <a:gd name="connsiteY14" fmla="*/ 548 h 1072"/>
                  <a:gd name="connsiteX15" fmla="*/ 5056 w 5554"/>
                  <a:gd name="connsiteY15" fmla="*/ 633 h 1072"/>
                  <a:gd name="connsiteX16" fmla="*/ 5102 w 5554"/>
                  <a:gd name="connsiteY16" fmla="*/ 705 h 1072"/>
                  <a:gd name="connsiteX17" fmla="*/ 5149 w 5554"/>
                  <a:gd name="connsiteY17" fmla="*/ 767 h 1072"/>
                  <a:gd name="connsiteX18" fmla="*/ 5197 w 5554"/>
                  <a:gd name="connsiteY18" fmla="*/ 819 h 1072"/>
                  <a:gd name="connsiteX19" fmla="*/ 5242 w 5554"/>
                  <a:gd name="connsiteY19" fmla="*/ 863 h 1072"/>
                  <a:gd name="connsiteX20" fmla="*/ 5290 w 5554"/>
                  <a:gd name="connsiteY20" fmla="*/ 898 h 1072"/>
                  <a:gd name="connsiteX21" fmla="*/ 5333 w 5554"/>
                  <a:gd name="connsiteY21" fmla="*/ 927 h 1072"/>
                  <a:gd name="connsiteX22" fmla="*/ 5376 w 5554"/>
                  <a:gd name="connsiteY22" fmla="*/ 948 h 1072"/>
                  <a:gd name="connsiteX23" fmla="*/ 5413 w 5554"/>
                  <a:gd name="connsiteY23" fmla="*/ 962 h 1072"/>
                  <a:gd name="connsiteX24" fmla="*/ 5451 w 5554"/>
                  <a:gd name="connsiteY24" fmla="*/ 973 h 1072"/>
                  <a:gd name="connsiteX25" fmla="*/ 5480 w 5554"/>
                  <a:gd name="connsiteY25" fmla="*/ 981 h 1072"/>
                  <a:gd name="connsiteX26" fmla="*/ 5506 w 5554"/>
                  <a:gd name="connsiteY26" fmla="*/ 983 h 1072"/>
                  <a:gd name="connsiteX27" fmla="*/ 5525 w 5554"/>
                  <a:gd name="connsiteY27" fmla="*/ 985 h 1072"/>
                  <a:gd name="connsiteX28" fmla="*/ 5546 w 5554"/>
                  <a:gd name="connsiteY28" fmla="*/ 985 h 1072"/>
                  <a:gd name="connsiteX29" fmla="*/ 5554 w 5554"/>
                  <a:gd name="connsiteY29" fmla="*/ 1072 h 1072"/>
                  <a:gd name="connsiteX30" fmla="*/ 5519 w 5554"/>
                  <a:gd name="connsiteY30" fmla="*/ 1072 h 1072"/>
                  <a:gd name="connsiteX31" fmla="*/ 5492 w 5554"/>
                  <a:gd name="connsiteY31" fmla="*/ 1070 h 1072"/>
                  <a:gd name="connsiteX32" fmla="*/ 5461 w 5554"/>
                  <a:gd name="connsiteY32" fmla="*/ 1064 h 1072"/>
                  <a:gd name="connsiteX33" fmla="*/ 5424 w 5554"/>
                  <a:gd name="connsiteY33" fmla="*/ 1056 h 1072"/>
                  <a:gd name="connsiteX34" fmla="*/ 5382 w 5554"/>
                  <a:gd name="connsiteY34" fmla="*/ 1043 h 1072"/>
                  <a:gd name="connsiteX35" fmla="*/ 5337 w 5554"/>
                  <a:gd name="connsiteY35" fmla="*/ 1025 h 1072"/>
                  <a:gd name="connsiteX36" fmla="*/ 5290 w 5554"/>
                  <a:gd name="connsiteY36" fmla="*/ 1002 h 1072"/>
                  <a:gd name="connsiteX37" fmla="*/ 5240 w 5554"/>
                  <a:gd name="connsiteY37" fmla="*/ 971 h 1072"/>
                  <a:gd name="connsiteX38" fmla="*/ 5188 w 5554"/>
                  <a:gd name="connsiteY38" fmla="*/ 931 h 1072"/>
                  <a:gd name="connsiteX39" fmla="*/ 5137 w 5554"/>
                  <a:gd name="connsiteY39" fmla="*/ 881 h 1072"/>
                  <a:gd name="connsiteX40" fmla="*/ 5083 w 5554"/>
                  <a:gd name="connsiteY40" fmla="*/ 823 h 1072"/>
                  <a:gd name="connsiteX41" fmla="*/ 5032 w 5554"/>
                  <a:gd name="connsiteY41" fmla="*/ 755 h 1072"/>
                  <a:gd name="connsiteX42" fmla="*/ 4982 w 5554"/>
                  <a:gd name="connsiteY42" fmla="*/ 676 h 1072"/>
                  <a:gd name="connsiteX43" fmla="*/ 4934 w 5554"/>
                  <a:gd name="connsiteY43" fmla="*/ 583 h 1072"/>
                  <a:gd name="connsiteX44" fmla="*/ 4885 w 5554"/>
                  <a:gd name="connsiteY44" fmla="*/ 487 h 1072"/>
                  <a:gd name="connsiteX45" fmla="*/ 4835 w 5554"/>
                  <a:gd name="connsiteY45" fmla="*/ 404 h 1072"/>
                  <a:gd name="connsiteX46" fmla="*/ 4786 w 5554"/>
                  <a:gd name="connsiteY46" fmla="*/ 336 h 1072"/>
                  <a:gd name="connsiteX47" fmla="*/ 4736 w 5554"/>
                  <a:gd name="connsiteY47" fmla="*/ 276 h 1072"/>
                  <a:gd name="connsiteX48" fmla="*/ 4689 w 5554"/>
                  <a:gd name="connsiteY48" fmla="*/ 228 h 1072"/>
                  <a:gd name="connsiteX49" fmla="*/ 4643 w 5554"/>
                  <a:gd name="connsiteY49" fmla="*/ 189 h 1072"/>
                  <a:gd name="connsiteX50" fmla="*/ 4602 w 5554"/>
                  <a:gd name="connsiteY50" fmla="*/ 158 h 1072"/>
                  <a:gd name="connsiteX51" fmla="*/ 4563 w 5554"/>
                  <a:gd name="connsiteY51" fmla="*/ 135 h 1072"/>
                  <a:gd name="connsiteX52" fmla="*/ 4513 w 5554"/>
                  <a:gd name="connsiteY52" fmla="*/ 112 h 1072"/>
                  <a:gd name="connsiteX53" fmla="*/ 4470 w 5554"/>
                  <a:gd name="connsiteY53" fmla="*/ 98 h 1072"/>
                  <a:gd name="connsiteX54" fmla="*/ 4435 w 5554"/>
                  <a:gd name="connsiteY54" fmla="*/ 89 h 1072"/>
                  <a:gd name="connsiteX55" fmla="*/ 4406 w 5554"/>
                  <a:gd name="connsiteY55" fmla="*/ 87 h 1072"/>
                  <a:gd name="connsiteX56" fmla="*/ 4379 w 5554"/>
                  <a:gd name="connsiteY56" fmla="*/ 87 h 1072"/>
                  <a:gd name="connsiteX57" fmla="*/ 4313 w 5554"/>
                  <a:gd name="connsiteY57" fmla="*/ 93 h 1072"/>
                  <a:gd name="connsiteX58" fmla="*/ 4251 w 5554"/>
                  <a:gd name="connsiteY58" fmla="*/ 106 h 1072"/>
                  <a:gd name="connsiteX59" fmla="*/ 4195 w 5554"/>
                  <a:gd name="connsiteY59" fmla="*/ 127 h 1072"/>
                  <a:gd name="connsiteX60" fmla="*/ 4144 w 5554"/>
                  <a:gd name="connsiteY60" fmla="*/ 154 h 1072"/>
                  <a:gd name="connsiteX61" fmla="*/ 4096 w 5554"/>
                  <a:gd name="connsiteY61" fmla="*/ 187 h 1072"/>
                  <a:gd name="connsiteX62" fmla="*/ 4053 w 5554"/>
                  <a:gd name="connsiteY62" fmla="*/ 224 h 1072"/>
                  <a:gd name="connsiteX63" fmla="*/ 4014 w 5554"/>
                  <a:gd name="connsiteY63" fmla="*/ 268 h 1072"/>
                  <a:gd name="connsiteX64" fmla="*/ 3974 w 5554"/>
                  <a:gd name="connsiteY64" fmla="*/ 313 h 1072"/>
                  <a:gd name="connsiteX65" fmla="*/ 3939 w 5554"/>
                  <a:gd name="connsiteY65" fmla="*/ 363 h 1072"/>
                  <a:gd name="connsiteX66" fmla="*/ 3906 w 5554"/>
                  <a:gd name="connsiteY66" fmla="*/ 415 h 1072"/>
                  <a:gd name="connsiteX67" fmla="*/ 3844 w 5554"/>
                  <a:gd name="connsiteY67" fmla="*/ 523 h 1072"/>
                  <a:gd name="connsiteX68" fmla="*/ 3751 w 5554"/>
                  <a:gd name="connsiteY68" fmla="*/ 691 h 1072"/>
                  <a:gd name="connsiteX69" fmla="*/ 3718 w 5554"/>
                  <a:gd name="connsiteY69" fmla="*/ 747 h 1072"/>
                  <a:gd name="connsiteX70" fmla="*/ 3683 w 5554"/>
                  <a:gd name="connsiteY70" fmla="*/ 799 h 1072"/>
                  <a:gd name="connsiteX71" fmla="*/ 3648 w 5554"/>
                  <a:gd name="connsiteY71" fmla="*/ 848 h 1072"/>
                  <a:gd name="connsiteX72" fmla="*/ 3609 w 5554"/>
                  <a:gd name="connsiteY72" fmla="*/ 894 h 1072"/>
                  <a:gd name="connsiteX73" fmla="*/ 3568 w 5554"/>
                  <a:gd name="connsiteY73" fmla="*/ 935 h 1072"/>
                  <a:gd name="connsiteX74" fmla="*/ 3522 w 5554"/>
                  <a:gd name="connsiteY74" fmla="*/ 971 h 1072"/>
                  <a:gd name="connsiteX75" fmla="*/ 3473 w 5554"/>
                  <a:gd name="connsiteY75" fmla="*/ 1000 h 1072"/>
                  <a:gd name="connsiteX76" fmla="*/ 3421 w 5554"/>
                  <a:gd name="connsiteY76" fmla="*/ 1022 h 1072"/>
                  <a:gd name="connsiteX77" fmla="*/ 3363 w 5554"/>
                  <a:gd name="connsiteY77" fmla="*/ 1037 h 1072"/>
                  <a:gd name="connsiteX78" fmla="*/ 3299 w 5554"/>
                  <a:gd name="connsiteY78" fmla="*/ 1043 h 1072"/>
                  <a:gd name="connsiteX79" fmla="*/ 3291 w 5554"/>
                  <a:gd name="connsiteY79" fmla="*/ 1043 h 1072"/>
                  <a:gd name="connsiteX80" fmla="*/ 3229 w 5554"/>
                  <a:gd name="connsiteY80" fmla="*/ 1039 h 1072"/>
                  <a:gd name="connsiteX81" fmla="*/ 3169 w 5554"/>
                  <a:gd name="connsiteY81" fmla="*/ 1025 h 1072"/>
                  <a:gd name="connsiteX82" fmla="*/ 3116 w 5554"/>
                  <a:gd name="connsiteY82" fmla="*/ 1002 h 1072"/>
                  <a:gd name="connsiteX83" fmla="*/ 3064 w 5554"/>
                  <a:gd name="connsiteY83" fmla="*/ 973 h 1072"/>
                  <a:gd name="connsiteX84" fmla="*/ 3016 w 5554"/>
                  <a:gd name="connsiteY84" fmla="*/ 935 h 1072"/>
                  <a:gd name="connsiteX85" fmla="*/ 2973 w 5554"/>
                  <a:gd name="connsiteY85" fmla="*/ 894 h 1072"/>
                  <a:gd name="connsiteX86" fmla="*/ 2930 w 5554"/>
                  <a:gd name="connsiteY86" fmla="*/ 846 h 1072"/>
                  <a:gd name="connsiteX87" fmla="*/ 2890 w 5554"/>
                  <a:gd name="connsiteY87" fmla="*/ 796 h 1072"/>
                  <a:gd name="connsiteX88" fmla="*/ 2851 w 5554"/>
                  <a:gd name="connsiteY88" fmla="*/ 740 h 1072"/>
                  <a:gd name="connsiteX89" fmla="*/ 2814 w 5554"/>
                  <a:gd name="connsiteY89" fmla="*/ 684 h 1072"/>
                  <a:gd name="connsiteX90" fmla="*/ 2709 w 5554"/>
                  <a:gd name="connsiteY90" fmla="*/ 510 h 1072"/>
                  <a:gd name="connsiteX91" fmla="*/ 2672 w 5554"/>
                  <a:gd name="connsiteY91" fmla="*/ 452 h 1072"/>
                  <a:gd name="connsiteX92" fmla="*/ 2634 w 5554"/>
                  <a:gd name="connsiteY92" fmla="*/ 396 h 1072"/>
                  <a:gd name="connsiteX93" fmla="*/ 2597 w 5554"/>
                  <a:gd name="connsiteY93" fmla="*/ 342 h 1072"/>
                  <a:gd name="connsiteX94" fmla="*/ 2558 w 5554"/>
                  <a:gd name="connsiteY94" fmla="*/ 293 h 1072"/>
                  <a:gd name="connsiteX95" fmla="*/ 2517 w 5554"/>
                  <a:gd name="connsiteY95" fmla="*/ 247 h 1072"/>
                  <a:gd name="connsiteX96" fmla="*/ 2475 w 5554"/>
                  <a:gd name="connsiteY96" fmla="*/ 205 h 1072"/>
                  <a:gd name="connsiteX97" fmla="*/ 2430 w 5554"/>
                  <a:gd name="connsiteY97" fmla="*/ 168 h 1072"/>
                  <a:gd name="connsiteX98" fmla="*/ 2383 w 5554"/>
                  <a:gd name="connsiteY98" fmla="*/ 139 h 1072"/>
                  <a:gd name="connsiteX99" fmla="*/ 2331 w 5554"/>
                  <a:gd name="connsiteY99" fmla="*/ 116 h 1072"/>
                  <a:gd name="connsiteX100" fmla="*/ 2275 w 5554"/>
                  <a:gd name="connsiteY100" fmla="*/ 100 h 1072"/>
                  <a:gd name="connsiteX101" fmla="*/ 2217 w 5554"/>
                  <a:gd name="connsiteY101" fmla="*/ 91 h 1072"/>
                  <a:gd name="connsiteX102" fmla="*/ 2153 w 5554"/>
                  <a:gd name="connsiteY102" fmla="*/ 93 h 1072"/>
                  <a:gd name="connsiteX103" fmla="*/ 2085 w 5554"/>
                  <a:gd name="connsiteY103" fmla="*/ 104 h 1072"/>
                  <a:gd name="connsiteX104" fmla="*/ 2023 w 5554"/>
                  <a:gd name="connsiteY104" fmla="*/ 122 h 1072"/>
                  <a:gd name="connsiteX105" fmla="*/ 1966 w 5554"/>
                  <a:gd name="connsiteY105" fmla="*/ 147 h 1072"/>
                  <a:gd name="connsiteX106" fmla="*/ 1912 w 5554"/>
                  <a:gd name="connsiteY106" fmla="*/ 181 h 1072"/>
                  <a:gd name="connsiteX107" fmla="*/ 1860 w 5554"/>
                  <a:gd name="connsiteY107" fmla="*/ 218 h 1072"/>
                  <a:gd name="connsiteX108" fmla="*/ 1815 w 5554"/>
                  <a:gd name="connsiteY108" fmla="*/ 261 h 1072"/>
                  <a:gd name="connsiteX109" fmla="*/ 1769 w 5554"/>
                  <a:gd name="connsiteY109" fmla="*/ 307 h 1072"/>
                  <a:gd name="connsiteX110" fmla="*/ 1728 w 5554"/>
                  <a:gd name="connsiteY110" fmla="*/ 359 h 1072"/>
                  <a:gd name="connsiteX111" fmla="*/ 1689 w 5554"/>
                  <a:gd name="connsiteY111" fmla="*/ 413 h 1072"/>
                  <a:gd name="connsiteX112" fmla="*/ 1652 w 5554"/>
                  <a:gd name="connsiteY112" fmla="*/ 467 h 1072"/>
                  <a:gd name="connsiteX113" fmla="*/ 1615 w 5554"/>
                  <a:gd name="connsiteY113" fmla="*/ 523 h 1072"/>
                  <a:gd name="connsiteX114" fmla="*/ 1577 w 5554"/>
                  <a:gd name="connsiteY114" fmla="*/ 581 h 1072"/>
                  <a:gd name="connsiteX115" fmla="*/ 1542 w 5554"/>
                  <a:gd name="connsiteY115" fmla="*/ 637 h 1072"/>
                  <a:gd name="connsiteX116" fmla="*/ 1468 w 5554"/>
                  <a:gd name="connsiteY116" fmla="*/ 749 h 1072"/>
                  <a:gd name="connsiteX117" fmla="*/ 1429 w 5554"/>
                  <a:gd name="connsiteY117" fmla="*/ 801 h 1072"/>
                  <a:gd name="connsiteX118" fmla="*/ 1387 w 5554"/>
                  <a:gd name="connsiteY118" fmla="*/ 850 h 1072"/>
                  <a:gd name="connsiteX119" fmla="*/ 1344 w 5554"/>
                  <a:gd name="connsiteY119" fmla="*/ 896 h 1072"/>
                  <a:gd name="connsiteX120" fmla="*/ 1297 w 5554"/>
                  <a:gd name="connsiteY120" fmla="*/ 937 h 1072"/>
                  <a:gd name="connsiteX121" fmla="*/ 1247 w 5554"/>
                  <a:gd name="connsiteY121" fmla="*/ 973 h 1072"/>
                  <a:gd name="connsiteX122" fmla="*/ 1193 w 5554"/>
                  <a:gd name="connsiteY122" fmla="*/ 1002 h 1072"/>
                  <a:gd name="connsiteX123" fmla="*/ 1138 w 5554"/>
                  <a:gd name="connsiteY123" fmla="*/ 1025 h 1072"/>
                  <a:gd name="connsiteX124" fmla="*/ 1074 w 5554"/>
                  <a:gd name="connsiteY124" fmla="*/ 1037 h 1072"/>
                  <a:gd name="connsiteX125" fmla="*/ 1008 w 5554"/>
                  <a:gd name="connsiteY125" fmla="*/ 1043 h 1072"/>
                  <a:gd name="connsiteX126" fmla="*/ 1001 w 5554"/>
                  <a:gd name="connsiteY126" fmla="*/ 1043 h 1072"/>
                  <a:gd name="connsiteX127" fmla="*/ 933 w 5554"/>
                  <a:gd name="connsiteY127" fmla="*/ 1039 h 1072"/>
                  <a:gd name="connsiteX128" fmla="*/ 871 w 5554"/>
                  <a:gd name="connsiteY128" fmla="*/ 1027 h 1072"/>
                  <a:gd name="connsiteX129" fmla="*/ 813 w 5554"/>
                  <a:gd name="connsiteY129" fmla="*/ 1008 h 1072"/>
                  <a:gd name="connsiteX130" fmla="*/ 762 w 5554"/>
                  <a:gd name="connsiteY130" fmla="*/ 983 h 1072"/>
                  <a:gd name="connsiteX131" fmla="*/ 714 w 5554"/>
                  <a:gd name="connsiteY131" fmla="*/ 952 h 1072"/>
                  <a:gd name="connsiteX132" fmla="*/ 669 w 5554"/>
                  <a:gd name="connsiteY132" fmla="*/ 915 h 1072"/>
                  <a:gd name="connsiteX133" fmla="*/ 628 w 5554"/>
                  <a:gd name="connsiteY133" fmla="*/ 873 h 1072"/>
                  <a:gd name="connsiteX134" fmla="*/ 590 w 5554"/>
                  <a:gd name="connsiteY134" fmla="*/ 828 h 1072"/>
                  <a:gd name="connsiteX135" fmla="*/ 553 w 5554"/>
                  <a:gd name="connsiteY135" fmla="*/ 780 h 1072"/>
                  <a:gd name="connsiteX136" fmla="*/ 520 w 5554"/>
                  <a:gd name="connsiteY136" fmla="*/ 728 h 1072"/>
                  <a:gd name="connsiteX137" fmla="*/ 485 w 5554"/>
                  <a:gd name="connsiteY137" fmla="*/ 674 h 1072"/>
                  <a:gd name="connsiteX138" fmla="*/ 454 w 5554"/>
                  <a:gd name="connsiteY138" fmla="*/ 618 h 1072"/>
                  <a:gd name="connsiteX139" fmla="*/ 421 w 5554"/>
                  <a:gd name="connsiteY139" fmla="*/ 560 h 1072"/>
                  <a:gd name="connsiteX140" fmla="*/ 359 w 5554"/>
                  <a:gd name="connsiteY140" fmla="*/ 448 h 1072"/>
                  <a:gd name="connsiteX141" fmla="*/ 291 w 5554"/>
                  <a:gd name="connsiteY141" fmla="*/ 340 h 1072"/>
                  <a:gd name="connsiteX142" fmla="*/ 248 w 5554"/>
                  <a:gd name="connsiteY142" fmla="*/ 284 h 1072"/>
                  <a:gd name="connsiteX143" fmla="*/ 200 w 5554"/>
                  <a:gd name="connsiteY143" fmla="*/ 239 h 1072"/>
                  <a:gd name="connsiteX144" fmla="*/ 153 w 5554"/>
                  <a:gd name="connsiteY144" fmla="*/ 199 h 1072"/>
                  <a:gd name="connsiteX145" fmla="*/ 0 w 5554"/>
                  <a:gd name="connsiteY145" fmla="*/ 127 h 1072"/>
                  <a:gd name="connsiteX146" fmla="*/ 258 w 5554"/>
                  <a:gd name="connsiteY146" fmla="*/ 174 h 1072"/>
                  <a:gd name="connsiteX147" fmla="*/ 312 w 5554"/>
                  <a:gd name="connsiteY147" fmla="*/ 228 h 1072"/>
                  <a:gd name="connsiteX148" fmla="*/ 361 w 5554"/>
                  <a:gd name="connsiteY148" fmla="*/ 293 h 1072"/>
                  <a:gd name="connsiteX149" fmla="*/ 411 w 5554"/>
                  <a:gd name="connsiteY149" fmla="*/ 367 h 1072"/>
                  <a:gd name="connsiteX150" fmla="*/ 498 w 5554"/>
                  <a:gd name="connsiteY150" fmla="*/ 516 h 1072"/>
                  <a:gd name="connsiteX151" fmla="*/ 531 w 5554"/>
                  <a:gd name="connsiteY151" fmla="*/ 575 h 1072"/>
                  <a:gd name="connsiteX152" fmla="*/ 564 w 5554"/>
                  <a:gd name="connsiteY152" fmla="*/ 631 h 1072"/>
                  <a:gd name="connsiteX153" fmla="*/ 597 w 5554"/>
                  <a:gd name="connsiteY153" fmla="*/ 684 h 1072"/>
                  <a:gd name="connsiteX154" fmla="*/ 630 w 5554"/>
                  <a:gd name="connsiteY154" fmla="*/ 736 h 1072"/>
                  <a:gd name="connsiteX155" fmla="*/ 665 w 5554"/>
                  <a:gd name="connsiteY155" fmla="*/ 782 h 1072"/>
                  <a:gd name="connsiteX156" fmla="*/ 702 w 5554"/>
                  <a:gd name="connsiteY156" fmla="*/ 825 h 1072"/>
                  <a:gd name="connsiteX157" fmla="*/ 743 w 5554"/>
                  <a:gd name="connsiteY157" fmla="*/ 863 h 1072"/>
                  <a:gd name="connsiteX158" fmla="*/ 787 w 5554"/>
                  <a:gd name="connsiteY158" fmla="*/ 894 h 1072"/>
                  <a:gd name="connsiteX159" fmla="*/ 834 w 5554"/>
                  <a:gd name="connsiteY159" fmla="*/ 921 h 1072"/>
                  <a:gd name="connsiteX160" fmla="*/ 884 w 5554"/>
                  <a:gd name="connsiteY160" fmla="*/ 940 h 1072"/>
                  <a:gd name="connsiteX161" fmla="*/ 939 w 5554"/>
                  <a:gd name="connsiteY161" fmla="*/ 952 h 1072"/>
                  <a:gd name="connsiteX162" fmla="*/ 1001 w 5554"/>
                  <a:gd name="connsiteY162" fmla="*/ 956 h 1072"/>
                  <a:gd name="connsiteX163" fmla="*/ 1008 w 5554"/>
                  <a:gd name="connsiteY163" fmla="*/ 956 h 1072"/>
                  <a:gd name="connsiteX164" fmla="*/ 1067 w 5554"/>
                  <a:gd name="connsiteY164" fmla="*/ 950 h 1072"/>
                  <a:gd name="connsiteX165" fmla="*/ 1123 w 5554"/>
                  <a:gd name="connsiteY165" fmla="*/ 935 h 1072"/>
                  <a:gd name="connsiteX166" fmla="*/ 1177 w 5554"/>
                  <a:gd name="connsiteY166" fmla="*/ 913 h 1072"/>
                  <a:gd name="connsiteX167" fmla="*/ 1224 w 5554"/>
                  <a:gd name="connsiteY167" fmla="*/ 884 h 1072"/>
                  <a:gd name="connsiteX168" fmla="*/ 1270 w 5554"/>
                  <a:gd name="connsiteY168" fmla="*/ 846 h 1072"/>
                  <a:gd name="connsiteX169" fmla="*/ 1313 w 5554"/>
                  <a:gd name="connsiteY169" fmla="*/ 803 h 1072"/>
                  <a:gd name="connsiteX170" fmla="*/ 1352 w 5554"/>
                  <a:gd name="connsiteY170" fmla="*/ 755 h 1072"/>
                  <a:gd name="connsiteX171" fmla="*/ 1392 w 5554"/>
                  <a:gd name="connsiteY171" fmla="*/ 703 h 1072"/>
                  <a:gd name="connsiteX172" fmla="*/ 1431 w 5554"/>
                  <a:gd name="connsiteY172" fmla="*/ 649 h 1072"/>
                  <a:gd name="connsiteX173" fmla="*/ 1542 w 5554"/>
                  <a:gd name="connsiteY173" fmla="*/ 475 h 1072"/>
                  <a:gd name="connsiteX174" fmla="*/ 1582 w 5554"/>
                  <a:gd name="connsiteY174" fmla="*/ 415 h 1072"/>
                  <a:gd name="connsiteX175" fmla="*/ 1623 w 5554"/>
                  <a:gd name="connsiteY175" fmla="*/ 357 h 1072"/>
                  <a:gd name="connsiteX176" fmla="*/ 1666 w 5554"/>
                  <a:gd name="connsiteY176" fmla="*/ 299 h 1072"/>
                  <a:gd name="connsiteX177" fmla="*/ 1712 w 5554"/>
                  <a:gd name="connsiteY177" fmla="*/ 245 h 1072"/>
                  <a:gd name="connsiteX178" fmla="*/ 1759 w 5554"/>
                  <a:gd name="connsiteY178" fmla="*/ 193 h 1072"/>
                  <a:gd name="connsiteX179" fmla="*/ 1813 w 5554"/>
                  <a:gd name="connsiteY179" fmla="*/ 145 h 1072"/>
                  <a:gd name="connsiteX180" fmla="*/ 1868 w 5554"/>
                  <a:gd name="connsiteY180" fmla="*/ 104 h 1072"/>
                  <a:gd name="connsiteX181" fmla="*/ 1930 w 5554"/>
                  <a:gd name="connsiteY181" fmla="*/ 69 h 1072"/>
                  <a:gd name="connsiteX182" fmla="*/ 1996 w 5554"/>
                  <a:gd name="connsiteY182" fmla="*/ 40 h 1072"/>
                  <a:gd name="connsiteX183" fmla="*/ 2069 w 5554"/>
                  <a:gd name="connsiteY183" fmla="*/ 19 h 1072"/>
                  <a:gd name="connsiteX184" fmla="*/ 2147 w 5554"/>
                  <a:gd name="connsiteY184" fmla="*/ 6 h 1072"/>
                  <a:gd name="connsiteX185" fmla="*/ 2217 w 5554"/>
                  <a:gd name="connsiteY185" fmla="*/ 4 h 1072"/>
                  <a:gd name="connsiteX186" fmla="*/ 2283 w 5554"/>
                  <a:gd name="connsiteY186" fmla="*/ 13 h 1072"/>
                  <a:gd name="connsiteX187" fmla="*/ 2343 w 5554"/>
                  <a:gd name="connsiteY187" fmla="*/ 27 h 1072"/>
                  <a:gd name="connsiteX188" fmla="*/ 2401 w 5554"/>
                  <a:gd name="connsiteY188" fmla="*/ 50 h 1072"/>
                  <a:gd name="connsiteX189" fmla="*/ 2455 w 5554"/>
                  <a:gd name="connsiteY189" fmla="*/ 81 h 1072"/>
                  <a:gd name="connsiteX190" fmla="*/ 2504 w 5554"/>
                  <a:gd name="connsiteY190" fmla="*/ 116 h 1072"/>
                  <a:gd name="connsiteX191" fmla="*/ 2550 w 5554"/>
                  <a:gd name="connsiteY191" fmla="*/ 158 h 1072"/>
                  <a:gd name="connsiteX192" fmla="*/ 2595 w 5554"/>
                  <a:gd name="connsiteY192" fmla="*/ 203 h 1072"/>
                  <a:gd name="connsiteX193" fmla="*/ 2637 w 5554"/>
                  <a:gd name="connsiteY193" fmla="*/ 251 h 1072"/>
                  <a:gd name="connsiteX194" fmla="*/ 2676 w 5554"/>
                  <a:gd name="connsiteY194" fmla="*/ 303 h 1072"/>
                  <a:gd name="connsiteX195" fmla="*/ 2713 w 5554"/>
                  <a:gd name="connsiteY195" fmla="*/ 357 h 1072"/>
                  <a:gd name="connsiteX196" fmla="*/ 2748 w 5554"/>
                  <a:gd name="connsiteY196" fmla="*/ 413 h 1072"/>
                  <a:gd name="connsiteX197" fmla="*/ 2783 w 5554"/>
                  <a:gd name="connsiteY197" fmla="*/ 467 h 1072"/>
                  <a:gd name="connsiteX198" fmla="*/ 2816 w 5554"/>
                  <a:gd name="connsiteY198" fmla="*/ 523 h 1072"/>
                  <a:gd name="connsiteX199" fmla="*/ 2853 w 5554"/>
                  <a:gd name="connsiteY199" fmla="*/ 585 h 1072"/>
                  <a:gd name="connsiteX200" fmla="*/ 2890 w 5554"/>
                  <a:gd name="connsiteY200" fmla="*/ 643 h 1072"/>
                  <a:gd name="connsiteX201" fmla="*/ 2930 w 5554"/>
                  <a:gd name="connsiteY201" fmla="*/ 701 h 1072"/>
                  <a:gd name="connsiteX202" fmla="*/ 2967 w 5554"/>
                  <a:gd name="connsiteY202" fmla="*/ 755 h 1072"/>
                  <a:gd name="connsiteX203" fmla="*/ 3008 w 5554"/>
                  <a:gd name="connsiteY203" fmla="*/ 805 h 1072"/>
                  <a:gd name="connsiteX204" fmla="*/ 3049 w 5554"/>
                  <a:gd name="connsiteY204" fmla="*/ 848 h 1072"/>
                  <a:gd name="connsiteX205" fmla="*/ 3093 w 5554"/>
                  <a:gd name="connsiteY205" fmla="*/ 886 h 1072"/>
                  <a:gd name="connsiteX206" fmla="*/ 3138 w 5554"/>
                  <a:gd name="connsiteY206" fmla="*/ 917 h 1072"/>
                  <a:gd name="connsiteX207" fmla="*/ 3188 w 5554"/>
                  <a:gd name="connsiteY207" fmla="*/ 940 h 1072"/>
                  <a:gd name="connsiteX208" fmla="*/ 3241 w 5554"/>
                  <a:gd name="connsiteY208" fmla="*/ 952 h 1072"/>
                  <a:gd name="connsiteX209" fmla="*/ 3297 w 5554"/>
                  <a:gd name="connsiteY209" fmla="*/ 956 h 1072"/>
                  <a:gd name="connsiteX210" fmla="*/ 3353 w 5554"/>
                  <a:gd name="connsiteY210" fmla="*/ 950 h 1072"/>
                  <a:gd name="connsiteX211" fmla="*/ 3403 w 5554"/>
                  <a:gd name="connsiteY211" fmla="*/ 935 h 1072"/>
                  <a:gd name="connsiteX212" fmla="*/ 3450 w 5554"/>
                  <a:gd name="connsiteY212" fmla="*/ 915 h 1072"/>
                  <a:gd name="connsiteX213" fmla="*/ 3493 w 5554"/>
                  <a:gd name="connsiteY213" fmla="*/ 884 h 1072"/>
                  <a:gd name="connsiteX214" fmla="*/ 3533 w 5554"/>
                  <a:gd name="connsiteY214" fmla="*/ 848 h 1072"/>
                  <a:gd name="connsiteX215" fmla="*/ 3570 w 5554"/>
                  <a:gd name="connsiteY215" fmla="*/ 807 h 1072"/>
                  <a:gd name="connsiteX216" fmla="*/ 3605 w 5554"/>
                  <a:gd name="connsiteY216" fmla="*/ 759 h 1072"/>
                  <a:gd name="connsiteX217" fmla="*/ 3638 w 5554"/>
                  <a:gd name="connsiteY217" fmla="*/ 709 h 1072"/>
                  <a:gd name="connsiteX218" fmla="*/ 3671 w 5554"/>
                  <a:gd name="connsiteY218" fmla="*/ 655 h 1072"/>
                  <a:gd name="connsiteX219" fmla="*/ 3704 w 5554"/>
                  <a:gd name="connsiteY219" fmla="*/ 597 h 1072"/>
                  <a:gd name="connsiteX220" fmla="*/ 3737 w 5554"/>
                  <a:gd name="connsiteY220" fmla="*/ 537 h 1072"/>
                  <a:gd name="connsiteX221" fmla="*/ 3766 w 5554"/>
                  <a:gd name="connsiteY221" fmla="*/ 483 h 1072"/>
                  <a:gd name="connsiteX222" fmla="*/ 3828 w 5554"/>
                  <a:gd name="connsiteY222" fmla="*/ 375 h 1072"/>
                  <a:gd name="connsiteX223" fmla="*/ 3898 w 5554"/>
                  <a:gd name="connsiteY223" fmla="*/ 272 h 1072"/>
                  <a:gd name="connsiteX224" fmla="*/ 3935 w 5554"/>
                  <a:gd name="connsiteY224" fmla="*/ 224 h 1072"/>
                  <a:gd name="connsiteX225" fmla="*/ 3976 w 5554"/>
                  <a:gd name="connsiteY225" fmla="*/ 178 h 1072"/>
                  <a:gd name="connsiteX226" fmla="*/ 4020 w 5554"/>
                  <a:gd name="connsiteY226" fmla="*/ 137 h 1072"/>
                  <a:gd name="connsiteX227" fmla="*/ 4067 w 5554"/>
                  <a:gd name="connsiteY227" fmla="*/ 100 h 1072"/>
                  <a:gd name="connsiteX228" fmla="*/ 4119 w 5554"/>
                  <a:gd name="connsiteY228" fmla="*/ 66 h 1072"/>
                  <a:gd name="connsiteX229" fmla="*/ 4177 w 5554"/>
                  <a:gd name="connsiteY229" fmla="*/ 40 h 1072"/>
                  <a:gd name="connsiteX230" fmla="*/ 4237 w 5554"/>
                  <a:gd name="connsiteY230" fmla="*/ 19 h 1072"/>
                  <a:gd name="connsiteX231" fmla="*/ 4303 w 5554"/>
                  <a:gd name="connsiteY231" fmla="*/ 6 h 1072"/>
                  <a:gd name="connsiteX232" fmla="*/ 4375 w 5554"/>
                  <a:gd name="connsiteY232" fmla="*/ 0 h 1072"/>
                  <a:gd name="connsiteX0" fmla="*/ 4222 w 5401"/>
                  <a:gd name="connsiteY0" fmla="*/ 0 h 1072"/>
                  <a:gd name="connsiteX1" fmla="*/ 4272 w 5401"/>
                  <a:gd name="connsiteY1" fmla="*/ 0 h 1072"/>
                  <a:gd name="connsiteX2" fmla="*/ 4300 w 5401"/>
                  <a:gd name="connsiteY2" fmla="*/ 4 h 1072"/>
                  <a:gd name="connsiteX3" fmla="*/ 4331 w 5401"/>
                  <a:gd name="connsiteY3" fmla="*/ 13 h 1072"/>
                  <a:gd name="connsiteX4" fmla="*/ 4369 w 5401"/>
                  <a:gd name="connsiteY4" fmla="*/ 23 h 1072"/>
                  <a:gd name="connsiteX5" fmla="*/ 4410 w 5401"/>
                  <a:gd name="connsiteY5" fmla="*/ 40 h 1072"/>
                  <a:gd name="connsiteX6" fmla="*/ 4453 w 5401"/>
                  <a:gd name="connsiteY6" fmla="*/ 60 h 1072"/>
                  <a:gd name="connsiteX7" fmla="*/ 4501 w 5401"/>
                  <a:gd name="connsiteY7" fmla="*/ 89 h 1072"/>
                  <a:gd name="connsiteX8" fmla="*/ 4550 w 5401"/>
                  <a:gd name="connsiteY8" fmla="*/ 125 h 1072"/>
                  <a:gd name="connsiteX9" fmla="*/ 4600 w 5401"/>
                  <a:gd name="connsiteY9" fmla="*/ 170 h 1072"/>
                  <a:gd name="connsiteX10" fmla="*/ 4651 w 5401"/>
                  <a:gd name="connsiteY10" fmla="*/ 224 h 1072"/>
                  <a:gd name="connsiteX11" fmla="*/ 4703 w 5401"/>
                  <a:gd name="connsiteY11" fmla="*/ 286 h 1072"/>
                  <a:gd name="connsiteX12" fmla="*/ 4755 w 5401"/>
                  <a:gd name="connsiteY12" fmla="*/ 361 h 1072"/>
                  <a:gd name="connsiteX13" fmla="*/ 4806 w 5401"/>
                  <a:gd name="connsiteY13" fmla="*/ 448 h 1072"/>
                  <a:gd name="connsiteX14" fmla="*/ 4858 w 5401"/>
                  <a:gd name="connsiteY14" fmla="*/ 548 h 1072"/>
                  <a:gd name="connsiteX15" fmla="*/ 4903 w 5401"/>
                  <a:gd name="connsiteY15" fmla="*/ 633 h 1072"/>
                  <a:gd name="connsiteX16" fmla="*/ 4949 w 5401"/>
                  <a:gd name="connsiteY16" fmla="*/ 705 h 1072"/>
                  <a:gd name="connsiteX17" fmla="*/ 4996 w 5401"/>
                  <a:gd name="connsiteY17" fmla="*/ 767 h 1072"/>
                  <a:gd name="connsiteX18" fmla="*/ 5044 w 5401"/>
                  <a:gd name="connsiteY18" fmla="*/ 819 h 1072"/>
                  <a:gd name="connsiteX19" fmla="*/ 5089 w 5401"/>
                  <a:gd name="connsiteY19" fmla="*/ 863 h 1072"/>
                  <a:gd name="connsiteX20" fmla="*/ 5137 w 5401"/>
                  <a:gd name="connsiteY20" fmla="*/ 898 h 1072"/>
                  <a:gd name="connsiteX21" fmla="*/ 5180 w 5401"/>
                  <a:gd name="connsiteY21" fmla="*/ 927 h 1072"/>
                  <a:gd name="connsiteX22" fmla="*/ 5223 w 5401"/>
                  <a:gd name="connsiteY22" fmla="*/ 948 h 1072"/>
                  <a:gd name="connsiteX23" fmla="*/ 5260 w 5401"/>
                  <a:gd name="connsiteY23" fmla="*/ 962 h 1072"/>
                  <a:gd name="connsiteX24" fmla="*/ 5298 w 5401"/>
                  <a:gd name="connsiteY24" fmla="*/ 973 h 1072"/>
                  <a:gd name="connsiteX25" fmla="*/ 5327 w 5401"/>
                  <a:gd name="connsiteY25" fmla="*/ 981 h 1072"/>
                  <a:gd name="connsiteX26" fmla="*/ 5353 w 5401"/>
                  <a:gd name="connsiteY26" fmla="*/ 983 h 1072"/>
                  <a:gd name="connsiteX27" fmla="*/ 5372 w 5401"/>
                  <a:gd name="connsiteY27" fmla="*/ 985 h 1072"/>
                  <a:gd name="connsiteX28" fmla="*/ 5393 w 5401"/>
                  <a:gd name="connsiteY28" fmla="*/ 985 h 1072"/>
                  <a:gd name="connsiteX29" fmla="*/ 5401 w 5401"/>
                  <a:gd name="connsiteY29" fmla="*/ 1072 h 1072"/>
                  <a:gd name="connsiteX30" fmla="*/ 5366 w 5401"/>
                  <a:gd name="connsiteY30" fmla="*/ 1072 h 1072"/>
                  <a:gd name="connsiteX31" fmla="*/ 5339 w 5401"/>
                  <a:gd name="connsiteY31" fmla="*/ 1070 h 1072"/>
                  <a:gd name="connsiteX32" fmla="*/ 5308 w 5401"/>
                  <a:gd name="connsiteY32" fmla="*/ 1064 h 1072"/>
                  <a:gd name="connsiteX33" fmla="*/ 5271 w 5401"/>
                  <a:gd name="connsiteY33" fmla="*/ 1056 h 1072"/>
                  <a:gd name="connsiteX34" fmla="*/ 5229 w 5401"/>
                  <a:gd name="connsiteY34" fmla="*/ 1043 h 1072"/>
                  <a:gd name="connsiteX35" fmla="*/ 5184 w 5401"/>
                  <a:gd name="connsiteY35" fmla="*/ 1025 h 1072"/>
                  <a:gd name="connsiteX36" fmla="*/ 5137 w 5401"/>
                  <a:gd name="connsiteY36" fmla="*/ 1002 h 1072"/>
                  <a:gd name="connsiteX37" fmla="*/ 5087 w 5401"/>
                  <a:gd name="connsiteY37" fmla="*/ 971 h 1072"/>
                  <a:gd name="connsiteX38" fmla="*/ 5035 w 5401"/>
                  <a:gd name="connsiteY38" fmla="*/ 931 h 1072"/>
                  <a:gd name="connsiteX39" fmla="*/ 4984 w 5401"/>
                  <a:gd name="connsiteY39" fmla="*/ 881 h 1072"/>
                  <a:gd name="connsiteX40" fmla="*/ 4930 w 5401"/>
                  <a:gd name="connsiteY40" fmla="*/ 823 h 1072"/>
                  <a:gd name="connsiteX41" fmla="*/ 4879 w 5401"/>
                  <a:gd name="connsiteY41" fmla="*/ 755 h 1072"/>
                  <a:gd name="connsiteX42" fmla="*/ 4829 w 5401"/>
                  <a:gd name="connsiteY42" fmla="*/ 676 h 1072"/>
                  <a:gd name="connsiteX43" fmla="*/ 4781 w 5401"/>
                  <a:gd name="connsiteY43" fmla="*/ 583 h 1072"/>
                  <a:gd name="connsiteX44" fmla="*/ 4732 w 5401"/>
                  <a:gd name="connsiteY44" fmla="*/ 487 h 1072"/>
                  <a:gd name="connsiteX45" fmla="*/ 4682 w 5401"/>
                  <a:gd name="connsiteY45" fmla="*/ 404 h 1072"/>
                  <a:gd name="connsiteX46" fmla="*/ 4633 w 5401"/>
                  <a:gd name="connsiteY46" fmla="*/ 336 h 1072"/>
                  <a:gd name="connsiteX47" fmla="*/ 4583 w 5401"/>
                  <a:gd name="connsiteY47" fmla="*/ 276 h 1072"/>
                  <a:gd name="connsiteX48" fmla="*/ 4536 w 5401"/>
                  <a:gd name="connsiteY48" fmla="*/ 228 h 1072"/>
                  <a:gd name="connsiteX49" fmla="*/ 4490 w 5401"/>
                  <a:gd name="connsiteY49" fmla="*/ 189 h 1072"/>
                  <a:gd name="connsiteX50" fmla="*/ 4449 w 5401"/>
                  <a:gd name="connsiteY50" fmla="*/ 158 h 1072"/>
                  <a:gd name="connsiteX51" fmla="*/ 4410 w 5401"/>
                  <a:gd name="connsiteY51" fmla="*/ 135 h 1072"/>
                  <a:gd name="connsiteX52" fmla="*/ 4360 w 5401"/>
                  <a:gd name="connsiteY52" fmla="*/ 112 h 1072"/>
                  <a:gd name="connsiteX53" fmla="*/ 4317 w 5401"/>
                  <a:gd name="connsiteY53" fmla="*/ 98 h 1072"/>
                  <a:gd name="connsiteX54" fmla="*/ 4282 w 5401"/>
                  <a:gd name="connsiteY54" fmla="*/ 89 h 1072"/>
                  <a:gd name="connsiteX55" fmla="*/ 4253 w 5401"/>
                  <a:gd name="connsiteY55" fmla="*/ 87 h 1072"/>
                  <a:gd name="connsiteX56" fmla="*/ 4226 w 5401"/>
                  <a:gd name="connsiteY56" fmla="*/ 87 h 1072"/>
                  <a:gd name="connsiteX57" fmla="*/ 4160 w 5401"/>
                  <a:gd name="connsiteY57" fmla="*/ 93 h 1072"/>
                  <a:gd name="connsiteX58" fmla="*/ 4098 w 5401"/>
                  <a:gd name="connsiteY58" fmla="*/ 106 h 1072"/>
                  <a:gd name="connsiteX59" fmla="*/ 4042 w 5401"/>
                  <a:gd name="connsiteY59" fmla="*/ 127 h 1072"/>
                  <a:gd name="connsiteX60" fmla="*/ 3991 w 5401"/>
                  <a:gd name="connsiteY60" fmla="*/ 154 h 1072"/>
                  <a:gd name="connsiteX61" fmla="*/ 3943 w 5401"/>
                  <a:gd name="connsiteY61" fmla="*/ 187 h 1072"/>
                  <a:gd name="connsiteX62" fmla="*/ 3900 w 5401"/>
                  <a:gd name="connsiteY62" fmla="*/ 224 h 1072"/>
                  <a:gd name="connsiteX63" fmla="*/ 3861 w 5401"/>
                  <a:gd name="connsiteY63" fmla="*/ 268 h 1072"/>
                  <a:gd name="connsiteX64" fmla="*/ 3821 w 5401"/>
                  <a:gd name="connsiteY64" fmla="*/ 313 h 1072"/>
                  <a:gd name="connsiteX65" fmla="*/ 3786 w 5401"/>
                  <a:gd name="connsiteY65" fmla="*/ 363 h 1072"/>
                  <a:gd name="connsiteX66" fmla="*/ 3753 w 5401"/>
                  <a:gd name="connsiteY66" fmla="*/ 415 h 1072"/>
                  <a:gd name="connsiteX67" fmla="*/ 3691 w 5401"/>
                  <a:gd name="connsiteY67" fmla="*/ 523 h 1072"/>
                  <a:gd name="connsiteX68" fmla="*/ 3598 w 5401"/>
                  <a:gd name="connsiteY68" fmla="*/ 691 h 1072"/>
                  <a:gd name="connsiteX69" fmla="*/ 3565 w 5401"/>
                  <a:gd name="connsiteY69" fmla="*/ 747 h 1072"/>
                  <a:gd name="connsiteX70" fmla="*/ 3530 w 5401"/>
                  <a:gd name="connsiteY70" fmla="*/ 799 h 1072"/>
                  <a:gd name="connsiteX71" fmla="*/ 3495 w 5401"/>
                  <a:gd name="connsiteY71" fmla="*/ 848 h 1072"/>
                  <a:gd name="connsiteX72" fmla="*/ 3456 w 5401"/>
                  <a:gd name="connsiteY72" fmla="*/ 894 h 1072"/>
                  <a:gd name="connsiteX73" fmla="*/ 3415 w 5401"/>
                  <a:gd name="connsiteY73" fmla="*/ 935 h 1072"/>
                  <a:gd name="connsiteX74" fmla="*/ 3369 w 5401"/>
                  <a:gd name="connsiteY74" fmla="*/ 971 h 1072"/>
                  <a:gd name="connsiteX75" fmla="*/ 3320 w 5401"/>
                  <a:gd name="connsiteY75" fmla="*/ 1000 h 1072"/>
                  <a:gd name="connsiteX76" fmla="*/ 3268 w 5401"/>
                  <a:gd name="connsiteY76" fmla="*/ 1022 h 1072"/>
                  <a:gd name="connsiteX77" fmla="*/ 3210 w 5401"/>
                  <a:gd name="connsiteY77" fmla="*/ 1037 h 1072"/>
                  <a:gd name="connsiteX78" fmla="*/ 3146 w 5401"/>
                  <a:gd name="connsiteY78" fmla="*/ 1043 h 1072"/>
                  <a:gd name="connsiteX79" fmla="*/ 3138 w 5401"/>
                  <a:gd name="connsiteY79" fmla="*/ 1043 h 1072"/>
                  <a:gd name="connsiteX80" fmla="*/ 3076 w 5401"/>
                  <a:gd name="connsiteY80" fmla="*/ 1039 h 1072"/>
                  <a:gd name="connsiteX81" fmla="*/ 3016 w 5401"/>
                  <a:gd name="connsiteY81" fmla="*/ 1025 h 1072"/>
                  <a:gd name="connsiteX82" fmla="*/ 2963 w 5401"/>
                  <a:gd name="connsiteY82" fmla="*/ 1002 h 1072"/>
                  <a:gd name="connsiteX83" fmla="*/ 2911 w 5401"/>
                  <a:gd name="connsiteY83" fmla="*/ 973 h 1072"/>
                  <a:gd name="connsiteX84" fmla="*/ 2863 w 5401"/>
                  <a:gd name="connsiteY84" fmla="*/ 935 h 1072"/>
                  <a:gd name="connsiteX85" fmla="*/ 2820 w 5401"/>
                  <a:gd name="connsiteY85" fmla="*/ 894 h 1072"/>
                  <a:gd name="connsiteX86" fmla="*/ 2777 w 5401"/>
                  <a:gd name="connsiteY86" fmla="*/ 846 h 1072"/>
                  <a:gd name="connsiteX87" fmla="*/ 2737 w 5401"/>
                  <a:gd name="connsiteY87" fmla="*/ 796 h 1072"/>
                  <a:gd name="connsiteX88" fmla="*/ 2698 w 5401"/>
                  <a:gd name="connsiteY88" fmla="*/ 740 h 1072"/>
                  <a:gd name="connsiteX89" fmla="*/ 2661 w 5401"/>
                  <a:gd name="connsiteY89" fmla="*/ 684 h 1072"/>
                  <a:gd name="connsiteX90" fmla="*/ 2556 w 5401"/>
                  <a:gd name="connsiteY90" fmla="*/ 510 h 1072"/>
                  <a:gd name="connsiteX91" fmla="*/ 2519 w 5401"/>
                  <a:gd name="connsiteY91" fmla="*/ 452 h 1072"/>
                  <a:gd name="connsiteX92" fmla="*/ 2481 w 5401"/>
                  <a:gd name="connsiteY92" fmla="*/ 396 h 1072"/>
                  <a:gd name="connsiteX93" fmla="*/ 2444 w 5401"/>
                  <a:gd name="connsiteY93" fmla="*/ 342 h 1072"/>
                  <a:gd name="connsiteX94" fmla="*/ 2405 w 5401"/>
                  <a:gd name="connsiteY94" fmla="*/ 293 h 1072"/>
                  <a:gd name="connsiteX95" fmla="*/ 2364 w 5401"/>
                  <a:gd name="connsiteY95" fmla="*/ 247 h 1072"/>
                  <a:gd name="connsiteX96" fmla="*/ 2322 w 5401"/>
                  <a:gd name="connsiteY96" fmla="*/ 205 h 1072"/>
                  <a:gd name="connsiteX97" fmla="*/ 2277 w 5401"/>
                  <a:gd name="connsiteY97" fmla="*/ 168 h 1072"/>
                  <a:gd name="connsiteX98" fmla="*/ 2230 w 5401"/>
                  <a:gd name="connsiteY98" fmla="*/ 139 h 1072"/>
                  <a:gd name="connsiteX99" fmla="*/ 2178 w 5401"/>
                  <a:gd name="connsiteY99" fmla="*/ 116 h 1072"/>
                  <a:gd name="connsiteX100" fmla="*/ 2122 w 5401"/>
                  <a:gd name="connsiteY100" fmla="*/ 100 h 1072"/>
                  <a:gd name="connsiteX101" fmla="*/ 2064 w 5401"/>
                  <a:gd name="connsiteY101" fmla="*/ 91 h 1072"/>
                  <a:gd name="connsiteX102" fmla="*/ 2000 w 5401"/>
                  <a:gd name="connsiteY102" fmla="*/ 93 h 1072"/>
                  <a:gd name="connsiteX103" fmla="*/ 1932 w 5401"/>
                  <a:gd name="connsiteY103" fmla="*/ 104 h 1072"/>
                  <a:gd name="connsiteX104" fmla="*/ 1870 w 5401"/>
                  <a:gd name="connsiteY104" fmla="*/ 122 h 1072"/>
                  <a:gd name="connsiteX105" fmla="*/ 1813 w 5401"/>
                  <a:gd name="connsiteY105" fmla="*/ 147 h 1072"/>
                  <a:gd name="connsiteX106" fmla="*/ 1759 w 5401"/>
                  <a:gd name="connsiteY106" fmla="*/ 181 h 1072"/>
                  <a:gd name="connsiteX107" fmla="*/ 1707 w 5401"/>
                  <a:gd name="connsiteY107" fmla="*/ 218 h 1072"/>
                  <a:gd name="connsiteX108" fmla="*/ 1662 w 5401"/>
                  <a:gd name="connsiteY108" fmla="*/ 261 h 1072"/>
                  <a:gd name="connsiteX109" fmla="*/ 1616 w 5401"/>
                  <a:gd name="connsiteY109" fmla="*/ 307 h 1072"/>
                  <a:gd name="connsiteX110" fmla="*/ 1575 w 5401"/>
                  <a:gd name="connsiteY110" fmla="*/ 359 h 1072"/>
                  <a:gd name="connsiteX111" fmla="*/ 1536 w 5401"/>
                  <a:gd name="connsiteY111" fmla="*/ 413 h 1072"/>
                  <a:gd name="connsiteX112" fmla="*/ 1499 w 5401"/>
                  <a:gd name="connsiteY112" fmla="*/ 467 h 1072"/>
                  <a:gd name="connsiteX113" fmla="*/ 1462 w 5401"/>
                  <a:gd name="connsiteY113" fmla="*/ 523 h 1072"/>
                  <a:gd name="connsiteX114" fmla="*/ 1424 w 5401"/>
                  <a:gd name="connsiteY114" fmla="*/ 581 h 1072"/>
                  <a:gd name="connsiteX115" fmla="*/ 1389 w 5401"/>
                  <a:gd name="connsiteY115" fmla="*/ 637 h 1072"/>
                  <a:gd name="connsiteX116" fmla="*/ 1315 w 5401"/>
                  <a:gd name="connsiteY116" fmla="*/ 749 h 1072"/>
                  <a:gd name="connsiteX117" fmla="*/ 1276 w 5401"/>
                  <a:gd name="connsiteY117" fmla="*/ 801 h 1072"/>
                  <a:gd name="connsiteX118" fmla="*/ 1234 w 5401"/>
                  <a:gd name="connsiteY118" fmla="*/ 850 h 1072"/>
                  <a:gd name="connsiteX119" fmla="*/ 1191 w 5401"/>
                  <a:gd name="connsiteY119" fmla="*/ 896 h 1072"/>
                  <a:gd name="connsiteX120" fmla="*/ 1144 w 5401"/>
                  <a:gd name="connsiteY120" fmla="*/ 937 h 1072"/>
                  <a:gd name="connsiteX121" fmla="*/ 1094 w 5401"/>
                  <a:gd name="connsiteY121" fmla="*/ 973 h 1072"/>
                  <a:gd name="connsiteX122" fmla="*/ 1040 w 5401"/>
                  <a:gd name="connsiteY122" fmla="*/ 1002 h 1072"/>
                  <a:gd name="connsiteX123" fmla="*/ 985 w 5401"/>
                  <a:gd name="connsiteY123" fmla="*/ 1025 h 1072"/>
                  <a:gd name="connsiteX124" fmla="*/ 921 w 5401"/>
                  <a:gd name="connsiteY124" fmla="*/ 1037 h 1072"/>
                  <a:gd name="connsiteX125" fmla="*/ 855 w 5401"/>
                  <a:gd name="connsiteY125" fmla="*/ 1043 h 1072"/>
                  <a:gd name="connsiteX126" fmla="*/ 848 w 5401"/>
                  <a:gd name="connsiteY126" fmla="*/ 1043 h 1072"/>
                  <a:gd name="connsiteX127" fmla="*/ 780 w 5401"/>
                  <a:gd name="connsiteY127" fmla="*/ 1039 h 1072"/>
                  <a:gd name="connsiteX128" fmla="*/ 718 w 5401"/>
                  <a:gd name="connsiteY128" fmla="*/ 1027 h 1072"/>
                  <a:gd name="connsiteX129" fmla="*/ 660 w 5401"/>
                  <a:gd name="connsiteY129" fmla="*/ 1008 h 1072"/>
                  <a:gd name="connsiteX130" fmla="*/ 609 w 5401"/>
                  <a:gd name="connsiteY130" fmla="*/ 983 h 1072"/>
                  <a:gd name="connsiteX131" fmla="*/ 561 w 5401"/>
                  <a:gd name="connsiteY131" fmla="*/ 952 h 1072"/>
                  <a:gd name="connsiteX132" fmla="*/ 516 w 5401"/>
                  <a:gd name="connsiteY132" fmla="*/ 915 h 1072"/>
                  <a:gd name="connsiteX133" fmla="*/ 475 w 5401"/>
                  <a:gd name="connsiteY133" fmla="*/ 873 h 1072"/>
                  <a:gd name="connsiteX134" fmla="*/ 437 w 5401"/>
                  <a:gd name="connsiteY134" fmla="*/ 828 h 1072"/>
                  <a:gd name="connsiteX135" fmla="*/ 400 w 5401"/>
                  <a:gd name="connsiteY135" fmla="*/ 780 h 1072"/>
                  <a:gd name="connsiteX136" fmla="*/ 367 w 5401"/>
                  <a:gd name="connsiteY136" fmla="*/ 728 h 1072"/>
                  <a:gd name="connsiteX137" fmla="*/ 332 w 5401"/>
                  <a:gd name="connsiteY137" fmla="*/ 674 h 1072"/>
                  <a:gd name="connsiteX138" fmla="*/ 301 w 5401"/>
                  <a:gd name="connsiteY138" fmla="*/ 618 h 1072"/>
                  <a:gd name="connsiteX139" fmla="*/ 268 w 5401"/>
                  <a:gd name="connsiteY139" fmla="*/ 560 h 1072"/>
                  <a:gd name="connsiteX140" fmla="*/ 206 w 5401"/>
                  <a:gd name="connsiteY140" fmla="*/ 448 h 1072"/>
                  <a:gd name="connsiteX141" fmla="*/ 138 w 5401"/>
                  <a:gd name="connsiteY141" fmla="*/ 340 h 1072"/>
                  <a:gd name="connsiteX142" fmla="*/ 95 w 5401"/>
                  <a:gd name="connsiteY142" fmla="*/ 284 h 1072"/>
                  <a:gd name="connsiteX143" fmla="*/ 47 w 5401"/>
                  <a:gd name="connsiteY143" fmla="*/ 239 h 1072"/>
                  <a:gd name="connsiteX144" fmla="*/ 0 w 5401"/>
                  <a:gd name="connsiteY144" fmla="*/ 199 h 1072"/>
                  <a:gd name="connsiteX145" fmla="*/ 105 w 5401"/>
                  <a:gd name="connsiteY145" fmla="*/ 174 h 1072"/>
                  <a:gd name="connsiteX146" fmla="*/ 159 w 5401"/>
                  <a:gd name="connsiteY146" fmla="*/ 228 h 1072"/>
                  <a:gd name="connsiteX147" fmla="*/ 208 w 5401"/>
                  <a:gd name="connsiteY147" fmla="*/ 293 h 1072"/>
                  <a:gd name="connsiteX148" fmla="*/ 258 w 5401"/>
                  <a:gd name="connsiteY148" fmla="*/ 367 h 1072"/>
                  <a:gd name="connsiteX149" fmla="*/ 345 w 5401"/>
                  <a:gd name="connsiteY149" fmla="*/ 516 h 1072"/>
                  <a:gd name="connsiteX150" fmla="*/ 378 w 5401"/>
                  <a:gd name="connsiteY150" fmla="*/ 575 h 1072"/>
                  <a:gd name="connsiteX151" fmla="*/ 411 w 5401"/>
                  <a:gd name="connsiteY151" fmla="*/ 631 h 1072"/>
                  <a:gd name="connsiteX152" fmla="*/ 444 w 5401"/>
                  <a:gd name="connsiteY152" fmla="*/ 684 h 1072"/>
                  <a:gd name="connsiteX153" fmla="*/ 477 w 5401"/>
                  <a:gd name="connsiteY153" fmla="*/ 736 h 1072"/>
                  <a:gd name="connsiteX154" fmla="*/ 512 w 5401"/>
                  <a:gd name="connsiteY154" fmla="*/ 782 h 1072"/>
                  <a:gd name="connsiteX155" fmla="*/ 549 w 5401"/>
                  <a:gd name="connsiteY155" fmla="*/ 825 h 1072"/>
                  <a:gd name="connsiteX156" fmla="*/ 590 w 5401"/>
                  <a:gd name="connsiteY156" fmla="*/ 863 h 1072"/>
                  <a:gd name="connsiteX157" fmla="*/ 634 w 5401"/>
                  <a:gd name="connsiteY157" fmla="*/ 894 h 1072"/>
                  <a:gd name="connsiteX158" fmla="*/ 681 w 5401"/>
                  <a:gd name="connsiteY158" fmla="*/ 921 h 1072"/>
                  <a:gd name="connsiteX159" fmla="*/ 731 w 5401"/>
                  <a:gd name="connsiteY159" fmla="*/ 940 h 1072"/>
                  <a:gd name="connsiteX160" fmla="*/ 786 w 5401"/>
                  <a:gd name="connsiteY160" fmla="*/ 952 h 1072"/>
                  <a:gd name="connsiteX161" fmla="*/ 848 w 5401"/>
                  <a:gd name="connsiteY161" fmla="*/ 956 h 1072"/>
                  <a:gd name="connsiteX162" fmla="*/ 855 w 5401"/>
                  <a:gd name="connsiteY162" fmla="*/ 956 h 1072"/>
                  <a:gd name="connsiteX163" fmla="*/ 914 w 5401"/>
                  <a:gd name="connsiteY163" fmla="*/ 950 h 1072"/>
                  <a:gd name="connsiteX164" fmla="*/ 970 w 5401"/>
                  <a:gd name="connsiteY164" fmla="*/ 935 h 1072"/>
                  <a:gd name="connsiteX165" fmla="*/ 1024 w 5401"/>
                  <a:gd name="connsiteY165" fmla="*/ 913 h 1072"/>
                  <a:gd name="connsiteX166" fmla="*/ 1071 w 5401"/>
                  <a:gd name="connsiteY166" fmla="*/ 884 h 1072"/>
                  <a:gd name="connsiteX167" fmla="*/ 1117 w 5401"/>
                  <a:gd name="connsiteY167" fmla="*/ 846 h 1072"/>
                  <a:gd name="connsiteX168" fmla="*/ 1160 w 5401"/>
                  <a:gd name="connsiteY168" fmla="*/ 803 h 1072"/>
                  <a:gd name="connsiteX169" fmla="*/ 1199 w 5401"/>
                  <a:gd name="connsiteY169" fmla="*/ 755 h 1072"/>
                  <a:gd name="connsiteX170" fmla="*/ 1239 w 5401"/>
                  <a:gd name="connsiteY170" fmla="*/ 703 h 1072"/>
                  <a:gd name="connsiteX171" fmla="*/ 1278 w 5401"/>
                  <a:gd name="connsiteY171" fmla="*/ 649 h 1072"/>
                  <a:gd name="connsiteX172" fmla="*/ 1389 w 5401"/>
                  <a:gd name="connsiteY172" fmla="*/ 475 h 1072"/>
                  <a:gd name="connsiteX173" fmla="*/ 1429 w 5401"/>
                  <a:gd name="connsiteY173" fmla="*/ 415 h 1072"/>
                  <a:gd name="connsiteX174" fmla="*/ 1470 w 5401"/>
                  <a:gd name="connsiteY174" fmla="*/ 357 h 1072"/>
                  <a:gd name="connsiteX175" fmla="*/ 1513 w 5401"/>
                  <a:gd name="connsiteY175" fmla="*/ 299 h 1072"/>
                  <a:gd name="connsiteX176" fmla="*/ 1559 w 5401"/>
                  <a:gd name="connsiteY176" fmla="*/ 245 h 1072"/>
                  <a:gd name="connsiteX177" fmla="*/ 1606 w 5401"/>
                  <a:gd name="connsiteY177" fmla="*/ 193 h 1072"/>
                  <a:gd name="connsiteX178" fmla="*/ 1660 w 5401"/>
                  <a:gd name="connsiteY178" fmla="*/ 145 h 1072"/>
                  <a:gd name="connsiteX179" fmla="*/ 1715 w 5401"/>
                  <a:gd name="connsiteY179" fmla="*/ 104 h 1072"/>
                  <a:gd name="connsiteX180" fmla="*/ 1777 w 5401"/>
                  <a:gd name="connsiteY180" fmla="*/ 69 h 1072"/>
                  <a:gd name="connsiteX181" fmla="*/ 1843 w 5401"/>
                  <a:gd name="connsiteY181" fmla="*/ 40 h 1072"/>
                  <a:gd name="connsiteX182" fmla="*/ 1916 w 5401"/>
                  <a:gd name="connsiteY182" fmla="*/ 19 h 1072"/>
                  <a:gd name="connsiteX183" fmla="*/ 1994 w 5401"/>
                  <a:gd name="connsiteY183" fmla="*/ 6 h 1072"/>
                  <a:gd name="connsiteX184" fmla="*/ 2064 w 5401"/>
                  <a:gd name="connsiteY184" fmla="*/ 4 h 1072"/>
                  <a:gd name="connsiteX185" fmla="*/ 2130 w 5401"/>
                  <a:gd name="connsiteY185" fmla="*/ 13 h 1072"/>
                  <a:gd name="connsiteX186" fmla="*/ 2190 w 5401"/>
                  <a:gd name="connsiteY186" fmla="*/ 27 h 1072"/>
                  <a:gd name="connsiteX187" fmla="*/ 2248 w 5401"/>
                  <a:gd name="connsiteY187" fmla="*/ 50 h 1072"/>
                  <a:gd name="connsiteX188" fmla="*/ 2302 w 5401"/>
                  <a:gd name="connsiteY188" fmla="*/ 81 h 1072"/>
                  <a:gd name="connsiteX189" fmla="*/ 2351 w 5401"/>
                  <a:gd name="connsiteY189" fmla="*/ 116 h 1072"/>
                  <a:gd name="connsiteX190" fmla="*/ 2397 w 5401"/>
                  <a:gd name="connsiteY190" fmla="*/ 158 h 1072"/>
                  <a:gd name="connsiteX191" fmla="*/ 2442 w 5401"/>
                  <a:gd name="connsiteY191" fmla="*/ 203 h 1072"/>
                  <a:gd name="connsiteX192" fmla="*/ 2484 w 5401"/>
                  <a:gd name="connsiteY192" fmla="*/ 251 h 1072"/>
                  <a:gd name="connsiteX193" fmla="*/ 2523 w 5401"/>
                  <a:gd name="connsiteY193" fmla="*/ 303 h 1072"/>
                  <a:gd name="connsiteX194" fmla="*/ 2560 w 5401"/>
                  <a:gd name="connsiteY194" fmla="*/ 357 h 1072"/>
                  <a:gd name="connsiteX195" fmla="*/ 2595 w 5401"/>
                  <a:gd name="connsiteY195" fmla="*/ 413 h 1072"/>
                  <a:gd name="connsiteX196" fmla="*/ 2630 w 5401"/>
                  <a:gd name="connsiteY196" fmla="*/ 467 h 1072"/>
                  <a:gd name="connsiteX197" fmla="*/ 2663 w 5401"/>
                  <a:gd name="connsiteY197" fmla="*/ 523 h 1072"/>
                  <a:gd name="connsiteX198" fmla="*/ 2700 w 5401"/>
                  <a:gd name="connsiteY198" fmla="*/ 585 h 1072"/>
                  <a:gd name="connsiteX199" fmla="*/ 2737 w 5401"/>
                  <a:gd name="connsiteY199" fmla="*/ 643 h 1072"/>
                  <a:gd name="connsiteX200" fmla="*/ 2777 w 5401"/>
                  <a:gd name="connsiteY200" fmla="*/ 701 h 1072"/>
                  <a:gd name="connsiteX201" fmla="*/ 2814 w 5401"/>
                  <a:gd name="connsiteY201" fmla="*/ 755 h 1072"/>
                  <a:gd name="connsiteX202" fmla="*/ 2855 w 5401"/>
                  <a:gd name="connsiteY202" fmla="*/ 805 h 1072"/>
                  <a:gd name="connsiteX203" fmla="*/ 2896 w 5401"/>
                  <a:gd name="connsiteY203" fmla="*/ 848 h 1072"/>
                  <a:gd name="connsiteX204" fmla="*/ 2940 w 5401"/>
                  <a:gd name="connsiteY204" fmla="*/ 886 h 1072"/>
                  <a:gd name="connsiteX205" fmla="*/ 2985 w 5401"/>
                  <a:gd name="connsiteY205" fmla="*/ 917 h 1072"/>
                  <a:gd name="connsiteX206" fmla="*/ 3035 w 5401"/>
                  <a:gd name="connsiteY206" fmla="*/ 940 h 1072"/>
                  <a:gd name="connsiteX207" fmla="*/ 3088 w 5401"/>
                  <a:gd name="connsiteY207" fmla="*/ 952 h 1072"/>
                  <a:gd name="connsiteX208" fmla="*/ 3144 w 5401"/>
                  <a:gd name="connsiteY208" fmla="*/ 956 h 1072"/>
                  <a:gd name="connsiteX209" fmla="*/ 3200 w 5401"/>
                  <a:gd name="connsiteY209" fmla="*/ 950 h 1072"/>
                  <a:gd name="connsiteX210" fmla="*/ 3250 w 5401"/>
                  <a:gd name="connsiteY210" fmla="*/ 935 h 1072"/>
                  <a:gd name="connsiteX211" fmla="*/ 3297 w 5401"/>
                  <a:gd name="connsiteY211" fmla="*/ 915 h 1072"/>
                  <a:gd name="connsiteX212" fmla="*/ 3340 w 5401"/>
                  <a:gd name="connsiteY212" fmla="*/ 884 h 1072"/>
                  <a:gd name="connsiteX213" fmla="*/ 3380 w 5401"/>
                  <a:gd name="connsiteY213" fmla="*/ 848 h 1072"/>
                  <a:gd name="connsiteX214" fmla="*/ 3417 w 5401"/>
                  <a:gd name="connsiteY214" fmla="*/ 807 h 1072"/>
                  <a:gd name="connsiteX215" fmla="*/ 3452 w 5401"/>
                  <a:gd name="connsiteY215" fmla="*/ 759 h 1072"/>
                  <a:gd name="connsiteX216" fmla="*/ 3485 w 5401"/>
                  <a:gd name="connsiteY216" fmla="*/ 709 h 1072"/>
                  <a:gd name="connsiteX217" fmla="*/ 3518 w 5401"/>
                  <a:gd name="connsiteY217" fmla="*/ 655 h 1072"/>
                  <a:gd name="connsiteX218" fmla="*/ 3551 w 5401"/>
                  <a:gd name="connsiteY218" fmla="*/ 597 h 1072"/>
                  <a:gd name="connsiteX219" fmla="*/ 3584 w 5401"/>
                  <a:gd name="connsiteY219" fmla="*/ 537 h 1072"/>
                  <a:gd name="connsiteX220" fmla="*/ 3613 w 5401"/>
                  <a:gd name="connsiteY220" fmla="*/ 483 h 1072"/>
                  <a:gd name="connsiteX221" fmla="*/ 3675 w 5401"/>
                  <a:gd name="connsiteY221" fmla="*/ 375 h 1072"/>
                  <a:gd name="connsiteX222" fmla="*/ 3745 w 5401"/>
                  <a:gd name="connsiteY222" fmla="*/ 272 h 1072"/>
                  <a:gd name="connsiteX223" fmla="*/ 3782 w 5401"/>
                  <a:gd name="connsiteY223" fmla="*/ 224 h 1072"/>
                  <a:gd name="connsiteX224" fmla="*/ 3823 w 5401"/>
                  <a:gd name="connsiteY224" fmla="*/ 178 h 1072"/>
                  <a:gd name="connsiteX225" fmla="*/ 3867 w 5401"/>
                  <a:gd name="connsiteY225" fmla="*/ 137 h 1072"/>
                  <a:gd name="connsiteX226" fmla="*/ 3914 w 5401"/>
                  <a:gd name="connsiteY226" fmla="*/ 100 h 1072"/>
                  <a:gd name="connsiteX227" fmla="*/ 3966 w 5401"/>
                  <a:gd name="connsiteY227" fmla="*/ 66 h 1072"/>
                  <a:gd name="connsiteX228" fmla="*/ 4024 w 5401"/>
                  <a:gd name="connsiteY228" fmla="*/ 40 h 1072"/>
                  <a:gd name="connsiteX229" fmla="*/ 4084 w 5401"/>
                  <a:gd name="connsiteY229" fmla="*/ 19 h 1072"/>
                  <a:gd name="connsiteX230" fmla="*/ 4150 w 5401"/>
                  <a:gd name="connsiteY230" fmla="*/ 6 h 1072"/>
                  <a:gd name="connsiteX231" fmla="*/ 4222 w 5401"/>
                  <a:gd name="connsiteY231" fmla="*/ 0 h 1072"/>
                  <a:gd name="connsiteX0" fmla="*/ 4175 w 5354"/>
                  <a:gd name="connsiteY0" fmla="*/ 0 h 1072"/>
                  <a:gd name="connsiteX1" fmla="*/ 4225 w 5354"/>
                  <a:gd name="connsiteY1" fmla="*/ 0 h 1072"/>
                  <a:gd name="connsiteX2" fmla="*/ 4253 w 5354"/>
                  <a:gd name="connsiteY2" fmla="*/ 4 h 1072"/>
                  <a:gd name="connsiteX3" fmla="*/ 4284 w 5354"/>
                  <a:gd name="connsiteY3" fmla="*/ 13 h 1072"/>
                  <a:gd name="connsiteX4" fmla="*/ 4322 w 5354"/>
                  <a:gd name="connsiteY4" fmla="*/ 23 h 1072"/>
                  <a:gd name="connsiteX5" fmla="*/ 4363 w 5354"/>
                  <a:gd name="connsiteY5" fmla="*/ 40 h 1072"/>
                  <a:gd name="connsiteX6" fmla="*/ 4406 w 5354"/>
                  <a:gd name="connsiteY6" fmla="*/ 60 h 1072"/>
                  <a:gd name="connsiteX7" fmla="*/ 4454 w 5354"/>
                  <a:gd name="connsiteY7" fmla="*/ 89 h 1072"/>
                  <a:gd name="connsiteX8" fmla="*/ 4503 w 5354"/>
                  <a:gd name="connsiteY8" fmla="*/ 125 h 1072"/>
                  <a:gd name="connsiteX9" fmla="*/ 4553 w 5354"/>
                  <a:gd name="connsiteY9" fmla="*/ 170 h 1072"/>
                  <a:gd name="connsiteX10" fmla="*/ 4604 w 5354"/>
                  <a:gd name="connsiteY10" fmla="*/ 224 h 1072"/>
                  <a:gd name="connsiteX11" fmla="*/ 4656 w 5354"/>
                  <a:gd name="connsiteY11" fmla="*/ 286 h 1072"/>
                  <a:gd name="connsiteX12" fmla="*/ 4708 w 5354"/>
                  <a:gd name="connsiteY12" fmla="*/ 361 h 1072"/>
                  <a:gd name="connsiteX13" fmla="*/ 4759 w 5354"/>
                  <a:gd name="connsiteY13" fmla="*/ 448 h 1072"/>
                  <a:gd name="connsiteX14" fmla="*/ 4811 w 5354"/>
                  <a:gd name="connsiteY14" fmla="*/ 548 h 1072"/>
                  <a:gd name="connsiteX15" fmla="*/ 4856 w 5354"/>
                  <a:gd name="connsiteY15" fmla="*/ 633 h 1072"/>
                  <a:gd name="connsiteX16" fmla="*/ 4902 w 5354"/>
                  <a:gd name="connsiteY16" fmla="*/ 705 h 1072"/>
                  <a:gd name="connsiteX17" fmla="*/ 4949 w 5354"/>
                  <a:gd name="connsiteY17" fmla="*/ 767 h 1072"/>
                  <a:gd name="connsiteX18" fmla="*/ 4997 w 5354"/>
                  <a:gd name="connsiteY18" fmla="*/ 819 h 1072"/>
                  <a:gd name="connsiteX19" fmla="*/ 5042 w 5354"/>
                  <a:gd name="connsiteY19" fmla="*/ 863 h 1072"/>
                  <a:gd name="connsiteX20" fmla="*/ 5090 w 5354"/>
                  <a:gd name="connsiteY20" fmla="*/ 898 h 1072"/>
                  <a:gd name="connsiteX21" fmla="*/ 5133 w 5354"/>
                  <a:gd name="connsiteY21" fmla="*/ 927 h 1072"/>
                  <a:gd name="connsiteX22" fmla="*/ 5176 w 5354"/>
                  <a:gd name="connsiteY22" fmla="*/ 948 h 1072"/>
                  <a:gd name="connsiteX23" fmla="*/ 5213 w 5354"/>
                  <a:gd name="connsiteY23" fmla="*/ 962 h 1072"/>
                  <a:gd name="connsiteX24" fmla="*/ 5251 w 5354"/>
                  <a:gd name="connsiteY24" fmla="*/ 973 h 1072"/>
                  <a:gd name="connsiteX25" fmla="*/ 5280 w 5354"/>
                  <a:gd name="connsiteY25" fmla="*/ 981 h 1072"/>
                  <a:gd name="connsiteX26" fmla="*/ 5306 w 5354"/>
                  <a:gd name="connsiteY26" fmla="*/ 983 h 1072"/>
                  <a:gd name="connsiteX27" fmla="*/ 5325 w 5354"/>
                  <a:gd name="connsiteY27" fmla="*/ 985 h 1072"/>
                  <a:gd name="connsiteX28" fmla="*/ 5346 w 5354"/>
                  <a:gd name="connsiteY28" fmla="*/ 985 h 1072"/>
                  <a:gd name="connsiteX29" fmla="*/ 5354 w 5354"/>
                  <a:gd name="connsiteY29" fmla="*/ 1072 h 1072"/>
                  <a:gd name="connsiteX30" fmla="*/ 5319 w 5354"/>
                  <a:gd name="connsiteY30" fmla="*/ 1072 h 1072"/>
                  <a:gd name="connsiteX31" fmla="*/ 5292 w 5354"/>
                  <a:gd name="connsiteY31" fmla="*/ 1070 h 1072"/>
                  <a:gd name="connsiteX32" fmla="*/ 5261 w 5354"/>
                  <a:gd name="connsiteY32" fmla="*/ 1064 h 1072"/>
                  <a:gd name="connsiteX33" fmla="*/ 5224 w 5354"/>
                  <a:gd name="connsiteY33" fmla="*/ 1056 h 1072"/>
                  <a:gd name="connsiteX34" fmla="*/ 5182 w 5354"/>
                  <a:gd name="connsiteY34" fmla="*/ 1043 h 1072"/>
                  <a:gd name="connsiteX35" fmla="*/ 5137 w 5354"/>
                  <a:gd name="connsiteY35" fmla="*/ 1025 h 1072"/>
                  <a:gd name="connsiteX36" fmla="*/ 5090 w 5354"/>
                  <a:gd name="connsiteY36" fmla="*/ 1002 h 1072"/>
                  <a:gd name="connsiteX37" fmla="*/ 5040 w 5354"/>
                  <a:gd name="connsiteY37" fmla="*/ 971 h 1072"/>
                  <a:gd name="connsiteX38" fmla="*/ 4988 w 5354"/>
                  <a:gd name="connsiteY38" fmla="*/ 931 h 1072"/>
                  <a:gd name="connsiteX39" fmla="*/ 4937 w 5354"/>
                  <a:gd name="connsiteY39" fmla="*/ 881 h 1072"/>
                  <a:gd name="connsiteX40" fmla="*/ 4883 w 5354"/>
                  <a:gd name="connsiteY40" fmla="*/ 823 h 1072"/>
                  <a:gd name="connsiteX41" fmla="*/ 4832 w 5354"/>
                  <a:gd name="connsiteY41" fmla="*/ 755 h 1072"/>
                  <a:gd name="connsiteX42" fmla="*/ 4782 w 5354"/>
                  <a:gd name="connsiteY42" fmla="*/ 676 h 1072"/>
                  <a:gd name="connsiteX43" fmla="*/ 4734 w 5354"/>
                  <a:gd name="connsiteY43" fmla="*/ 583 h 1072"/>
                  <a:gd name="connsiteX44" fmla="*/ 4685 w 5354"/>
                  <a:gd name="connsiteY44" fmla="*/ 487 h 1072"/>
                  <a:gd name="connsiteX45" fmla="*/ 4635 w 5354"/>
                  <a:gd name="connsiteY45" fmla="*/ 404 h 1072"/>
                  <a:gd name="connsiteX46" fmla="*/ 4586 w 5354"/>
                  <a:gd name="connsiteY46" fmla="*/ 336 h 1072"/>
                  <a:gd name="connsiteX47" fmla="*/ 4536 w 5354"/>
                  <a:gd name="connsiteY47" fmla="*/ 276 h 1072"/>
                  <a:gd name="connsiteX48" fmla="*/ 4489 w 5354"/>
                  <a:gd name="connsiteY48" fmla="*/ 228 h 1072"/>
                  <a:gd name="connsiteX49" fmla="*/ 4443 w 5354"/>
                  <a:gd name="connsiteY49" fmla="*/ 189 h 1072"/>
                  <a:gd name="connsiteX50" fmla="*/ 4402 w 5354"/>
                  <a:gd name="connsiteY50" fmla="*/ 158 h 1072"/>
                  <a:gd name="connsiteX51" fmla="*/ 4363 w 5354"/>
                  <a:gd name="connsiteY51" fmla="*/ 135 h 1072"/>
                  <a:gd name="connsiteX52" fmla="*/ 4313 w 5354"/>
                  <a:gd name="connsiteY52" fmla="*/ 112 h 1072"/>
                  <a:gd name="connsiteX53" fmla="*/ 4270 w 5354"/>
                  <a:gd name="connsiteY53" fmla="*/ 98 h 1072"/>
                  <a:gd name="connsiteX54" fmla="*/ 4235 w 5354"/>
                  <a:gd name="connsiteY54" fmla="*/ 89 h 1072"/>
                  <a:gd name="connsiteX55" fmla="*/ 4206 w 5354"/>
                  <a:gd name="connsiteY55" fmla="*/ 87 h 1072"/>
                  <a:gd name="connsiteX56" fmla="*/ 4179 w 5354"/>
                  <a:gd name="connsiteY56" fmla="*/ 87 h 1072"/>
                  <a:gd name="connsiteX57" fmla="*/ 4113 w 5354"/>
                  <a:gd name="connsiteY57" fmla="*/ 93 h 1072"/>
                  <a:gd name="connsiteX58" fmla="*/ 4051 w 5354"/>
                  <a:gd name="connsiteY58" fmla="*/ 106 h 1072"/>
                  <a:gd name="connsiteX59" fmla="*/ 3995 w 5354"/>
                  <a:gd name="connsiteY59" fmla="*/ 127 h 1072"/>
                  <a:gd name="connsiteX60" fmla="*/ 3944 w 5354"/>
                  <a:gd name="connsiteY60" fmla="*/ 154 h 1072"/>
                  <a:gd name="connsiteX61" fmla="*/ 3896 w 5354"/>
                  <a:gd name="connsiteY61" fmla="*/ 187 h 1072"/>
                  <a:gd name="connsiteX62" fmla="*/ 3853 w 5354"/>
                  <a:gd name="connsiteY62" fmla="*/ 224 h 1072"/>
                  <a:gd name="connsiteX63" fmla="*/ 3814 w 5354"/>
                  <a:gd name="connsiteY63" fmla="*/ 268 h 1072"/>
                  <a:gd name="connsiteX64" fmla="*/ 3774 w 5354"/>
                  <a:gd name="connsiteY64" fmla="*/ 313 h 1072"/>
                  <a:gd name="connsiteX65" fmla="*/ 3739 w 5354"/>
                  <a:gd name="connsiteY65" fmla="*/ 363 h 1072"/>
                  <a:gd name="connsiteX66" fmla="*/ 3706 w 5354"/>
                  <a:gd name="connsiteY66" fmla="*/ 415 h 1072"/>
                  <a:gd name="connsiteX67" fmla="*/ 3644 w 5354"/>
                  <a:gd name="connsiteY67" fmla="*/ 523 h 1072"/>
                  <a:gd name="connsiteX68" fmla="*/ 3551 w 5354"/>
                  <a:gd name="connsiteY68" fmla="*/ 691 h 1072"/>
                  <a:gd name="connsiteX69" fmla="*/ 3518 w 5354"/>
                  <a:gd name="connsiteY69" fmla="*/ 747 h 1072"/>
                  <a:gd name="connsiteX70" fmla="*/ 3483 w 5354"/>
                  <a:gd name="connsiteY70" fmla="*/ 799 h 1072"/>
                  <a:gd name="connsiteX71" fmla="*/ 3448 w 5354"/>
                  <a:gd name="connsiteY71" fmla="*/ 848 h 1072"/>
                  <a:gd name="connsiteX72" fmla="*/ 3409 w 5354"/>
                  <a:gd name="connsiteY72" fmla="*/ 894 h 1072"/>
                  <a:gd name="connsiteX73" fmla="*/ 3368 w 5354"/>
                  <a:gd name="connsiteY73" fmla="*/ 935 h 1072"/>
                  <a:gd name="connsiteX74" fmla="*/ 3322 w 5354"/>
                  <a:gd name="connsiteY74" fmla="*/ 971 h 1072"/>
                  <a:gd name="connsiteX75" fmla="*/ 3273 w 5354"/>
                  <a:gd name="connsiteY75" fmla="*/ 1000 h 1072"/>
                  <a:gd name="connsiteX76" fmla="*/ 3221 w 5354"/>
                  <a:gd name="connsiteY76" fmla="*/ 1022 h 1072"/>
                  <a:gd name="connsiteX77" fmla="*/ 3163 w 5354"/>
                  <a:gd name="connsiteY77" fmla="*/ 1037 h 1072"/>
                  <a:gd name="connsiteX78" fmla="*/ 3099 w 5354"/>
                  <a:gd name="connsiteY78" fmla="*/ 1043 h 1072"/>
                  <a:gd name="connsiteX79" fmla="*/ 3091 w 5354"/>
                  <a:gd name="connsiteY79" fmla="*/ 1043 h 1072"/>
                  <a:gd name="connsiteX80" fmla="*/ 3029 w 5354"/>
                  <a:gd name="connsiteY80" fmla="*/ 1039 h 1072"/>
                  <a:gd name="connsiteX81" fmla="*/ 2969 w 5354"/>
                  <a:gd name="connsiteY81" fmla="*/ 1025 h 1072"/>
                  <a:gd name="connsiteX82" fmla="*/ 2916 w 5354"/>
                  <a:gd name="connsiteY82" fmla="*/ 1002 h 1072"/>
                  <a:gd name="connsiteX83" fmla="*/ 2864 w 5354"/>
                  <a:gd name="connsiteY83" fmla="*/ 973 h 1072"/>
                  <a:gd name="connsiteX84" fmla="*/ 2816 w 5354"/>
                  <a:gd name="connsiteY84" fmla="*/ 935 h 1072"/>
                  <a:gd name="connsiteX85" fmla="*/ 2773 w 5354"/>
                  <a:gd name="connsiteY85" fmla="*/ 894 h 1072"/>
                  <a:gd name="connsiteX86" fmla="*/ 2730 w 5354"/>
                  <a:gd name="connsiteY86" fmla="*/ 846 h 1072"/>
                  <a:gd name="connsiteX87" fmla="*/ 2690 w 5354"/>
                  <a:gd name="connsiteY87" fmla="*/ 796 h 1072"/>
                  <a:gd name="connsiteX88" fmla="*/ 2651 w 5354"/>
                  <a:gd name="connsiteY88" fmla="*/ 740 h 1072"/>
                  <a:gd name="connsiteX89" fmla="*/ 2614 w 5354"/>
                  <a:gd name="connsiteY89" fmla="*/ 684 h 1072"/>
                  <a:gd name="connsiteX90" fmla="*/ 2509 w 5354"/>
                  <a:gd name="connsiteY90" fmla="*/ 510 h 1072"/>
                  <a:gd name="connsiteX91" fmla="*/ 2472 w 5354"/>
                  <a:gd name="connsiteY91" fmla="*/ 452 h 1072"/>
                  <a:gd name="connsiteX92" fmla="*/ 2434 w 5354"/>
                  <a:gd name="connsiteY92" fmla="*/ 396 h 1072"/>
                  <a:gd name="connsiteX93" fmla="*/ 2397 w 5354"/>
                  <a:gd name="connsiteY93" fmla="*/ 342 h 1072"/>
                  <a:gd name="connsiteX94" fmla="*/ 2358 w 5354"/>
                  <a:gd name="connsiteY94" fmla="*/ 293 h 1072"/>
                  <a:gd name="connsiteX95" fmla="*/ 2317 w 5354"/>
                  <a:gd name="connsiteY95" fmla="*/ 247 h 1072"/>
                  <a:gd name="connsiteX96" fmla="*/ 2275 w 5354"/>
                  <a:gd name="connsiteY96" fmla="*/ 205 h 1072"/>
                  <a:gd name="connsiteX97" fmla="*/ 2230 w 5354"/>
                  <a:gd name="connsiteY97" fmla="*/ 168 h 1072"/>
                  <a:gd name="connsiteX98" fmla="*/ 2183 w 5354"/>
                  <a:gd name="connsiteY98" fmla="*/ 139 h 1072"/>
                  <a:gd name="connsiteX99" fmla="*/ 2131 w 5354"/>
                  <a:gd name="connsiteY99" fmla="*/ 116 h 1072"/>
                  <a:gd name="connsiteX100" fmla="*/ 2075 w 5354"/>
                  <a:gd name="connsiteY100" fmla="*/ 100 h 1072"/>
                  <a:gd name="connsiteX101" fmla="*/ 2017 w 5354"/>
                  <a:gd name="connsiteY101" fmla="*/ 91 h 1072"/>
                  <a:gd name="connsiteX102" fmla="*/ 1953 w 5354"/>
                  <a:gd name="connsiteY102" fmla="*/ 93 h 1072"/>
                  <a:gd name="connsiteX103" fmla="*/ 1885 w 5354"/>
                  <a:gd name="connsiteY103" fmla="*/ 104 h 1072"/>
                  <a:gd name="connsiteX104" fmla="*/ 1823 w 5354"/>
                  <a:gd name="connsiteY104" fmla="*/ 122 h 1072"/>
                  <a:gd name="connsiteX105" fmla="*/ 1766 w 5354"/>
                  <a:gd name="connsiteY105" fmla="*/ 147 h 1072"/>
                  <a:gd name="connsiteX106" fmla="*/ 1712 w 5354"/>
                  <a:gd name="connsiteY106" fmla="*/ 181 h 1072"/>
                  <a:gd name="connsiteX107" fmla="*/ 1660 w 5354"/>
                  <a:gd name="connsiteY107" fmla="*/ 218 h 1072"/>
                  <a:gd name="connsiteX108" fmla="*/ 1615 w 5354"/>
                  <a:gd name="connsiteY108" fmla="*/ 261 h 1072"/>
                  <a:gd name="connsiteX109" fmla="*/ 1569 w 5354"/>
                  <a:gd name="connsiteY109" fmla="*/ 307 h 1072"/>
                  <a:gd name="connsiteX110" fmla="*/ 1528 w 5354"/>
                  <a:gd name="connsiteY110" fmla="*/ 359 h 1072"/>
                  <a:gd name="connsiteX111" fmla="*/ 1489 w 5354"/>
                  <a:gd name="connsiteY111" fmla="*/ 413 h 1072"/>
                  <a:gd name="connsiteX112" fmla="*/ 1452 w 5354"/>
                  <a:gd name="connsiteY112" fmla="*/ 467 h 1072"/>
                  <a:gd name="connsiteX113" fmla="*/ 1415 w 5354"/>
                  <a:gd name="connsiteY113" fmla="*/ 523 h 1072"/>
                  <a:gd name="connsiteX114" fmla="*/ 1377 w 5354"/>
                  <a:gd name="connsiteY114" fmla="*/ 581 h 1072"/>
                  <a:gd name="connsiteX115" fmla="*/ 1342 w 5354"/>
                  <a:gd name="connsiteY115" fmla="*/ 637 h 1072"/>
                  <a:gd name="connsiteX116" fmla="*/ 1268 w 5354"/>
                  <a:gd name="connsiteY116" fmla="*/ 749 h 1072"/>
                  <a:gd name="connsiteX117" fmla="*/ 1229 w 5354"/>
                  <a:gd name="connsiteY117" fmla="*/ 801 h 1072"/>
                  <a:gd name="connsiteX118" fmla="*/ 1187 w 5354"/>
                  <a:gd name="connsiteY118" fmla="*/ 850 h 1072"/>
                  <a:gd name="connsiteX119" fmla="*/ 1144 w 5354"/>
                  <a:gd name="connsiteY119" fmla="*/ 896 h 1072"/>
                  <a:gd name="connsiteX120" fmla="*/ 1097 w 5354"/>
                  <a:gd name="connsiteY120" fmla="*/ 937 h 1072"/>
                  <a:gd name="connsiteX121" fmla="*/ 1047 w 5354"/>
                  <a:gd name="connsiteY121" fmla="*/ 973 h 1072"/>
                  <a:gd name="connsiteX122" fmla="*/ 993 w 5354"/>
                  <a:gd name="connsiteY122" fmla="*/ 1002 h 1072"/>
                  <a:gd name="connsiteX123" fmla="*/ 938 w 5354"/>
                  <a:gd name="connsiteY123" fmla="*/ 1025 h 1072"/>
                  <a:gd name="connsiteX124" fmla="*/ 874 w 5354"/>
                  <a:gd name="connsiteY124" fmla="*/ 1037 h 1072"/>
                  <a:gd name="connsiteX125" fmla="*/ 808 w 5354"/>
                  <a:gd name="connsiteY125" fmla="*/ 1043 h 1072"/>
                  <a:gd name="connsiteX126" fmla="*/ 801 w 5354"/>
                  <a:gd name="connsiteY126" fmla="*/ 1043 h 1072"/>
                  <a:gd name="connsiteX127" fmla="*/ 733 w 5354"/>
                  <a:gd name="connsiteY127" fmla="*/ 1039 h 1072"/>
                  <a:gd name="connsiteX128" fmla="*/ 671 w 5354"/>
                  <a:gd name="connsiteY128" fmla="*/ 1027 h 1072"/>
                  <a:gd name="connsiteX129" fmla="*/ 613 w 5354"/>
                  <a:gd name="connsiteY129" fmla="*/ 1008 h 1072"/>
                  <a:gd name="connsiteX130" fmla="*/ 562 w 5354"/>
                  <a:gd name="connsiteY130" fmla="*/ 983 h 1072"/>
                  <a:gd name="connsiteX131" fmla="*/ 514 w 5354"/>
                  <a:gd name="connsiteY131" fmla="*/ 952 h 1072"/>
                  <a:gd name="connsiteX132" fmla="*/ 469 w 5354"/>
                  <a:gd name="connsiteY132" fmla="*/ 915 h 1072"/>
                  <a:gd name="connsiteX133" fmla="*/ 428 w 5354"/>
                  <a:gd name="connsiteY133" fmla="*/ 873 h 1072"/>
                  <a:gd name="connsiteX134" fmla="*/ 390 w 5354"/>
                  <a:gd name="connsiteY134" fmla="*/ 828 h 1072"/>
                  <a:gd name="connsiteX135" fmla="*/ 353 w 5354"/>
                  <a:gd name="connsiteY135" fmla="*/ 780 h 1072"/>
                  <a:gd name="connsiteX136" fmla="*/ 320 w 5354"/>
                  <a:gd name="connsiteY136" fmla="*/ 728 h 1072"/>
                  <a:gd name="connsiteX137" fmla="*/ 285 w 5354"/>
                  <a:gd name="connsiteY137" fmla="*/ 674 h 1072"/>
                  <a:gd name="connsiteX138" fmla="*/ 254 w 5354"/>
                  <a:gd name="connsiteY138" fmla="*/ 618 h 1072"/>
                  <a:gd name="connsiteX139" fmla="*/ 221 w 5354"/>
                  <a:gd name="connsiteY139" fmla="*/ 560 h 1072"/>
                  <a:gd name="connsiteX140" fmla="*/ 159 w 5354"/>
                  <a:gd name="connsiteY140" fmla="*/ 448 h 1072"/>
                  <a:gd name="connsiteX141" fmla="*/ 91 w 5354"/>
                  <a:gd name="connsiteY141" fmla="*/ 340 h 1072"/>
                  <a:gd name="connsiteX142" fmla="*/ 48 w 5354"/>
                  <a:gd name="connsiteY142" fmla="*/ 284 h 1072"/>
                  <a:gd name="connsiteX143" fmla="*/ 0 w 5354"/>
                  <a:gd name="connsiteY143" fmla="*/ 239 h 1072"/>
                  <a:gd name="connsiteX144" fmla="*/ 58 w 5354"/>
                  <a:gd name="connsiteY144" fmla="*/ 174 h 1072"/>
                  <a:gd name="connsiteX145" fmla="*/ 112 w 5354"/>
                  <a:gd name="connsiteY145" fmla="*/ 228 h 1072"/>
                  <a:gd name="connsiteX146" fmla="*/ 161 w 5354"/>
                  <a:gd name="connsiteY146" fmla="*/ 293 h 1072"/>
                  <a:gd name="connsiteX147" fmla="*/ 211 w 5354"/>
                  <a:gd name="connsiteY147" fmla="*/ 367 h 1072"/>
                  <a:gd name="connsiteX148" fmla="*/ 298 w 5354"/>
                  <a:gd name="connsiteY148" fmla="*/ 516 h 1072"/>
                  <a:gd name="connsiteX149" fmla="*/ 331 w 5354"/>
                  <a:gd name="connsiteY149" fmla="*/ 575 h 1072"/>
                  <a:gd name="connsiteX150" fmla="*/ 364 w 5354"/>
                  <a:gd name="connsiteY150" fmla="*/ 631 h 1072"/>
                  <a:gd name="connsiteX151" fmla="*/ 397 w 5354"/>
                  <a:gd name="connsiteY151" fmla="*/ 684 h 1072"/>
                  <a:gd name="connsiteX152" fmla="*/ 430 w 5354"/>
                  <a:gd name="connsiteY152" fmla="*/ 736 h 1072"/>
                  <a:gd name="connsiteX153" fmla="*/ 465 w 5354"/>
                  <a:gd name="connsiteY153" fmla="*/ 782 h 1072"/>
                  <a:gd name="connsiteX154" fmla="*/ 502 w 5354"/>
                  <a:gd name="connsiteY154" fmla="*/ 825 h 1072"/>
                  <a:gd name="connsiteX155" fmla="*/ 543 w 5354"/>
                  <a:gd name="connsiteY155" fmla="*/ 863 h 1072"/>
                  <a:gd name="connsiteX156" fmla="*/ 587 w 5354"/>
                  <a:gd name="connsiteY156" fmla="*/ 894 h 1072"/>
                  <a:gd name="connsiteX157" fmla="*/ 634 w 5354"/>
                  <a:gd name="connsiteY157" fmla="*/ 921 h 1072"/>
                  <a:gd name="connsiteX158" fmla="*/ 684 w 5354"/>
                  <a:gd name="connsiteY158" fmla="*/ 940 h 1072"/>
                  <a:gd name="connsiteX159" fmla="*/ 739 w 5354"/>
                  <a:gd name="connsiteY159" fmla="*/ 952 h 1072"/>
                  <a:gd name="connsiteX160" fmla="*/ 801 w 5354"/>
                  <a:gd name="connsiteY160" fmla="*/ 956 h 1072"/>
                  <a:gd name="connsiteX161" fmla="*/ 808 w 5354"/>
                  <a:gd name="connsiteY161" fmla="*/ 956 h 1072"/>
                  <a:gd name="connsiteX162" fmla="*/ 867 w 5354"/>
                  <a:gd name="connsiteY162" fmla="*/ 950 h 1072"/>
                  <a:gd name="connsiteX163" fmla="*/ 923 w 5354"/>
                  <a:gd name="connsiteY163" fmla="*/ 935 h 1072"/>
                  <a:gd name="connsiteX164" fmla="*/ 977 w 5354"/>
                  <a:gd name="connsiteY164" fmla="*/ 913 h 1072"/>
                  <a:gd name="connsiteX165" fmla="*/ 1024 w 5354"/>
                  <a:gd name="connsiteY165" fmla="*/ 884 h 1072"/>
                  <a:gd name="connsiteX166" fmla="*/ 1070 w 5354"/>
                  <a:gd name="connsiteY166" fmla="*/ 846 h 1072"/>
                  <a:gd name="connsiteX167" fmla="*/ 1113 w 5354"/>
                  <a:gd name="connsiteY167" fmla="*/ 803 h 1072"/>
                  <a:gd name="connsiteX168" fmla="*/ 1152 w 5354"/>
                  <a:gd name="connsiteY168" fmla="*/ 755 h 1072"/>
                  <a:gd name="connsiteX169" fmla="*/ 1192 w 5354"/>
                  <a:gd name="connsiteY169" fmla="*/ 703 h 1072"/>
                  <a:gd name="connsiteX170" fmla="*/ 1231 w 5354"/>
                  <a:gd name="connsiteY170" fmla="*/ 649 h 1072"/>
                  <a:gd name="connsiteX171" fmla="*/ 1342 w 5354"/>
                  <a:gd name="connsiteY171" fmla="*/ 475 h 1072"/>
                  <a:gd name="connsiteX172" fmla="*/ 1382 w 5354"/>
                  <a:gd name="connsiteY172" fmla="*/ 415 h 1072"/>
                  <a:gd name="connsiteX173" fmla="*/ 1423 w 5354"/>
                  <a:gd name="connsiteY173" fmla="*/ 357 h 1072"/>
                  <a:gd name="connsiteX174" fmla="*/ 1466 w 5354"/>
                  <a:gd name="connsiteY174" fmla="*/ 299 h 1072"/>
                  <a:gd name="connsiteX175" fmla="*/ 1512 w 5354"/>
                  <a:gd name="connsiteY175" fmla="*/ 245 h 1072"/>
                  <a:gd name="connsiteX176" fmla="*/ 1559 w 5354"/>
                  <a:gd name="connsiteY176" fmla="*/ 193 h 1072"/>
                  <a:gd name="connsiteX177" fmla="*/ 1613 w 5354"/>
                  <a:gd name="connsiteY177" fmla="*/ 145 h 1072"/>
                  <a:gd name="connsiteX178" fmla="*/ 1668 w 5354"/>
                  <a:gd name="connsiteY178" fmla="*/ 104 h 1072"/>
                  <a:gd name="connsiteX179" fmla="*/ 1730 w 5354"/>
                  <a:gd name="connsiteY179" fmla="*/ 69 h 1072"/>
                  <a:gd name="connsiteX180" fmla="*/ 1796 w 5354"/>
                  <a:gd name="connsiteY180" fmla="*/ 40 h 1072"/>
                  <a:gd name="connsiteX181" fmla="*/ 1869 w 5354"/>
                  <a:gd name="connsiteY181" fmla="*/ 19 h 1072"/>
                  <a:gd name="connsiteX182" fmla="*/ 1947 w 5354"/>
                  <a:gd name="connsiteY182" fmla="*/ 6 h 1072"/>
                  <a:gd name="connsiteX183" fmla="*/ 2017 w 5354"/>
                  <a:gd name="connsiteY183" fmla="*/ 4 h 1072"/>
                  <a:gd name="connsiteX184" fmla="*/ 2083 w 5354"/>
                  <a:gd name="connsiteY184" fmla="*/ 13 h 1072"/>
                  <a:gd name="connsiteX185" fmla="*/ 2143 w 5354"/>
                  <a:gd name="connsiteY185" fmla="*/ 27 h 1072"/>
                  <a:gd name="connsiteX186" fmla="*/ 2201 w 5354"/>
                  <a:gd name="connsiteY186" fmla="*/ 50 h 1072"/>
                  <a:gd name="connsiteX187" fmla="*/ 2255 w 5354"/>
                  <a:gd name="connsiteY187" fmla="*/ 81 h 1072"/>
                  <a:gd name="connsiteX188" fmla="*/ 2304 w 5354"/>
                  <a:gd name="connsiteY188" fmla="*/ 116 h 1072"/>
                  <a:gd name="connsiteX189" fmla="*/ 2350 w 5354"/>
                  <a:gd name="connsiteY189" fmla="*/ 158 h 1072"/>
                  <a:gd name="connsiteX190" fmla="*/ 2395 w 5354"/>
                  <a:gd name="connsiteY190" fmla="*/ 203 h 1072"/>
                  <a:gd name="connsiteX191" fmla="*/ 2437 w 5354"/>
                  <a:gd name="connsiteY191" fmla="*/ 251 h 1072"/>
                  <a:gd name="connsiteX192" fmla="*/ 2476 w 5354"/>
                  <a:gd name="connsiteY192" fmla="*/ 303 h 1072"/>
                  <a:gd name="connsiteX193" fmla="*/ 2513 w 5354"/>
                  <a:gd name="connsiteY193" fmla="*/ 357 h 1072"/>
                  <a:gd name="connsiteX194" fmla="*/ 2548 w 5354"/>
                  <a:gd name="connsiteY194" fmla="*/ 413 h 1072"/>
                  <a:gd name="connsiteX195" fmla="*/ 2583 w 5354"/>
                  <a:gd name="connsiteY195" fmla="*/ 467 h 1072"/>
                  <a:gd name="connsiteX196" fmla="*/ 2616 w 5354"/>
                  <a:gd name="connsiteY196" fmla="*/ 523 h 1072"/>
                  <a:gd name="connsiteX197" fmla="*/ 2653 w 5354"/>
                  <a:gd name="connsiteY197" fmla="*/ 585 h 1072"/>
                  <a:gd name="connsiteX198" fmla="*/ 2690 w 5354"/>
                  <a:gd name="connsiteY198" fmla="*/ 643 h 1072"/>
                  <a:gd name="connsiteX199" fmla="*/ 2730 w 5354"/>
                  <a:gd name="connsiteY199" fmla="*/ 701 h 1072"/>
                  <a:gd name="connsiteX200" fmla="*/ 2767 w 5354"/>
                  <a:gd name="connsiteY200" fmla="*/ 755 h 1072"/>
                  <a:gd name="connsiteX201" fmla="*/ 2808 w 5354"/>
                  <a:gd name="connsiteY201" fmla="*/ 805 h 1072"/>
                  <a:gd name="connsiteX202" fmla="*/ 2849 w 5354"/>
                  <a:gd name="connsiteY202" fmla="*/ 848 h 1072"/>
                  <a:gd name="connsiteX203" fmla="*/ 2893 w 5354"/>
                  <a:gd name="connsiteY203" fmla="*/ 886 h 1072"/>
                  <a:gd name="connsiteX204" fmla="*/ 2938 w 5354"/>
                  <a:gd name="connsiteY204" fmla="*/ 917 h 1072"/>
                  <a:gd name="connsiteX205" fmla="*/ 2988 w 5354"/>
                  <a:gd name="connsiteY205" fmla="*/ 940 h 1072"/>
                  <a:gd name="connsiteX206" fmla="*/ 3041 w 5354"/>
                  <a:gd name="connsiteY206" fmla="*/ 952 h 1072"/>
                  <a:gd name="connsiteX207" fmla="*/ 3097 w 5354"/>
                  <a:gd name="connsiteY207" fmla="*/ 956 h 1072"/>
                  <a:gd name="connsiteX208" fmla="*/ 3153 w 5354"/>
                  <a:gd name="connsiteY208" fmla="*/ 950 h 1072"/>
                  <a:gd name="connsiteX209" fmla="*/ 3203 w 5354"/>
                  <a:gd name="connsiteY209" fmla="*/ 935 h 1072"/>
                  <a:gd name="connsiteX210" fmla="*/ 3250 w 5354"/>
                  <a:gd name="connsiteY210" fmla="*/ 915 h 1072"/>
                  <a:gd name="connsiteX211" fmla="*/ 3293 w 5354"/>
                  <a:gd name="connsiteY211" fmla="*/ 884 h 1072"/>
                  <a:gd name="connsiteX212" fmla="*/ 3333 w 5354"/>
                  <a:gd name="connsiteY212" fmla="*/ 848 h 1072"/>
                  <a:gd name="connsiteX213" fmla="*/ 3370 w 5354"/>
                  <a:gd name="connsiteY213" fmla="*/ 807 h 1072"/>
                  <a:gd name="connsiteX214" fmla="*/ 3405 w 5354"/>
                  <a:gd name="connsiteY214" fmla="*/ 759 h 1072"/>
                  <a:gd name="connsiteX215" fmla="*/ 3438 w 5354"/>
                  <a:gd name="connsiteY215" fmla="*/ 709 h 1072"/>
                  <a:gd name="connsiteX216" fmla="*/ 3471 w 5354"/>
                  <a:gd name="connsiteY216" fmla="*/ 655 h 1072"/>
                  <a:gd name="connsiteX217" fmla="*/ 3504 w 5354"/>
                  <a:gd name="connsiteY217" fmla="*/ 597 h 1072"/>
                  <a:gd name="connsiteX218" fmla="*/ 3537 w 5354"/>
                  <a:gd name="connsiteY218" fmla="*/ 537 h 1072"/>
                  <a:gd name="connsiteX219" fmla="*/ 3566 w 5354"/>
                  <a:gd name="connsiteY219" fmla="*/ 483 h 1072"/>
                  <a:gd name="connsiteX220" fmla="*/ 3628 w 5354"/>
                  <a:gd name="connsiteY220" fmla="*/ 375 h 1072"/>
                  <a:gd name="connsiteX221" fmla="*/ 3698 w 5354"/>
                  <a:gd name="connsiteY221" fmla="*/ 272 h 1072"/>
                  <a:gd name="connsiteX222" fmla="*/ 3735 w 5354"/>
                  <a:gd name="connsiteY222" fmla="*/ 224 h 1072"/>
                  <a:gd name="connsiteX223" fmla="*/ 3776 w 5354"/>
                  <a:gd name="connsiteY223" fmla="*/ 178 h 1072"/>
                  <a:gd name="connsiteX224" fmla="*/ 3820 w 5354"/>
                  <a:gd name="connsiteY224" fmla="*/ 137 h 1072"/>
                  <a:gd name="connsiteX225" fmla="*/ 3867 w 5354"/>
                  <a:gd name="connsiteY225" fmla="*/ 100 h 1072"/>
                  <a:gd name="connsiteX226" fmla="*/ 3919 w 5354"/>
                  <a:gd name="connsiteY226" fmla="*/ 66 h 1072"/>
                  <a:gd name="connsiteX227" fmla="*/ 3977 w 5354"/>
                  <a:gd name="connsiteY227" fmla="*/ 40 h 1072"/>
                  <a:gd name="connsiteX228" fmla="*/ 4037 w 5354"/>
                  <a:gd name="connsiteY228" fmla="*/ 19 h 1072"/>
                  <a:gd name="connsiteX229" fmla="*/ 4103 w 5354"/>
                  <a:gd name="connsiteY229" fmla="*/ 6 h 1072"/>
                  <a:gd name="connsiteX230" fmla="*/ 4175 w 5354"/>
                  <a:gd name="connsiteY230" fmla="*/ 0 h 1072"/>
                  <a:gd name="connsiteX0" fmla="*/ 4175 w 5354"/>
                  <a:gd name="connsiteY0" fmla="*/ 0 h 1072"/>
                  <a:gd name="connsiteX1" fmla="*/ 4225 w 5354"/>
                  <a:gd name="connsiteY1" fmla="*/ 0 h 1072"/>
                  <a:gd name="connsiteX2" fmla="*/ 4253 w 5354"/>
                  <a:gd name="connsiteY2" fmla="*/ 4 h 1072"/>
                  <a:gd name="connsiteX3" fmla="*/ 4284 w 5354"/>
                  <a:gd name="connsiteY3" fmla="*/ 13 h 1072"/>
                  <a:gd name="connsiteX4" fmla="*/ 4322 w 5354"/>
                  <a:gd name="connsiteY4" fmla="*/ 23 h 1072"/>
                  <a:gd name="connsiteX5" fmla="*/ 4363 w 5354"/>
                  <a:gd name="connsiteY5" fmla="*/ 40 h 1072"/>
                  <a:gd name="connsiteX6" fmla="*/ 4406 w 5354"/>
                  <a:gd name="connsiteY6" fmla="*/ 60 h 1072"/>
                  <a:gd name="connsiteX7" fmla="*/ 4454 w 5354"/>
                  <a:gd name="connsiteY7" fmla="*/ 89 h 1072"/>
                  <a:gd name="connsiteX8" fmla="*/ 4503 w 5354"/>
                  <a:gd name="connsiteY8" fmla="*/ 125 h 1072"/>
                  <a:gd name="connsiteX9" fmla="*/ 4553 w 5354"/>
                  <a:gd name="connsiteY9" fmla="*/ 170 h 1072"/>
                  <a:gd name="connsiteX10" fmla="*/ 4604 w 5354"/>
                  <a:gd name="connsiteY10" fmla="*/ 224 h 1072"/>
                  <a:gd name="connsiteX11" fmla="*/ 4656 w 5354"/>
                  <a:gd name="connsiteY11" fmla="*/ 286 h 1072"/>
                  <a:gd name="connsiteX12" fmla="*/ 4708 w 5354"/>
                  <a:gd name="connsiteY12" fmla="*/ 361 h 1072"/>
                  <a:gd name="connsiteX13" fmla="*/ 4759 w 5354"/>
                  <a:gd name="connsiteY13" fmla="*/ 448 h 1072"/>
                  <a:gd name="connsiteX14" fmla="*/ 4811 w 5354"/>
                  <a:gd name="connsiteY14" fmla="*/ 548 h 1072"/>
                  <a:gd name="connsiteX15" fmla="*/ 4856 w 5354"/>
                  <a:gd name="connsiteY15" fmla="*/ 633 h 1072"/>
                  <a:gd name="connsiteX16" fmla="*/ 4902 w 5354"/>
                  <a:gd name="connsiteY16" fmla="*/ 705 h 1072"/>
                  <a:gd name="connsiteX17" fmla="*/ 4949 w 5354"/>
                  <a:gd name="connsiteY17" fmla="*/ 767 h 1072"/>
                  <a:gd name="connsiteX18" fmla="*/ 4997 w 5354"/>
                  <a:gd name="connsiteY18" fmla="*/ 819 h 1072"/>
                  <a:gd name="connsiteX19" fmla="*/ 5042 w 5354"/>
                  <a:gd name="connsiteY19" fmla="*/ 863 h 1072"/>
                  <a:gd name="connsiteX20" fmla="*/ 5090 w 5354"/>
                  <a:gd name="connsiteY20" fmla="*/ 898 h 1072"/>
                  <a:gd name="connsiteX21" fmla="*/ 5133 w 5354"/>
                  <a:gd name="connsiteY21" fmla="*/ 927 h 1072"/>
                  <a:gd name="connsiteX22" fmla="*/ 5176 w 5354"/>
                  <a:gd name="connsiteY22" fmla="*/ 948 h 1072"/>
                  <a:gd name="connsiteX23" fmla="*/ 5213 w 5354"/>
                  <a:gd name="connsiteY23" fmla="*/ 962 h 1072"/>
                  <a:gd name="connsiteX24" fmla="*/ 5251 w 5354"/>
                  <a:gd name="connsiteY24" fmla="*/ 973 h 1072"/>
                  <a:gd name="connsiteX25" fmla="*/ 5280 w 5354"/>
                  <a:gd name="connsiteY25" fmla="*/ 981 h 1072"/>
                  <a:gd name="connsiteX26" fmla="*/ 5306 w 5354"/>
                  <a:gd name="connsiteY26" fmla="*/ 983 h 1072"/>
                  <a:gd name="connsiteX27" fmla="*/ 5325 w 5354"/>
                  <a:gd name="connsiteY27" fmla="*/ 985 h 1072"/>
                  <a:gd name="connsiteX28" fmla="*/ 5346 w 5354"/>
                  <a:gd name="connsiteY28" fmla="*/ 985 h 1072"/>
                  <a:gd name="connsiteX29" fmla="*/ 5354 w 5354"/>
                  <a:gd name="connsiteY29" fmla="*/ 1072 h 1072"/>
                  <a:gd name="connsiteX30" fmla="*/ 5319 w 5354"/>
                  <a:gd name="connsiteY30" fmla="*/ 1072 h 1072"/>
                  <a:gd name="connsiteX31" fmla="*/ 5292 w 5354"/>
                  <a:gd name="connsiteY31" fmla="*/ 1070 h 1072"/>
                  <a:gd name="connsiteX32" fmla="*/ 5261 w 5354"/>
                  <a:gd name="connsiteY32" fmla="*/ 1064 h 1072"/>
                  <a:gd name="connsiteX33" fmla="*/ 5224 w 5354"/>
                  <a:gd name="connsiteY33" fmla="*/ 1056 h 1072"/>
                  <a:gd name="connsiteX34" fmla="*/ 5182 w 5354"/>
                  <a:gd name="connsiteY34" fmla="*/ 1043 h 1072"/>
                  <a:gd name="connsiteX35" fmla="*/ 5137 w 5354"/>
                  <a:gd name="connsiteY35" fmla="*/ 1025 h 1072"/>
                  <a:gd name="connsiteX36" fmla="*/ 5090 w 5354"/>
                  <a:gd name="connsiteY36" fmla="*/ 1002 h 1072"/>
                  <a:gd name="connsiteX37" fmla="*/ 5040 w 5354"/>
                  <a:gd name="connsiteY37" fmla="*/ 971 h 1072"/>
                  <a:gd name="connsiteX38" fmla="*/ 4988 w 5354"/>
                  <a:gd name="connsiteY38" fmla="*/ 931 h 1072"/>
                  <a:gd name="connsiteX39" fmla="*/ 4937 w 5354"/>
                  <a:gd name="connsiteY39" fmla="*/ 881 h 1072"/>
                  <a:gd name="connsiteX40" fmla="*/ 4883 w 5354"/>
                  <a:gd name="connsiteY40" fmla="*/ 823 h 1072"/>
                  <a:gd name="connsiteX41" fmla="*/ 4832 w 5354"/>
                  <a:gd name="connsiteY41" fmla="*/ 755 h 1072"/>
                  <a:gd name="connsiteX42" fmla="*/ 4782 w 5354"/>
                  <a:gd name="connsiteY42" fmla="*/ 676 h 1072"/>
                  <a:gd name="connsiteX43" fmla="*/ 4734 w 5354"/>
                  <a:gd name="connsiteY43" fmla="*/ 583 h 1072"/>
                  <a:gd name="connsiteX44" fmla="*/ 4685 w 5354"/>
                  <a:gd name="connsiteY44" fmla="*/ 487 h 1072"/>
                  <a:gd name="connsiteX45" fmla="*/ 4635 w 5354"/>
                  <a:gd name="connsiteY45" fmla="*/ 404 h 1072"/>
                  <a:gd name="connsiteX46" fmla="*/ 4586 w 5354"/>
                  <a:gd name="connsiteY46" fmla="*/ 336 h 1072"/>
                  <a:gd name="connsiteX47" fmla="*/ 4536 w 5354"/>
                  <a:gd name="connsiteY47" fmla="*/ 276 h 1072"/>
                  <a:gd name="connsiteX48" fmla="*/ 4489 w 5354"/>
                  <a:gd name="connsiteY48" fmla="*/ 228 h 1072"/>
                  <a:gd name="connsiteX49" fmla="*/ 4443 w 5354"/>
                  <a:gd name="connsiteY49" fmla="*/ 189 h 1072"/>
                  <a:gd name="connsiteX50" fmla="*/ 4402 w 5354"/>
                  <a:gd name="connsiteY50" fmla="*/ 158 h 1072"/>
                  <a:gd name="connsiteX51" fmla="*/ 4363 w 5354"/>
                  <a:gd name="connsiteY51" fmla="*/ 135 h 1072"/>
                  <a:gd name="connsiteX52" fmla="*/ 4313 w 5354"/>
                  <a:gd name="connsiteY52" fmla="*/ 112 h 1072"/>
                  <a:gd name="connsiteX53" fmla="*/ 4270 w 5354"/>
                  <a:gd name="connsiteY53" fmla="*/ 98 h 1072"/>
                  <a:gd name="connsiteX54" fmla="*/ 4235 w 5354"/>
                  <a:gd name="connsiteY54" fmla="*/ 89 h 1072"/>
                  <a:gd name="connsiteX55" fmla="*/ 4206 w 5354"/>
                  <a:gd name="connsiteY55" fmla="*/ 87 h 1072"/>
                  <a:gd name="connsiteX56" fmla="*/ 4179 w 5354"/>
                  <a:gd name="connsiteY56" fmla="*/ 87 h 1072"/>
                  <a:gd name="connsiteX57" fmla="*/ 4113 w 5354"/>
                  <a:gd name="connsiteY57" fmla="*/ 93 h 1072"/>
                  <a:gd name="connsiteX58" fmla="*/ 4051 w 5354"/>
                  <a:gd name="connsiteY58" fmla="*/ 106 h 1072"/>
                  <a:gd name="connsiteX59" fmla="*/ 3995 w 5354"/>
                  <a:gd name="connsiteY59" fmla="*/ 127 h 1072"/>
                  <a:gd name="connsiteX60" fmla="*/ 3944 w 5354"/>
                  <a:gd name="connsiteY60" fmla="*/ 154 h 1072"/>
                  <a:gd name="connsiteX61" fmla="*/ 3896 w 5354"/>
                  <a:gd name="connsiteY61" fmla="*/ 187 h 1072"/>
                  <a:gd name="connsiteX62" fmla="*/ 3853 w 5354"/>
                  <a:gd name="connsiteY62" fmla="*/ 224 h 1072"/>
                  <a:gd name="connsiteX63" fmla="*/ 3814 w 5354"/>
                  <a:gd name="connsiteY63" fmla="*/ 268 h 1072"/>
                  <a:gd name="connsiteX64" fmla="*/ 3774 w 5354"/>
                  <a:gd name="connsiteY64" fmla="*/ 313 h 1072"/>
                  <a:gd name="connsiteX65" fmla="*/ 3739 w 5354"/>
                  <a:gd name="connsiteY65" fmla="*/ 363 h 1072"/>
                  <a:gd name="connsiteX66" fmla="*/ 3706 w 5354"/>
                  <a:gd name="connsiteY66" fmla="*/ 415 h 1072"/>
                  <a:gd name="connsiteX67" fmla="*/ 3644 w 5354"/>
                  <a:gd name="connsiteY67" fmla="*/ 523 h 1072"/>
                  <a:gd name="connsiteX68" fmla="*/ 3551 w 5354"/>
                  <a:gd name="connsiteY68" fmla="*/ 691 h 1072"/>
                  <a:gd name="connsiteX69" fmla="*/ 3518 w 5354"/>
                  <a:gd name="connsiteY69" fmla="*/ 747 h 1072"/>
                  <a:gd name="connsiteX70" fmla="*/ 3483 w 5354"/>
                  <a:gd name="connsiteY70" fmla="*/ 799 h 1072"/>
                  <a:gd name="connsiteX71" fmla="*/ 3448 w 5354"/>
                  <a:gd name="connsiteY71" fmla="*/ 848 h 1072"/>
                  <a:gd name="connsiteX72" fmla="*/ 3409 w 5354"/>
                  <a:gd name="connsiteY72" fmla="*/ 894 h 1072"/>
                  <a:gd name="connsiteX73" fmla="*/ 3368 w 5354"/>
                  <a:gd name="connsiteY73" fmla="*/ 935 h 1072"/>
                  <a:gd name="connsiteX74" fmla="*/ 3322 w 5354"/>
                  <a:gd name="connsiteY74" fmla="*/ 971 h 1072"/>
                  <a:gd name="connsiteX75" fmla="*/ 3273 w 5354"/>
                  <a:gd name="connsiteY75" fmla="*/ 1000 h 1072"/>
                  <a:gd name="connsiteX76" fmla="*/ 3221 w 5354"/>
                  <a:gd name="connsiteY76" fmla="*/ 1022 h 1072"/>
                  <a:gd name="connsiteX77" fmla="*/ 3163 w 5354"/>
                  <a:gd name="connsiteY77" fmla="*/ 1037 h 1072"/>
                  <a:gd name="connsiteX78" fmla="*/ 3099 w 5354"/>
                  <a:gd name="connsiteY78" fmla="*/ 1043 h 1072"/>
                  <a:gd name="connsiteX79" fmla="*/ 3091 w 5354"/>
                  <a:gd name="connsiteY79" fmla="*/ 1043 h 1072"/>
                  <a:gd name="connsiteX80" fmla="*/ 3029 w 5354"/>
                  <a:gd name="connsiteY80" fmla="*/ 1039 h 1072"/>
                  <a:gd name="connsiteX81" fmla="*/ 2969 w 5354"/>
                  <a:gd name="connsiteY81" fmla="*/ 1025 h 1072"/>
                  <a:gd name="connsiteX82" fmla="*/ 2916 w 5354"/>
                  <a:gd name="connsiteY82" fmla="*/ 1002 h 1072"/>
                  <a:gd name="connsiteX83" fmla="*/ 2864 w 5354"/>
                  <a:gd name="connsiteY83" fmla="*/ 973 h 1072"/>
                  <a:gd name="connsiteX84" fmla="*/ 2816 w 5354"/>
                  <a:gd name="connsiteY84" fmla="*/ 935 h 1072"/>
                  <a:gd name="connsiteX85" fmla="*/ 2773 w 5354"/>
                  <a:gd name="connsiteY85" fmla="*/ 894 h 1072"/>
                  <a:gd name="connsiteX86" fmla="*/ 2730 w 5354"/>
                  <a:gd name="connsiteY86" fmla="*/ 846 h 1072"/>
                  <a:gd name="connsiteX87" fmla="*/ 2690 w 5354"/>
                  <a:gd name="connsiteY87" fmla="*/ 796 h 1072"/>
                  <a:gd name="connsiteX88" fmla="*/ 2651 w 5354"/>
                  <a:gd name="connsiteY88" fmla="*/ 740 h 1072"/>
                  <a:gd name="connsiteX89" fmla="*/ 2614 w 5354"/>
                  <a:gd name="connsiteY89" fmla="*/ 684 h 1072"/>
                  <a:gd name="connsiteX90" fmla="*/ 2509 w 5354"/>
                  <a:gd name="connsiteY90" fmla="*/ 510 h 1072"/>
                  <a:gd name="connsiteX91" fmla="*/ 2472 w 5354"/>
                  <a:gd name="connsiteY91" fmla="*/ 452 h 1072"/>
                  <a:gd name="connsiteX92" fmla="*/ 2434 w 5354"/>
                  <a:gd name="connsiteY92" fmla="*/ 396 h 1072"/>
                  <a:gd name="connsiteX93" fmla="*/ 2397 w 5354"/>
                  <a:gd name="connsiteY93" fmla="*/ 342 h 1072"/>
                  <a:gd name="connsiteX94" fmla="*/ 2358 w 5354"/>
                  <a:gd name="connsiteY94" fmla="*/ 293 h 1072"/>
                  <a:gd name="connsiteX95" fmla="*/ 2317 w 5354"/>
                  <a:gd name="connsiteY95" fmla="*/ 247 h 1072"/>
                  <a:gd name="connsiteX96" fmla="*/ 2275 w 5354"/>
                  <a:gd name="connsiteY96" fmla="*/ 205 h 1072"/>
                  <a:gd name="connsiteX97" fmla="*/ 2230 w 5354"/>
                  <a:gd name="connsiteY97" fmla="*/ 168 h 1072"/>
                  <a:gd name="connsiteX98" fmla="*/ 2183 w 5354"/>
                  <a:gd name="connsiteY98" fmla="*/ 139 h 1072"/>
                  <a:gd name="connsiteX99" fmla="*/ 2131 w 5354"/>
                  <a:gd name="connsiteY99" fmla="*/ 116 h 1072"/>
                  <a:gd name="connsiteX100" fmla="*/ 2075 w 5354"/>
                  <a:gd name="connsiteY100" fmla="*/ 100 h 1072"/>
                  <a:gd name="connsiteX101" fmla="*/ 2017 w 5354"/>
                  <a:gd name="connsiteY101" fmla="*/ 91 h 1072"/>
                  <a:gd name="connsiteX102" fmla="*/ 1953 w 5354"/>
                  <a:gd name="connsiteY102" fmla="*/ 93 h 1072"/>
                  <a:gd name="connsiteX103" fmla="*/ 1885 w 5354"/>
                  <a:gd name="connsiteY103" fmla="*/ 104 h 1072"/>
                  <a:gd name="connsiteX104" fmla="*/ 1823 w 5354"/>
                  <a:gd name="connsiteY104" fmla="*/ 122 h 1072"/>
                  <a:gd name="connsiteX105" fmla="*/ 1766 w 5354"/>
                  <a:gd name="connsiteY105" fmla="*/ 147 h 1072"/>
                  <a:gd name="connsiteX106" fmla="*/ 1712 w 5354"/>
                  <a:gd name="connsiteY106" fmla="*/ 181 h 1072"/>
                  <a:gd name="connsiteX107" fmla="*/ 1660 w 5354"/>
                  <a:gd name="connsiteY107" fmla="*/ 218 h 1072"/>
                  <a:gd name="connsiteX108" fmla="*/ 1615 w 5354"/>
                  <a:gd name="connsiteY108" fmla="*/ 261 h 1072"/>
                  <a:gd name="connsiteX109" fmla="*/ 1569 w 5354"/>
                  <a:gd name="connsiteY109" fmla="*/ 307 h 1072"/>
                  <a:gd name="connsiteX110" fmla="*/ 1528 w 5354"/>
                  <a:gd name="connsiteY110" fmla="*/ 359 h 1072"/>
                  <a:gd name="connsiteX111" fmla="*/ 1489 w 5354"/>
                  <a:gd name="connsiteY111" fmla="*/ 413 h 1072"/>
                  <a:gd name="connsiteX112" fmla="*/ 1452 w 5354"/>
                  <a:gd name="connsiteY112" fmla="*/ 467 h 1072"/>
                  <a:gd name="connsiteX113" fmla="*/ 1415 w 5354"/>
                  <a:gd name="connsiteY113" fmla="*/ 523 h 1072"/>
                  <a:gd name="connsiteX114" fmla="*/ 1377 w 5354"/>
                  <a:gd name="connsiteY114" fmla="*/ 581 h 1072"/>
                  <a:gd name="connsiteX115" fmla="*/ 1342 w 5354"/>
                  <a:gd name="connsiteY115" fmla="*/ 637 h 1072"/>
                  <a:gd name="connsiteX116" fmla="*/ 1268 w 5354"/>
                  <a:gd name="connsiteY116" fmla="*/ 749 h 1072"/>
                  <a:gd name="connsiteX117" fmla="*/ 1229 w 5354"/>
                  <a:gd name="connsiteY117" fmla="*/ 801 h 1072"/>
                  <a:gd name="connsiteX118" fmla="*/ 1187 w 5354"/>
                  <a:gd name="connsiteY118" fmla="*/ 850 h 1072"/>
                  <a:gd name="connsiteX119" fmla="*/ 1144 w 5354"/>
                  <a:gd name="connsiteY119" fmla="*/ 896 h 1072"/>
                  <a:gd name="connsiteX120" fmla="*/ 1097 w 5354"/>
                  <a:gd name="connsiteY120" fmla="*/ 937 h 1072"/>
                  <a:gd name="connsiteX121" fmla="*/ 1047 w 5354"/>
                  <a:gd name="connsiteY121" fmla="*/ 973 h 1072"/>
                  <a:gd name="connsiteX122" fmla="*/ 993 w 5354"/>
                  <a:gd name="connsiteY122" fmla="*/ 1002 h 1072"/>
                  <a:gd name="connsiteX123" fmla="*/ 938 w 5354"/>
                  <a:gd name="connsiteY123" fmla="*/ 1025 h 1072"/>
                  <a:gd name="connsiteX124" fmla="*/ 874 w 5354"/>
                  <a:gd name="connsiteY124" fmla="*/ 1037 h 1072"/>
                  <a:gd name="connsiteX125" fmla="*/ 808 w 5354"/>
                  <a:gd name="connsiteY125" fmla="*/ 1043 h 1072"/>
                  <a:gd name="connsiteX126" fmla="*/ 801 w 5354"/>
                  <a:gd name="connsiteY126" fmla="*/ 1043 h 1072"/>
                  <a:gd name="connsiteX127" fmla="*/ 733 w 5354"/>
                  <a:gd name="connsiteY127" fmla="*/ 1039 h 1072"/>
                  <a:gd name="connsiteX128" fmla="*/ 671 w 5354"/>
                  <a:gd name="connsiteY128" fmla="*/ 1027 h 1072"/>
                  <a:gd name="connsiteX129" fmla="*/ 613 w 5354"/>
                  <a:gd name="connsiteY129" fmla="*/ 1008 h 1072"/>
                  <a:gd name="connsiteX130" fmla="*/ 562 w 5354"/>
                  <a:gd name="connsiteY130" fmla="*/ 983 h 1072"/>
                  <a:gd name="connsiteX131" fmla="*/ 514 w 5354"/>
                  <a:gd name="connsiteY131" fmla="*/ 952 h 1072"/>
                  <a:gd name="connsiteX132" fmla="*/ 469 w 5354"/>
                  <a:gd name="connsiteY132" fmla="*/ 915 h 1072"/>
                  <a:gd name="connsiteX133" fmla="*/ 428 w 5354"/>
                  <a:gd name="connsiteY133" fmla="*/ 873 h 1072"/>
                  <a:gd name="connsiteX134" fmla="*/ 390 w 5354"/>
                  <a:gd name="connsiteY134" fmla="*/ 828 h 1072"/>
                  <a:gd name="connsiteX135" fmla="*/ 353 w 5354"/>
                  <a:gd name="connsiteY135" fmla="*/ 780 h 1072"/>
                  <a:gd name="connsiteX136" fmla="*/ 320 w 5354"/>
                  <a:gd name="connsiteY136" fmla="*/ 728 h 1072"/>
                  <a:gd name="connsiteX137" fmla="*/ 285 w 5354"/>
                  <a:gd name="connsiteY137" fmla="*/ 674 h 1072"/>
                  <a:gd name="connsiteX138" fmla="*/ 254 w 5354"/>
                  <a:gd name="connsiteY138" fmla="*/ 618 h 1072"/>
                  <a:gd name="connsiteX139" fmla="*/ 221 w 5354"/>
                  <a:gd name="connsiteY139" fmla="*/ 560 h 1072"/>
                  <a:gd name="connsiteX140" fmla="*/ 159 w 5354"/>
                  <a:gd name="connsiteY140" fmla="*/ 448 h 1072"/>
                  <a:gd name="connsiteX141" fmla="*/ 91 w 5354"/>
                  <a:gd name="connsiteY141" fmla="*/ 340 h 1072"/>
                  <a:gd name="connsiteX142" fmla="*/ 48 w 5354"/>
                  <a:gd name="connsiteY142" fmla="*/ 284 h 1072"/>
                  <a:gd name="connsiteX143" fmla="*/ 0 w 5354"/>
                  <a:gd name="connsiteY143" fmla="*/ 239 h 1072"/>
                  <a:gd name="connsiteX144" fmla="*/ 58 w 5354"/>
                  <a:gd name="connsiteY144" fmla="*/ 174 h 1072"/>
                  <a:gd name="connsiteX145" fmla="*/ 112 w 5354"/>
                  <a:gd name="connsiteY145" fmla="*/ 228 h 1072"/>
                  <a:gd name="connsiteX146" fmla="*/ 161 w 5354"/>
                  <a:gd name="connsiteY146" fmla="*/ 293 h 1072"/>
                  <a:gd name="connsiteX147" fmla="*/ 298 w 5354"/>
                  <a:gd name="connsiteY147" fmla="*/ 516 h 1072"/>
                  <a:gd name="connsiteX148" fmla="*/ 331 w 5354"/>
                  <a:gd name="connsiteY148" fmla="*/ 575 h 1072"/>
                  <a:gd name="connsiteX149" fmla="*/ 364 w 5354"/>
                  <a:gd name="connsiteY149" fmla="*/ 631 h 1072"/>
                  <a:gd name="connsiteX150" fmla="*/ 397 w 5354"/>
                  <a:gd name="connsiteY150" fmla="*/ 684 h 1072"/>
                  <a:gd name="connsiteX151" fmla="*/ 430 w 5354"/>
                  <a:gd name="connsiteY151" fmla="*/ 736 h 1072"/>
                  <a:gd name="connsiteX152" fmla="*/ 465 w 5354"/>
                  <a:gd name="connsiteY152" fmla="*/ 782 h 1072"/>
                  <a:gd name="connsiteX153" fmla="*/ 502 w 5354"/>
                  <a:gd name="connsiteY153" fmla="*/ 825 h 1072"/>
                  <a:gd name="connsiteX154" fmla="*/ 543 w 5354"/>
                  <a:gd name="connsiteY154" fmla="*/ 863 h 1072"/>
                  <a:gd name="connsiteX155" fmla="*/ 587 w 5354"/>
                  <a:gd name="connsiteY155" fmla="*/ 894 h 1072"/>
                  <a:gd name="connsiteX156" fmla="*/ 634 w 5354"/>
                  <a:gd name="connsiteY156" fmla="*/ 921 h 1072"/>
                  <a:gd name="connsiteX157" fmla="*/ 684 w 5354"/>
                  <a:gd name="connsiteY157" fmla="*/ 940 h 1072"/>
                  <a:gd name="connsiteX158" fmla="*/ 739 w 5354"/>
                  <a:gd name="connsiteY158" fmla="*/ 952 h 1072"/>
                  <a:gd name="connsiteX159" fmla="*/ 801 w 5354"/>
                  <a:gd name="connsiteY159" fmla="*/ 956 h 1072"/>
                  <a:gd name="connsiteX160" fmla="*/ 808 w 5354"/>
                  <a:gd name="connsiteY160" fmla="*/ 956 h 1072"/>
                  <a:gd name="connsiteX161" fmla="*/ 867 w 5354"/>
                  <a:gd name="connsiteY161" fmla="*/ 950 h 1072"/>
                  <a:gd name="connsiteX162" fmla="*/ 923 w 5354"/>
                  <a:gd name="connsiteY162" fmla="*/ 935 h 1072"/>
                  <a:gd name="connsiteX163" fmla="*/ 977 w 5354"/>
                  <a:gd name="connsiteY163" fmla="*/ 913 h 1072"/>
                  <a:gd name="connsiteX164" fmla="*/ 1024 w 5354"/>
                  <a:gd name="connsiteY164" fmla="*/ 884 h 1072"/>
                  <a:gd name="connsiteX165" fmla="*/ 1070 w 5354"/>
                  <a:gd name="connsiteY165" fmla="*/ 846 h 1072"/>
                  <a:gd name="connsiteX166" fmla="*/ 1113 w 5354"/>
                  <a:gd name="connsiteY166" fmla="*/ 803 h 1072"/>
                  <a:gd name="connsiteX167" fmla="*/ 1152 w 5354"/>
                  <a:gd name="connsiteY167" fmla="*/ 755 h 1072"/>
                  <a:gd name="connsiteX168" fmla="*/ 1192 w 5354"/>
                  <a:gd name="connsiteY168" fmla="*/ 703 h 1072"/>
                  <a:gd name="connsiteX169" fmla="*/ 1231 w 5354"/>
                  <a:gd name="connsiteY169" fmla="*/ 649 h 1072"/>
                  <a:gd name="connsiteX170" fmla="*/ 1342 w 5354"/>
                  <a:gd name="connsiteY170" fmla="*/ 475 h 1072"/>
                  <a:gd name="connsiteX171" fmla="*/ 1382 w 5354"/>
                  <a:gd name="connsiteY171" fmla="*/ 415 h 1072"/>
                  <a:gd name="connsiteX172" fmla="*/ 1423 w 5354"/>
                  <a:gd name="connsiteY172" fmla="*/ 357 h 1072"/>
                  <a:gd name="connsiteX173" fmla="*/ 1466 w 5354"/>
                  <a:gd name="connsiteY173" fmla="*/ 299 h 1072"/>
                  <a:gd name="connsiteX174" fmla="*/ 1512 w 5354"/>
                  <a:gd name="connsiteY174" fmla="*/ 245 h 1072"/>
                  <a:gd name="connsiteX175" fmla="*/ 1559 w 5354"/>
                  <a:gd name="connsiteY175" fmla="*/ 193 h 1072"/>
                  <a:gd name="connsiteX176" fmla="*/ 1613 w 5354"/>
                  <a:gd name="connsiteY176" fmla="*/ 145 h 1072"/>
                  <a:gd name="connsiteX177" fmla="*/ 1668 w 5354"/>
                  <a:gd name="connsiteY177" fmla="*/ 104 h 1072"/>
                  <a:gd name="connsiteX178" fmla="*/ 1730 w 5354"/>
                  <a:gd name="connsiteY178" fmla="*/ 69 h 1072"/>
                  <a:gd name="connsiteX179" fmla="*/ 1796 w 5354"/>
                  <a:gd name="connsiteY179" fmla="*/ 40 h 1072"/>
                  <a:gd name="connsiteX180" fmla="*/ 1869 w 5354"/>
                  <a:gd name="connsiteY180" fmla="*/ 19 h 1072"/>
                  <a:gd name="connsiteX181" fmla="*/ 1947 w 5354"/>
                  <a:gd name="connsiteY181" fmla="*/ 6 h 1072"/>
                  <a:gd name="connsiteX182" fmla="*/ 2017 w 5354"/>
                  <a:gd name="connsiteY182" fmla="*/ 4 h 1072"/>
                  <a:gd name="connsiteX183" fmla="*/ 2083 w 5354"/>
                  <a:gd name="connsiteY183" fmla="*/ 13 h 1072"/>
                  <a:gd name="connsiteX184" fmla="*/ 2143 w 5354"/>
                  <a:gd name="connsiteY184" fmla="*/ 27 h 1072"/>
                  <a:gd name="connsiteX185" fmla="*/ 2201 w 5354"/>
                  <a:gd name="connsiteY185" fmla="*/ 50 h 1072"/>
                  <a:gd name="connsiteX186" fmla="*/ 2255 w 5354"/>
                  <a:gd name="connsiteY186" fmla="*/ 81 h 1072"/>
                  <a:gd name="connsiteX187" fmla="*/ 2304 w 5354"/>
                  <a:gd name="connsiteY187" fmla="*/ 116 h 1072"/>
                  <a:gd name="connsiteX188" fmla="*/ 2350 w 5354"/>
                  <a:gd name="connsiteY188" fmla="*/ 158 h 1072"/>
                  <a:gd name="connsiteX189" fmla="*/ 2395 w 5354"/>
                  <a:gd name="connsiteY189" fmla="*/ 203 h 1072"/>
                  <a:gd name="connsiteX190" fmla="*/ 2437 w 5354"/>
                  <a:gd name="connsiteY190" fmla="*/ 251 h 1072"/>
                  <a:gd name="connsiteX191" fmla="*/ 2476 w 5354"/>
                  <a:gd name="connsiteY191" fmla="*/ 303 h 1072"/>
                  <a:gd name="connsiteX192" fmla="*/ 2513 w 5354"/>
                  <a:gd name="connsiteY192" fmla="*/ 357 h 1072"/>
                  <a:gd name="connsiteX193" fmla="*/ 2548 w 5354"/>
                  <a:gd name="connsiteY193" fmla="*/ 413 h 1072"/>
                  <a:gd name="connsiteX194" fmla="*/ 2583 w 5354"/>
                  <a:gd name="connsiteY194" fmla="*/ 467 h 1072"/>
                  <a:gd name="connsiteX195" fmla="*/ 2616 w 5354"/>
                  <a:gd name="connsiteY195" fmla="*/ 523 h 1072"/>
                  <a:gd name="connsiteX196" fmla="*/ 2653 w 5354"/>
                  <a:gd name="connsiteY196" fmla="*/ 585 h 1072"/>
                  <a:gd name="connsiteX197" fmla="*/ 2690 w 5354"/>
                  <a:gd name="connsiteY197" fmla="*/ 643 h 1072"/>
                  <a:gd name="connsiteX198" fmla="*/ 2730 w 5354"/>
                  <a:gd name="connsiteY198" fmla="*/ 701 h 1072"/>
                  <a:gd name="connsiteX199" fmla="*/ 2767 w 5354"/>
                  <a:gd name="connsiteY199" fmla="*/ 755 h 1072"/>
                  <a:gd name="connsiteX200" fmla="*/ 2808 w 5354"/>
                  <a:gd name="connsiteY200" fmla="*/ 805 h 1072"/>
                  <a:gd name="connsiteX201" fmla="*/ 2849 w 5354"/>
                  <a:gd name="connsiteY201" fmla="*/ 848 h 1072"/>
                  <a:gd name="connsiteX202" fmla="*/ 2893 w 5354"/>
                  <a:gd name="connsiteY202" fmla="*/ 886 h 1072"/>
                  <a:gd name="connsiteX203" fmla="*/ 2938 w 5354"/>
                  <a:gd name="connsiteY203" fmla="*/ 917 h 1072"/>
                  <a:gd name="connsiteX204" fmla="*/ 2988 w 5354"/>
                  <a:gd name="connsiteY204" fmla="*/ 940 h 1072"/>
                  <a:gd name="connsiteX205" fmla="*/ 3041 w 5354"/>
                  <a:gd name="connsiteY205" fmla="*/ 952 h 1072"/>
                  <a:gd name="connsiteX206" fmla="*/ 3097 w 5354"/>
                  <a:gd name="connsiteY206" fmla="*/ 956 h 1072"/>
                  <a:gd name="connsiteX207" fmla="*/ 3153 w 5354"/>
                  <a:gd name="connsiteY207" fmla="*/ 950 h 1072"/>
                  <a:gd name="connsiteX208" fmla="*/ 3203 w 5354"/>
                  <a:gd name="connsiteY208" fmla="*/ 935 h 1072"/>
                  <a:gd name="connsiteX209" fmla="*/ 3250 w 5354"/>
                  <a:gd name="connsiteY209" fmla="*/ 915 h 1072"/>
                  <a:gd name="connsiteX210" fmla="*/ 3293 w 5354"/>
                  <a:gd name="connsiteY210" fmla="*/ 884 h 1072"/>
                  <a:gd name="connsiteX211" fmla="*/ 3333 w 5354"/>
                  <a:gd name="connsiteY211" fmla="*/ 848 h 1072"/>
                  <a:gd name="connsiteX212" fmla="*/ 3370 w 5354"/>
                  <a:gd name="connsiteY212" fmla="*/ 807 h 1072"/>
                  <a:gd name="connsiteX213" fmla="*/ 3405 w 5354"/>
                  <a:gd name="connsiteY213" fmla="*/ 759 h 1072"/>
                  <a:gd name="connsiteX214" fmla="*/ 3438 w 5354"/>
                  <a:gd name="connsiteY214" fmla="*/ 709 h 1072"/>
                  <a:gd name="connsiteX215" fmla="*/ 3471 w 5354"/>
                  <a:gd name="connsiteY215" fmla="*/ 655 h 1072"/>
                  <a:gd name="connsiteX216" fmla="*/ 3504 w 5354"/>
                  <a:gd name="connsiteY216" fmla="*/ 597 h 1072"/>
                  <a:gd name="connsiteX217" fmla="*/ 3537 w 5354"/>
                  <a:gd name="connsiteY217" fmla="*/ 537 h 1072"/>
                  <a:gd name="connsiteX218" fmla="*/ 3566 w 5354"/>
                  <a:gd name="connsiteY218" fmla="*/ 483 h 1072"/>
                  <a:gd name="connsiteX219" fmla="*/ 3628 w 5354"/>
                  <a:gd name="connsiteY219" fmla="*/ 375 h 1072"/>
                  <a:gd name="connsiteX220" fmla="*/ 3698 w 5354"/>
                  <a:gd name="connsiteY220" fmla="*/ 272 h 1072"/>
                  <a:gd name="connsiteX221" fmla="*/ 3735 w 5354"/>
                  <a:gd name="connsiteY221" fmla="*/ 224 h 1072"/>
                  <a:gd name="connsiteX222" fmla="*/ 3776 w 5354"/>
                  <a:gd name="connsiteY222" fmla="*/ 178 h 1072"/>
                  <a:gd name="connsiteX223" fmla="*/ 3820 w 5354"/>
                  <a:gd name="connsiteY223" fmla="*/ 137 h 1072"/>
                  <a:gd name="connsiteX224" fmla="*/ 3867 w 5354"/>
                  <a:gd name="connsiteY224" fmla="*/ 100 h 1072"/>
                  <a:gd name="connsiteX225" fmla="*/ 3919 w 5354"/>
                  <a:gd name="connsiteY225" fmla="*/ 66 h 1072"/>
                  <a:gd name="connsiteX226" fmla="*/ 3977 w 5354"/>
                  <a:gd name="connsiteY226" fmla="*/ 40 h 1072"/>
                  <a:gd name="connsiteX227" fmla="*/ 4037 w 5354"/>
                  <a:gd name="connsiteY227" fmla="*/ 19 h 1072"/>
                  <a:gd name="connsiteX228" fmla="*/ 4103 w 5354"/>
                  <a:gd name="connsiteY228" fmla="*/ 6 h 1072"/>
                  <a:gd name="connsiteX229" fmla="*/ 4175 w 5354"/>
                  <a:gd name="connsiteY229" fmla="*/ 0 h 1072"/>
                  <a:gd name="connsiteX0" fmla="*/ 4175 w 5354"/>
                  <a:gd name="connsiteY0" fmla="*/ 0 h 1072"/>
                  <a:gd name="connsiteX1" fmla="*/ 4225 w 5354"/>
                  <a:gd name="connsiteY1" fmla="*/ 0 h 1072"/>
                  <a:gd name="connsiteX2" fmla="*/ 4253 w 5354"/>
                  <a:gd name="connsiteY2" fmla="*/ 4 h 1072"/>
                  <a:gd name="connsiteX3" fmla="*/ 4284 w 5354"/>
                  <a:gd name="connsiteY3" fmla="*/ 13 h 1072"/>
                  <a:gd name="connsiteX4" fmla="*/ 4322 w 5354"/>
                  <a:gd name="connsiteY4" fmla="*/ 23 h 1072"/>
                  <a:gd name="connsiteX5" fmla="*/ 4363 w 5354"/>
                  <a:gd name="connsiteY5" fmla="*/ 40 h 1072"/>
                  <a:gd name="connsiteX6" fmla="*/ 4406 w 5354"/>
                  <a:gd name="connsiteY6" fmla="*/ 60 h 1072"/>
                  <a:gd name="connsiteX7" fmla="*/ 4454 w 5354"/>
                  <a:gd name="connsiteY7" fmla="*/ 89 h 1072"/>
                  <a:gd name="connsiteX8" fmla="*/ 4503 w 5354"/>
                  <a:gd name="connsiteY8" fmla="*/ 125 h 1072"/>
                  <a:gd name="connsiteX9" fmla="*/ 4553 w 5354"/>
                  <a:gd name="connsiteY9" fmla="*/ 170 h 1072"/>
                  <a:gd name="connsiteX10" fmla="*/ 4604 w 5354"/>
                  <a:gd name="connsiteY10" fmla="*/ 224 h 1072"/>
                  <a:gd name="connsiteX11" fmla="*/ 4656 w 5354"/>
                  <a:gd name="connsiteY11" fmla="*/ 286 h 1072"/>
                  <a:gd name="connsiteX12" fmla="*/ 4708 w 5354"/>
                  <a:gd name="connsiteY12" fmla="*/ 361 h 1072"/>
                  <a:gd name="connsiteX13" fmla="*/ 4759 w 5354"/>
                  <a:gd name="connsiteY13" fmla="*/ 448 h 1072"/>
                  <a:gd name="connsiteX14" fmla="*/ 4811 w 5354"/>
                  <a:gd name="connsiteY14" fmla="*/ 548 h 1072"/>
                  <a:gd name="connsiteX15" fmla="*/ 4856 w 5354"/>
                  <a:gd name="connsiteY15" fmla="*/ 633 h 1072"/>
                  <a:gd name="connsiteX16" fmla="*/ 4902 w 5354"/>
                  <a:gd name="connsiteY16" fmla="*/ 705 h 1072"/>
                  <a:gd name="connsiteX17" fmla="*/ 4949 w 5354"/>
                  <a:gd name="connsiteY17" fmla="*/ 767 h 1072"/>
                  <a:gd name="connsiteX18" fmla="*/ 4997 w 5354"/>
                  <a:gd name="connsiteY18" fmla="*/ 819 h 1072"/>
                  <a:gd name="connsiteX19" fmla="*/ 5042 w 5354"/>
                  <a:gd name="connsiteY19" fmla="*/ 863 h 1072"/>
                  <a:gd name="connsiteX20" fmla="*/ 5090 w 5354"/>
                  <a:gd name="connsiteY20" fmla="*/ 898 h 1072"/>
                  <a:gd name="connsiteX21" fmla="*/ 5133 w 5354"/>
                  <a:gd name="connsiteY21" fmla="*/ 927 h 1072"/>
                  <a:gd name="connsiteX22" fmla="*/ 5176 w 5354"/>
                  <a:gd name="connsiteY22" fmla="*/ 948 h 1072"/>
                  <a:gd name="connsiteX23" fmla="*/ 5213 w 5354"/>
                  <a:gd name="connsiteY23" fmla="*/ 962 h 1072"/>
                  <a:gd name="connsiteX24" fmla="*/ 5251 w 5354"/>
                  <a:gd name="connsiteY24" fmla="*/ 973 h 1072"/>
                  <a:gd name="connsiteX25" fmla="*/ 5280 w 5354"/>
                  <a:gd name="connsiteY25" fmla="*/ 981 h 1072"/>
                  <a:gd name="connsiteX26" fmla="*/ 5306 w 5354"/>
                  <a:gd name="connsiteY26" fmla="*/ 983 h 1072"/>
                  <a:gd name="connsiteX27" fmla="*/ 5325 w 5354"/>
                  <a:gd name="connsiteY27" fmla="*/ 985 h 1072"/>
                  <a:gd name="connsiteX28" fmla="*/ 5346 w 5354"/>
                  <a:gd name="connsiteY28" fmla="*/ 985 h 1072"/>
                  <a:gd name="connsiteX29" fmla="*/ 5354 w 5354"/>
                  <a:gd name="connsiteY29" fmla="*/ 1072 h 1072"/>
                  <a:gd name="connsiteX30" fmla="*/ 5319 w 5354"/>
                  <a:gd name="connsiteY30" fmla="*/ 1072 h 1072"/>
                  <a:gd name="connsiteX31" fmla="*/ 5292 w 5354"/>
                  <a:gd name="connsiteY31" fmla="*/ 1070 h 1072"/>
                  <a:gd name="connsiteX32" fmla="*/ 5261 w 5354"/>
                  <a:gd name="connsiteY32" fmla="*/ 1064 h 1072"/>
                  <a:gd name="connsiteX33" fmla="*/ 5224 w 5354"/>
                  <a:gd name="connsiteY33" fmla="*/ 1056 h 1072"/>
                  <a:gd name="connsiteX34" fmla="*/ 5182 w 5354"/>
                  <a:gd name="connsiteY34" fmla="*/ 1043 h 1072"/>
                  <a:gd name="connsiteX35" fmla="*/ 5137 w 5354"/>
                  <a:gd name="connsiteY35" fmla="*/ 1025 h 1072"/>
                  <a:gd name="connsiteX36" fmla="*/ 5090 w 5354"/>
                  <a:gd name="connsiteY36" fmla="*/ 1002 h 1072"/>
                  <a:gd name="connsiteX37" fmla="*/ 5040 w 5354"/>
                  <a:gd name="connsiteY37" fmla="*/ 971 h 1072"/>
                  <a:gd name="connsiteX38" fmla="*/ 4988 w 5354"/>
                  <a:gd name="connsiteY38" fmla="*/ 931 h 1072"/>
                  <a:gd name="connsiteX39" fmla="*/ 4937 w 5354"/>
                  <a:gd name="connsiteY39" fmla="*/ 881 h 1072"/>
                  <a:gd name="connsiteX40" fmla="*/ 4883 w 5354"/>
                  <a:gd name="connsiteY40" fmla="*/ 823 h 1072"/>
                  <a:gd name="connsiteX41" fmla="*/ 4832 w 5354"/>
                  <a:gd name="connsiteY41" fmla="*/ 755 h 1072"/>
                  <a:gd name="connsiteX42" fmla="*/ 4782 w 5354"/>
                  <a:gd name="connsiteY42" fmla="*/ 676 h 1072"/>
                  <a:gd name="connsiteX43" fmla="*/ 4734 w 5354"/>
                  <a:gd name="connsiteY43" fmla="*/ 583 h 1072"/>
                  <a:gd name="connsiteX44" fmla="*/ 4685 w 5354"/>
                  <a:gd name="connsiteY44" fmla="*/ 487 h 1072"/>
                  <a:gd name="connsiteX45" fmla="*/ 4635 w 5354"/>
                  <a:gd name="connsiteY45" fmla="*/ 404 h 1072"/>
                  <a:gd name="connsiteX46" fmla="*/ 4586 w 5354"/>
                  <a:gd name="connsiteY46" fmla="*/ 336 h 1072"/>
                  <a:gd name="connsiteX47" fmla="*/ 4536 w 5354"/>
                  <a:gd name="connsiteY47" fmla="*/ 276 h 1072"/>
                  <a:gd name="connsiteX48" fmla="*/ 4489 w 5354"/>
                  <a:gd name="connsiteY48" fmla="*/ 228 h 1072"/>
                  <a:gd name="connsiteX49" fmla="*/ 4443 w 5354"/>
                  <a:gd name="connsiteY49" fmla="*/ 189 h 1072"/>
                  <a:gd name="connsiteX50" fmla="*/ 4402 w 5354"/>
                  <a:gd name="connsiteY50" fmla="*/ 158 h 1072"/>
                  <a:gd name="connsiteX51" fmla="*/ 4363 w 5354"/>
                  <a:gd name="connsiteY51" fmla="*/ 135 h 1072"/>
                  <a:gd name="connsiteX52" fmla="*/ 4313 w 5354"/>
                  <a:gd name="connsiteY52" fmla="*/ 112 h 1072"/>
                  <a:gd name="connsiteX53" fmla="*/ 4270 w 5354"/>
                  <a:gd name="connsiteY53" fmla="*/ 98 h 1072"/>
                  <a:gd name="connsiteX54" fmla="*/ 4235 w 5354"/>
                  <a:gd name="connsiteY54" fmla="*/ 89 h 1072"/>
                  <a:gd name="connsiteX55" fmla="*/ 4206 w 5354"/>
                  <a:gd name="connsiteY55" fmla="*/ 87 h 1072"/>
                  <a:gd name="connsiteX56" fmla="*/ 4179 w 5354"/>
                  <a:gd name="connsiteY56" fmla="*/ 87 h 1072"/>
                  <a:gd name="connsiteX57" fmla="*/ 4113 w 5354"/>
                  <a:gd name="connsiteY57" fmla="*/ 93 h 1072"/>
                  <a:gd name="connsiteX58" fmla="*/ 4051 w 5354"/>
                  <a:gd name="connsiteY58" fmla="*/ 106 h 1072"/>
                  <a:gd name="connsiteX59" fmla="*/ 3995 w 5354"/>
                  <a:gd name="connsiteY59" fmla="*/ 127 h 1072"/>
                  <a:gd name="connsiteX60" fmla="*/ 3944 w 5354"/>
                  <a:gd name="connsiteY60" fmla="*/ 154 h 1072"/>
                  <a:gd name="connsiteX61" fmla="*/ 3896 w 5354"/>
                  <a:gd name="connsiteY61" fmla="*/ 187 h 1072"/>
                  <a:gd name="connsiteX62" fmla="*/ 3853 w 5354"/>
                  <a:gd name="connsiteY62" fmla="*/ 224 h 1072"/>
                  <a:gd name="connsiteX63" fmla="*/ 3814 w 5354"/>
                  <a:gd name="connsiteY63" fmla="*/ 268 h 1072"/>
                  <a:gd name="connsiteX64" fmla="*/ 3774 w 5354"/>
                  <a:gd name="connsiteY64" fmla="*/ 313 h 1072"/>
                  <a:gd name="connsiteX65" fmla="*/ 3739 w 5354"/>
                  <a:gd name="connsiteY65" fmla="*/ 363 h 1072"/>
                  <a:gd name="connsiteX66" fmla="*/ 3706 w 5354"/>
                  <a:gd name="connsiteY66" fmla="*/ 415 h 1072"/>
                  <a:gd name="connsiteX67" fmla="*/ 3644 w 5354"/>
                  <a:gd name="connsiteY67" fmla="*/ 523 h 1072"/>
                  <a:gd name="connsiteX68" fmla="*/ 3551 w 5354"/>
                  <a:gd name="connsiteY68" fmla="*/ 691 h 1072"/>
                  <a:gd name="connsiteX69" fmla="*/ 3518 w 5354"/>
                  <a:gd name="connsiteY69" fmla="*/ 747 h 1072"/>
                  <a:gd name="connsiteX70" fmla="*/ 3483 w 5354"/>
                  <a:gd name="connsiteY70" fmla="*/ 799 h 1072"/>
                  <a:gd name="connsiteX71" fmla="*/ 3448 w 5354"/>
                  <a:gd name="connsiteY71" fmla="*/ 848 h 1072"/>
                  <a:gd name="connsiteX72" fmla="*/ 3409 w 5354"/>
                  <a:gd name="connsiteY72" fmla="*/ 894 h 1072"/>
                  <a:gd name="connsiteX73" fmla="*/ 3368 w 5354"/>
                  <a:gd name="connsiteY73" fmla="*/ 935 h 1072"/>
                  <a:gd name="connsiteX74" fmla="*/ 3322 w 5354"/>
                  <a:gd name="connsiteY74" fmla="*/ 971 h 1072"/>
                  <a:gd name="connsiteX75" fmla="*/ 3273 w 5354"/>
                  <a:gd name="connsiteY75" fmla="*/ 1000 h 1072"/>
                  <a:gd name="connsiteX76" fmla="*/ 3221 w 5354"/>
                  <a:gd name="connsiteY76" fmla="*/ 1022 h 1072"/>
                  <a:gd name="connsiteX77" fmla="*/ 3163 w 5354"/>
                  <a:gd name="connsiteY77" fmla="*/ 1037 h 1072"/>
                  <a:gd name="connsiteX78" fmla="*/ 3099 w 5354"/>
                  <a:gd name="connsiteY78" fmla="*/ 1043 h 1072"/>
                  <a:gd name="connsiteX79" fmla="*/ 3091 w 5354"/>
                  <a:gd name="connsiteY79" fmla="*/ 1043 h 1072"/>
                  <a:gd name="connsiteX80" fmla="*/ 3029 w 5354"/>
                  <a:gd name="connsiteY80" fmla="*/ 1039 h 1072"/>
                  <a:gd name="connsiteX81" fmla="*/ 2969 w 5354"/>
                  <a:gd name="connsiteY81" fmla="*/ 1025 h 1072"/>
                  <a:gd name="connsiteX82" fmla="*/ 2916 w 5354"/>
                  <a:gd name="connsiteY82" fmla="*/ 1002 h 1072"/>
                  <a:gd name="connsiteX83" fmla="*/ 2864 w 5354"/>
                  <a:gd name="connsiteY83" fmla="*/ 973 h 1072"/>
                  <a:gd name="connsiteX84" fmla="*/ 2816 w 5354"/>
                  <a:gd name="connsiteY84" fmla="*/ 935 h 1072"/>
                  <a:gd name="connsiteX85" fmla="*/ 2773 w 5354"/>
                  <a:gd name="connsiteY85" fmla="*/ 894 h 1072"/>
                  <a:gd name="connsiteX86" fmla="*/ 2730 w 5354"/>
                  <a:gd name="connsiteY86" fmla="*/ 846 h 1072"/>
                  <a:gd name="connsiteX87" fmla="*/ 2690 w 5354"/>
                  <a:gd name="connsiteY87" fmla="*/ 796 h 1072"/>
                  <a:gd name="connsiteX88" fmla="*/ 2651 w 5354"/>
                  <a:gd name="connsiteY88" fmla="*/ 740 h 1072"/>
                  <a:gd name="connsiteX89" fmla="*/ 2614 w 5354"/>
                  <a:gd name="connsiteY89" fmla="*/ 684 h 1072"/>
                  <a:gd name="connsiteX90" fmla="*/ 2509 w 5354"/>
                  <a:gd name="connsiteY90" fmla="*/ 510 h 1072"/>
                  <a:gd name="connsiteX91" fmla="*/ 2472 w 5354"/>
                  <a:gd name="connsiteY91" fmla="*/ 452 h 1072"/>
                  <a:gd name="connsiteX92" fmla="*/ 2434 w 5354"/>
                  <a:gd name="connsiteY92" fmla="*/ 396 h 1072"/>
                  <a:gd name="connsiteX93" fmla="*/ 2397 w 5354"/>
                  <a:gd name="connsiteY93" fmla="*/ 342 h 1072"/>
                  <a:gd name="connsiteX94" fmla="*/ 2358 w 5354"/>
                  <a:gd name="connsiteY94" fmla="*/ 293 h 1072"/>
                  <a:gd name="connsiteX95" fmla="*/ 2317 w 5354"/>
                  <a:gd name="connsiteY95" fmla="*/ 247 h 1072"/>
                  <a:gd name="connsiteX96" fmla="*/ 2275 w 5354"/>
                  <a:gd name="connsiteY96" fmla="*/ 205 h 1072"/>
                  <a:gd name="connsiteX97" fmla="*/ 2230 w 5354"/>
                  <a:gd name="connsiteY97" fmla="*/ 168 h 1072"/>
                  <a:gd name="connsiteX98" fmla="*/ 2183 w 5354"/>
                  <a:gd name="connsiteY98" fmla="*/ 139 h 1072"/>
                  <a:gd name="connsiteX99" fmla="*/ 2131 w 5354"/>
                  <a:gd name="connsiteY99" fmla="*/ 116 h 1072"/>
                  <a:gd name="connsiteX100" fmla="*/ 2075 w 5354"/>
                  <a:gd name="connsiteY100" fmla="*/ 100 h 1072"/>
                  <a:gd name="connsiteX101" fmla="*/ 2017 w 5354"/>
                  <a:gd name="connsiteY101" fmla="*/ 91 h 1072"/>
                  <a:gd name="connsiteX102" fmla="*/ 1953 w 5354"/>
                  <a:gd name="connsiteY102" fmla="*/ 93 h 1072"/>
                  <a:gd name="connsiteX103" fmla="*/ 1885 w 5354"/>
                  <a:gd name="connsiteY103" fmla="*/ 104 h 1072"/>
                  <a:gd name="connsiteX104" fmla="*/ 1823 w 5354"/>
                  <a:gd name="connsiteY104" fmla="*/ 122 h 1072"/>
                  <a:gd name="connsiteX105" fmla="*/ 1766 w 5354"/>
                  <a:gd name="connsiteY105" fmla="*/ 147 h 1072"/>
                  <a:gd name="connsiteX106" fmla="*/ 1712 w 5354"/>
                  <a:gd name="connsiteY106" fmla="*/ 181 h 1072"/>
                  <a:gd name="connsiteX107" fmla="*/ 1660 w 5354"/>
                  <a:gd name="connsiteY107" fmla="*/ 218 h 1072"/>
                  <a:gd name="connsiteX108" fmla="*/ 1615 w 5354"/>
                  <a:gd name="connsiteY108" fmla="*/ 261 h 1072"/>
                  <a:gd name="connsiteX109" fmla="*/ 1569 w 5354"/>
                  <a:gd name="connsiteY109" fmla="*/ 307 h 1072"/>
                  <a:gd name="connsiteX110" fmla="*/ 1528 w 5354"/>
                  <a:gd name="connsiteY110" fmla="*/ 359 h 1072"/>
                  <a:gd name="connsiteX111" fmla="*/ 1489 w 5354"/>
                  <a:gd name="connsiteY111" fmla="*/ 413 h 1072"/>
                  <a:gd name="connsiteX112" fmla="*/ 1452 w 5354"/>
                  <a:gd name="connsiteY112" fmla="*/ 467 h 1072"/>
                  <a:gd name="connsiteX113" fmla="*/ 1415 w 5354"/>
                  <a:gd name="connsiteY113" fmla="*/ 523 h 1072"/>
                  <a:gd name="connsiteX114" fmla="*/ 1377 w 5354"/>
                  <a:gd name="connsiteY114" fmla="*/ 581 h 1072"/>
                  <a:gd name="connsiteX115" fmla="*/ 1342 w 5354"/>
                  <a:gd name="connsiteY115" fmla="*/ 637 h 1072"/>
                  <a:gd name="connsiteX116" fmla="*/ 1268 w 5354"/>
                  <a:gd name="connsiteY116" fmla="*/ 749 h 1072"/>
                  <a:gd name="connsiteX117" fmla="*/ 1229 w 5354"/>
                  <a:gd name="connsiteY117" fmla="*/ 801 h 1072"/>
                  <a:gd name="connsiteX118" fmla="*/ 1187 w 5354"/>
                  <a:gd name="connsiteY118" fmla="*/ 850 h 1072"/>
                  <a:gd name="connsiteX119" fmla="*/ 1144 w 5354"/>
                  <a:gd name="connsiteY119" fmla="*/ 896 h 1072"/>
                  <a:gd name="connsiteX120" fmla="*/ 1097 w 5354"/>
                  <a:gd name="connsiteY120" fmla="*/ 937 h 1072"/>
                  <a:gd name="connsiteX121" fmla="*/ 1047 w 5354"/>
                  <a:gd name="connsiteY121" fmla="*/ 973 h 1072"/>
                  <a:gd name="connsiteX122" fmla="*/ 993 w 5354"/>
                  <a:gd name="connsiteY122" fmla="*/ 1002 h 1072"/>
                  <a:gd name="connsiteX123" fmla="*/ 938 w 5354"/>
                  <a:gd name="connsiteY123" fmla="*/ 1025 h 1072"/>
                  <a:gd name="connsiteX124" fmla="*/ 874 w 5354"/>
                  <a:gd name="connsiteY124" fmla="*/ 1037 h 1072"/>
                  <a:gd name="connsiteX125" fmla="*/ 808 w 5354"/>
                  <a:gd name="connsiteY125" fmla="*/ 1043 h 1072"/>
                  <a:gd name="connsiteX126" fmla="*/ 801 w 5354"/>
                  <a:gd name="connsiteY126" fmla="*/ 1043 h 1072"/>
                  <a:gd name="connsiteX127" fmla="*/ 733 w 5354"/>
                  <a:gd name="connsiteY127" fmla="*/ 1039 h 1072"/>
                  <a:gd name="connsiteX128" fmla="*/ 671 w 5354"/>
                  <a:gd name="connsiteY128" fmla="*/ 1027 h 1072"/>
                  <a:gd name="connsiteX129" fmla="*/ 613 w 5354"/>
                  <a:gd name="connsiteY129" fmla="*/ 1008 h 1072"/>
                  <a:gd name="connsiteX130" fmla="*/ 562 w 5354"/>
                  <a:gd name="connsiteY130" fmla="*/ 983 h 1072"/>
                  <a:gd name="connsiteX131" fmla="*/ 514 w 5354"/>
                  <a:gd name="connsiteY131" fmla="*/ 952 h 1072"/>
                  <a:gd name="connsiteX132" fmla="*/ 469 w 5354"/>
                  <a:gd name="connsiteY132" fmla="*/ 915 h 1072"/>
                  <a:gd name="connsiteX133" fmla="*/ 428 w 5354"/>
                  <a:gd name="connsiteY133" fmla="*/ 873 h 1072"/>
                  <a:gd name="connsiteX134" fmla="*/ 390 w 5354"/>
                  <a:gd name="connsiteY134" fmla="*/ 828 h 1072"/>
                  <a:gd name="connsiteX135" fmla="*/ 353 w 5354"/>
                  <a:gd name="connsiteY135" fmla="*/ 780 h 1072"/>
                  <a:gd name="connsiteX136" fmla="*/ 320 w 5354"/>
                  <a:gd name="connsiteY136" fmla="*/ 728 h 1072"/>
                  <a:gd name="connsiteX137" fmla="*/ 285 w 5354"/>
                  <a:gd name="connsiteY137" fmla="*/ 674 h 1072"/>
                  <a:gd name="connsiteX138" fmla="*/ 254 w 5354"/>
                  <a:gd name="connsiteY138" fmla="*/ 618 h 1072"/>
                  <a:gd name="connsiteX139" fmla="*/ 221 w 5354"/>
                  <a:gd name="connsiteY139" fmla="*/ 560 h 1072"/>
                  <a:gd name="connsiteX140" fmla="*/ 159 w 5354"/>
                  <a:gd name="connsiteY140" fmla="*/ 448 h 1072"/>
                  <a:gd name="connsiteX141" fmla="*/ 91 w 5354"/>
                  <a:gd name="connsiteY141" fmla="*/ 340 h 1072"/>
                  <a:gd name="connsiteX142" fmla="*/ 48 w 5354"/>
                  <a:gd name="connsiteY142" fmla="*/ 284 h 1072"/>
                  <a:gd name="connsiteX143" fmla="*/ 0 w 5354"/>
                  <a:gd name="connsiteY143" fmla="*/ 239 h 1072"/>
                  <a:gd name="connsiteX144" fmla="*/ 58 w 5354"/>
                  <a:gd name="connsiteY144" fmla="*/ 174 h 1072"/>
                  <a:gd name="connsiteX145" fmla="*/ 112 w 5354"/>
                  <a:gd name="connsiteY145" fmla="*/ 228 h 1072"/>
                  <a:gd name="connsiteX146" fmla="*/ 298 w 5354"/>
                  <a:gd name="connsiteY146" fmla="*/ 516 h 1072"/>
                  <a:gd name="connsiteX147" fmla="*/ 331 w 5354"/>
                  <a:gd name="connsiteY147" fmla="*/ 575 h 1072"/>
                  <a:gd name="connsiteX148" fmla="*/ 364 w 5354"/>
                  <a:gd name="connsiteY148" fmla="*/ 631 h 1072"/>
                  <a:gd name="connsiteX149" fmla="*/ 397 w 5354"/>
                  <a:gd name="connsiteY149" fmla="*/ 684 h 1072"/>
                  <a:gd name="connsiteX150" fmla="*/ 430 w 5354"/>
                  <a:gd name="connsiteY150" fmla="*/ 736 h 1072"/>
                  <a:gd name="connsiteX151" fmla="*/ 465 w 5354"/>
                  <a:gd name="connsiteY151" fmla="*/ 782 h 1072"/>
                  <a:gd name="connsiteX152" fmla="*/ 502 w 5354"/>
                  <a:gd name="connsiteY152" fmla="*/ 825 h 1072"/>
                  <a:gd name="connsiteX153" fmla="*/ 543 w 5354"/>
                  <a:gd name="connsiteY153" fmla="*/ 863 h 1072"/>
                  <a:gd name="connsiteX154" fmla="*/ 587 w 5354"/>
                  <a:gd name="connsiteY154" fmla="*/ 894 h 1072"/>
                  <a:gd name="connsiteX155" fmla="*/ 634 w 5354"/>
                  <a:gd name="connsiteY155" fmla="*/ 921 h 1072"/>
                  <a:gd name="connsiteX156" fmla="*/ 684 w 5354"/>
                  <a:gd name="connsiteY156" fmla="*/ 940 h 1072"/>
                  <a:gd name="connsiteX157" fmla="*/ 739 w 5354"/>
                  <a:gd name="connsiteY157" fmla="*/ 952 h 1072"/>
                  <a:gd name="connsiteX158" fmla="*/ 801 w 5354"/>
                  <a:gd name="connsiteY158" fmla="*/ 956 h 1072"/>
                  <a:gd name="connsiteX159" fmla="*/ 808 w 5354"/>
                  <a:gd name="connsiteY159" fmla="*/ 956 h 1072"/>
                  <a:gd name="connsiteX160" fmla="*/ 867 w 5354"/>
                  <a:gd name="connsiteY160" fmla="*/ 950 h 1072"/>
                  <a:gd name="connsiteX161" fmla="*/ 923 w 5354"/>
                  <a:gd name="connsiteY161" fmla="*/ 935 h 1072"/>
                  <a:gd name="connsiteX162" fmla="*/ 977 w 5354"/>
                  <a:gd name="connsiteY162" fmla="*/ 913 h 1072"/>
                  <a:gd name="connsiteX163" fmla="*/ 1024 w 5354"/>
                  <a:gd name="connsiteY163" fmla="*/ 884 h 1072"/>
                  <a:gd name="connsiteX164" fmla="*/ 1070 w 5354"/>
                  <a:gd name="connsiteY164" fmla="*/ 846 h 1072"/>
                  <a:gd name="connsiteX165" fmla="*/ 1113 w 5354"/>
                  <a:gd name="connsiteY165" fmla="*/ 803 h 1072"/>
                  <a:gd name="connsiteX166" fmla="*/ 1152 w 5354"/>
                  <a:gd name="connsiteY166" fmla="*/ 755 h 1072"/>
                  <a:gd name="connsiteX167" fmla="*/ 1192 w 5354"/>
                  <a:gd name="connsiteY167" fmla="*/ 703 h 1072"/>
                  <a:gd name="connsiteX168" fmla="*/ 1231 w 5354"/>
                  <a:gd name="connsiteY168" fmla="*/ 649 h 1072"/>
                  <a:gd name="connsiteX169" fmla="*/ 1342 w 5354"/>
                  <a:gd name="connsiteY169" fmla="*/ 475 h 1072"/>
                  <a:gd name="connsiteX170" fmla="*/ 1382 w 5354"/>
                  <a:gd name="connsiteY170" fmla="*/ 415 h 1072"/>
                  <a:gd name="connsiteX171" fmla="*/ 1423 w 5354"/>
                  <a:gd name="connsiteY171" fmla="*/ 357 h 1072"/>
                  <a:gd name="connsiteX172" fmla="*/ 1466 w 5354"/>
                  <a:gd name="connsiteY172" fmla="*/ 299 h 1072"/>
                  <a:gd name="connsiteX173" fmla="*/ 1512 w 5354"/>
                  <a:gd name="connsiteY173" fmla="*/ 245 h 1072"/>
                  <a:gd name="connsiteX174" fmla="*/ 1559 w 5354"/>
                  <a:gd name="connsiteY174" fmla="*/ 193 h 1072"/>
                  <a:gd name="connsiteX175" fmla="*/ 1613 w 5354"/>
                  <a:gd name="connsiteY175" fmla="*/ 145 h 1072"/>
                  <a:gd name="connsiteX176" fmla="*/ 1668 w 5354"/>
                  <a:gd name="connsiteY176" fmla="*/ 104 h 1072"/>
                  <a:gd name="connsiteX177" fmla="*/ 1730 w 5354"/>
                  <a:gd name="connsiteY177" fmla="*/ 69 h 1072"/>
                  <a:gd name="connsiteX178" fmla="*/ 1796 w 5354"/>
                  <a:gd name="connsiteY178" fmla="*/ 40 h 1072"/>
                  <a:gd name="connsiteX179" fmla="*/ 1869 w 5354"/>
                  <a:gd name="connsiteY179" fmla="*/ 19 h 1072"/>
                  <a:gd name="connsiteX180" fmla="*/ 1947 w 5354"/>
                  <a:gd name="connsiteY180" fmla="*/ 6 h 1072"/>
                  <a:gd name="connsiteX181" fmla="*/ 2017 w 5354"/>
                  <a:gd name="connsiteY181" fmla="*/ 4 h 1072"/>
                  <a:gd name="connsiteX182" fmla="*/ 2083 w 5354"/>
                  <a:gd name="connsiteY182" fmla="*/ 13 h 1072"/>
                  <a:gd name="connsiteX183" fmla="*/ 2143 w 5354"/>
                  <a:gd name="connsiteY183" fmla="*/ 27 h 1072"/>
                  <a:gd name="connsiteX184" fmla="*/ 2201 w 5354"/>
                  <a:gd name="connsiteY184" fmla="*/ 50 h 1072"/>
                  <a:gd name="connsiteX185" fmla="*/ 2255 w 5354"/>
                  <a:gd name="connsiteY185" fmla="*/ 81 h 1072"/>
                  <a:gd name="connsiteX186" fmla="*/ 2304 w 5354"/>
                  <a:gd name="connsiteY186" fmla="*/ 116 h 1072"/>
                  <a:gd name="connsiteX187" fmla="*/ 2350 w 5354"/>
                  <a:gd name="connsiteY187" fmla="*/ 158 h 1072"/>
                  <a:gd name="connsiteX188" fmla="*/ 2395 w 5354"/>
                  <a:gd name="connsiteY188" fmla="*/ 203 h 1072"/>
                  <a:gd name="connsiteX189" fmla="*/ 2437 w 5354"/>
                  <a:gd name="connsiteY189" fmla="*/ 251 h 1072"/>
                  <a:gd name="connsiteX190" fmla="*/ 2476 w 5354"/>
                  <a:gd name="connsiteY190" fmla="*/ 303 h 1072"/>
                  <a:gd name="connsiteX191" fmla="*/ 2513 w 5354"/>
                  <a:gd name="connsiteY191" fmla="*/ 357 h 1072"/>
                  <a:gd name="connsiteX192" fmla="*/ 2548 w 5354"/>
                  <a:gd name="connsiteY192" fmla="*/ 413 h 1072"/>
                  <a:gd name="connsiteX193" fmla="*/ 2583 w 5354"/>
                  <a:gd name="connsiteY193" fmla="*/ 467 h 1072"/>
                  <a:gd name="connsiteX194" fmla="*/ 2616 w 5354"/>
                  <a:gd name="connsiteY194" fmla="*/ 523 h 1072"/>
                  <a:gd name="connsiteX195" fmla="*/ 2653 w 5354"/>
                  <a:gd name="connsiteY195" fmla="*/ 585 h 1072"/>
                  <a:gd name="connsiteX196" fmla="*/ 2690 w 5354"/>
                  <a:gd name="connsiteY196" fmla="*/ 643 h 1072"/>
                  <a:gd name="connsiteX197" fmla="*/ 2730 w 5354"/>
                  <a:gd name="connsiteY197" fmla="*/ 701 h 1072"/>
                  <a:gd name="connsiteX198" fmla="*/ 2767 w 5354"/>
                  <a:gd name="connsiteY198" fmla="*/ 755 h 1072"/>
                  <a:gd name="connsiteX199" fmla="*/ 2808 w 5354"/>
                  <a:gd name="connsiteY199" fmla="*/ 805 h 1072"/>
                  <a:gd name="connsiteX200" fmla="*/ 2849 w 5354"/>
                  <a:gd name="connsiteY200" fmla="*/ 848 h 1072"/>
                  <a:gd name="connsiteX201" fmla="*/ 2893 w 5354"/>
                  <a:gd name="connsiteY201" fmla="*/ 886 h 1072"/>
                  <a:gd name="connsiteX202" fmla="*/ 2938 w 5354"/>
                  <a:gd name="connsiteY202" fmla="*/ 917 h 1072"/>
                  <a:gd name="connsiteX203" fmla="*/ 2988 w 5354"/>
                  <a:gd name="connsiteY203" fmla="*/ 940 h 1072"/>
                  <a:gd name="connsiteX204" fmla="*/ 3041 w 5354"/>
                  <a:gd name="connsiteY204" fmla="*/ 952 h 1072"/>
                  <a:gd name="connsiteX205" fmla="*/ 3097 w 5354"/>
                  <a:gd name="connsiteY205" fmla="*/ 956 h 1072"/>
                  <a:gd name="connsiteX206" fmla="*/ 3153 w 5354"/>
                  <a:gd name="connsiteY206" fmla="*/ 950 h 1072"/>
                  <a:gd name="connsiteX207" fmla="*/ 3203 w 5354"/>
                  <a:gd name="connsiteY207" fmla="*/ 935 h 1072"/>
                  <a:gd name="connsiteX208" fmla="*/ 3250 w 5354"/>
                  <a:gd name="connsiteY208" fmla="*/ 915 h 1072"/>
                  <a:gd name="connsiteX209" fmla="*/ 3293 w 5354"/>
                  <a:gd name="connsiteY209" fmla="*/ 884 h 1072"/>
                  <a:gd name="connsiteX210" fmla="*/ 3333 w 5354"/>
                  <a:gd name="connsiteY210" fmla="*/ 848 h 1072"/>
                  <a:gd name="connsiteX211" fmla="*/ 3370 w 5354"/>
                  <a:gd name="connsiteY211" fmla="*/ 807 h 1072"/>
                  <a:gd name="connsiteX212" fmla="*/ 3405 w 5354"/>
                  <a:gd name="connsiteY212" fmla="*/ 759 h 1072"/>
                  <a:gd name="connsiteX213" fmla="*/ 3438 w 5354"/>
                  <a:gd name="connsiteY213" fmla="*/ 709 h 1072"/>
                  <a:gd name="connsiteX214" fmla="*/ 3471 w 5354"/>
                  <a:gd name="connsiteY214" fmla="*/ 655 h 1072"/>
                  <a:gd name="connsiteX215" fmla="*/ 3504 w 5354"/>
                  <a:gd name="connsiteY215" fmla="*/ 597 h 1072"/>
                  <a:gd name="connsiteX216" fmla="*/ 3537 w 5354"/>
                  <a:gd name="connsiteY216" fmla="*/ 537 h 1072"/>
                  <a:gd name="connsiteX217" fmla="*/ 3566 w 5354"/>
                  <a:gd name="connsiteY217" fmla="*/ 483 h 1072"/>
                  <a:gd name="connsiteX218" fmla="*/ 3628 w 5354"/>
                  <a:gd name="connsiteY218" fmla="*/ 375 h 1072"/>
                  <a:gd name="connsiteX219" fmla="*/ 3698 w 5354"/>
                  <a:gd name="connsiteY219" fmla="*/ 272 h 1072"/>
                  <a:gd name="connsiteX220" fmla="*/ 3735 w 5354"/>
                  <a:gd name="connsiteY220" fmla="*/ 224 h 1072"/>
                  <a:gd name="connsiteX221" fmla="*/ 3776 w 5354"/>
                  <a:gd name="connsiteY221" fmla="*/ 178 h 1072"/>
                  <a:gd name="connsiteX222" fmla="*/ 3820 w 5354"/>
                  <a:gd name="connsiteY222" fmla="*/ 137 h 1072"/>
                  <a:gd name="connsiteX223" fmla="*/ 3867 w 5354"/>
                  <a:gd name="connsiteY223" fmla="*/ 100 h 1072"/>
                  <a:gd name="connsiteX224" fmla="*/ 3919 w 5354"/>
                  <a:gd name="connsiteY224" fmla="*/ 66 h 1072"/>
                  <a:gd name="connsiteX225" fmla="*/ 3977 w 5354"/>
                  <a:gd name="connsiteY225" fmla="*/ 40 h 1072"/>
                  <a:gd name="connsiteX226" fmla="*/ 4037 w 5354"/>
                  <a:gd name="connsiteY226" fmla="*/ 19 h 1072"/>
                  <a:gd name="connsiteX227" fmla="*/ 4103 w 5354"/>
                  <a:gd name="connsiteY227" fmla="*/ 6 h 1072"/>
                  <a:gd name="connsiteX228" fmla="*/ 4175 w 5354"/>
                  <a:gd name="connsiteY228" fmla="*/ 0 h 1072"/>
                  <a:gd name="connsiteX0" fmla="*/ 4175 w 5354"/>
                  <a:gd name="connsiteY0" fmla="*/ 0 h 1072"/>
                  <a:gd name="connsiteX1" fmla="*/ 4225 w 5354"/>
                  <a:gd name="connsiteY1" fmla="*/ 0 h 1072"/>
                  <a:gd name="connsiteX2" fmla="*/ 4253 w 5354"/>
                  <a:gd name="connsiteY2" fmla="*/ 4 h 1072"/>
                  <a:gd name="connsiteX3" fmla="*/ 4284 w 5354"/>
                  <a:gd name="connsiteY3" fmla="*/ 13 h 1072"/>
                  <a:gd name="connsiteX4" fmla="*/ 4322 w 5354"/>
                  <a:gd name="connsiteY4" fmla="*/ 23 h 1072"/>
                  <a:gd name="connsiteX5" fmla="*/ 4363 w 5354"/>
                  <a:gd name="connsiteY5" fmla="*/ 40 h 1072"/>
                  <a:gd name="connsiteX6" fmla="*/ 4406 w 5354"/>
                  <a:gd name="connsiteY6" fmla="*/ 60 h 1072"/>
                  <a:gd name="connsiteX7" fmla="*/ 4454 w 5354"/>
                  <a:gd name="connsiteY7" fmla="*/ 89 h 1072"/>
                  <a:gd name="connsiteX8" fmla="*/ 4503 w 5354"/>
                  <a:gd name="connsiteY8" fmla="*/ 125 h 1072"/>
                  <a:gd name="connsiteX9" fmla="*/ 4553 w 5354"/>
                  <a:gd name="connsiteY9" fmla="*/ 170 h 1072"/>
                  <a:gd name="connsiteX10" fmla="*/ 4604 w 5354"/>
                  <a:gd name="connsiteY10" fmla="*/ 224 h 1072"/>
                  <a:gd name="connsiteX11" fmla="*/ 4656 w 5354"/>
                  <a:gd name="connsiteY11" fmla="*/ 286 h 1072"/>
                  <a:gd name="connsiteX12" fmla="*/ 4708 w 5354"/>
                  <a:gd name="connsiteY12" fmla="*/ 361 h 1072"/>
                  <a:gd name="connsiteX13" fmla="*/ 4759 w 5354"/>
                  <a:gd name="connsiteY13" fmla="*/ 448 h 1072"/>
                  <a:gd name="connsiteX14" fmla="*/ 4811 w 5354"/>
                  <a:gd name="connsiteY14" fmla="*/ 548 h 1072"/>
                  <a:gd name="connsiteX15" fmla="*/ 4856 w 5354"/>
                  <a:gd name="connsiteY15" fmla="*/ 633 h 1072"/>
                  <a:gd name="connsiteX16" fmla="*/ 4902 w 5354"/>
                  <a:gd name="connsiteY16" fmla="*/ 705 h 1072"/>
                  <a:gd name="connsiteX17" fmla="*/ 4949 w 5354"/>
                  <a:gd name="connsiteY17" fmla="*/ 767 h 1072"/>
                  <a:gd name="connsiteX18" fmla="*/ 4997 w 5354"/>
                  <a:gd name="connsiteY18" fmla="*/ 819 h 1072"/>
                  <a:gd name="connsiteX19" fmla="*/ 5042 w 5354"/>
                  <a:gd name="connsiteY19" fmla="*/ 863 h 1072"/>
                  <a:gd name="connsiteX20" fmla="*/ 5090 w 5354"/>
                  <a:gd name="connsiteY20" fmla="*/ 898 h 1072"/>
                  <a:gd name="connsiteX21" fmla="*/ 5133 w 5354"/>
                  <a:gd name="connsiteY21" fmla="*/ 927 h 1072"/>
                  <a:gd name="connsiteX22" fmla="*/ 5176 w 5354"/>
                  <a:gd name="connsiteY22" fmla="*/ 948 h 1072"/>
                  <a:gd name="connsiteX23" fmla="*/ 5213 w 5354"/>
                  <a:gd name="connsiteY23" fmla="*/ 962 h 1072"/>
                  <a:gd name="connsiteX24" fmla="*/ 5251 w 5354"/>
                  <a:gd name="connsiteY24" fmla="*/ 973 h 1072"/>
                  <a:gd name="connsiteX25" fmla="*/ 5280 w 5354"/>
                  <a:gd name="connsiteY25" fmla="*/ 981 h 1072"/>
                  <a:gd name="connsiteX26" fmla="*/ 5306 w 5354"/>
                  <a:gd name="connsiteY26" fmla="*/ 983 h 1072"/>
                  <a:gd name="connsiteX27" fmla="*/ 5325 w 5354"/>
                  <a:gd name="connsiteY27" fmla="*/ 985 h 1072"/>
                  <a:gd name="connsiteX28" fmla="*/ 5346 w 5354"/>
                  <a:gd name="connsiteY28" fmla="*/ 985 h 1072"/>
                  <a:gd name="connsiteX29" fmla="*/ 5354 w 5354"/>
                  <a:gd name="connsiteY29" fmla="*/ 1072 h 1072"/>
                  <a:gd name="connsiteX30" fmla="*/ 5319 w 5354"/>
                  <a:gd name="connsiteY30" fmla="*/ 1072 h 1072"/>
                  <a:gd name="connsiteX31" fmla="*/ 5292 w 5354"/>
                  <a:gd name="connsiteY31" fmla="*/ 1070 h 1072"/>
                  <a:gd name="connsiteX32" fmla="*/ 5261 w 5354"/>
                  <a:gd name="connsiteY32" fmla="*/ 1064 h 1072"/>
                  <a:gd name="connsiteX33" fmla="*/ 5224 w 5354"/>
                  <a:gd name="connsiteY33" fmla="*/ 1056 h 1072"/>
                  <a:gd name="connsiteX34" fmla="*/ 5182 w 5354"/>
                  <a:gd name="connsiteY34" fmla="*/ 1043 h 1072"/>
                  <a:gd name="connsiteX35" fmla="*/ 5137 w 5354"/>
                  <a:gd name="connsiteY35" fmla="*/ 1025 h 1072"/>
                  <a:gd name="connsiteX36" fmla="*/ 5090 w 5354"/>
                  <a:gd name="connsiteY36" fmla="*/ 1002 h 1072"/>
                  <a:gd name="connsiteX37" fmla="*/ 5040 w 5354"/>
                  <a:gd name="connsiteY37" fmla="*/ 971 h 1072"/>
                  <a:gd name="connsiteX38" fmla="*/ 4988 w 5354"/>
                  <a:gd name="connsiteY38" fmla="*/ 931 h 1072"/>
                  <a:gd name="connsiteX39" fmla="*/ 4937 w 5354"/>
                  <a:gd name="connsiteY39" fmla="*/ 881 h 1072"/>
                  <a:gd name="connsiteX40" fmla="*/ 4883 w 5354"/>
                  <a:gd name="connsiteY40" fmla="*/ 823 h 1072"/>
                  <a:gd name="connsiteX41" fmla="*/ 4832 w 5354"/>
                  <a:gd name="connsiteY41" fmla="*/ 755 h 1072"/>
                  <a:gd name="connsiteX42" fmla="*/ 4782 w 5354"/>
                  <a:gd name="connsiteY42" fmla="*/ 676 h 1072"/>
                  <a:gd name="connsiteX43" fmla="*/ 4734 w 5354"/>
                  <a:gd name="connsiteY43" fmla="*/ 583 h 1072"/>
                  <a:gd name="connsiteX44" fmla="*/ 4685 w 5354"/>
                  <a:gd name="connsiteY44" fmla="*/ 487 h 1072"/>
                  <a:gd name="connsiteX45" fmla="*/ 4635 w 5354"/>
                  <a:gd name="connsiteY45" fmla="*/ 404 h 1072"/>
                  <a:gd name="connsiteX46" fmla="*/ 4586 w 5354"/>
                  <a:gd name="connsiteY46" fmla="*/ 336 h 1072"/>
                  <a:gd name="connsiteX47" fmla="*/ 4536 w 5354"/>
                  <a:gd name="connsiteY47" fmla="*/ 276 h 1072"/>
                  <a:gd name="connsiteX48" fmla="*/ 4489 w 5354"/>
                  <a:gd name="connsiteY48" fmla="*/ 228 h 1072"/>
                  <a:gd name="connsiteX49" fmla="*/ 4443 w 5354"/>
                  <a:gd name="connsiteY49" fmla="*/ 189 h 1072"/>
                  <a:gd name="connsiteX50" fmla="*/ 4402 w 5354"/>
                  <a:gd name="connsiteY50" fmla="*/ 158 h 1072"/>
                  <a:gd name="connsiteX51" fmla="*/ 4363 w 5354"/>
                  <a:gd name="connsiteY51" fmla="*/ 135 h 1072"/>
                  <a:gd name="connsiteX52" fmla="*/ 4313 w 5354"/>
                  <a:gd name="connsiteY52" fmla="*/ 112 h 1072"/>
                  <a:gd name="connsiteX53" fmla="*/ 4270 w 5354"/>
                  <a:gd name="connsiteY53" fmla="*/ 98 h 1072"/>
                  <a:gd name="connsiteX54" fmla="*/ 4235 w 5354"/>
                  <a:gd name="connsiteY54" fmla="*/ 89 h 1072"/>
                  <a:gd name="connsiteX55" fmla="*/ 4206 w 5354"/>
                  <a:gd name="connsiteY55" fmla="*/ 87 h 1072"/>
                  <a:gd name="connsiteX56" fmla="*/ 4179 w 5354"/>
                  <a:gd name="connsiteY56" fmla="*/ 87 h 1072"/>
                  <a:gd name="connsiteX57" fmla="*/ 4113 w 5354"/>
                  <a:gd name="connsiteY57" fmla="*/ 93 h 1072"/>
                  <a:gd name="connsiteX58" fmla="*/ 4051 w 5354"/>
                  <a:gd name="connsiteY58" fmla="*/ 106 h 1072"/>
                  <a:gd name="connsiteX59" fmla="*/ 3995 w 5354"/>
                  <a:gd name="connsiteY59" fmla="*/ 127 h 1072"/>
                  <a:gd name="connsiteX60" fmla="*/ 3944 w 5354"/>
                  <a:gd name="connsiteY60" fmla="*/ 154 h 1072"/>
                  <a:gd name="connsiteX61" fmla="*/ 3896 w 5354"/>
                  <a:gd name="connsiteY61" fmla="*/ 187 h 1072"/>
                  <a:gd name="connsiteX62" fmla="*/ 3853 w 5354"/>
                  <a:gd name="connsiteY62" fmla="*/ 224 h 1072"/>
                  <a:gd name="connsiteX63" fmla="*/ 3814 w 5354"/>
                  <a:gd name="connsiteY63" fmla="*/ 268 h 1072"/>
                  <a:gd name="connsiteX64" fmla="*/ 3774 w 5354"/>
                  <a:gd name="connsiteY64" fmla="*/ 313 h 1072"/>
                  <a:gd name="connsiteX65" fmla="*/ 3739 w 5354"/>
                  <a:gd name="connsiteY65" fmla="*/ 363 h 1072"/>
                  <a:gd name="connsiteX66" fmla="*/ 3706 w 5354"/>
                  <a:gd name="connsiteY66" fmla="*/ 415 h 1072"/>
                  <a:gd name="connsiteX67" fmla="*/ 3644 w 5354"/>
                  <a:gd name="connsiteY67" fmla="*/ 523 h 1072"/>
                  <a:gd name="connsiteX68" fmla="*/ 3551 w 5354"/>
                  <a:gd name="connsiteY68" fmla="*/ 691 h 1072"/>
                  <a:gd name="connsiteX69" fmla="*/ 3518 w 5354"/>
                  <a:gd name="connsiteY69" fmla="*/ 747 h 1072"/>
                  <a:gd name="connsiteX70" fmla="*/ 3483 w 5354"/>
                  <a:gd name="connsiteY70" fmla="*/ 799 h 1072"/>
                  <a:gd name="connsiteX71" fmla="*/ 3448 w 5354"/>
                  <a:gd name="connsiteY71" fmla="*/ 848 h 1072"/>
                  <a:gd name="connsiteX72" fmla="*/ 3409 w 5354"/>
                  <a:gd name="connsiteY72" fmla="*/ 894 h 1072"/>
                  <a:gd name="connsiteX73" fmla="*/ 3368 w 5354"/>
                  <a:gd name="connsiteY73" fmla="*/ 935 h 1072"/>
                  <a:gd name="connsiteX74" fmla="*/ 3322 w 5354"/>
                  <a:gd name="connsiteY74" fmla="*/ 971 h 1072"/>
                  <a:gd name="connsiteX75" fmla="*/ 3273 w 5354"/>
                  <a:gd name="connsiteY75" fmla="*/ 1000 h 1072"/>
                  <a:gd name="connsiteX76" fmla="*/ 3221 w 5354"/>
                  <a:gd name="connsiteY76" fmla="*/ 1022 h 1072"/>
                  <a:gd name="connsiteX77" fmla="*/ 3163 w 5354"/>
                  <a:gd name="connsiteY77" fmla="*/ 1037 h 1072"/>
                  <a:gd name="connsiteX78" fmla="*/ 3099 w 5354"/>
                  <a:gd name="connsiteY78" fmla="*/ 1043 h 1072"/>
                  <a:gd name="connsiteX79" fmla="*/ 3091 w 5354"/>
                  <a:gd name="connsiteY79" fmla="*/ 1043 h 1072"/>
                  <a:gd name="connsiteX80" fmla="*/ 3029 w 5354"/>
                  <a:gd name="connsiteY80" fmla="*/ 1039 h 1072"/>
                  <a:gd name="connsiteX81" fmla="*/ 2969 w 5354"/>
                  <a:gd name="connsiteY81" fmla="*/ 1025 h 1072"/>
                  <a:gd name="connsiteX82" fmla="*/ 2916 w 5354"/>
                  <a:gd name="connsiteY82" fmla="*/ 1002 h 1072"/>
                  <a:gd name="connsiteX83" fmla="*/ 2864 w 5354"/>
                  <a:gd name="connsiteY83" fmla="*/ 973 h 1072"/>
                  <a:gd name="connsiteX84" fmla="*/ 2816 w 5354"/>
                  <a:gd name="connsiteY84" fmla="*/ 935 h 1072"/>
                  <a:gd name="connsiteX85" fmla="*/ 2773 w 5354"/>
                  <a:gd name="connsiteY85" fmla="*/ 894 h 1072"/>
                  <a:gd name="connsiteX86" fmla="*/ 2730 w 5354"/>
                  <a:gd name="connsiteY86" fmla="*/ 846 h 1072"/>
                  <a:gd name="connsiteX87" fmla="*/ 2690 w 5354"/>
                  <a:gd name="connsiteY87" fmla="*/ 796 h 1072"/>
                  <a:gd name="connsiteX88" fmla="*/ 2651 w 5354"/>
                  <a:gd name="connsiteY88" fmla="*/ 740 h 1072"/>
                  <a:gd name="connsiteX89" fmla="*/ 2614 w 5354"/>
                  <a:gd name="connsiteY89" fmla="*/ 684 h 1072"/>
                  <a:gd name="connsiteX90" fmla="*/ 2509 w 5354"/>
                  <a:gd name="connsiteY90" fmla="*/ 510 h 1072"/>
                  <a:gd name="connsiteX91" fmla="*/ 2472 w 5354"/>
                  <a:gd name="connsiteY91" fmla="*/ 452 h 1072"/>
                  <a:gd name="connsiteX92" fmla="*/ 2434 w 5354"/>
                  <a:gd name="connsiteY92" fmla="*/ 396 h 1072"/>
                  <a:gd name="connsiteX93" fmla="*/ 2397 w 5354"/>
                  <a:gd name="connsiteY93" fmla="*/ 342 h 1072"/>
                  <a:gd name="connsiteX94" fmla="*/ 2358 w 5354"/>
                  <a:gd name="connsiteY94" fmla="*/ 293 h 1072"/>
                  <a:gd name="connsiteX95" fmla="*/ 2317 w 5354"/>
                  <a:gd name="connsiteY95" fmla="*/ 247 h 1072"/>
                  <a:gd name="connsiteX96" fmla="*/ 2275 w 5354"/>
                  <a:gd name="connsiteY96" fmla="*/ 205 h 1072"/>
                  <a:gd name="connsiteX97" fmla="*/ 2230 w 5354"/>
                  <a:gd name="connsiteY97" fmla="*/ 168 h 1072"/>
                  <a:gd name="connsiteX98" fmla="*/ 2183 w 5354"/>
                  <a:gd name="connsiteY98" fmla="*/ 139 h 1072"/>
                  <a:gd name="connsiteX99" fmla="*/ 2131 w 5354"/>
                  <a:gd name="connsiteY99" fmla="*/ 116 h 1072"/>
                  <a:gd name="connsiteX100" fmla="*/ 2075 w 5354"/>
                  <a:gd name="connsiteY100" fmla="*/ 100 h 1072"/>
                  <a:gd name="connsiteX101" fmla="*/ 2017 w 5354"/>
                  <a:gd name="connsiteY101" fmla="*/ 91 h 1072"/>
                  <a:gd name="connsiteX102" fmla="*/ 1953 w 5354"/>
                  <a:gd name="connsiteY102" fmla="*/ 93 h 1072"/>
                  <a:gd name="connsiteX103" fmla="*/ 1885 w 5354"/>
                  <a:gd name="connsiteY103" fmla="*/ 104 h 1072"/>
                  <a:gd name="connsiteX104" fmla="*/ 1823 w 5354"/>
                  <a:gd name="connsiteY104" fmla="*/ 122 h 1072"/>
                  <a:gd name="connsiteX105" fmla="*/ 1766 w 5354"/>
                  <a:gd name="connsiteY105" fmla="*/ 147 h 1072"/>
                  <a:gd name="connsiteX106" fmla="*/ 1712 w 5354"/>
                  <a:gd name="connsiteY106" fmla="*/ 181 h 1072"/>
                  <a:gd name="connsiteX107" fmla="*/ 1660 w 5354"/>
                  <a:gd name="connsiteY107" fmla="*/ 218 h 1072"/>
                  <a:gd name="connsiteX108" fmla="*/ 1615 w 5354"/>
                  <a:gd name="connsiteY108" fmla="*/ 261 h 1072"/>
                  <a:gd name="connsiteX109" fmla="*/ 1569 w 5354"/>
                  <a:gd name="connsiteY109" fmla="*/ 307 h 1072"/>
                  <a:gd name="connsiteX110" fmla="*/ 1528 w 5354"/>
                  <a:gd name="connsiteY110" fmla="*/ 359 h 1072"/>
                  <a:gd name="connsiteX111" fmla="*/ 1489 w 5354"/>
                  <a:gd name="connsiteY111" fmla="*/ 413 h 1072"/>
                  <a:gd name="connsiteX112" fmla="*/ 1452 w 5354"/>
                  <a:gd name="connsiteY112" fmla="*/ 467 h 1072"/>
                  <a:gd name="connsiteX113" fmla="*/ 1415 w 5354"/>
                  <a:gd name="connsiteY113" fmla="*/ 523 h 1072"/>
                  <a:gd name="connsiteX114" fmla="*/ 1377 w 5354"/>
                  <a:gd name="connsiteY114" fmla="*/ 581 h 1072"/>
                  <a:gd name="connsiteX115" fmla="*/ 1342 w 5354"/>
                  <a:gd name="connsiteY115" fmla="*/ 637 h 1072"/>
                  <a:gd name="connsiteX116" fmla="*/ 1268 w 5354"/>
                  <a:gd name="connsiteY116" fmla="*/ 749 h 1072"/>
                  <a:gd name="connsiteX117" fmla="*/ 1229 w 5354"/>
                  <a:gd name="connsiteY117" fmla="*/ 801 h 1072"/>
                  <a:gd name="connsiteX118" fmla="*/ 1187 w 5354"/>
                  <a:gd name="connsiteY118" fmla="*/ 850 h 1072"/>
                  <a:gd name="connsiteX119" fmla="*/ 1144 w 5354"/>
                  <a:gd name="connsiteY119" fmla="*/ 896 h 1072"/>
                  <a:gd name="connsiteX120" fmla="*/ 1097 w 5354"/>
                  <a:gd name="connsiteY120" fmla="*/ 937 h 1072"/>
                  <a:gd name="connsiteX121" fmla="*/ 1047 w 5354"/>
                  <a:gd name="connsiteY121" fmla="*/ 973 h 1072"/>
                  <a:gd name="connsiteX122" fmla="*/ 993 w 5354"/>
                  <a:gd name="connsiteY122" fmla="*/ 1002 h 1072"/>
                  <a:gd name="connsiteX123" fmla="*/ 938 w 5354"/>
                  <a:gd name="connsiteY123" fmla="*/ 1025 h 1072"/>
                  <a:gd name="connsiteX124" fmla="*/ 874 w 5354"/>
                  <a:gd name="connsiteY124" fmla="*/ 1037 h 1072"/>
                  <a:gd name="connsiteX125" fmla="*/ 808 w 5354"/>
                  <a:gd name="connsiteY125" fmla="*/ 1043 h 1072"/>
                  <a:gd name="connsiteX126" fmla="*/ 801 w 5354"/>
                  <a:gd name="connsiteY126" fmla="*/ 1043 h 1072"/>
                  <a:gd name="connsiteX127" fmla="*/ 733 w 5354"/>
                  <a:gd name="connsiteY127" fmla="*/ 1039 h 1072"/>
                  <a:gd name="connsiteX128" fmla="*/ 671 w 5354"/>
                  <a:gd name="connsiteY128" fmla="*/ 1027 h 1072"/>
                  <a:gd name="connsiteX129" fmla="*/ 613 w 5354"/>
                  <a:gd name="connsiteY129" fmla="*/ 1008 h 1072"/>
                  <a:gd name="connsiteX130" fmla="*/ 562 w 5354"/>
                  <a:gd name="connsiteY130" fmla="*/ 983 h 1072"/>
                  <a:gd name="connsiteX131" fmla="*/ 514 w 5354"/>
                  <a:gd name="connsiteY131" fmla="*/ 952 h 1072"/>
                  <a:gd name="connsiteX132" fmla="*/ 469 w 5354"/>
                  <a:gd name="connsiteY132" fmla="*/ 915 h 1072"/>
                  <a:gd name="connsiteX133" fmla="*/ 428 w 5354"/>
                  <a:gd name="connsiteY133" fmla="*/ 873 h 1072"/>
                  <a:gd name="connsiteX134" fmla="*/ 390 w 5354"/>
                  <a:gd name="connsiteY134" fmla="*/ 828 h 1072"/>
                  <a:gd name="connsiteX135" fmla="*/ 353 w 5354"/>
                  <a:gd name="connsiteY135" fmla="*/ 780 h 1072"/>
                  <a:gd name="connsiteX136" fmla="*/ 320 w 5354"/>
                  <a:gd name="connsiteY136" fmla="*/ 728 h 1072"/>
                  <a:gd name="connsiteX137" fmla="*/ 285 w 5354"/>
                  <a:gd name="connsiteY137" fmla="*/ 674 h 1072"/>
                  <a:gd name="connsiteX138" fmla="*/ 254 w 5354"/>
                  <a:gd name="connsiteY138" fmla="*/ 618 h 1072"/>
                  <a:gd name="connsiteX139" fmla="*/ 221 w 5354"/>
                  <a:gd name="connsiteY139" fmla="*/ 560 h 1072"/>
                  <a:gd name="connsiteX140" fmla="*/ 159 w 5354"/>
                  <a:gd name="connsiteY140" fmla="*/ 448 h 1072"/>
                  <a:gd name="connsiteX141" fmla="*/ 91 w 5354"/>
                  <a:gd name="connsiteY141" fmla="*/ 340 h 1072"/>
                  <a:gd name="connsiteX142" fmla="*/ 48 w 5354"/>
                  <a:gd name="connsiteY142" fmla="*/ 284 h 1072"/>
                  <a:gd name="connsiteX143" fmla="*/ 0 w 5354"/>
                  <a:gd name="connsiteY143" fmla="*/ 239 h 1072"/>
                  <a:gd name="connsiteX144" fmla="*/ 112 w 5354"/>
                  <a:gd name="connsiteY144" fmla="*/ 228 h 1072"/>
                  <a:gd name="connsiteX145" fmla="*/ 298 w 5354"/>
                  <a:gd name="connsiteY145" fmla="*/ 516 h 1072"/>
                  <a:gd name="connsiteX146" fmla="*/ 331 w 5354"/>
                  <a:gd name="connsiteY146" fmla="*/ 575 h 1072"/>
                  <a:gd name="connsiteX147" fmla="*/ 364 w 5354"/>
                  <a:gd name="connsiteY147" fmla="*/ 631 h 1072"/>
                  <a:gd name="connsiteX148" fmla="*/ 397 w 5354"/>
                  <a:gd name="connsiteY148" fmla="*/ 684 h 1072"/>
                  <a:gd name="connsiteX149" fmla="*/ 430 w 5354"/>
                  <a:gd name="connsiteY149" fmla="*/ 736 h 1072"/>
                  <a:gd name="connsiteX150" fmla="*/ 465 w 5354"/>
                  <a:gd name="connsiteY150" fmla="*/ 782 h 1072"/>
                  <a:gd name="connsiteX151" fmla="*/ 502 w 5354"/>
                  <a:gd name="connsiteY151" fmla="*/ 825 h 1072"/>
                  <a:gd name="connsiteX152" fmla="*/ 543 w 5354"/>
                  <a:gd name="connsiteY152" fmla="*/ 863 h 1072"/>
                  <a:gd name="connsiteX153" fmla="*/ 587 w 5354"/>
                  <a:gd name="connsiteY153" fmla="*/ 894 h 1072"/>
                  <a:gd name="connsiteX154" fmla="*/ 634 w 5354"/>
                  <a:gd name="connsiteY154" fmla="*/ 921 h 1072"/>
                  <a:gd name="connsiteX155" fmla="*/ 684 w 5354"/>
                  <a:gd name="connsiteY155" fmla="*/ 940 h 1072"/>
                  <a:gd name="connsiteX156" fmla="*/ 739 w 5354"/>
                  <a:gd name="connsiteY156" fmla="*/ 952 h 1072"/>
                  <a:gd name="connsiteX157" fmla="*/ 801 w 5354"/>
                  <a:gd name="connsiteY157" fmla="*/ 956 h 1072"/>
                  <a:gd name="connsiteX158" fmla="*/ 808 w 5354"/>
                  <a:gd name="connsiteY158" fmla="*/ 956 h 1072"/>
                  <a:gd name="connsiteX159" fmla="*/ 867 w 5354"/>
                  <a:gd name="connsiteY159" fmla="*/ 950 h 1072"/>
                  <a:gd name="connsiteX160" fmla="*/ 923 w 5354"/>
                  <a:gd name="connsiteY160" fmla="*/ 935 h 1072"/>
                  <a:gd name="connsiteX161" fmla="*/ 977 w 5354"/>
                  <a:gd name="connsiteY161" fmla="*/ 913 h 1072"/>
                  <a:gd name="connsiteX162" fmla="*/ 1024 w 5354"/>
                  <a:gd name="connsiteY162" fmla="*/ 884 h 1072"/>
                  <a:gd name="connsiteX163" fmla="*/ 1070 w 5354"/>
                  <a:gd name="connsiteY163" fmla="*/ 846 h 1072"/>
                  <a:gd name="connsiteX164" fmla="*/ 1113 w 5354"/>
                  <a:gd name="connsiteY164" fmla="*/ 803 h 1072"/>
                  <a:gd name="connsiteX165" fmla="*/ 1152 w 5354"/>
                  <a:gd name="connsiteY165" fmla="*/ 755 h 1072"/>
                  <a:gd name="connsiteX166" fmla="*/ 1192 w 5354"/>
                  <a:gd name="connsiteY166" fmla="*/ 703 h 1072"/>
                  <a:gd name="connsiteX167" fmla="*/ 1231 w 5354"/>
                  <a:gd name="connsiteY167" fmla="*/ 649 h 1072"/>
                  <a:gd name="connsiteX168" fmla="*/ 1342 w 5354"/>
                  <a:gd name="connsiteY168" fmla="*/ 475 h 1072"/>
                  <a:gd name="connsiteX169" fmla="*/ 1382 w 5354"/>
                  <a:gd name="connsiteY169" fmla="*/ 415 h 1072"/>
                  <a:gd name="connsiteX170" fmla="*/ 1423 w 5354"/>
                  <a:gd name="connsiteY170" fmla="*/ 357 h 1072"/>
                  <a:gd name="connsiteX171" fmla="*/ 1466 w 5354"/>
                  <a:gd name="connsiteY171" fmla="*/ 299 h 1072"/>
                  <a:gd name="connsiteX172" fmla="*/ 1512 w 5354"/>
                  <a:gd name="connsiteY172" fmla="*/ 245 h 1072"/>
                  <a:gd name="connsiteX173" fmla="*/ 1559 w 5354"/>
                  <a:gd name="connsiteY173" fmla="*/ 193 h 1072"/>
                  <a:gd name="connsiteX174" fmla="*/ 1613 w 5354"/>
                  <a:gd name="connsiteY174" fmla="*/ 145 h 1072"/>
                  <a:gd name="connsiteX175" fmla="*/ 1668 w 5354"/>
                  <a:gd name="connsiteY175" fmla="*/ 104 h 1072"/>
                  <a:gd name="connsiteX176" fmla="*/ 1730 w 5354"/>
                  <a:gd name="connsiteY176" fmla="*/ 69 h 1072"/>
                  <a:gd name="connsiteX177" fmla="*/ 1796 w 5354"/>
                  <a:gd name="connsiteY177" fmla="*/ 40 h 1072"/>
                  <a:gd name="connsiteX178" fmla="*/ 1869 w 5354"/>
                  <a:gd name="connsiteY178" fmla="*/ 19 h 1072"/>
                  <a:gd name="connsiteX179" fmla="*/ 1947 w 5354"/>
                  <a:gd name="connsiteY179" fmla="*/ 6 h 1072"/>
                  <a:gd name="connsiteX180" fmla="*/ 2017 w 5354"/>
                  <a:gd name="connsiteY180" fmla="*/ 4 h 1072"/>
                  <a:gd name="connsiteX181" fmla="*/ 2083 w 5354"/>
                  <a:gd name="connsiteY181" fmla="*/ 13 h 1072"/>
                  <a:gd name="connsiteX182" fmla="*/ 2143 w 5354"/>
                  <a:gd name="connsiteY182" fmla="*/ 27 h 1072"/>
                  <a:gd name="connsiteX183" fmla="*/ 2201 w 5354"/>
                  <a:gd name="connsiteY183" fmla="*/ 50 h 1072"/>
                  <a:gd name="connsiteX184" fmla="*/ 2255 w 5354"/>
                  <a:gd name="connsiteY184" fmla="*/ 81 h 1072"/>
                  <a:gd name="connsiteX185" fmla="*/ 2304 w 5354"/>
                  <a:gd name="connsiteY185" fmla="*/ 116 h 1072"/>
                  <a:gd name="connsiteX186" fmla="*/ 2350 w 5354"/>
                  <a:gd name="connsiteY186" fmla="*/ 158 h 1072"/>
                  <a:gd name="connsiteX187" fmla="*/ 2395 w 5354"/>
                  <a:gd name="connsiteY187" fmla="*/ 203 h 1072"/>
                  <a:gd name="connsiteX188" fmla="*/ 2437 w 5354"/>
                  <a:gd name="connsiteY188" fmla="*/ 251 h 1072"/>
                  <a:gd name="connsiteX189" fmla="*/ 2476 w 5354"/>
                  <a:gd name="connsiteY189" fmla="*/ 303 h 1072"/>
                  <a:gd name="connsiteX190" fmla="*/ 2513 w 5354"/>
                  <a:gd name="connsiteY190" fmla="*/ 357 h 1072"/>
                  <a:gd name="connsiteX191" fmla="*/ 2548 w 5354"/>
                  <a:gd name="connsiteY191" fmla="*/ 413 h 1072"/>
                  <a:gd name="connsiteX192" fmla="*/ 2583 w 5354"/>
                  <a:gd name="connsiteY192" fmla="*/ 467 h 1072"/>
                  <a:gd name="connsiteX193" fmla="*/ 2616 w 5354"/>
                  <a:gd name="connsiteY193" fmla="*/ 523 h 1072"/>
                  <a:gd name="connsiteX194" fmla="*/ 2653 w 5354"/>
                  <a:gd name="connsiteY194" fmla="*/ 585 h 1072"/>
                  <a:gd name="connsiteX195" fmla="*/ 2690 w 5354"/>
                  <a:gd name="connsiteY195" fmla="*/ 643 h 1072"/>
                  <a:gd name="connsiteX196" fmla="*/ 2730 w 5354"/>
                  <a:gd name="connsiteY196" fmla="*/ 701 h 1072"/>
                  <a:gd name="connsiteX197" fmla="*/ 2767 w 5354"/>
                  <a:gd name="connsiteY197" fmla="*/ 755 h 1072"/>
                  <a:gd name="connsiteX198" fmla="*/ 2808 w 5354"/>
                  <a:gd name="connsiteY198" fmla="*/ 805 h 1072"/>
                  <a:gd name="connsiteX199" fmla="*/ 2849 w 5354"/>
                  <a:gd name="connsiteY199" fmla="*/ 848 h 1072"/>
                  <a:gd name="connsiteX200" fmla="*/ 2893 w 5354"/>
                  <a:gd name="connsiteY200" fmla="*/ 886 h 1072"/>
                  <a:gd name="connsiteX201" fmla="*/ 2938 w 5354"/>
                  <a:gd name="connsiteY201" fmla="*/ 917 h 1072"/>
                  <a:gd name="connsiteX202" fmla="*/ 2988 w 5354"/>
                  <a:gd name="connsiteY202" fmla="*/ 940 h 1072"/>
                  <a:gd name="connsiteX203" fmla="*/ 3041 w 5354"/>
                  <a:gd name="connsiteY203" fmla="*/ 952 h 1072"/>
                  <a:gd name="connsiteX204" fmla="*/ 3097 w 5354"/>
                  <a:gd name="connsiteY204" fmla="*/ 956 h 1072"/>
                  <a:gd name="connsiteX205" fmla="*/ 3153 w 5354"/>
                  <a:gd name="connsiteY205" fmla="*/ 950 h 1072"/>
                  <a:gd name="connsiteX206" fmla="*/ 3203 w 5354"/>
                  <a:gd name="connsiteY206" fmla="*/ 935 h 1072"/>
                  <a:gd name="connsiteX207" fmla="*/ 3250 w 5354"/>
                  <a:gd name="connsiteY207" fmla="*/ 915 h 1072"/>
                  <a:gd name="connsiteX208" fmla="*/ 3293 w 5354"/>
                  <a:gd name="connsiteY208" fmla="*/ 884 h 1072"/>
                  <a:gd name="connsiteX209" fmla="*/ 3333 w 5354"/>
                  <a:gd name="connsiteY209" fmla="*/ 848 h 1072"/>
                  <a:gd name="connsiteX210" fmla="*/ 3370 w 5354"/>
                  <a:gd name="connsiteY210" fmla="*/ 807 h 1072"/>
                  <a:gd name="connsiteX211" fmla="*/ 3405 w 5354"/>
                  <a:gd name="connsiteY211" fmla="*/ 759 h 1072"/>
                  <a:gd name="connsiteX212" fmla="*/ 3438 w 5354"/>
                  <a:gd name="connsiteY212" fmla="*/ 709 h 1072"/>
                  <a:gd name="connsiteX213" fmla="*/ 3471 w 5354"/>
                  <a:gd name="connsiteY213" fmla="*/ 655 h 1072"/>
                  <a:gd name="connsiteX214" fmla="*/ 3504 w 5354"/>
                  <a:gd name="connsiteY214" fmla="*/ 597 h 1072"/>
                  <a:gd name="connsiteX215" fmla="*/ 3537 w 5354"/>
                  <a:gd name="connsiteY215" fmla="*/ 537 h 1072"/>
                  <a:gd name="connsiteX216" fmla="*/ 3566 w 5354"/>
                  <a:gd name="connsiteY216" fmla="*/ 483 h 1072"/>
                  <a:gd name="connsiteX217" fmla="*/ 3628 w 5354"/>
                  <a:gd name="connsiteY217" fmla="*/ 375 h 1072"/>
                  <a:gd name="connsiteX218" fmla="*/ 3698 w 5354"/>
                  <a:gd name="connsiteY218" fmla="*/ 272 h 1072"/>
                  <a:gd name="connsiteX219" fmla="*/ 3735 w 5354"/>
                  <a:gd name="connsiteY219" fmla="*/ 224 h 1072"/>
                  <a:gd name="connsiteX220" fmla="*/ 3776 w 5354"/>
                  <a:gd name="connsiteY220" fmla="*/ 178 h 1072"/>
                  <a:gd name="connsiteX221" fmla="*/ 3820 w 5354"/>
                  <a:gd name="connsiteY221" fmla="*/ 137 h 1072"/>
                  <a:gd name="connsiteX222" fmla="*/ 3867 w 5354"/>
                  <a:gd name="connsiteY222" fmla="*/ 100 h 1072"/>
                  <a:gd name="connsiteX223" fmla="*/ 3919 w 5354"/>
                  <a:gd name="connsiteY223" fmla="*/ 66 h 1072"/>
                  <a:gd name="connsiteX224" fmla="*/ 3977 w 5354"/>
                  <a:gd name="connsiteY224" fmla="*/ 40 h 1072"/>
                  <a:gd name="connsiteX225" fmla="*/ 4037 w 5354"/>
                  <a:gd name="connsiteY225" fmla="*/ 19 h 1072"/>
                  <a:gd name="connsiteX226" fmla="*/ 4103 w 5354"/>
                  <a:gd name="connsiteY226" fmla="*/ 6 h 1072"/>
                  <a:gd name="connsiteX227" fmla="*/ 4175 w 5354"/>
                  <a:gd name="connsiteY227" fmla="*/ 0 h 1072"/>
                  <a:gd name="connsiteX0" fmla="*/ 4179 w 5358"/>
                  <a:gd name="connsiteY0" fmla="*/ 0 h 1072"/>
                  <a:gd name="connsiteX1" fmla="*/ 4229 w 5358"/>
                  <a:gd name="connsiteY1" fmla="*/ 0 h 1072"/>
                  <a:gd name="connsiteX2" fmla="*/ 4257 w 5358"/>
                  <a:gd name="connsiteY2" fmla="*/ 4 h 1072"/>
                  <a:gd name="connsiteX3" fmla="*/ 4288 w 5358"/>
                  <a:gd name="connsiteY3" fmla="*/ 13 h 1072"/>
                  <a:gd name="connsiteX4" fmla="*/ 4326 w 5358"/>
                  <a:gd name="connsiteY4" fmla="*/ 23 h 1072"/>
                  <a:gd name="connsiteX5" fmla="*/ 4367 w 5358"/>
                  <a:gd name="connsiteY5" fmla="*/ 40 h 1072"/>
                  <a:gd name="connsiteX6" fmla="*/ 4410 w 5358"/>
                  <a:gd name="connsiteY6" fmla="*/ 60 h 1072"/>
                  <a:gd name="connsiteX7" fmla="*/ 4458 w 5358"/>
                  <a:gd name="connsiteY7" fmla="*/ 89 h 1072"/>
                  <a:gd name="connsiteX8" fmla="*/ 4507 w 5358"/>
                  <a:gd name="connsiteY8" fmla="*/ 125 h 1072"/>
                  <a:gd name="connsiteX9" fmla="*/ 4557 w 5358"/>
                  <a:gd name="connsiteY9" fmla="*/ 170 h 1072"/>
                  <a:gd name="connsiteX10" fmla="*/ 4608 w 5358"/>
                  <a:gd name="connsiteY10" fmla="*/ 224 h 1072"/>
                  <a:gd name="connsiteX11" fmla="*/ 4660 w 5358"/>
                  <a:gd name="connsiteY11" fmla="*/ 286 h 1072"/>
                  <a:gd name="connsiteX12" fmla="*/ 4712 w 5358"/>
                  <a:gd name="connsiteY12" fmla="*/ 361 h 1072"/>
                  <a:gd name="connsiteX13" fmla="*/ 4763 w 5358"/>
                  <a:gd name="connsiteY13" fmla="*/ 448 h 1072"/>
                  <a:gd name="connsiteX14" fmla="*/ 4815 w 5358"/>
                  <a:gd name="connsiteY14" fmla="*/ 548 h 1072"/>
                  <a:gd name="connsiteX15" fmla="*/ 4860 w 5358"/>
                  <a:gd name="connsiteY15" fmla="*/ 633 h 1072"/>
                  <a:gd name="connsiteX16" fmla="*/ 4906 w 5358"/>
                  <a:gd name="connsiteY16" fmla="*/ 705 h 1072"/>
                  <a:gd name="connsiteX17" fmla="*/ 4953 w 5358"/>
                  <a:gd name="connsiteY17" fmla="*/ 767 h 1072"/>
                  <a:gd name="connsiteX18" fmla="*/ 5001 w 5358"/>
                  <a:gd name="connsiteY18" fmla="*/ 819 h 1072"/>
                  <a:gd name="connsiteX19" fmla="*/ 5046 w 5358"/>
                  <a:gd name="connsiteY19" fmla="*/ 863 h 1072"/>
                  <a:gd name="connsiteX20" fmla="*/ 5094 w 5358"/>
                  <a:gd name="connsiteY20" fmla="*/ 898 h 1072"/>
                  <a:gd name="connsiteX21" fmla="*/ 5137 w 5358"/>
                  <a:gd name="connsiteY21" fmla="*/ 927 h 1072"/>
                  <a:gd name="connsiteX22" fmla="*/ 5180 w 5358"/>
                  <a:gd name="connsiteY22" fmla="*/ 948 h 1072"/>
                  <a:gd name="connsiteX23" fmla="*/ 5217 w 5358"/>
                  <a:gd name="connsiteY23" fmla="*/ 962 h 1072"/>
                  <a:gd name="connsiteX24" fmla="*/ 5255 w 5358"/>
                  <a:gd name="connsiteY24" fmla="*/ 973 h 1072"/>
                  <a:gd name="connsiteX25" fmla="*/ 5284 w 5358"/>
                  <a:gd name="connsiteY25" fmla="*/ 981 h 1072"/>
                  <a:gd name="connsiteX26" fmla="*/ 5310 w 5358"/>
                  <a:gd name="connsiteY26" fmla="*/ 983 h 1072"/>
                  <a:gd name="connsiteX27" fmla="*/ 5329 w 5358"/>
                  <a:gd name="connsiteY27" fmla="*/ 985 h 1072"/>
                  <a:gd name="connsiteX28" fmla="*/ 5350 w 5358"/>
                  <a:gd name="connsiteY28" fmla="*/ 985 h 1072"/>
                  <a:gd name="connsiteX29" fmla="*/ 5358 w 5358"/>
                  <a:gd name="connsiteY29" fmla="*/ 1072 h 1072"/>
                  <a:gd name="connsiteX30" fmla="*/ 5323 w 5358"/>
                  <a:gd name="connsiteY30" fmla="*/ 1072 h 1072"/>
                  <a:gd name="connsiteX31" fmla="*/ 5296 w 5358"/>
                  <a:gd name="connsiteY31" fmla="*/ 1070 h 1072"/>
                  <a:gd name="connsiteX32" fmla="*/ 5265 w 5358"/>
                  <a:gd name="connsiteY32" fmla="*/ 1064 h 1072"/>
                  <a:gd name="connsiteX33" fmla="*/ 5228 w 5358"/>
                  <a:gd name="connsiteY33" fmla="*/ 1056 h 1072"/>
                  <a:gd name="connsiteX34" fmla="*/ 5186 w 5358"/>
                  <a:gd name="connsiteY34" fmla="*/ 1043 h 1072"/>
                  <a:gd name="connsiteX35" fmla="*/ 5141 w 5358"/>
                  <a:gd name="connsiteY35" fmla="*/ 1025 h 1072"/>
                  <a:gd name="connsiteX36" fmla="*/ 5094 w 5358"/>
                  <a:gd name="connsiteY36" fmla="*/ 1002 h 1072"/>
                  <a:gd name="connsiteX37" fmla="*/ 5044 w 5358"/>
                  <a:gd name="connsiteY37" fmla="*/ 971 h 1072"/>
                  <a:gd name="connsiteX38" fmla="*/ 4992 w 5358"/>
                  <a:gd name="connsiteY38" fmla="*/ 931 h 1072"/>
                  <a:gd name="connsiteX39" fmla="*/ 4941 w 5358"/>
                  <a:gd name="connsiteY39" fmla="*/ 881 h 1072"/>
                  <a:gd name="connsiteX40" fmla="*/ 4887 w 5358"/>
                  <a:gd name="connsiteY40" fmla="*/ 823 h 1072"/>
                  <a:gd name="connsiteX41" fmla="*/ 4836 w 5358"/>
                  <a:gd name="connsiteY41" fmla="*/ 755 h 1072"/>
                  <a:gd name="connsiteX42" fmla="*/ 4786 w 5358"/>
                  <a:gd name="connsiteY42" fmla="*/ 676 h 1072"/>
                  <a:gd name="connsiteX43" fmla="*/ 4738 w 5358"/>
                  <a:gd name="connsiteY43" fmla="*/ 583 h 1072"/>
                  <a:gd name="connsiteX44" fmla="*/ 4689 w 5358"/>
                  <a:gd name="connsiteY44" fmla="*/ 487 h 1072"/>
                  <a:gd name="connsiteX45" fmla="*/ 4639 w 5358"/>
                  <a:gd name="connsiteY45" fmla="*/ 404 h 1072"/>
                  <a:gd name="connsiteX46" fmla="*/ 4590 w 5358"/>
                  <a:gd name="connsiteY46" fmla="*/ 336 h 1072"/>
                  <a:gd name="connsiteX47" fmla="*/ 4540 w 5358"/>
                  <a:gd name="connsiteY47" fmla="*/ 276 h 1072"/>
                  <a:gd name="connsiteX48" fmla="*/ 4493 w 5358"/>
                  <a:gd name="connsiteY48" fmla="*/ 228 h 1072"/>
                  <a:gd name="connsiteX49" fmla="*/ 4447 w 5358"/>
                  <a:gd name="connsiteY49" fmla="*/ 189 h 1072"/>
                  <a:gd name="connsiteX50" fmla="*/ 4406 w 5358"/>
                  <a:gd name="connsiteY50" fmla="*/ 158 h 1072"/>
                  <a:gd name="connsiteX51" fmla="*/ 4367 w 5358"/>
                  <a:gd name="connsiteY51" fmla="*/ 135 h 1072"/>
                  <a:gd name="connsiteX52" fmla="*/ 4317 w 5358"/>
                  <a:gd name="connsiteY52" fmla="*/ 112 h 1072"/>
                  <a:gd name="connsiteX53" fmla="*/ 4274 w 5358"/>
                  <a:gd name="connsiteY53" fmla="*/ 98 h 1072"/>
                  <a:gd name="connsiteX54" fmla="*/ 4239 w 5358"/>
                  <a:gd name="connsiteY54" fmla="*/ 89 h 1072"/>
                  <a:gd name="connsiteX55" fmla="*/ 4210 w 5358"/>
                  <a:gd name="connsiteY55" fmla="*/ 87 h 1072"/>
                  <a:gd name="connsiteX56" fmla="*/ 4183 w 5358"/>
                  <a:gd name="connsiteY56" fmla="*/ 87 h 1072"/>
                  <a:gd name="connsiteX57" fmla="*/ 4117 w 5358"/>
                  <a:gd name="connsiteY57" fmla="*/ 93 h 1072"/>
                  <a:gd name="connsiteX58" fmla="*/ 4055 w 5358"/>
                  <a:gd name="connsiteY58" fmla="*/ 106 h 1072"/>
                  <a:gd name="connsiteX59" fmla="*/ 3999 w 5358"/>
                  <a:gd name="connsiteY59" fmla="*/ 127 h 1072"/>
                  <a:gd name="connsiteX60" fmla="*/ 3948 w 5358"/>
                  <a:gd name="connsiteY60" fmla="*/ 154 h 1072"/>
                  <a:gd name="connsiteX61" fmla="*/ 3900 w 5358"/>
                  <a:gd name="connsiteY61" fmla="*/ 187 h 1072"/>
                  <a:gd name="connsiteX62" fmla="*/ 3857 w 5358"/>
                  <a:gd name="connsiteY62" fmla="*/ 224 h 1072"/>
                  <a:gd name="connsiteX63" fmla="*/ 3818 w 5358"/>
                  <a:gd name="connsiteY63" fmla="*/ 268 h 1072"/>
                  <a:gd name="connsiteX64" fmla="*/ 3778 w 5358"/>
                  <a:gd name="connsiteY64" fmla="*/ 313 h 1072"/>
                  <a:gd name="connsiteX65" fmla="*/ 3743 w 5358"/>
                  <a:gd name="connsiteY65" fmla="*/ 363 h 1072"/>
                  <a:gd name="connsiteX66" fmla="*/ 3710 w 5358"/>
                  <a:gd name="connsiteY66" fmla="*/ 415 h 1072"/>
                  <a:gd name="connsiteX67" fmla="*/ 3648 w 5358"/>
                  <a:gd name="connsiteY67" fmla="*/ 523 h 1072"/>
                  <a:gd name="connsiteX68" fmla="*/ 3555 w 5358"/>
                  <a:gd name="connsiteY68" fmla="*/ 691 h 1072"/>
                  <a:gd name="connsiteX69" fmla="*/ 3522 w 5358"/>
                  <a:gd name="connsiteY69" fmla="*/ 747 h 1072"/>
                  <a:gd name="connsiteX70" fmla="*/ 3487 w 5358"/>
                  <a:gd name="connsiteY70" fmla="*/ 799 h 1072"/>
                  <a:gd name="connsiteX71" fmla="*/ 3452 w 5358"/>
                  <a:gd name="connsiteY71" fmla="*/ 848 h 1072"/>
                  <a:gd name="connsiteX72" fmla="*/ 3413 w 5358"/>
                  <a:gd name="connsiteY72" fmla="*/ 894 h 1072"/>
                  <a:gd name="connsiteX73" fmla="*/ 3372 w 5358"/>
                  <a:gd name="connsiteY73" fmla="*/ 935 h 1072"/>
                  <a:gd name="connsiteX74" fmla="*/ 3326 w 5358"/>
                  <a:gd name="connsiteY74" fmla="*/ 971 h 1072"/>
                  <a:gd name="connsiteX75" fmla="*/ 3277 w 5358"/>
                  <a:gd name="connsiteY75" fmla="*/ 1000 h 1072"/>
                  <a:gd name="connsiteX76" fmla="*/ 3225 w 5358"/>
                  <a:gd name="connsiteY76" fmla="*/ 1022 h 1072"/>
                  <a:gd name="connsiteX77" fmla="*/ 3167 w 5358"/>
                  <a:gd name="connsiteY77" fmla="*/ 1037 h 1072"/>
                  <a:gd name="connsiteX78" fmla="*/ 3103 w 5358"/>
                  <a:gd name="connsiteY78" fmla="*/ 1043 h 1072"/>
                  <a:gd name="connsiteX79" fmla="*/ 3095 w 5358"/>
                  <a:gd name="connsiteY79" fmla="*/ 1043 h 1072"/>
                  <a:gd name="connsiteX80" fmla="*/ 3033 w 5358"/>
                  <a:gd name="connsiteY80" fmla="*/ 1039 h 1072"/>
                  <a:gd name="connsiteX81" fmla="*/ 2973 w 5358"/>
                  <a:gd name="connsiteY81" fmla="*/ 1025 h 1072"/>
                  <a:gd name="connsiteX82" fmla="*/ 2920 w 5358"/>
                  <a:gd name="connsiteY82" fmla="*/ 1002 h 1072"/>
                  <a:gd name="connsiteX83" fmla="*/ 2868 w 5358"/>
                  <a:gd name="connsiteY83" fmla="*/ 973 h 1072"/>
                  <a:gd name="connsiteX84" fmla="*/ 2820 w 5358"/>
                  <a:gd name="connsiteY84" fmla="*/ 935 h 1072"/>
                  <a:gd name="connsiteX85" fmla="*/ 2777 w 5358"/>
                  <a:gd name="connsiteY85" fmla="*/ 894 h 1072"/>
                  <a:gd name="connsiteX86" fmla="*/ 2734 w 5358"/>
                  <a:gd name="connsiteY86" fmla="*/ 846 h 1072"/>
                  <a:gd name="connsiteX87" fmla="*/ 2694 w 5358"/>
                  <a:gd name="connsiteY87" fmla="*/ 796 h 1072"/>
                  <a:gd name="connsiteX88" fmla="*/ 2655 w 5358"/>
                  <a:gd name="connsiteY88" fmla="*/ 740 h 1072"/>
                  <a:gd name="connsiteX89" fmla="*/ 2618 w 5358"/>
                  <a:gd name="connsiteY89" fmla="*/ 684 h 1072"/>
                  <a:gd name="connsiteX90" fmla="*/ 2513 w 5358"/>
                  <a:gd name="connsiteY90" fmla="*/ 510 h 1072"/>
                  <a:gd name="connsiteX91" fmla="*/ 2476 w 5358"/>
                  <a:gd name="connsiteY91" fmla="*/ 452 h 1072"/>
                  <a:gd name="connsiteX92" fmla="*/ 2438 w 5358"/>
                  <a:gd name="connsiteY92" fmla="*/ 396 h 1072"/>
                  <a:gd name="connsiteX93" fmla="*/ 2401 w 5358"/>
                  <a:gd name="connsiteY93" fmla="*/ 342 h 1072"/>
                  <a:gd name="connsiteX94" fmla="*/ 2362 w 5358"/>
                  <a:gd name="connsiteY94" fmla="*/ 293 h 1072"/>
                  <a:gd name="connsiteX95" fmla="*/ 2321 w 5358"/>
                  <a:gd name="connsiteY95" fmla="*/ 247 h 1072"/>
                  <a:gd name="connsiteX96" fmla="*/ 2279 w 5358"/>
                  <a:gd name="connsiteY96" fmla="*/ 205 h 1072"/>
                  <a:gd name="connsiteX97" fmla="*/ 2234 w 5358"/>
                  <a:gd name="connsiteY97" fmla="*/ 168 h 1072"/>
                  <a:gd name="connsiteX98" fmla="*/ 2187 w 5358"/>
                  <a:gd name="connsiteY98" fmla="*/ 139 h 1072"/>
                  <a:gd name="connsiteX99" fmla="*/ 2135 w 5358"/>
                  <a:gd name="connsiteY99" fmla="*/ 116 h 1072"/>
                  <a:gd name="connsiteX100" fmla="*/ 2079 w 5358"/>
                  <a:gd name="connsiteY100" fmla="*/ 100 h 1072"/>
                  <a:gd name="connsiteX101" fmla="*/ 2021 w 5358"/>
                  <a:gd name="connsiteY101" fmla="*/ 91 h 1072"/>
                  <a:gd name="connsiteX102" fmla="*/ 1957 w 5358"/>
                  <a:gd name="connsiteY102" fmla="*/ 93 h 1072"/>
                  <a:gd name="connsiteX103" fmla="*/ 1889 w 5358"/>
                  <a:gd name="connsiteY103" fmla="*/ 104 h 1072"/>
                  <a:gd name="connsiteX104" fmla="*/ 1827 w 5358"/>
                  <a:gd name="connsiteY104" fmla="*/ 122 h 1072"/>
                  <a:gd name="connsiteX105" fmla="*/ 1770 w 5358"/>
                  <a:gd name="connsiteY105" fmla="*/ 147 h 1072"/>
                  <a:gd name="connsiteX106" fmla="*/ 1716 w 5358"/>
                  <a:gd name="connsiteY106" fmla="*/ 181 h 1072"/>
                  <a:gd name="connsiteX107" fmla="*/ 1664 w 5358"/>
                  <a:gd name="connsiteY107" fmla="*/ 218 h 1072"/>
                  <a:gd name="connsiteX108" fmla="*/ 1619 w 5358"/>
                  <a:gd name="connsiteY108" fmla="*/ 261 h 1072"/>
                  <a:gd name="connsiteX109" fmla="*/ 1573 w 5358"/>
                  <a:gd name="connsiteY109" fmla="*/ 307 h 1072"/>
                  <a:gd name="connsiteX110" fmla="*/ 1532 w 5358"/>
                  <a:gd name="connsiteY110" fmla="*/ 359 h 1072"/>
                  <a:gd name="connsiteX111" fmla="*/ 1493 w 5358"/>
                  <a:gd name="connsiteY111" fmla="*/ 413 h 1072"/>
                  <a:gd name="connsiteX112" fmla="*/ 1456 w 5358"/>
                  <a:gd name="connsiteY112" fmla="*/ 467 h 1072"/>
                  <a:gd name="connsiteX113" fmla="*/ 1419 w 5358"/>
                  <a:gd name="connsiteY113" fmla="*/ 523 h 1072"/>
                  <a:gd name="connsiteX114" fmla="*/ 1381 w 5358"/>
                  <a:gd name="connsiteY114" fmla="*/ 581 h 1072"/>
                  <a:gd name="connsiteX115" fmla="*/ 1346 w 5358"/>
                  <a:gd name="connsiteY115" fmla="*/ 637 h 1072"/>
                  <a:gd name="connsiteX116" fmla="*/ 1272 w 5358"/>
                  <a:gd name="connsiteY116" fmla="*/ 749 h 1072"/>
                  <a:gd name="connsiteX117" fmla="*/ 1233 w 5358"/>
                  <a:gd name="connsiteY117" fmla="*/ 801 h 1072"/>
                  <a:gd name="connsiteX118" fmla="*/ 1191 w 5358"/>
                  <a:gd name="connsiteY118" fmla="*/ 850 h 1072"/>
                  <a:gd name="connsiteX119" fmla="*/ 1148 w 5358"/>
                  <a:gd name="connsiteY119" fmla="*/ 896 h 1072"/>
                  <a:gd name="connsiteX120" fmla="*/ 1101 w 5358"/>
                  <a:gd name="connsiteY120" fmla="*/ 937 h 1072"/>
                  <a:gd name="connsiteX121" fmla="*/ 1051 w 5358"/>
                  <a:gd name="connsiteY121" fmla="*/ 973 h 1072"/>
                  <a:gd name="connsiteX122" fmla="*/ 997 w 5358"/>
                  <a:gd name="connsiteY122" fmla="*/ 1002 h 1072"/>
                  <a:gd name="connsiteX123" fmla="*/ 942 w 5358"/>
                  <a:gd name="connsiteY123" fmla="*/ 1025 h 1072"/>
                  <a:gd name="connsiteX124" fmla="*/ 878 w 5358"/>
                  <a:gd name="connsiteY124" fmla="*/ 1037 h 1072"/>
                  <a:gd name="connsiteX125" fmla="*/ 812 w 5358"/>
                  <a:gd name="connsiteY125" fmla="*/ 1043 h 1072"/>
                  <a:gd name="connsiteX126" fmla="*/ 805 w 5358"/>
                  <a:gd name="connsiteY126" fmla="*/ 1043 h 1072"/>
                  <a:gd name="connsiteX127" fmla="*/ 737 w 5358"/>
                  <a:gd name="connsiteY127" fmla="*/ 1039 h 1072"/>
                  <a:gd name="connsiteX128" fmla="*/ 675 w 5358"/>
                  <a:gd name="connsiteY128" fmla="*/ 1027 h 1072"/>
                  <a:gd name="connsiteX129" fmla="*/ 617 w 5358"/>
                  <a:gd name="connsiteY129" fmla="*/ 1008 h 1072"/>
                  <a:gd name="connsiteX130" fmla="*/ 566 w 5358"/>
                  <a:gd name="connsiteY130" fmla="*/ 983 h 1072"/>
                  <a:gd name="connsiteX131" fmla="*/ 518 w 5358"/>
                  <a:gd name="connsiteY131" fmla="*/ 952 h 1072"/>
                  <a:gd name="connsiteX132" fmla="*/ 473 w 5358"/>
                  <a:gd name="connsiteY132" fmla="*/ 915 h 1072"/>
                  <a:gd name="connsiteX133" fmla="*/ 432 w 5358"/>
                  <a:gd name="connsiteY133" fmla="*/ 873 h 1072"/>
                  <a:gd name="connsiteX134" fmla="*/ 394 w 5358"/>
                  <a:gd name="connsiteY134" fmla="*/ 828 h 1072"/>
                  <a:gd name="connsiteX135" fmla="*/ 357 w 5358"/>
                  <a:gd name="connsiteY135" fmla="*/ 780 h 1072"/>
                  <a:gd name="connsiteX136" fmla="*/ 324 w 5358"/>
                  <a:gd name="connsiteY136" fmla="*/ 728 h 1072"/>
                  <a:gd name="connsiteX137" fmla="*/ 289 w 5358"/>
                  <a:gd name="connsiteY137" fmla="*/ 674 h 1072"/>
                  <a:gd name="connsiteX138" fmla="*/ 258 w 5358"/>
                  <a:gd name="connsiteY138" fmla="*/ 618 h 1072"/>
                  <a:gd name="connsiteX139" fmla="*/ 225 w 5358"/>
                  <a:gd name="connsiteY139" fmla="*/ 560 h 1072"/>
                  <a:gd name="connsiteX140" fmla="*/ 163 w 5358"/>
                  <a:gd name="connsiteY140" fmla="*/ 448 h 1072"/>
                  <a:gd name="connsiteX141" fmla="*/ 95 w 5358"/>
                  <a:gd name="connsiteY141" fmla="*/ 340 h 1072"/>
                  <a:gd name="connsiteX142" fmla="*/ 4 w 5358"/>
                  <a:gd name="connsiteY142" fmla="*/ 239 h 1072"/>
                  <a:gd name="connsiteX143" fmla="*/ 116 w 5358"/>
                  <a:gd name="connsiteY143" fmla="*/ 228 h 1072"/>
                  <a:gd name="connsiteX144" fmla="*/ 302 w 5358"/>
                  <a:gd name="connsiteY144" fmla="*/ 516 h 1072"/>
                  <a:gd name="connsiteX145" fmla="*/ 335 w 5358"/>
                  <a:gd name="connsiteY145" fmla="*/ 575 h 1072"/>
                  <a:gd name="connsiteX146" fmla="*/ 368 w 5358"/>
                  <a:gd name="connsiteY146" fmla="*/ 631 h 1072"/>
                  <a:gd name="connsiteX147" fmla="*/ 401 w 5358"/>
                  <a:gd name="connsiteY147" fmla="*/ 684 h 1072"/>
                  <a:gd name="connsiteX148" fmla="*/ 434 w 5358"/>
                  <a:gd name="connsiteY148" fmla="*/ 736 h 1072"/>
                  <a:gd name="connsiteX149" fmla="*/ 469 w 5358"/>
                  <a:gd name="connsiteY149" fmla="*/ 782 h 1072"/>
                  <a:gd name="connsiteX150" fmla="*/ 506 w 5358"/>
                  <a:gd name="connsiteY150" fmla="*/ 825 h 1072"/>
                  <a:gd name="connsiteX151" fmla="*/ 547 w 5358"/>
                  <a:gd name="connsiteY151" fmla="*/ 863 h 1072"/>
                  <a:gd name="connsiteX152" fmla="*/ 591 w 5358"/>
                  <a:gd name="connsiteY152" fmla="*/ 894 h 1072"/>
                  <a:gd name="connsiteX153" fmla="*/ 638 w 5358"/>
                  <a:gd name="connsiteY153" fmla="*/ 921 h 1072"/>
                  <a:gd name="connsiteX154" fmla="*/ 688 w 5358"/>
                  <a:gd name="connsiteY154" fmla="*/ 940 h 1072"/>
                  <a:gd name="connsiteX155" fmla="*/ 743 w 5358"/>
                  <a:gd name="connsiteY155" fmla="*/ 952 h 1072"/>
                  <a:gd name="connsiteX156" fmla="*/ 805 w 5358"/>
                  <a:gd name="connsiteY156" fmla="*/ 956 h 1072"/>
                  <a:gd name="connsiteX157" fmla="*/ 812 w 5358"/>
                  <a:gd name="connsiteY157" fmla="*/ 956 h 1072"/>
                  <a:gd name="connsiteX158" fmla="*/ 871 w 5358"/>
                  <a:gd name="connsiteY158" fmla="*/ 950 h 1072"/>
                  <a:gd name="connsiteX159" fmla="*/ 927 w 5358"/>
                  <a:gd name="connsiteY159" fmla="*/ 935 h 1072"/>
                  <a:gd name="connsiteX160" fmla="*/ 981 w 5358"/>
                  <a:gd name="connsiteY160" fmla="*/ 913 h 1072"/>
                  <a:gd name="connsiteX161" fmla="*/ 1028 w 5358"/>
                  <a:gd name="connsiteY161" fmla="*/ 884 h 1072"/>
                  <a:gd name="connsiteX162" fmla="*/ 1074 w 5358"/>
                  <a:gd name="connsiteY162" fmla="*/ 846 h 1072"/>
                  <a:gd name="connsiteX163" fmla="*/ 1117 w 5358"/>
                  <a:gd name="connsiteY163" fmla="*/ 803 h 1072"/>
                  <a:gd name="connsiteX164" fmla="*/ 1156 w 5358"/>
                  <a:gd name="connsiteY164" fmla="*/ 755 h 1072"/>
                  <a:gd name="connsiteX165" fmla="*/ 1196 w 5358"/>
                  <a:gd name="connsiteY165" fmla="*/ 703 h 1072"/>
                  <a:gd name="connsiteX166" fmla="*/ 1235 w 5358"/>
                  <a:gd name="connsiteY166" fmla="*/ 649 h 1072"/>
                  <a:gd name="connsiteX167" fmla="*/ 1346 w 5358"/>
                  <a:gd name="connsiteY167" fmla="*/ 475 h 1072"/>
                  <a:gd name="connsiteX168" fmla="*/ 1386 w 5358"/>
                  <a:gd name="connsiteY168" fmla="*/ 415 h 1072"/>
                  <a:gd name="connsiteX169" fmla="*/ 1427 w 5358"/>
                  <a:gd name="connsiteY169" fmla="*/ 357 h 1072"/>
                  <a:gd name="connsiteX170" fmla="*/ 1470 w 5358"/>
                  <a:gd name="connsiteY170" fmla="*/ 299 h 1072"/>
                  <a:gd name="connsiteX171" fmla="*/ 1516 w 5358"/>
                  <a:gd name="connsiteY171" fmla="*/ 245 h 1072"/>
                  <a:gd name="connsiteX172" fmla="*/ 1563 w 5358"/>
                  <a:gd name="connsiteY172" fmla="*/ 193 h 1072"/>
                  <a:gd name="connsiteX173" fmla="*/ 1617 w 5358"/>
                  <a:gd name="connsiteY173" fmla="*/ 145 h 1072"/>
                  <a:gd name="connsiteX174" fmla="*/ 1672 w 5358"/>
                  <a:gd name="connsiteY174" fmla="*/ 104 h 1072"/>
                  <a:gd name="connsiteX175" fmla="*/ 1734 w 5358"/>
                  <a:gd name="connsiteY175" fmla="*/ 69 h 1072"/>
                  <a:gd name="connsiteX176" fmla="*/ 1800 w 5358"/>
                  <a:gd name="connsiteY176" fmla="*/ 40 h 1072"/>
                  <a:gd name="connsiteX177" fmla="*/ 1873 w 5358"/>
                  <a:gd name="connsiteY177" fmla="*/ 19 h 1072"/>
                  <a:gd name="connsiteX178" fmla="*/ 1951 w 5358"/>
                  <a:gd name="connsiteY178" fmla="*/ 6 h 1072"/>
                  <a:gd name="connsiteX179" fmla="*/ 2021 w 5358"/>
                  <a:gd name="connsiteY179" fmla="*/ 4 h 1072"/>
                  <a:gd name="connsiteX180" fmla="*/ 2087 w 5358"/>
                  <a:gd name="connsiteY180" fmla="*/ 13 h 1072"/>
                  <a:gd name="connsiteX181" fmla="*/ 2147 w 5358"/>
                  <a:gd name="connsiteY181" fmla="*/ 27 h 1072"/>
                  <a:gd name="connsiteX182" fmla="*/ 2205 w 5358"/>
                  <a:gd name="connsiteY182" fmla="*/ 50 h 1072"/>
                  <a:gd name="connsiteX183" fmla="*/ 2259 w 5358"/>
                  <a:gd name="connsiteY183" fmla="*/ 81 h 1072"/>
                  <a:gd name="connsiteX184" fmla="*/ 2308 w 5358"/>
                  <a:gd name="connsiteY184" fmla="*/ 116 h 1072"/>
                  <a:gd name="connsiteX185" fmla="*/ 2354 w 5358"/>
                  <a:gd name="connsiteY185" fmla="*/ 158 h 1072"/>
                  <a:gd name="connsiteX186" fmla="*/ 2399 w 5358"/>
                  <a:gd name="connsiteY186" fmla="*/ 203 h 1072"/>
                  <a:gd name="connsiteX187" fmla="*/ 2441 w 5358"/>
                  <a:gd name="connsiteY187" fmla="*/ 251 h 1072"/>
                  <a:gd name="connsiteX188" fmla="*/ 2480 w 5358"/>
                  <a:gd name="connsiteY188" fmla="*/ 303 h 1072"/>
                  <a:gd name="connsiteX189" fmla="*/ 2517 w 5358"/>
                  <a:gd name="connsiteY189" fmla="*/ 357 h 1072"/>
                  <a:gd name="connsiteX190" fmla="*/ 2552 w 5358"/>
                  <a:gd name="connsiteY190" fmla="*/ 413 h 1072"/>
                  <a:gd name="connsiteX191" fmla="*/ 2587 w 5358"/>
                  <a:gd name="connsiteY191" fmla="*/ 467 h 1072"/>
                  <a:gd name="connsiteX192" fmla="*/ 2620 w 5358"/>
                  <a:gd name="connsiteY192" fmla="*/ 523 h 1072"/>
                  <a:gd name="connsiteX193" fmla="*/ 2657 w 5358"/>
                  <a:gd name="connsiteY193" fmla="*/ 585 h 1072"/>
                  <a:gd name="connsiteX194" fmla="*/ 2694 w 5358"/>
                  <a:gd name="connsiteY194" fmla="*/ 643 h 1072"/>
                  <a:gd name="connsiteX195" fmla="*/ 2734 w 5358"/>
                  <a:gd name="connsiteY195" fmla="*/ 701 h 1072"/>
                  <a:gd name="connsiteX196" fmla="*/ 2771 w 5358"/>
                  <a:gd name="connsiteY196" fmla="*/ 755 h 1072"/>
                  <a:gd name="connsiteX197" fmla="*/ 2812 w 5358"/>
                  <a:gd name="connsiteY197" fmla="*/ 805 h 1072"/>
                  <a:gd name="connsiteX198" fmla="*/ 2853 w 5358"/>
                  <a:gd name="connsiteY198" fmla="*/ 848 h 1072"/>
                  <a:gd name="connsiteX199" fmla="*/ 2897 w 5358"/>
                  <a:gd name="connsiteY199" fmla="*/ 886 h 1072"/>
                  <a:gd name="connsiteX200" fmla="*/ 2942 w 5358"/>
                  <a:gd name="connsiteY200" fmla="*/ 917 h 1072"/>
                  <a:gd name="connsiteX201" fmla="*/ 2992 w 5358"/>
                  <a:gd name="connsiteY201" fmla="*/ 940 h 1072"/>
                  <a:gd name="connsiteX202" fmla="*/ 3045 w 5358"/>
                  <a:gd name="connsiteY202" fmla="*/ 952 h 1072"/>
                  <a:gd name="connsiteX203" fmla="*/ 3101 w 5358"/>
                  <a:gd name="connsiteY203" fmla="*/ 956 h 1072"/>
                  <a:gd name="connsiteX204" fmla="*/ 3157 w 5358"/>
                  <a:gd name="connsiteY204" fmla="*/ 950 h 1072"/>
                  <a:gd name="connsiteX205" fmla="*/ 3207 w 5358"/>
                  <a:gd name="connsiteY205" fmla="*/ 935 h 1072"/>
                  <a:gd name="connsiteX206" fmla="*/ 3254 w 5358"/>
                  <a:gd name="connsiteY206" fmla="*/ 915 h 1072"/>
                  <a:gd name="connsiteX207" fmla="*/ 3297 w 5358"/>
                  <a:gd name="connsiteY207" fmla="*/ 884 h 1072"/>
                  <a:gd name="connsiteX208" fmla="*/ 3337 w 5358"/>
                  <a:gd name="connsiteY208" fmla="*/ 848 h 1072"/>
                  <a:gd name="connsiteX209" fmla="*/ 3374 w 5358"/>
                  <a:gd name="connsiteY209" fmla="*/ 807 h 1072"/>
                  <a:gd name="connsiteX210" fmla="*/ 3409 w 5358"/>
                  <a:gd name="connsiteY210" fmla="*/ 759 h 1072"/>
                  <a:gd name="connsiteX211" fmla="*/ 3442 w 5358"/>
                  <a:gd name="connsiteY211" fmla="*/ 709 h 1072"/>
                  <a:gd name="connsiteX212" fmla="*/ 3475 w 5358"/>
                  <a:gd name="connsiteY212" fmla="*/ 655 h 1072"/>
                  <a:gd name="connsiteX213" fmla="*/ 3508 w 5358"/>
                  <a:gd name="connsiteY213" fmla="*/ 597 h 1072"/>
                  <a:gd name="connsiteX214" fmla="*/ 3541 w 5358"/>
                  <a:gd name="connsiteY214" fmla="*/ 537 h 1072"/>
                  <a:gd name="connsiteX215" fmla="*/ 3570 w 5358"/>
                  <a:gd name="connsiteY215" fmla="*/ 483 h 1072"/>
                  <a:gd name="connsiteX216" fmla="*/ 3632 w 5358"/>
                  <a:gd name="connsiteY216" fmla="*/ 375 h 1072"/>
                  <a:gd name="connsiteX217" fmla="*/ 3702 w 5358"/>
                  <a:gd name="connsiteY217" fmla="*/ 272 h 1072"/>
                  <a:gd name="connsiteX218" fmla="*/ 3739 w 5358"/>
                  <a:gd name="connsiteY218" fmla="*/ 224 h 1072"/>
                  <a:gd name="connsiteX219" fmla="*/ 3780 w 5358"/>
                  <a:gd name="connsiteY219" fmla="*/ 178 h 1072"/>
                  <a:gd name="connsiteX220" fmla="*/ 3824 w 5358"/>
                  <a:gd name="connsiteY220" fmla="*/ 137 h 1072"/>
                  <a:gd name="connsiteX221" fmla="*/ 3871 w 5358"/>
                  <a:gd name="connsiteY221" fmla="*/ 100 h 1072"/>
                  <a:gd name="connsiteX222" fmla="*/ 3923 w 5358"/>
                  <a:gd name="connsiteY222" fmla="*/ 66 h 1072"/>
                  <a:gd name="connsiteX223" fmla="*/ 3981 w 5358"/>
                  <a:gd name="connsiteY223" fmla="*/ 40 h 1072"/>
                  <a:gd name="connsiteX224" fmla="*/ 4041 w 5358"/>
                  <a:gd name="connsiteY224" fmla="*/ 19 h 1072"/>
                  <a:gd name="connsiteX225" fmla="*/ 4107 w 5358"/>
                  <a:gd name="connsiteY225" fmla="*/ 6 h 1072"/>
                  <a:gd name="connsiteX226" fmla="*/ 4179 w 5358"/>
                  <a:gd name="connsiteY226" fmla="*/ 0 h 1072"/>
                  <a:gd name="connsiteX0" fmla="*/ 4175 w 5354"/>
                  <a:gd name="connsiteY0" fmla="*/ 0 h 1072"/>
                  <a:gd name="connsiteX1" fmla="*/ 4225 w 5354"/>
                  <a:gd name="connsiteY1" fmla="*/ 0 h 1072"/>
                  <a:gd name="connsiteX2" fmla="*/ 4253 w 5354"/>
                  <a:gd name="connsiteY2" fmla="*/ 4 h 1072"/>
                  <a:gd name="connsiteX3" fmla="*/ 4284 w 5354"/>
                  <a:gd name="connsiteY3" fmla="*/ 13 h 1072"/>
                  <a:gd name="connsiteX4" fmla="*/ 4322 w 5354"/>
                  <a:gd name="connsiteY4" fmla="*/ 23 h 1072"/>
                  <a:gd name="connsiteX5" fmla="*/ 4363 w 5354"/>
                  <a:gd name="connsiteY5" fmla="*/ 40 h 1072"/>
                  <a:gd name="connsiteX6" fmla="*/ 4406 w 5354"/>
                  <a:gd name="connsiteY6" fmla="*/ 60 h 1072"/>
                  <a:gd name="connsiteX7" fmla="*/ 4454 w 5354"/>
                  <a:gd name="connsiteY7" fmla="*/ 89 h 1072"/>
                  <a:gd name="connsiteX8" fmla="*/ 4503 w 5354"/>
                  <a:gd name="connsiteY8" fmla="*/ 125 h 1072"/>
                  <a:gd name="connsiteX9" fmla="*/ 4553 w 5354"/>
                  <a:gd name="connsiteY9" fmla="*/ 170 h 1072"/>
                  <a:gd name="connsiteX10" fmla="*/ 4604 w 5354"/>
                  <a:gd name="connsiteY10" fmla="*/ 224 h 1072"/>
                  <a:gd name="connsiteX11" fmla="*/ 4656 w 5354"/>
                  <a:gd name="connsiteY11" fmla="*/ 286 h 1072"/>
                  <a:gd name="connsiteX12" fmla="*/ 4708 w 5354"/>
                  <a:gd name="connsiteY12" fmla="*/ 361 h 1072"/>
                  <a:gd name="connsiteX13" fmla="*/ 4759 w 5354"/>
                  <a:gd name="connsiteY13" fmla="*/ 448 h 1072"/>
                  <a:gd name="connsiteX14" fmla="*/ 4811 w 5354"/>
                  <a:gd name="connsiteY14" fmla="*/ 548 h 1072"/>
                  <a:gd name="connsiteX15" fmla="*/ 4856 w 5354"/>
                  <a:gd name="connsiteY15" fmla="*/ 633 h 1072"/>
                  <a:gd name="connsiteX16" fmla="*/ 4902 w 5354"/>
                  <a:gd name="connsiteY16" fmla="*/ 705 h 1072"/>
                  <a:gd name="connsiteX17" fmla="*/ 4949 w 5354"/>
                  <a:gd name="connsiteY17" fmla="*/ 767 h 1072"/>
                  <a:gd name="connsiteX18" fmla="*/ 4997 w 5354"/>
                  <a:gd name="connsiteY18" fmla="*/ 819 h 1072"/>
                  <a:gd name="connsiteX19" fmla="*/ 5042 w 5354"/>
                  <a:gd name="connsiteY19" fmla="*/ 863 h 1072"/>
                  <a:gd name="connsiteX20" fmla="*/ 5090 w 5354"/>
                  <a:gd name="connsiteY20" fmla="*/ 898 h 1072"/>
                  <a:gd name="connsiteX21" fmla="*/ 5133 w 5354"/>
                  <a:gd name="connsiteY21" fmla="*/ 927 h 1072"/>
                  <a:gd name="connsiteX22" fmla="*/ 5176 w 5354"/>
                  <a:gd name="connsiteY22" fmla="*/ 948 h 1072"/>
                  <a:gd name="connsiteX23" fmla="*/ 5213 w 5354"/>
                  <a:gd name="connsiteY23" fmla="*/ 962 h 1072"/>
                  <a:gd name="connsiteX24" fmla="*/ 5251 w 5354"/>
                  <a:gd name="connsiteY24" fmla="*/ 973 h 1072"/>
                  <a:gd name="connsiteX25" fmla="*/ 5280 w 5354"/>
                  <a:gd name="connsiteY25" fmla="*/ 981 h 1072"/>
                  <a:gd name="connsiteX26" fmla="*/ 5306 w 5354"/>
                  <a:gd name="connsiteY26" fmla="*/ 983 h 1072"/>
                  <a:gd name="connsiteX27" fmla="*/ 5325 w 5354"/>
                  <a:gd name="connsiteY27" fmla="*/ 985 h 1072"/>
                  <a:gd name="connsiteX28" fmla="*/ 5346 w 5354"/>
                  <a:gd name="connsiteY28" fmla="*/ 985 h 1072"/>
                  <a:gd name="connsiteX29" fmla="*/ 5354 w 5354"/>
                  <a:gd name="connsiteY29" fmla="*/ 1072 h 1072"/>
                  <a:gd name="connsiteX30" fmla="*/ 5319 w 5354"/>
                  <a:gd name="connsiteY30" fmla="*/ 1072 h 1072"/>
                  <a:gd name="connsiteX31" fmla="*/ 5292 w 5354"/>
                  <a:gd name="connsiteY31" fmla="*/ 1070 h 1072"/>
                  <a:gd name="connsiteX32" fmla="*/ 5261 w 5354"/>
                  <a:gd name="connsiteY32" fmla="*/ 1064 h 1072"/>
                  <a:gd name="connsiteX33" fmla="*/ 5224 w 5354"/>
                  <a:gd name="connsiteY33" fmla="*/ 1056 h 1072"/>
                  <a:gd name="connsiteX34" fmla="*/ 5182 w 5354"/>
                  <a:gd name="connsiteY34" fmla="*/ 1043 h 1072"/>
                  <a:gd name="connsiteX35" fmla="*/ 5137 w 5354"/>
                  <a:gd name="connsiteY35" fmla="*/ 1025 h 1072"/>
                  <a:gd name="connsiteX36" fmla="*/ 5090 w 5354"/>
                  <a:gd name="connsiteY36" fmla="*/ 1002 h 1072"/>
                  <a:gd name="connsiteX37" fmla="*/ 5040 w 5354"/>
                  <a:gd name="connsiteY37" fmla="*/ 971 h 1072"/>
                  <a:gd name="connsiteX38" fmla="*/ 4988 w 5354"/>
                  <a:gd name="connsiteY38" fmla="*/ 931 h 1072"/>
                  <a:gd name="connsiteX39" fmla="*/ 4937 w 5354"/>
                  <a:gd name="connsiteY39" fmla="*/ 881 h 1072"/>
                  <a:gd name="connsiteX40" fmla="*/ 4883 w 5354"/>
                  <a:gd name="connsiteY40" fmla="*/ 823 h 1072"/>
                  <a:gd name="connsiteX41" fmla="*/ 4832 w 5354"/>
                  <a:gd name="connsiteY41" fmla="*/ 755 h 1072"/>
                  <a:gd name="connsiteX42" fmla="*/ 4782 w 5354"/>
                  <a:gd name="connsiteY42" fmla="*/ 676 h 1072"/>
                  <a:gd name="connsiteX43" fmla="*/ 4734 w 5354"/>
                  <a:gd name="connsiteY43" fmla="*/ 583 h 1072"/>
                  <a:gd name="connsiteX44" fmla="*/ 4685 w 5354"/>
                  <a:gd name="connsiteY44" fmla="*/ 487 h 1072"/>
                  <a:gd name="connsiteX45" fmla="*/ 4635 w 5354"/>
                  <a:gd name="connsiteY45" fmla="*/ 404 h 1072"/>
                  <a:gd name="connsiteX46" fmla="*/ 4586 w 5354"/>
                  <a:gd name="connsiteY46" fmla="*/ 336 h 1072"/>
                  <a:gd name="connsiteX47" fmla="*/ 4536 w 5354"/>
                  <a:gd name="connsiteY47" fmla="*/ 276 h 1072"/>
                  <a:gd name="connsiteX48" fmla="*/ 4489 w 5354"/>
                  <a:gd name="connsiteY48" fmla="*/ 228 h 1072"/>
                  <a:gd name="connsiteX49" fmla="*/ 4443 w 5354"/>
                  <a:gd name="connsiteY49" fmla="*/ 189 h 1072"/>
                  <a:gd name="connsiteX50" fmla="*/ 4402 w 5354"/>
                  <a:gd name="connsiteY50" fmla="*/ 158 h 1072"/>
                  <a:gd name="connsiteX51" fmla="*/ 4363 w 5354"/>
                  <a:gd name="connsiteY51" fmla="*/ 135 h 1072"/>
                  <a:gd name="connsiteX52" fmla="*/ 4313 w 5354"/>
                  <a:gd name="connsiteY52" fmla="*/ 112 h 1072"/>
                  <a:gd name="connsiteX53" fmla="*/ 4270 w 5354"/>
                  <a:gd name="connsiteY53" fmla="*/ 98 h 1072"/>
                  <a:gd name="connsiteX54" fmla="*/ 4235 w 5354"/>
                  <a:gd name="connsiteY54" fmla="*/ 89 h 1072"/>
                  <a:gd name="connsiteX55" fmla="*/ 4206 w 5354"/>
                  <a:gd name="connsiteY55" fmla="*/ 87 h 1072"/>
                  <a:gd name="connsiteX56" fmla="*/ 4179 w 5354"/>
                  <a:gd name="connsiteY56" fmla="*/ 87 h 1072"/>
                  <a:gd name="connsiteX57" fmla="*/ 4113 w 5354"/>
                  <a:gd name="connsiteY57" fmla="*/ 93 h 1072"/>
                  <a:gd name="connsiteX58" fmla="*/ 4051 w 5354"/>
                  <a:gd name="connsiteY58" fmla="*/ 106 h 1072"/>
                  <a:gd name="connsiteX59" fmla="*/ 3995 w 5354"/>
                  <a:gd name="connsiteY59" fmla="*/ 127 h 1072"/>
                  <a:gd name="connsiteX60" fmla="*/ 3944 w 5354"/>
                  <a:gd name="connsiteY60" fmla="*/ 154 h 1072"/>
                  <a:gd name="connsiteX61" fmla="*/ 3896 w 5354"/>
                  <a:gd name="connsiteY61" fmla="*/ 187 h 1072"/>
                  <a:gd name="connsiteX62" fmla="*/ 3853 w 5354"/>
                  <a:gd name="connsiteY62" fmla="*/ 224 h 1072"/>
                  <a:gd name="connsiteX63" fmla="*/ 3814 w 5354"/>
                  <a:gd name="connsiteY63" fmla="*/ 268 h 1072"/>
                  <a:gd name="connsiteX64" fmla="*/ 3774 w 5354"/>
                  <a:gd name="connsiteY64" fmla="*/ 313 h 1072"/>
                  <a:gd name="connsiteX65" fmla="*/ 3739 w 5354"/>
                  <a:gd name="connsiteY65" fmla="*/ 363 h 1072"/>
                  <a:gd name="connsiteX66" fmla="*/ 3706 w 5354"/>
                  <a:gd name="connsiteY66" fmla="*/ 415 h 1072"/>
                  <a:gd name="connsiteX67" fmla="*/ 3644 w 5354"/>
                  <a:gd name="connsiteY67" fmla="*/ 523 h 1072"/>
                  <a:gd name="connsiteX68" fmla="*/ 3551 w 5354"/>
                  <a:gd name="connsiteY68" fmla="*/ 691 h 1072"/>
                  <a:gd name="connsiteX69" fmla="*/ 3518 w 5354"/>
                  <a:gd name="connsiteY69" fmla="*/ 747 h 1072"/>
                  <a:gd name="connsiteX70" fmla="*/ 3483 w 5354"/>
                  <a:gd name="connsiteY70" fmla="*/ 799 h 1072"/>
                  <a:gd name="connsiteX71" fmla="*/ 3448 w 5354"/>
                  <a:gd name="connsiteY71" fmla="*/ 848 h 1072"/>
                  <a:gd name="connsiteX72" fmla="*/ 3409 w 5354"/>
                  <a:gd name="connsiteY72" fmla="*/ 894 h 1072"/>
                  <a:gd name="connsiteX73" fmla="*/ 3368 w 5354"/>
                  <a:gd name="connsiteY73" fmla="*/ 935 h 1072"/>
                  <a:gd name="connsiteX74" fmla="*/ 3322 w 5354"/>
                  <a:gd name="connsiteY74" fmla="*/ 971 h 1072"/>
                  <a:gd name="connsiteX75" fmla="*/ 3273 w 5354"/>
                  <a:gd name="connsiteY75" fmla="*/ 1000 h 1072"/>
                  <a:gd name="connsiteX76" fmla="*/ 3221 w 5354"/>
                  <a:gd name="connsiteY76" fmla="*/ 1022 h 1072"/>
                  <a:gd name="connsiteX77" fmla="*/ 3163 w 5354"/>
                  <a:gd name="connsiteY77" fmla="*/ 1037 h 1072"/>
                  <a:gd name="connsiteX78" fmla="*/ 3099 w 5354"/>
                  <a:gd name="connsiteY78" fmla="*/ 1043 h 1072"/>
                  <a:gd name="connsiteX79" fmla="*/ 3091 w 5354"/>
                  <a:gd name="connsiteY79" fmla="*/ 1043 h 1072"/>
                  <a:gd name="connsiteX80" fmla="*/ 3029 w 5354"/>
                  <a:gd name="connsiteY80" fmla="*/ 1039 h 1072"/>
                  <a:gd name="connsiteX81" fmla="*/ 2969 w 5354"/>
                  <a:gd name="connsiteY81" fmla="*/ 1025 h 1072"/>
                  <a:gd name="connsiteX82" fmla="*/ 2916 w 5354"/>
                  <a:gd name="connsiteY82" fmla="*/ 1002 h 1072"/>
                  <a:gd name="connsiteX83" fmla="*/ 2864 w 5354"/>
                  <a:gd name="connsiteY83" fmla="*/ 973 h 1072"/>
                  <a:gd name="connsiteX84" fmla="*/ 2816 w 5354"/>
                  <a:gd name="connsiteY84" fmla="*/ 935 h 1072"/>
                  <a:gd name="connsiteX85" fmla="*/ 2773 w 5354"/>
                  <a:gd name="connsiteY85" fmla="*/ 894 h 1072"/>
                  <a:gd name="connsiteX86" fmla="*/ 2730 w 5354"/>
                  <a:gd name="connsiteY86" fmla="*/ 846 h 1072"/>
                  <a:gd name="connsiteX87" fmla="*/ 2690 w 5354"/>
                  <a:gd name="connsiteY87" fmla="*/ 796 h 1072"/>
                  <a:gd name="connsiteX88" fmla="*/ 2651 w 5354"/>
                  <a:gd name="connsiteY88" fmla="*/ 740 h 1072"/>
                  <a:gd name="connsiteX89" fmla="*/ 2614 w 5354"/>
                  <a:gd name="connsiteY89" fmla="*/ 684 h 1072"/>
                  <a:gd name="connsiteX90" fmla="*/ 2509 w 5354"/>
                  <a:gd name="connsiteY90" fmla="*/ 510 h 1072"/>
                  <a:gd name="connsiteX91" fmla="*/ 2472 w 5354"/>
                  <a:gd name="connsiteY91" fmla="*/ 452 h 1072"/>
                  <a:gd name="connsiteX92" fmla="*/ 2434 w 5354"/>
                  <a:gd name="connsiteY92" fmla="*/ 396 h 1072"/>
                  <a:gd name="connsiteX93" fmla="*/ 2397 w 5354"/>
                  <a:gd name="connsiteY93" fmla="*/ 342 h 1072"/>
                  <a:gd name="connsiteX94" fmla="*/ 2358 w 5354"/>
                  <a:gd name="connsiteY94" fmla="*/ 293 h 1072"/>
                  <a:gd name="connsiteX95" fmla="*/ 2317 w 5354"/>
                  <a:gd name="connsiteY95" fmla="*/ 247 h 1072"/>
                  <a:gd name="connsiteX96" fmla="*/ 2275 w 5354"/>
                  <a:gd name="connsiteY96" fmla="*/ 205 h 1072"/>
                  <a:gd name="connsiteX97" fmla="*/ 2230 w 5354"/>
                  <a:gd name="connsiteY97" fmla="*/ 168 h 1072"/>
                  <a:gd name="connsiteX98" fmla="*/ 2183 w 5354"/>
                  <a:gd name="connsiteY98" fmla="*/ 139 h 1072"/>
                  <a:gd name="connsiteX99" fmla="*/ 2131 w 5354"/>
                  <a:gd name="connsiteY99" fmla="*/ 116 h 1072"/>
                  <a:gd name="connsiteX100" fmla="*/ 2075 w 5354"/>
                  <a:gd name="connsiteY100" fmla="*/ 100 h 1072"/>
                  <a:gd name="connsiteX101" fmla="*/ 2017 w 5354"/>
                  <a:gd name="connsiteY101" fmla="*/ 91 h 1072"/>
                  <a:gd name="connsiteX102" fmla="*/ 1953 w 5354"/>
                  <a:gd name="connsiteY102" fmla="*/ 93 h 1072"/>
                  <a:gd name="connsiteX103" fmla="*/ 1885 w 5354"/>
                  <a:gd name="connsiteY103" fmla="*/ 104 h 1072"/>
                  <a:gd name="connsiteX104" fmla="*/ 1823 w 5354"/>
                  <a:gd name="connsiteY104" fmla="*/ 122 h 1072"/>
                  <a:gd name="connsiteX105" fmla="*/ 1766 w 5354"/>
                  <a:gd name="connsiteY105" fmla="*/ 147 h 1072"/>
                  <a:gd name="connsiteX106" fmla="*/ 1712 w 5354"/>
                  <a:gd name="connsiteY106" fmla="*/ 181 h 1072"/>
                  <a:gd name="connsiteX107" fmla="*/ 1660 w 5354"/>
                  <a:gd name="connsiteY107" fmla="*/ 218 h 1072"/>
                  <a:gd name="connsiteX108" fmla="*/ 1615 w 5354"/>
                  <a:gd name="connsiteY108" fmla="*/ 261 h 1072"/>
                  <a:gd name="connsiteX109" fmla="*/ 1569 w 5354"/>
                  <a:gd name="connsiteY109" fmla="*/ 307 h 1072"/>
                  <a:gd name="connsiteX110" fmla="*/ 1528 w 5354"/>
                  <a:gd name="connsiteY110" fmla="*/ 359 h 1072"/>
                  <a:gd name="connsiteX111" fmla="*/ 1489 w 5354"/>
                  <a:gd name="connsiteY111" fmla="*/ 413 h 1072"/>
                  <a:gd name="connsiteX112" fmla="*/ 1452 w 5354"/>
                  <a:gd name="connsiteY112" fmla="*/ 467 h 1072"/>
                  <a:gd name="connsiteX113" fmla="*/ 1415 w 5354"/>
                  <a:gd name="connsiteY113" fmla="*/ 523 h 1072"/>
                  <a:gd name="connsiteX114" fmla="*/ 1377 w 5354"/>
                  <a:gd name="connsiteY114" fmla="*/ 581 h 1072"/>
                  <a:gd name="connsiteX115" fmla="*/ 1342 w 5354"/>
                  <a:gd name="connsiteY115" fmla="*/ 637 h 1072"/>
                  <a:gd name="connsiteX116" fmla="*/ 1268 w 5354"/>
                  <a:gd name="connsiteY116" fmla="*/ 749 h 1072"/>
                  <a:gd name="connsiteX117" fmla="*/ 1229 w 5354"/>
                  <a:gd name="connsiteY117" fmla="*/ 801 h 1072"/>
                  <a:gd name="connsiteX118" fmla="*/ 1187 w 5354"/>
                  <a:gd name="connsiteY118" fmla="*/ 850 h 1072"/>
                  <a:gd name="connsiteX119" fmla="*/ 1144 w 5354"/>
                  <a:gd name="connsiteY119" fmla="*/ 896 h 1072"/>
                  <a:gd name="connsiteX120" fmla="*/ 1097 w 5354"/>
                  <a:gd name="connsiteY120" fmla="*/ 937 h 1072"/>
                  <a:gd name="connsiteX121" fmla="*/ 1047 w 5354"/>
                  <a:gd name="connsiteY121" fmla="*/ 973 h 1072"/>
                  <a:gd name="connsiteX122" fmla="*/ 993 w 5354"/>
                  <a:gd name="connsiteY122" fmla="*/ 1002 h 1072"/>
                  <a:gd name="connsiteX123" fmla="*/ 938 w 5354"/>
                  <a:gd name="connsiteY123" fmla="*/ 1025 h 1072"/>
                  <a:gd name="connsiteX124" fmla="*/ 874 w 5354"/>
                  <a:gd name="connsiteY124" fmla="*/ 1037 h 1072"/>
                  <a:gd name="connsiteX125" fmla="*/ 808 w 5354"/>
                  <a:gd name="connsiteY125" fmla="*/ 1043 h 1072"/>
                  <a:gd name="connsiteX126" fmla="*/ 801 w 5354"/>
                  <a:gd name="connsiteY126" fmla="*/ 1043 h 1072"/>
                  <a:gd name="connsiteX127" fmla="*/ 733 w 5354"/>
                  <a:gd name="connsiteY127" fmla="*/ 1039 h 1072"/>
                  <a:gd name="connsiteX128" fmla="*/ 671 w 5354"/>
                  <a:gd name="connsiteY128" fmla="*/ 1027 h 1072"/>
                  <a:gd name="connsiteX129" fmla="*/ 613 w 5354"/>
                  <a:gd name="connsiteY129" fmla="*/ 1008 h 1072"/>
                  <a:gd name="connsiteX130" fmla="*/ 562 w 5354"/>
                  <a:gd name="connsiteY130" fmla="*/ 983 h 1072"/>
                  <a:gd name="connsiteX131" fmla="*/ 514 w 5354"/>
                  <a:gd name="connsiteY131" fmla="*/ 952 h 1072"/>
                  <a:gd name="connsiteX132" fmla="*/ 469 w 5354"/>
                  <a:gd name="connsiteY132" fmla="*/ 915 h 1072"/>
                  <a:gd name="connsiteX133" fmla="*/ 428 w 5354"/>
                  <a:gd name="connsiteY133" fmla="*/ 873 h 1072"/>
                  <a:gd name="connsiteX134" fmla="*/ 390 w 5354"/>
                  <a:gd name="connsiteY134" fmla="*/ 828 h 1072"/>
                  <a:gd name="connsiteX135" fmla="*/ 353 w 5354"/>
                  <a:gd name="connsiteY135" fmla="*/ 780 h 1072"/>
                  <a:gd name="connsiteX136" fmla="*/ 320 w 5354"/>
                  <a:gd name="connsiteY136" fmla="*/ 728 h 1072"/>
                  <a:gd name="connsiteX137" fmla="*/ 285 w 5354"/>
                  <a:gd name="connsiteY137" fmla="*/ 674 h 1072"/>
                  <a:gd name="connsiteX138" fmla="*/ 254 w 5354"/>
                  <a:gd name="connsiteY138" fmla="*/ 618 h 1072"/>
                  <a:gd name="connsiteX139" fmla="*/ 221 w 5354"/>
                  <a:gd name="connsiteY139" fmla="*/ 560 h 1072"/>
                  <a:gd name="connsiteX140" fmla="*/ 159 w 5354"/>
                  <a:gd name="connsiteY140" fmla="*/ 448 h 1072"/>
                  <a:gd name="connsiteX141" fmla="*/ 0 w 5354"/>
                  <a:gd name="connsiteY141" fmla="*/ 239 h 1072"/>
                  <a:gd name="connsiteX142" fmla="*/ 112 w 5354"/>
                  <a:gd name="connsiteY142" fmla="*/ 228 h 1072"/>
                  <a:gd name="connsiteX143" fmla="*/ 298 w 5354"/>
                  <a:gd name="connsiteY143" fmla="*/ 516 h 1072"/>
                  <a:gd name="connsiteX144" fmla="*/ 331 w 5354"/>
                  <a:gd name="connsiteY144" fmla="*/ 575 h 1072"/>
                  <a:gd name="connsiteX145" fmla="*/ 364 w 5354"/>
                  <a:gd name="connsiteY145" fmla="*/ 631 h 1072"/>
                  <a:gd name="connsiteX146" fmla="*/ 397 w 5354"/>
                  <a:gd name="connsiteY146" fmla="*/ 684 h 1072"/>
                  <a:gd name="connsiteX147" fmla="*/ 430 w 5354"/>
                  <a:gd name="connsiteY147" fmla="*/ 736 h 1072"/>
                  <a:gd name="connsiteX148" fmla="*/ 465 w 5354"/>
                  <a:gd name="connsiteY148" fmla="*/ 782 h 1072"/>
                  <a:gd name="connsiteX149" fmla="*/ 502 w 5354"/>
                  <a:gd name="connsiteY149" fmla="*/ 825 h 1072"/>
                  <a:gd name="connsiteX150" fmla="*/ 543 w 5354"/>
                  <a:gd name="connsiteY150" fmla="*/ 863 h 1072"/>
                  <a:gd name="connsiteX151" fmla="*/ 587 w 5354"/>
                  <a:gd name="connsiteY151" fmla="*/ 894 h 1072"/>
                  <a:gd name="connsiteX152" fmla="*/ 634 w 5354"/>
                  <a:gd name="connsiteY152" fmla="*/ 921 h 1072"/>
                  <a:gd name="connsiteX153" fmla="*/ 684 w 5354"/>
                  <a:gd name="connsiteY153" fmla="*/ 940 h 1072"/>
                  <a:gd name="connsiteX154" fmla="*/ 739 w 5354"/>
                  <a:gd name="connsiteY154" fmla="*/ 952 h 1072"/>
                  <a:gd name="connsiteX155" fmla="*/ 801 w 5354"/>
                  <a:gd name="connsiteY155" fmla="*/ 956 h 1072"/>
                  <a:gd name="connsiteX156" fmla="*/ 808 w 5354"/>
                  <a:gd name="connsiteY156" fmla="*/ 956 h 1072"/>
                  <a:gd name="connsiteX157" fmla="*/ 867 w 5354"/>
                  <a:gd name="connsiteY157" fmla="*/ 950 h 1072"/>
                  <a:gd name="connsiteX158" fmla="*/ 923 w 5354"/>
                  <a:gd name="connsiteY158" fmla="*/ 935 h 1072"/>
                  <a:gd name="connsiteX159" fmla="*/ 977 w 5354"/>
                  <a:gd name="connsiteY159" fmla="*/ 913 h 1072"/>
                  <a:gd name="connsiteX160" fmla="*/ 1024 w 5354"/>
                  <a:gd name="connsiteY160" fmla="*/ 884 h 1072"/>
                  <a:gd name="connsiteX161" fmla="*/ 1070 w 5354"/>
                  <a:gd name="connsiteY161" fmla="*/ 846 h 1072"/>
                  <a:gd name="connsiteX162" fmla="*/ 1113 w 5354"/>
                  <a:gd name="connsiteY162" fmla="*/ 803 h 1072"/>
                  <a:gd name="connsiteX163" fmla="*/ 1152 w 5354"/>
                  <a:gd name="connsiteY163" fmla="*/ 755 h 1072"/>
                  <a:gd name="connsiteX164" fmla="*/ 1192 w 5354"/>
                  <a:gd name="connsiteY164" fmla="*/ 703 h 1072"/>
                  <a:gd name="connsiteX165" fmla="*/ 1231 w 5354"/>
                  <a:gd name="connsiteY165" fmla="*/ 649 h 1072"/>
                  <a:gd name="connsiteX166" fmla="*/ 1342 w 5354"/>
                  <a:gd name="connsiteY166" fmla="*/ 475 h 1072"/>
                  <a:gd name="connsiteX167" fmla="*/ 1382 w 5354"/>
                  <a:gd name="connsiteY167" fmla="*/ 415 h 1072"/>
                  <a:gd name="connsiteX168" fmla="*/ 1423 w 5354"/>
                  <a:gd name="connsiteY168" fmla="*/ 357 h 1072"/>
                  <a:gd name="connsiteX169" fmla="*/ 1466 w 5354"/>
                  <a:gd name="connsiteY169" fmla="*/ 299 h 1072"/>
                  <a:gd name="connsiteX170" fmla="*/ 1512 w 5354"/>
                  <a:gd name="connsiteY170" fmla="*/ 245 h 1072"/>
                  <a:gd name="connsiteX171" fmla="*/ 1559 w 5354"/>
                  <a:gd name="connsiteY171" fmla="*/ 193 h 1072"/>
                  <a:gd name="connsiteX172" fmla="*/ 1613 w 5354"/>
                  <a:gd name="connsiteY172" fmla="*/ 145 h 1072"/>
                  <a:gd name="connsiteX173" fmla="*/ 1668 w 5354"/>
                  <a:gd name="connsiteY173" fmla="*/ 104 h 1072"/>
                  <a:gd name="connsiteX174" fmla="*/ 1730 w 5354"/>
                  <a:gd name="connsiteY174" fmla="*/ 69 h 1072"/>
                  <a:gd name="connsiteX175" fmla="*/ 1796 w 5354"/>
                  <a:gd name="connsiteY175" fmla="*/ 40 h 1072"/>
                  <a:gd name="connsiteX176" fmla="*/ 1869 w 5354"/>
                  <a:gd name="connsiteY176" fmla="*/ 19 h 1072"/>
                  <a:gd name="connsiteX177" fmla="*/ 1947 w 5354"/>
                  <a:gd name="connsiteY177" fmla="*/ 6 h 1072"/>
                  <a:gd name="connsiteX178" fmla="*/ 2017 w 5354"/>
                  <a:gd name="connsiteY178" fmla="*/ 4 h 1072"/>
                  <a:gd name="connsiteX179" fmla="*/ 2083 w 5354"/>
                  <a:gd name="connsiteY179" fmla="*/ 13 h 1072"/>
                  <a:gd name="connsiteX180" fmla="*/ 2143 w 5354"/>
                  <a:gd name="connsiteY180" fmla="*/ 27 h 1072"/>
                  <a:gd name="connsiteX181" fmla="*/ 2201 w 5354"/>
                  <a:gd name="connsiteY181" fmla="*/ 50 h 1072"/>
                  <a:gd name="connsiteX182" fmla="*/ 2255 w 5354"/>
                  <a:gd name="connsiteY182" fmla="*/ 81 h 1072"/>
                  <a:gd name="connsiteX183" fmla="*/ 2304 w 5354"/>
                  <a:gd name="connsiteY183" fmla="*/ 116 h 1072"/>
                  <a:gd name="connsiteX184" fmla="*/ 2350 w 5354"/>
                  <a:gd name="connsiteY184" fmla="*/ 158 h 1072"/>
                  <a:gd name="connsiteX185" fmla="*/ 2395 w 5354"/>
                  <a:gd name="connsiteY185" fmla="*/ 203 h 1072"/>
                  <a:gd name="connsiteX186" fmla="*/ 2437 w 5354"/>
                  <a:gd name="connsiteY186" fmla="*/ 251 h 1072"/>
                  <a:gd name="connsiteX187" fmla="*/ 2476 w 5354"/>
                  <a:gd name="connsiteY187" fmla="*/ 303 h 1072"/>
                  <a:gd name="connsiteX188" fmla="*/ 2513 w 5354"/>
                  <a:gd name="connsiteY188" fmla="*/ 357 h 1072"/>
                  <a:gd name="connsiteX189" fmla="*/ 2548 w 5354"/>
                  <a:gd name="connsiteY189" fmla="*/ 413 h 1072"/>
                  <a:gd name="connsiteX190" fmla="*/ 2583 w 5354"/>
                  <a:gd name="connsiteY190" fmla="*/ 467 h 1072"/>
                  <a:gd name="connsiteX191" fmla="*/ 2616 w 5354"/>
                  <a:gd name="connsiteY191" fmla="*/ 523 h 1072"/>
                  <a:gd name="connsiteX192" fmla="*/ 2653 w 5354"/>
                  <a:gd name="connsiteY192" fmla="*/ 585 h 1072"/>
                  <a:gd name="connsiteX193" fmla="*/ 2690 w 5354"/>
                  <a:gd name="connsiteY193" fmla="*/ 643 h 1072"/>
                  <a:gd name="connsiteX194" fmla="*/ 2730 w 5354"/>
                  <a:gd name="connsiteY194" fmla="*/ 701 h 1072"/>
                  <a:gd name="connsiteX195" fmla="*/ 2767 w 5354"/>
                  <a:gd name="connsiteY195" fmla="*/ 755 h 1072"/>
                  <a:gd name="connsiteX196" fmla="*/ 2808 w 5354"/>
                  <a:gd name="connsiteY196" fmla="*/ 805 h 1072"/>
                  <a:gd name="connsiteX197" fmla="*/ 2849 w 5354"/>
                  <a:gd name="connsiteY197" fmla="*/ 848 h 1072"/>
                  <a:gd name="connsiteX198" fmla="*/ 2893 w 5354"/>
                  <a:gd name="connsiteY198" fmla="*/ 886 h 1072"/>
                  <a:gd name="connsiteX199" fmla="*/ 2938 w 5354"/>
                  <a:gd name="connsiteY199" fmla="*/ 917 h 1072"/>
                  <a:gd name="connsiteX200" fmla="*/ 2988 w 5354"/>
                  <a:gd name="connsiteY200" fmla="*/ 940 h 1072"/>
                  <a:gd name="connsiteX201" fmla="*/ 3041 w 5354"/>
                  <a:gd name="connsiteY201" fmla="*/ 952 h 1072"/>
                  <a:gd name="connsiteX202" fmla="*/ 3097 w 5354"/>
                  <a:gd name="connsiteY202" fmla="*/ 956 h 1072"/>
                  <a:gd name="connsiteX203" fmla="*/ 3153 w 5354"/>
                  <a:gd name="connsiteY203" fmla="*/ 950 h 1072"/>
                  <a:gd name="connsiteX204" fmla="*/ 3203 w 5354"/>
                  <a:gd name="connsiteY204" fmla="*/ 935 h 1072"/>
                  <a:gd name="connsiteX205" fmla="*/ 3250 w 5354"/>
                  <a:gd name="connsiteY205" fmla="*/ 915 h 1072"/>
                  <a:gd name="connsiteX206" fmla="*/ 3293 w 5354"/>
                  <a:gd name="connsiteY206" fmla="*/ 884 h 1072"/>
                  <a:gd name="connsiteX207" fmla="*/ 3333 w 5354"/>
                  <a:gd name="connsiteY207" fmla="*/ 848 h 1072"/>
                  <a:gd name="connsiteX208" fmla="*/ 3370 w 5354"/>
                  <a:gd name="connsiteY208" fmla="*/ 807 h 1072"/>
                  <a:gd name="connsiteX209" fmla="*/ 3405 w 5354"/>
                  <a:gd name="connsiteY209" fmla="*/ 759 h 1072"/>
                  <a:gd name="connsiteX210" fmla="*/ 3438 w 5354"/>
                  <a:gd name="connsiteY210" fmla="*/ 709 h 1072"/>
                  <a:gd name="connsiteX211" fmla="*/ 3471 w 5354"/>
                  <a:gd name="connsiteY211" fmla="*/ 655 h 1072"/>
                  <a:gd name="connsiteX212" fmla="*/ 3504 w 5354"/>
                  <a:gd name="connsiteY212" fmla="*/ 597 h 1072"/>
                  <a:gd name="connsiteX213" fmla="*/ 3537 w 5354"/>
                  <a:gd name="connsiteY213" fmla="*/ 537 h 1072"/>
                  <a:gd name="connsiteX214" fmla="*/ 3566 w 5354"/>
                  <a:gd name="connsiteY214" fmla="*/ 483 h 1072"/>
                  <a:gd name="connsiteX215" fmla="*/ 3628 w 5354"/>
                  <a:gd name="connsiteY215" fmla="*/ 375 h 1072"/>
                  <a:gd name="connsiteX216" fmla="*/ 3698 w 5354"/>
                  <a:gd name="connsiteY216" fmla="*/ 272 h 1072"/>
                  <a:gd name="connsiteX217" fmla="*/ 3735 w 5354"/>
                  <a:gd name="connsiteY217" fmla="*/ 224 h 1072"/>
                  <a:gd name="connsiteX218" fmla="*/ 3776 w 5354"/>
                  <a:gd name="connsiteY218" fmla="*/ 178 h 1072"/>
                  <a:gd name="connsiteX219" fmla="*/ 3820 w 5354"/>
                  <a:gd name="connsiteY219" fmla="*/ 137 h 1072"/>
                  <a:gd name="connsiteX220" fmla="*/ 3867 w 5354"/>
                  <a:gd name="connsiteY220" fmla="*/ 100 h 1072"/>
                  <a:gd name="connsiteX221" fmla="*/ 3919 w 5354"/>
                  <a:gd name="connsiteY221" fmla="*/ 66 h 1072"/>
                  <a:gd name="connsiteX222" fmla="*/ 3977 w 5354"/>
                  <a:gd name="connsiteY222" fmla="*/ 40 h 1072"/>
                  <a:gd name="connsiteX223" fmla="*/ 4037 w 5354"/>
                  <a:gd name="connsiteY223" fmla="*/ 19 h 1072"/>
                  <a:gd name="connsiteX224" fmla="*/ 4103 w 5354"/>
                  <a:gd name="connsiteY224" fmla="*/ 6 h 1072"/>
                  <a:gd name="connsiteX225" fmla="*/ 4175 w 5354"/>
                  <a:gd name="connsiteY225" fmla="*/ 0 h 1072"/>
                  <a:gd name="connsiteX0" fmla="*/ 4175 w 5354"/>
                  <a:gd name="connsiteY0" fmla="*/ 0 h 1072"/>
                  <a:gd name="connsiteX1" fmla="*/ 4225 w 5354"/>
                  <a:gd name="connsiteY1" fmla="*/ 0 h 1072"/>
                  <a:gd name="connsiteX2" fmla="*/ 4253 w 5354"/>
                  <a:gd name="connsiteY2" fmla="*/ 4 h 1072"/>
                  <a:gd name="connsiteX3" fmla="*/ 4284 w 5354"/>
                  <a:gd name="connsiteY3" fmla="*/ 13 h 1072"/>
                  <a:gd name="connsiteX4" fmla="*/ 4322 w 5354"/>
                  <a:gd name="connsiteY4" fmla="*/ 23 h 1072"/>
                  <a:gd name="connsiteX5" fmla="*/ 4363 w 5354"/>
                  <a:gd name="connsiteY5" fmla="*/ 40 h 1072"/>
                  <a:gd name="connsiteX6" fmla="*/ 4406 w 5354"/>
                  <a:gd name="connsiteY6" fmla="*/ 60 h 1072"/>
                  <a:gd name="connsiteX7" fmla="*/ 4454 w 5354"/>
                  <a:gd name="connsiteY7" fmla="*/ 89 h 1072"/>
                  <a:gd name="connsiteX8" fmla="*/ 4503 w 5354"/>
                  <a:gd name="connsiteY8" fmla="*/ 125 h 1072"/>
                  <a:gd name="connsiteX9" fmla="*/ 4553 w 5354"/>
                  <a:gd name="connsiteY9" fmla="*/ 170 h 1072"/>
                  <a:gd name="connsiteX10" fmla="*/ 4604 w 5354"/>
                  <a:gd name="connsiteY10" fmla="*/ 224 h 1072"/>
                  <a:gd name="connsiteX11" fmla="*/ 4656 w 5354"/>
                  <a:gd name="connsiteY11" fmla="*/ 286 h 1072"/>
                  <a:gd name="connsiteX12" fmla="*/ 4708 w 5354"/>
                  <a:gd name="connsiteY12" fmla="*/ 361 h 1072"/>
                  <a:gd name="connsiteX13" fmla="*/ 4759 w 5354"/>
                  <a:gd name="connsiteY13" fmla="*/ 448 h 1072"/>
                  <a:gd name="connsiteX14" fmla="*/ 4811 w 5354"/>
                  <a:gd name="connsiteY14" fmla="*/ 548 h 1072"/>
                  <a:gd name="connsiteX15" fmla="*/ 4856 w 5354"/>
                  <a:gd name="connsiteY15" fmla="*/ 633 h 1072"/>
                  <a:gd name="connsiteX16" fmla="*/ 4902 w 5354"/>
                  <a:gd name="connsiteY16" fmla="*/ 705 h 1072"/>
                  <a:gd name="connsiteX17" fmla="*/ 4949 w 5354"/>
                  <a:gd name="connsiteY17" fmla="*/ 767 h 1072"/>
                  <a:gd name="connsiteX18" fmla="*/ 4997 w 5354"/>
                  <a:gd name="connsiteY18" fmla="*/ 819 h 1072"/>
                  <a:gd name="connsiteX19" fmla="*/ 5042 w 5354"/>
                  <a:gd name="connsiteY19" fmla="*/ 863 h 1072"/>
                  <a:gd name="connsiteX20" fmla="*/ 5090 w 5354"/>
                  <a:gd name="connsiteY20" fmla="*/ 898 h 1072"/>
                  <a:gd name="connsiteX21" fmla="*/ 5133 w 5354"/>
                  <a:gd name="connsiteY21" fmla="*/ 927 h 1072"/>
                  <a:gd name="connsiteX22" fmla="*/ 5176 w 5354"/>
                  <a:gd name="connsiteY22" fmla="*/ 948 h 1072"/>
                  <a:gd name="connsiteX23" fmla="*/ 5213 w 5354"/>
                  <a:gd name="connsiteY23" fmla="*/ 962 h 1072"/>
                  <a:gd name="connsiteX24" fmla="*/ 5251 w 5354"/>
                  <a:gd name="connsiteY24" fmla="*/ 973 h 1072"/>
                  <a:gd name="connsiteX25" fmla="*/ 5280 w 5354"/>
                  <a:gd name="connsiteY25" fmla="*/ 981 h 1072"/>
                  <a:gd name="connsiteX26" fmla="*/ 5306 w 5354"/>
                  <a:gd name="connsiteY26" fmla="*/ 983 h 1072"/>
                  <a:gd name="connsiteX27" fmla="*/ 5325 w 5354"/>
                  <a:gd name="connsiteY27" fmla="*/ 985 h 1072"/>
                  <a:gd name="connsiteX28" fmla="*/ 5346 w 5354"/>
                  <a:gd name="connsiteY28" fmla="*/ 985 h 1072"/>
                  <a:gd name="connsiteX29" fmla="*/ 5354 w 5354"/>
                  <a:gd name="connsiteY29" fmla="*/ 1072 h 1072"/>
                  <a:gd name="connsiteX30" fmla="*/ 5319 w 5354"/>
                  <a:gd name="connsiteY30" fmla="*/ 1072 h 1072"/>
                  <a:gd name="connsiteX31" fmla="*/ 5292 w 5354"/>
                  <a:gd name="connsiteY31" fmla="*/ 1070 h 1072"/>
                  <a:gd name="connsiteX32" fmla="*/ 5261 w 5354"/>
                  <a:gd name="connsiteY32" fmla="*/ 1064 h 1072"/>
                  <a:gd name="connsiteX33" fmla="*/ 5224 w 5354"/>
                  <a:gd name="connsiteY33" fmla="*/ 1056 h 1072"/>
                  <a:gd name="connsiteX34" fmla="*/ 5182 w 5354"/>
                  <a:gd name="connsiteY34" fmla="*/ 1043 h 1072"/>
                  <a:gd name="connsiteX35" fmla="*/ 5137 w 5354"/>
                  <a:gd name="connsiteY35" fmla="*/ 1025 h 1072"/>
                  <a:gd name="connsiteX36" fmla="*/ 5090 w 5354"/>
                  <a:gd name="connsiteY36" fmla="*/ 1002 h 1072"/>
                  <a:gd name="connsiteX37" fmla="*/ 5040 w 5354"/>
                  <a:gd name="connsiteY37" fmla="*/ 971 h 1072"/>
                  <a:gd name="connsiteX38" fmla="*/ 4988 w 5354"/>
                  <a:gd name="connsiteY38" fmla="*/ 931 h 1072"/>
                  <a:gd name="connsiteX39" fmla="*/ 4937 w 5354"/>
                  <a:gd name="connsiteY39" fmla="*/ 881 h 1072"/>
                  <a:gd name="connsiteX40" fmla="*/ 4883 w 5354"/>
                  <a:gd name="connsiteY40" fmla="*/ 823 h 1072"/>
                  <a:gd name="connsiteX41" fmla="*/ 4832 w 5354"/>
                  <a:gd name="connsiteY41" fmla="*/ 755 h 1072"/>
                  <a:gd name="connsiteX42" fmla="*/ 4782 w 5354"/>
                  <a:gd name="connsiteY42" fmla="*/ 676 h 1072"/>
                  <a:gd name="connsiteX43" fmla="*/ 4734 w 5354"/>
                  <a:gd name="connsiteY43" fmla="*/ 583 h 1072"/>
                  <a:gd name="connsiteX44" fmla="*/ 4685 w 5354"/>
                  <a:gd name="connsiteY44" fmla="*/ 487 h 1072"/>
                  <a:gd name="connsiteX45" fmla="*/ 4635 w 5354"/>
                  <a:gd name="connsiteY45" fmla="*/ 404 h 1072"/>
                  <a:gd name="connsiteX46" fmla="*/ 4586 w 5354"/>
                  <a:gd name="connsiteY46" fmla="*/ 336 h 1072"/>
                  <a:gd name="connsiteX47" fmla="*/ 4536 w 5354"/>
                  <a:gd name="connsiteY47" fmla="*/ 276 h 1072"/>
                  <a:gd name="connsiteX48" fmla="*/ 4489 w 5354"/>
                  <a:gd name="connsiteY48" fmla="*/ 228 h 1072"/>
                  <a:gd name="connsiteX49" fmla="*/ 4443 w 5354"/>
                  <a:gd name="connsiteY49" fmla="*/ 189 h 1072"/>
                  <a:gd name="connsiteX50" fmla="*/ 4402 w 5354"/>
                  <a:gd name="connsiteY50" fmla="*/ 158 h 1072"/>
                  <a:gd name="connsiteX51" fmla="*/ 4363 w 5354"/>
                  <a:gd name="connsiteY51" fmla="*/ 135 h 1072"/>
                  <a:gd name="connsiteX52" fmla="*/ 4313 w 5354"/>
                  <a:gd name="connsiteY52" fmla="*/ 112 h 1072"/>
                  <a:gd name="connsiteX53" fmla="*/ 4270 w 5354"/>
                  <a:gd name="connsiteY53" fmla="*/ 98 h 1072"/>
                  <a:gd name="connsiteX54" fmla="*/ 4235 w 5354"/>
                  <a:gd name="connsiteY54" fmla="*/ 89 h 1072"/>
                  <a:gd name="connsiteX55" fmla="*/ 4206 w 5354"/>
                  <a:gd name="connsiteY55" fmla="*/ 87 h 1072"/>
                  <a:gd name="connsiteX56" fmla="*/ 4179 w 5354"/>
                  <a:gd name="connsiteY56" fmla="*/ 87 h 1072"/>
                  <a:gd name="connsiteX57" fmla="*/ 4113 w 5354"/>
                  <a:gd name="connsiteY57" fmla="*/ 93 h 1072"/>
                  <a:gd name="connsiteX58" fmla="*/ 4051 w 5354"/>
                  <a:gd name="connsiteY58" fmla="*/ 106 h 1072"/>
                  <a:gd name="connsiteX59" fmla="*/ 3995 w 5354"/>
                  <a:gd name="connsiteY59" fmla="*/ 127 h 1072"/>
                  <a:gd name="connsiteX60" fmla="*/ 3944 w 5354"/>
                  <a:gd name="connsiteY60" fmla="*/ 154 h 1072"/>
                  <a:gd name="connsiteX61" fmla="*/ 3896 w 5354"/>
                  <a:gd name="connsiteY61" fmla="*/ 187 h 1072"/>
                  <a:gd name="connsiteX62" fmla="*/ 3853 w 5354"/>
                  <a:gd name="connsiteY62" fmla="*/ 224 h 1072"/>
                  <a:gd name="connsiteX63" fmla="*/ 3814 w 5354"/>
                  <a:gd name="connsiteY63" fmla="*/ 268 h 1072"/>
                  <a:gd name="connsiteX64" fmla="*/ 3774 w 5354"/>
                  <a:gd name="connsiteY64" fmla="*/ 313 h 1072"/>
                  <a:gd name="connsiteX65" fmla="*/ 3739 w 5354"/>
                  <a:gd name="connsiteY65" fmla="*/ 363 h 1072"/>
                  <a:gd name="connsiteX66" fmla="*/ 3706 w 5354"/>
                  <a:gd name="connsiteY66" fmla="*/ 415 h 1072"/>
                  <a:gd name="connsiteX67" fmla="*/ 3644 w 5354"/>
                  <a:gd name="connsiteY67" fmla="*/ 523 h 1072"/>
                  <a:gd name="connsiteX68" fmla="*/ 3551 w 5354"/>
                  <a:gd name="connsiteY68" fmla="*/ 691 h 1072"/>
                  <a:gd name="connsiteX69" fmla="*/ 3518 w 5354"/>
                  <a:gd name="connsiteY69" fmla="*/ 747 h 1072"/>
                  <a:gd name="connsiteX70" fmla="*/ 3483 w 5354"/>
                  <a:gd name="connsiteY70" fmla="*/ 799 h 1072"/>
                  <a:gd name="connsiteX71" fmla="*/ 3448 w 5354"/>
                  <a:gd name="connsiteY71" fmla="*/ 848 h 1072"/>
                  <a:gd name="connsiteX72" fmla="*/ 3409 w 5354"/>
                  <a:gd name="connsiteY72" fmla="*/ 894 h 1072"/>
                  <a:gd name="connsiteX73" fmla="*/ 3368 w 5354"/>
                  <a:gd name="connsiteY73" fmla="*/ 935 h 1072"/>
                  <a:gd name="connsiteX74" fmla="*/ 3322 w 5354"/>
                  <a:gd name="connsiteY74" fmla="*/ 971 h 1072"/>
                  <a:gd name="connsiteX75" fmla="*/ 3273 w 5354"/>
                  <a:gd name="connsiteY75" fmla="*/ 1000 h 1072"/>
                  <a:gd name="connsiteX76" fmla="*/ 3221 w 5354"/>
                  <a:gd name="connsiteY76" fmla="*/ 1022 h 1072"/>
                  <a:gd name="connsiteX77" fmla="*/ 3163 w 5354"/>
                  <a:gd name="connsiteY77" fmla="*/ 1037 h 1072"/>
                  <a:gd name="connsiteX78" fmla="*/ 3099 w 5354"/>
                  <a:gd name="connsiteY78" fmla="*/ 1043 h 1072"/>
                  <a:gd name="connsiteX79" fmla="*/ 3091 w 5354"/>
                  <a:gd name="connsiteY79" fmla="*/ 1043 h 1072"/>
                  <a:gd name="connsiteX80" fmla="*/ 3029 w 5354"/>
                  <a:gd name="connsiteY80" fmla="*/ 1039 h 1072"/>
                  <a:gd name="connsiteX81" fmla="*/ 2969 w 5354"/>
                  <a:gd name="connsiteY81" fmla="*/ 1025 h 1072"/>
                  <a:gd name="connsiteX82" fmla="*/ 2916 w 5354"/>
                  <a:gd name="connsiteY82" fmla="*/ 1002 h 1072"/>
                  <a:gd name="connsiteX83" fmla="*/ 2864 w 5354"/>
                  <a:gd name="connsiteY83" fmla="*/ 973 h 1072"/>
                  <a:gd name="connsiteX84" fmla="*/ 2816 w 5354"/>
                  <a:gd name="connsiteY84" fmla="*/ 935 h 1072"/>
                  <a:gd name="connsiteX85" fmla="*/ 2773 w 5354"/>
                  <a:gd name="connsiteY85" fmla="*/ 894 h 1072"/>
                  <a:gd name="connsiteX86" fmla="*/ 2730 w 5354"/>
                  <a:gd name="connsiteY86" fmla="*/ 846 h 1072"/>
                  <a:gd name="connsiteX87" fmla="*/ 2690 w 5354"/>
                  <a:gd name="connsiteY87" fmla="*/ 796 h 1072"/>
                  <a:gd name="connsiteX88" fmla="*/ 2651 w 5354"/>
                  <a:gd name="connsiteY88" fmla="*/ 740 h 1072"/>
                  <a:gd name="connsiteX89" fmla="*/ 2614 w 5354"/>
                  <a:gd name="connsiteY89" fmla="*/ 684 h 1072"/>
                  <a:gd name="connsiteX90" fmla="*/ 2509 w 5354"/>
                  <a:gd name="connsiteY90" fmla="*/ 510 h 1072"/>
                  <a:gd name="connsiteX91" fmla="*/ 2472 w 5354"/>
                  <a:gd name="connsiteY91" fmla="*/ 452 h 1072"/>
                  <a:gd name="connsiteX92" fmla="*/ 2434 w 5354"/>
                  <a:gd name="connsiteY92" fmla="*/ 396 h 1072"/>
                  <a:gd name="connsiteX93" fmla="*/ 2397 w 5354"/>
                  <a:gd name="connsiteY93" fmla="*/ 342 h 1072"/>
                  <a:gd name="connsiteX94" fmla="*/ 2358 w 5354"/>
                  <a:gd name="connsiteY94" fmla="*/ 293 h 1072"/>
                  <a:gd name="connsiteX95" fmla="*/ 2317 w 5354"/>
                  <a:gd name="connsiteY95" fmla="*/ 247 h 1072"/>
                  <a:gd name="connsiteX96" fmla="*/ 2275 w 5354"/>
                  <a:gd name="connsiteY96" fmla="*/ 205 h 1072"/>
                  <a:gd name="connsiteX97" fmla="*/ 2230 w 5354"/>
                  <a:gd name="connsiteY97" fmla="*/ 168 h 1072"/>
                  <a:gd name="connsiteX98" fmla="*/ 2183 w 5354"/>
                  <a:gd name="connsiteY98" fmla="*/ 139 h 1072"/>
                  <a:gd name="connsiteX99" fmla="*/ 2131 w 5354"/>
                  <a:gd name="connsiteY99" fmla="*/ 116 h 1072"/>
                  <a:gd name="connsiteX100" fmla="*/ 2075 w 5354"/>
                  <a:gd name="connsiteY100" fmla="*/ 100 h 1072"/>
                  <a:gd name="connsiteX101" fmla="*/ 2017 w 5354"/>
                  <a:gd name="connsiteY101" fmla="*/ 91 h 1072"/>
                  <a:gd name="connsiteX102" fmla="*/ 1953 w 5354"/>
                  <a:gd name="connsiteY102" fmla="*/ 93 h 1072"/>
                  <a:gd name="connsiteX103" fmla="*/ 1885 w 5354"/>
                  <a:gd name="connsiteY103" fmla="*/ 104 h 1072"/>
                  <a:gd name="connsiteX104" fmla="*/ 1823 w 5354"/>
                  <a:gd name="connsiteY104" fmla="*/ 122 h 1072"/>
                  <a:gd name="connsiteX105" fmla="*/ 1766 w 5354"/>
                  <a:gd name="connsiteY105" fmla="*/ 147 h 1072"/>
                  <a:gd name="connsiteX106" fmla="*/ 1712 w 5354"/>
                  <a:gd name="connsiteY106" fmla="*/ 181 h 1072"/>
                  <a:gd name="connsiteX107" fmla="*/ 1660 w 5354"/>
                  <a:gd name="connsiteY107" fmla="*/ 218 h 1072"/>
                  <a:gd name="connsiteX108" fmla="*/ 1615 w 5354"/>
                  <a:gd name="connsiteY108" fmla="*/ 261 h 1072"/>
                  <a:gd name="connsiteX109" fmla="*/ 1569 w 5354"/>
                  <a:gd name="connsiteY109" fmla="*/ 307 h 1072"/>
                  <a:gd name="connsiteX110" fmla="*/ 1528 w 5354"/>
                  <a:gd name="connsiteY110" fmla="*/ 359 h 1072"/>
                  <a:gd name="connsiteX111" fmla="*/ 1489 w 5354"/>
                  <a:gd name="connsiteY111" fmla="*/ 413 h 1072"/>
                  <a:gd name="connsiteX112" fmla="*/ 1452 w 5354"/>
                  <a:gd name="connsiteY112" fmla="*/ 467 h 1072"/>
                  <a:gd name="connsiteX113" fmla="*/ 1415 w 5354"/>
                  <a:gd name="connsiteY113" fmla="*/ 523 h 1072"/>
                  <a:gd name="connsiteX114" fmla="*/ 1377 w 5354"/>
                  <a:gd name="connsiteY114" fmla="*/ 581 h 1072"/>
                  <a:gd name="connsiteX115" fmla="*/ 1342 w 5354"/>
                  <a:gd name="connsiteY115" fmla="*/ 637 h 1072"/>
                  <a:gd name="connsiteX116" fmla="*/ 1268 w 5354"/>
                  <a:gd name="connsiteY116" fmla="*/ 749 h 1072"/>
                  <a:gd name="connsiteX117" fmla="*/ 1229 w 5354"/>
                  <a:gd name="connsiteY117" fmla="*/ 801 h 1072"/>
                  <a:gd name="connsiteX118" fmla="*/ 1187 w 5354"/>
                  <a:gd name="connsiteY118" fmla="*/ 850 h 1072"/>
                  <a:gd name="connsiteX119" fmla="*/ 1144 w 5354"/>
                  <a:gd name="connsiteY119" fmla="*/ 896 h 1072"/>
                  <a:gd name="connsiteX120" fmla="*/ 1097 w 5354"/>
                  <a:gd name="connsiteY120" fmla="*/ 937 h 1072"/>
                  <a:gd name="connsiteX121" fmla="*/ 1047 w 5354"/>
                  <a:gd name="connsiteY121" fmla="*/ 973 h 1072"/>
                  <a:gd name="connsiteX122" fmla="*/ 993 w 5354"/>
                  <a:gd name="connsiteY122" fmla="*/ 1002 h 1072"/>
                  <a:gd name="connsiteX123" fmla="*/ 938 w 5354"/>
                  <a:gd name="connsiteY123" fmla="*/ 1025 h 1072"/>
                  <a:gd name="connsiteX124" fmla="*/ 874 w 5354"/>
                  <a:gd name="connsiteY124" fmla="*/ 1037 h 1072"/>
                  <a:gd name="connsiteX125" fmla="*/ 808 w 5354"/>
                  <a:gd name="connsiteY125" fmla="*/ 1043 h 1072"/>
                  <a:gd name="connsiteX126" fmla="*/ 801 w 5354"/>
                  <a:gd name="connsiteY126" fmla="*/ 1043 h 1072"/>
                  <a:gd name="connsiteX127" fmla="*/ 733 w 5354"/>
                  <a:gd name="connsiteY127" fmla="*/ 1039 h 1072"/>
                  <a:gd name="connsiteX128" fmla="*/ 671 w 5354"/>
                  <a:gd name="connsiteY128" fmla="*/ 1027 h 1072"/>
                  <a:gd name="connsiteX129" fmla="*/ 613 w 5354"/>
                  <a:gd name="connsiteY129" fmla="*/ 1008 h 1072"/>
                  <a:gd name="connsiteX130" fmla="*/ 562 w 5354"/>
                  <a:gd name="connsiteY130" fmla="*/ 983 h 1072"/>
                  <a:gd name="connsiteX131" fmla="*/ 514 w 5354"/>
                  <a:gd name="connsiteY131" fmla="*/ 952 h 1072"/>
                  <a:gd name="connsiteX132" fmla="*/ 469 w 5354"/>
                  <a:gd name="connsiteY132" fmla="*/ 915 h 1072"/>
                  <a:gd name="connsiteX133" fmla="*/ 428 w 5354"/>
                  <a:gd name="connsiteY133" fmla="*/ 873 h 1072"/>
                  <a:gd name="connsiteX134" fmla="*/ 390 w 5354"/>
                  <a:gd name="connsiteY134" fmla="*/ 828 h 1072"/>
                  <a:gd name="connsiteX135" fmla="*/ 353 w 5354"/>
                  <a:gd name="connsiteY135" fmla="*/ 780 h 1072"/>
                  <a:gd name="connsiteX136" fmla="*/ 320 w 5354"/>
                  <a:gd name="connsiteY136" fmla="*/ 728 h 1072"/>
                  <a:gd name="connsiteX137" fmla="*/ 285 w 5354"/>
                  <a:gd name="connsiteY137" fmla="*/ 674 h 1072"/>
                  <a:gd name="connsiteX138" fmla="*/ 254 w 5354"/>
                  <a:gd name="connsiteY138" fmla="*/ 618 h 1072"/>
                  <a:gd name="connsiteX139" fmla="*/ 221 w 5354"/>
                  <a:gd name="connsiteY139" fmla="*/ 560 h 1072"/>
                  <a:gd name="connsiteX140" fmla="*/ 159 w 5354"/>
                  <a:gd name="connsiteY140" fmla="*/ 448 h 1072"/>
                  <a:gd name="connsiteX141" fmla="*/ 0 w 5354"/>
                  <a:gd name="connsiteY141" fmla="*/ 239 h 1072"/>
                  <a:gd name="connsiteX142" fmla="*/ 298 w 5354"/>
                  <a:gd name="connsiteY142" fmla="*/ 516 h 1072"/>
                  <a:gd name="connsiteX143" fmla="*/ 331 w 5354"/>
                  <a:gd name="connsiteY143" fmla="*/ 575 h 1072"/>
                  <a:gd name="connsiteX144" fmla="*/ 364 w 5354"/>
                  <a:gd name="connsiteY144" fmla="*/ 631 h 1072"/>
                  <a:gd name="connsiteX145" fmla="*/ 397 w 5354"/>
                  <a:gd name="connsiteY145" fmla="*/ 684 h 1072"/>
                  <a:gd name="connsiteX146" fmla="*/ 430 w 5354"/>
                  <a:gd name="connsiteY146" fmla="*/ 736 h 1072"/>
                  <a:gd name="connsiteX147" fmla="*/ 465 w 5354"/>
                  <a:gd name="connsiteY147" fmla="*/ 782 h 1072"/>
                  <a:gd name="connsiteX148" fmla="*/ 502 w 5354"/>
                  <a:gd name="connsiteY148" fmla="*/ 825 h 1072"/>
                  <a:gd name="connsiteX149" fmla="*/ 543 w 5354"/>
                  <a:gd name="connsiteY149" fmla="*/ 863 h 1072"/>
                  <a:gd name="connsiteX150" fmla="*/ 587 w 5354"/>
                  <a:gd name="connsiteY150" fmla="*/ 894 h 1072"/>
                  <a:gd name="connsiteX151" fmla="*/ 634 w 5354"/>
                  <a:gd name="connsiteY151" fmla="*/ 921 h 1072"/>
                  <a:gd name="connsiteX152" fmla="*/ 684 w 5354"/>
                  <a:gd name="connsiteY152" fmla="*/ 940 h 1072"/>
                  <a:gd name="connsiteX153" fmla="*/ 739 w 5354"/>
                  <a:gd name="connsiteY153" fmla="*/ 952 h 1072"/>
                  <a:gd name="connsiteX154" fmla="*/ 801 w 5354"/>
                  <a:gd name="connsiteY154" fmla="*/ 956 h 1072"/>
                  <a:gd name="connsiteX155" fmla="*/ 808 w 5354"/>
                  <a:gd name="connsiteY155" fmla="*/ 956 h 1072"/>
                  <a:gd name="connsiteX156" fmla="*/ 867 w 5354"/>
                  <a:gd name="connsiteY156" fmla="*/ 950 h 1072"/>
                  <a:gd name="connsiteX157" fmla="*/ 923 w 5354"/>
                  <a:gd name="connsiteY157" fmla="*/ 935 h 1072"/>
                  <a:gd name="connsiteX158" fmla="*/ 977 w 5354"/>
                  <a:gd name="connsiteY158" fmla="*/ 913 h 1072"/>
                  <a:gd name="connsiteX159" fmla="*/ 1024 w 5354"/>
                  <a:gd name="connsiteY159" fmla="*/ 884 h 1072"/>
                  <a:gd name="connsiteX160" fmla="*/ 1070 w 5354"/>
                  <a:gd name="connsiteY160" fmla="*/ 846 h 1072"/>
                  <a:gd name="connsiteX161" fmla="*/ 1113 w 5354"/>
                  <a:gd name="connsiteY161" fmla="*/ 803 h 1072"/>
                  <a:gd name="connsiteX162" fmla="*/ 1152 w 5354"/>
                  <a:gd name="connsiteY162" fmla="*/ 755 h 1072"/>
                  <a:gd name="connsiteX163" fmla="*/ 1192 w 5354"/>
                  <a:gd name="connsiteY163" fmla="*/ 703 h 1072"/>
                  <a:gd name="connsiteX164" fmla="*/ 1231 w 5354"/>
                  <a:gd name="connsiteY164" fmla="*/ 649 h 1072"/>
                  <a:gd name="connsiteX165" fmla="*/ 1342 w 5354"/>
                  <a:gd name="connsiteY165" fmla="*/ 475 h 1072"/>
                  <a:gd name="connsiteX166" fmla="*/ 1382 w 5354"/>
                  <a:gd name="connsiteY166" fmla="*/ 415 h 1072"/>
                  <a:gd name="connsiteX167" fmla="*/ 1423 w 5354"/>
                  <a:gd name="connsiteY167" fmla="*/ 357 h 1072"/>
                  <a:gd name="connsiteX168" fmla="*/ 1466 w 5354"/>
                  <a:gd name="connsiteY168" fmla="*/ 299 h 1072"/>
                  <a:gd name="connsiteX169" fmla="*/ 1512 w 5354"/>
                  <a:gd name="connsiteY169" fmla="*/ 245 h 1072"/>
                  <a:gd name="connsiteX170" fmla="*/ 1559 w 5354"/>
                  <a:gd name="connsiteY170" fmla="*/ 193 h 1072"/>
                  <a:gd name="connsiteX171" fmla="*/ 1613 w 5354"/>
                  <a:gd name="connsiteY171" fmla="*/ 145 h 1072"/>
                  <a:gd name="connsiteX172" fmla="*/ 1668 w 5354"/>
                  <a:gd name="connsiteY172" fmla="*/ 104 h 1072"/>
                  <a:gd name="connsiteX173" fmla="*/ 1730 w 5354"/>
                  <a:gd name="connsiteY173" fmla="*/ 69 h 1072"/>
                  <a:gd name="connsiteX174" fmla="*/ 1796 w 5354"/>
                  <a:gd name="connsiteY174" fmla="*/ 40 h 1072"/>
                  <a:gd name="connsiteX175" fmla="*/ 1869 w 5354"/>
                  <a:gd name="connsiteY175" fmla="*/ 19 h 1072"/>
                  <a:gd name="connsiteX176" fmla="*/ 1947 w 5354"/>
                  <a:gd name="connsiteY176" fmla="*/ 6 h 1072"/>
                  <a:gd name="connsiteX177" fmla="*/ 2017 w 5354"/>
                  <a:gd name="connsiteY177" fmla="*/ 4 h 1072"/>
                  <a:gd name="connsiteX178" fmla="*/ 2083 w 5354"/>
                  <a:gd name="connsiteY178" fmla="*/ 13 h 1072"/>
                  <a:gd name="connsiteX179" fmla="*/ 2143 w 5354"/>
                  <a:gd name="connsiteY179" fmla="*/ 27 h 1072"/>
                  <a:gd name="connsiteX180" fmla="*/ 2201 w 5354"/>
                  <a:gd name="connsiteY180" fmla="*/ 50 h 1072"/>
                  <a:gd name="connsiteX181" fmla="*/ 2255 w 5354"/>
                  <a:gd name="connsiteY181" fmla="*/ 81 h 1072"/>
                  <a:gd name="connsiteX182" fmla="*/ 2304 w 5354"/>
                  <a:gd name="connsiteY182" fmla="*/ 116 h 1072"/>
                  <a:gd name="connsiteX183" fmla="*/ 2350 w 5354"/>
                  <a:gd name="connsiteY183" fmla="*/ 158 h 1072"/>
                  <a:gd name="connsiteX184" fmla="*/ 2395 w 5354"/>
                  <a:gd name="connsiteY184" fmla="*/ 203 h 1072"/>
                  <a:gd name="connsiteX185" fmla="*/ 2437 w 5354"/>
                  <a:gd name="connsiteY185" fmla="*/ 251 h 1072"/>
                  <a:gd name="connsiteX186" fmla="*/ 2476 w 5354"/>
                  <a:gd name="connsiteY186" fmla="*/ 303 h 1072"/>
                  <a:gd name="connsiteX187" fmla="*/ 2513 w 5354"/>
                  <a:gd name="connsiteY187" fmla="*/ 357 h 1072"/>
                  <a:gd name="connsiteX188" fmla="*/ 2548 w 5354"/>
                  <a:gd name="connsiteY188" fmla="*/ 413 h 1072"/>
                  <a:gd name="connsiteX189" fmla="*/ 2583 w 5354"/>
                  <a:gd name="connsiteY189" fmla="*/ 467 h 1072"/>
                  <a:gd name="connsiteX190" fmla="*/ 2616 w 5354"/>
                  <a:gd name="connsiteY190" fmla="*/ 523 h 1072"/>
                  <a:gd name="connsiteX191" fmla="*/ 2653 w 5354"/>
                  <a:gd name="connsiteY191" fmla="*/ 585 h 1072"/>
                  <a:gd name="connsiteX192" fmla="*/ 2690 w 5354"/>
                  <a:gd name="connsiteY192" fmla="*/ 643 h 1072"/>
                  <a:gd name="connsiteX193" fmla="*/ 2730 w 5354"/>
                  <a:gd name="connsiteY193" fmla="*/ 701 h 1072"/>
                  <a:gd name="connsiteX194" fmla="*/ 2767 w 5354"/>
                  <a:gd name="connsiteY194" fmla="*/ 755 h 1072"/>
                  <a:gd name="connsiteX195" fmla="*/ 2808 w 5354"/>
                  <a:gd name="connsiteY195" fmla="*/ 805 h 1072"/>
                  <a:gd name="connsiteX196" fmla="*/ 2849 w 5354"/>
                  <a:gd name="connsiteY196" fmla="*/ 848 h 1072"/>
                  <a:gd name="connsiteX197" fmla="*/ 2893 w 5354"/>
                  <a:gd name="connsiteY197" fmla="*/ 886 h 1072"/>
                  <a:gd name="connsiteX198" fmla="*/ 2938 w 5354"/>
                  <a:gd name="connsiteY198" fmla="*/ 917 h 1072"/>
                  <a:gd name="connsiteX199" fmla="*/ 2988 w 5354"/>
                  <a:gd name="connsiteY199" fmla="*/ 940 h 1072"/>
                  <a:gd name="connsiteX200" fmla="*/ 3041 w 5354"/>
                  <a:gd name="connsiteY200" fmla="*/ 952 h 1072"/>
                  <a:gd name="connsiteX201" fmla="*/ 3097 w 5354"/>
                  <a:gd name="connsiteY201" fmla="*/ 956 h 1072"/>
                  <a:gd name="connsiteX202" fmla="*/ 3153 w 5354"/>
                  <a:gd name="connsiteY202" fmla="*/ 950 h 1072"/>
                  <a:gd name="connsiteX203" fmla="*/ 3203 w 5354"/>
                  <a:gd name="connsiteY203" fmla="*/ 935 h 1072"/>
                  <a:gd name="connsiteX204" fmla="*/ 3250 w 5354"/>
                  <a:gd name="connsiteY204" fmla="*/ 915 h 1072"/>
                  <a:gd name="connsiteX205" fmla="*/ 3293 w 5354"/>
                  <a:gd name="connsiteY205" fmla="*/ 884 h 1072"/>
                  <a:gd name="connsiteX206" fmla="*/ 3333 w 5354"/>
                  <a:gd name="connsiteY206" fmla="*/ 848 h 1072"/>
                  <a:gd name="connsiteX207" fmla="*/ 3370 w 5354"/>
                  <a:gd name="connsiteY207" fmla="*/ 807 h 1072"/>
                  <a:gd name="connsiteX208" fmla="*/ 3405 w 5354"/>
                  <a:gd name="connsiteY208" fmla="*/ 759 h 1072"/>
                  <a:gd name="connsiteX209" fmla="*/ 3438 w 5354"/>
                  <a:gd name="connsiteY209" fmla="*/ 709 h 1072"/>
                  <a:gd name="connsiteX210" fmla="*/ 3471 w 5354"/>
                  <a:gd name="connsiteY210" fmla="*/ 655 h 1072"/>
                  <a:gd name="connsiteX211" fmla="*/ 3504 w 5354"/>
                  <a:gd name="connsiteY211" fmla="*/ 597 h 1072"/>
                  <a:gd name="connsiteX212" fmla="*/ 3537 w 5354"/>
                  <a:gd name="connsiteY212" fmla="*/ 537 h 1072"/>
                  <a:gd name="connsiteX213" fmla="*/ 3566 w 5354"/>
                  <a:gd name="connsiteY213" fmla="*/ 483 h 1072"/>
                  <a:gd name="connsiteX214" fmla="*/ 3628 w 5354"/>
                  <a:gd name="connsiteY214" fmla="*/ 375 h 1072"/>
                  <a:gd name="connsiteX215" fmla="*/ 3698 w 5354"/>
                  <a:gd name="connsiteY215" fmla="*/ 272 h 1072"/>
                  <a:gd name="connsiteX216" fmla="*/ 3735 w 5354"/>
                  <a:gd name="connsiteY216" fmla="*/ 224 h 1072"/>
                  <a:gd name="connsiteX217" fmla="*/ 3776 w 5354"/>
                  <a:gd name="connsiteY217" fmla="*/ 178 h 1072"/>
                  <a:gd name="connsiteX218" fmla="*/ 3820 w 5354"/>
                  <a:gd name="connsiteY218" fmla="*/ 137 h 1072"/>
                  <a:gd name="connsiteX219" fmla="*/ 3867 w 5354"/>
                  <a:gd name="connsiteY219" fmla="*/ 100 h 1072"/>
                  <a:gd name="connsiteX220" fmla="*/ 3919 w 5354"/>
                  <a:gd name="connsiteY220" fmla="*/ 66 h 1072"/>
                  <a:gd name="connsiteX221" fmla="*/ 3977 w 5354"/>
                  <a:gd name="connsiteY221" fmla="*/ 40 h 1072"/>
                  <a:gd name="connsiteX222" fmla="*/ 4037 w 5354"/>
                  <a:gd name="connsiteY222" fmla="*/ 19 h 1072"/>
                  <a:gd name="connsiteX223" fmla="*/ 4103 w 5354"/>
                  <a:gd name="connsiteY223" fmla="*/ 6 h 1072"/>
                  <a:gd name="connsiteX224" fmla="*/ 4175 w 5354"/>
                  <a:gd name="connsiteY224" fmla="*/ 0 h 1072"/>
                  <a:gd name="connsiteX0" fmla="*/ 4016 w 5195"/>
                  <a:gd name="connsiteY0" fmla="*/ 0 h 1072"/>
                  <a:gd name="connsiteX1" fmla="*/ 4066 w 5195"/>
                  <a:gd name="connsiteY1" fmla="*/ 0 h 1072"/>
                  <a:gd name="connsiteX2" fmla="*/ 4094 w 5195"/>
                  <a:gd name="connsiteY2" fmla="*/ 4 h 1072"/>
                  <a:gd name="connsiteX3" fmla="*/ 4125 w 5195"/>
                  <a:gd name="connsiteY3" fmla="*/ 13 h 1072"/>
                  <a:gd name="connsiteX4" fmla="*/ 4163 w 5195"/>
                  <a:gd name="connsiteY4" fmla="*/ 23 h 1072"/>
                  <a:gd name="connsiteX5" fmla="*/ 4204 w 5195"/>
                  <a:gd name="connsiteY5" fmla="*/ 40 h 1072"/>
                  <a:gd name="connsiteX6" fmla="*/ 4247 w 5195"/>
                  <a:gd name="connsiteY6" fmla="*/ 60 h 1072"/>
                  <a:gd name="connsiteX7" fmla="*/ 4295 w 5195"/>
                  <a:gd name="connsiteY7" fmla="*/ 89 h 1072"/>
                  <a:gd name="connsiteX8" fmla="*/ 4344 w 5195"/>
                  <a:gd name="connsiteY8" fmla="*/ 125 h 1072"/>
                  <a:gd name="connsiteX9" fmla="*/ 4394 w 5195"/>
                  <a:gd name="connsiteY9" fmla="*/ 170 h 1072"/>
                  <a:gd name="connsiteX10" fmla="*/ 4445 w 5195"/>
                  <a:gd name="connsiteY10" fmla="*/ 224 h 1072"/>
                  <a:gd name="connsiteX11" fmla="*/ 4497 w 5195"/>
                  <a:gd name="connsiteY11" fmla="*/ 286 h 1072"/>
                  <a:gd name="connsiteX12" fmla="*/ 4549 w 5195"/>
                  <a:gd name="connsiteY12" fmla="*/ 361 h 1072"/>
                  <a:gd name="connsiteX13" fmla="*/ 4600 w 5195"/>
                  <a:gd name="connsiteY13" fmla="*/ 448 h 1072"/>
                  <a:gd name="connsiteX14" fmla="*/ 4652 w 5195"/>
                  <a:gd name="connsiteY14" fmla="*/ 548 h 1072"/>
                  <a:gd name="connsiteX15" fmla="*/ 4697 w 5195"/>
                  <a:gd name="connsiteY15" fmla="*/ 633 h 1072"/>
                  <a:gd name="connsiteX16" fmla="*/ 4743 w 5195"/>
                  <a:gd name="connsiteY16" fmla="*/ 705 h 1072"/>
                  <a:gd name="connsiteX17" fmla="*/ 4790 w 5195"/>
                  <a:gd name="connsiteY17" fmla="*/ 767 h 1072"/>
                  <a:gd name="connsiteX18" fmla="*/ 4838 w 5195"/>
                  <a:gd name="connsiteY18" fmla="*/ 819 h 1072"/>
                  <a:gd name="connsiteX19" fmla="*/ 4883 w 5195"/>
                  <a:gd name="connsiteY19" fmla="*/ 863 h 1072"/>
                  <a:gd name="connsiteX20" fmla="*/ 4931 w 5195"/>
                  <a:gd name="connsiteY20" fmla="*/ 898 h 1072"/>
                  <a:gd name="connsiteX21" fmla="*/ 4974 w 5195"/>
                  <a:gd name="connsiteY21" fmla="*/ 927 h 1072"/>
                  <a:gd name="connsiteX22" fmla="*/ 5017 w 5195"/>
                  <a:gd name="connsiteY22" fmla="*/ 948 h 1072"/>
                  <a:gd name="connsiteX23" fmla="*/ 5054 w 5195"/>
                  <a:gd name="connsiteY23" fmla="*/ 962 h 1072"/>
                  <a:gd name="connsiteX24" fmla="*/ 5092 w 5195"/>
                  <a:gd name="connsiteY24" fmla="*/ 973 h 1072"/>
                  <a:gd name="connsiteX25" fmla="*/ 5121 w 5195"/>
                  <a:gd name="connsiteY25" fmla="*/ 981 h 1072"/>
                  <a:gd name="connsiteX26" fmla="*/ 5147 w 5195"/>
                  <a:gd name="connsiteY26" fmla="*/ 983 h 1072"/>
                  <a:gd name="connsiteX27" fmla="*/ 5166 w 5195"/>
                  <a:gd name="connsiteY27" fmla="*/ 985 h 1072"/>
                  <a:gd name="connsiteX28" fmla="*/ 5187 w 5195"/>
                  <a:gd name="connsiteY28" fmla="*/ 985 h 1072"/>
                  <a:gd name="connsiteX29" fmla="*/ 5195 w 5195"/>
                  <a:gd name="connsiteY29" fmla="*/ 1072 h 1072"/>
                  <a:gd name="connsiteX30" fmla="*/ 5160 w 5195"/>
                  <a:gd name="connsiteY30" fmla="*/ 1072 h 1072"/>
                  <a:gd name="connsiteX31" fmla="*/ 5133 w 5195"/>
                  <a:gd name="connsiteY31" fmla="*/ 1070 h 1072"/>
                  <a:gd name="connsiteX32" fmla="*/ 5102 w 5195"/>
                  <a:gd name="connsiteY32" fmla="*/ 1064 h 1072"/>
                  <a:gd name="connsiteX33" fmla="*/ 5065 w 5195"/>
                  <a:gd name="connsiteY33" fmla="*/ 1056 h 1072"/>
                  <a:gd name="connsiteX34" fmla="*/ 5023 w 5195"/>
                  <a:gd name="connsiteY34" fmla="*/ 1043 h 1072"/>
                  <a:gd name="connsiteX35" fmla="*/ 4978 w 5195"/>
                  <a:gd name="connsiteY35" fmla="*/ 1025 h 1072"/>
                  <a:gd name="connsiteX36" fmla="*/ 4931 w 5195"/>
                  <a:gd name="connsiteY36" fmla="*/ 1002 h 1072"/>
                  <a:gd name="connsiteX37" fmla="*/ 4881 w 5195"/>
                  <a:gd name="connsiteY37" fmla="*/ 971 h 1072"/>
                  <a:gd name="connsiteX38" fmla="*/ 4829 w 5195"/>
                  <a:gd name="connsiteY38" fmla="*/ 931 h 1072"/>
                  <a:gd name="connsiteX39" fmla="*/ 4778 w 5195"/>
                  <a:gd name="connsiteY39" fmla="*/ 881 h 1072"/>
                  <a:gd name="connsiteX40" fmla="*/ 4724 w 5195"/>
                  <a:gd name="connsiteY40" fmla="*/ 823 h 1072"/>
                  <a:gd name="connsiteX41" fmla="*/ 4673 w 5195"/>
                  <a:gd name="connsiteY41" fmla="*/ 755 h 1072"/>
                  <a:gd name="connsiteX42" fmla="*/ 4623 w 5195"/>
                  <a:gd name="connsiteY42" fmla="*/ 676 h 1072"/>
                  <a:gd name="connsiteX43" fmla="*/ 4575 w 5195"/>
                  <a:gd name="connsiteY43" fmla="*/ 583 h 1072"/>
                  <a:gd name="connsiteX44" fmla="*/ 4526 w 5195"/>
                  <a:gd name="connsiteY44" fmla="*/ 487 h 1072"/>
                  <a:gd name="connsiteX45" fmla="*/ 4476 w 5195"/>
                  <a:gd name="connsiteY45" fmla="*/ 404 h 1072"/>
                  <a:gd name="connsiteX46" fmla="*/ 4427 w 5195"/>
                  <a:gd name="connsiteY46" fmla="*/ 336 h 1072"/>
                  <a:gd name="connsiteX47" fmla="*/ 4377 w 5195"/>
                  <a:gd name="connsiteY47" fmla="*/ 276 h 1072"/>
                  <a:gd name="connsiteX48" fmla="*/ 4330 w 5195"/>
                  <a:gd name="connsiteY48" fmla="*/ 228 h 1072"/>
                  <a:gd name="connsiteX49" fmla="*/ 4284 w 5195"/>
                  <a:gd name="connsiteY49" fmla="*/ 189 h 1072"/>
                  <a:gd name="connsiteX50" fmla="*/ 4243 w 5195"/>
                  <a:gd name="connsiteY50" fmla="*/ 158 h 1072"/>
                  <a:gd name="connsiteX51" fmla="*/ 4204 w 5195"/>
                  <a:gd name="connsiteY51" fmla="*/ 135 h 1072"/>
                  <a:gd name="connsiteX52" fmla="*/ 4154 w 5195"/>
                  <a:gd name="connsiteY52" fmla="*/ 112 h 1072"/>
                  <a:gd name="connsiteX53" fmla="*/ 4111 w 5195"/>
                  <a:gd name="connsiteY53" fmla="*/ 98 h 1072"/>
                  <a:gd name="connsiteX54" fmla="*/ 4076 w 5195"/>
                  <a:gd name="connsiteY54" fmla="*/ 89 h 1072"/>
                  <a:gd name="connsiteX55" fmla="*/ 4047 w 5195"/>
                  <a:gd name="connsiteY55" fmla="*/ 87 h 1072"/>
                  <a:gd name="connsiteX56" fmla="*/ 4020 w 5195"/>
                  <a:gd name="connsiteY56" fmla="*/ 87 h 1072"/>
                  <a:gd name="connsiteX57" fmla="*/ 3954 w 5195"/>
                  <a:gd name="connsiteY57" fmla="*/ 93 h 1072"/>
                  <a:gd name="connsiteX58" fmla="*/ 3892 w 5195"/>
                  <a:gd name="connsiteY58" fmla="*/ 106 h 1072"/>
                  <a:gd name="connsiteX59" fmla="*/ 3836 w 5195"/>
                  <a:gd name="connsiteY59" fmla="*/ 127 h 1072"/>
                  <a:gd name="connsiteX60" fmla="*/ 3785 w 5195"/>
                  <a:gd name="connsiteY60" fmla="*/ 154 h 1072"/>
                  <a:gd name="connsiteX61" fmla="*/ 3737 w 5195"/>
                  <a:gd name="connsiteY61" fmla="*/ 187 h 1072"/>
                  <a:gd name="connsiteX62" fmla="*/ 3694 w 5195"/>
                  <a:gd name="connsiteY62" fmla="*/ 224 h 1072"/>
                  <a:gd name="connsiteX63" fmla="*/ 3655 w 5195"/>
                  <a:gd name="connsiteY63" fmla="*/ 268 h 1072"/>
                  <a:gd name="connsiteX64" fmla="*/ 3615 w 5195"/>
                  <a:gd name="connsiteY64" fmla="*/ 313 h 1072"/>
                  <a:gd name="connsiteX65" fmla="*/ 3580 w 5195"/>
                  <a:gd name="connsiteY65" fmla="*/ 363 h 1072"/>
                  <a:gd name="connsiteX66" fmla="*/ 3547 w 5195"/>
                  <a:gd name="connsiteY66" fmla="*/ 415 h 1072"/>
                  <a:gd name="connsiteX67" fmla="*/ 3485 w 5195"/>
                  <a:gd name="connsiteY67" fmla="*/ 523 h 1072"/>
                  <a:gd name="connsiteX68" fmla="*/ 3392 w 5195"/>
                  <a:gd name="connsiteY68" fmla="*/ 691 h 1072"/>
                  <a:gd name="connsiteX69" fmla="*/ 3359 w 5195"/>
                  <a:gd name="connsiteY69" fmla="*/ 747 h 1072"/>
                  <a:gd name="connsiteX70" fmla="*/ 3324 w 5195"/>
                  <a:gd name="connsiteY70" fmla="*/ 799 h 1072"/>
                  <a:gd name="connsiteX71" fmla="*/ 3289 w 5195"/>
                  <a:gd name="connsiteY71" fmla="*/ 848 h 1072"/>
                  <a:gd name="connsiteX72" fmla="*/ 3250 w 5195"/>
                  <a:gd name="connsiteY72" fmla="*/ 894 h 1072"/>
                  <a:gd name="connsiteX73" fmla="*/ 3209 w 5195"/>
                  <a:gd name="connsiteY73" fmla="*/ 935 h 1072"/>
                  <a:gd name="connsiteX74" fmla="*/ 3163 w 5195"/>
                  <a:gd name="connsiteY74" fmla="*/ 971 h 1072"/>
                  <a:gd name="connsiteX75" fmla="*/ 3114 w 5195"/>
                  <a:gd name="connsiteY75" fmla="*/ 1000 h 1072"/>
                  <a:gd name="connsiteX76" fmla="*/ 3062 w 5195"/>
                  <a:gd name="connsiteY76" fmla="*/ 1022 h 1072"/>
                  <a:gd name="connsiteX77" fmla="*/ 3004 w 5195"/>
                  <a:gd name="connsiteY77" fmla="*/ 1037 h 1072"/>
                  <a:gd name="connsiteX78" fmla="*/ 2940 w 5195"/>
                  <a:gd name="connsiteY78" fmla="*/ 1043 h 1072"/>
                  <a:gd name="connsiteX79" fmla="*/ 2932 w 5195"/>
                  <a:gd name="connsiteY79" fmla="*/ 1043 h 1072"/>
                  <a:gd name="connsiteX80" fmla="*/ 2870 w 5195"/>
                  <a:gd name="connsiteY80" fmla="*/ 1039 h 1072"/>
                  <a:gd name="connsiteX81" fmla="*/ 2810 w 5195"/>
                  <a:gd name="connsiteY81" fmla="*/ 1025 h 1072"/>
                  <a:gd name="connsiteX82" fmla="*/ 2757 w 5195"/>
                  <a:gd name="connsiteY82" fmla="*/ 1002 h 1072"/>
                  <a:gd name="connsiteX83" fmla="*/ 2705 w 5195"/>
                  <a:gd name="connsiteY83" fmla="*/ 973 h 1072"/>
                  <a:gd name="connsiteX84" fmla="*/ 2657 w 5195"/>
                  <a:gd name="connsiteY84" fmla="*/ 935 h 1072"/>
                  <a:gd name="connsiteX85" fmla="*/ 2614 w 5195"/>
                  <a:gd name="connsiteY85" fmla="*/ 894 h 1072"/>
                  <a:gd name="connsiteX86" fmla="*/ 2571 w 5195"/>
                  <a:gd name="connsiteY86" fmla="*/ 846 h 1072"/>
                  <a:gd name="connsiteX87" fmla="*/ 2531 w 5195"/>
                  <a:gd name="connsiteY87" fmla="*/ 796 h 1072"/>
                  <a:gd name="connsiteX88" fmla="*/ 2492 w 5195"/>
                  <a:gd name="connsiteY88" fmla="*/ 740 h 1072"/>
                  <a:gd name="connsiteX89" fmla="*/ 2455 w 5195"/>
                  <a:gd name="connsiteY89" fmla="*/ 684 h 1072"/>
                  <a:gd name="connsiteX90" fmla="*/ 2350 w 5195"/>
                  <a:gd name="connsiteY90" fmla="*/ 510 h 1072"/>
                  <a:gd name="connsiteX91" fmla="*/ 2313 w 5195"/>
                  <a:gd name="connsiteY91" fmla="*/ 452 h 1072"/>
                  <a:gd name="connsiteX92" fmla="*/ 2275 w 5195"/>
                  <a:gd name="connsiteY92" fmla="*/ 396 h 1072"/>
                  <a:gd name="connsiteX93" fmla="*/ 2238 w 5195"/>
                  <a:gd name="connsiteY93" fmla="*/ 342 h 1072"/>
                  <a:gd name="connsiteX94" fmla="*/ 2199 w 5195"/>
                  <a:gd name="connsiteY94" fmla="*/ 293 h 1072"/>
                  <a:gd name="connsiteX95" fmla="*/ 2158 w 5195"/>
                  <a:gd name="connsiteY95" fmla="*/ 247 h 1072"/>
                  <a:gd name="connsiteX96" fmla="*/ 2116 w 5195"/>
                  <a:gd name="connsiteY96" fmla="*/ 205 h 1072"/>
                  <a:gd name="connsiteX97" fmla="*/ 2071 w 5195"/>
                  <a:gd name="connsiteY97" fmla="*/ 168 h 1072"/>
                  <a:gd name="connsiteX98" fmla="*/ 2024 w 5195"/>
                  <a:gd name="connsiteY98" fmla="*/ 139 h 1072"/>
                  <a:gd name="connsiteX99" fmla="*/ 1972 w 5195"/>
                  <a:gd name="connsiteY99" fmla="*/ 116 h 1072"/>
                  <a:gd name="connsiteX100" fmla="*/ 1916 w 5195"/>
                  <a:gd name="connsiteY100" fmla="*/ 100 h 1072"/>
                  <a:gd name="connsiteX101" fmla="*/ 1858 w 5195"/>
                  <a:gd name="connsiteY101" fmla="*/ 91 h 1072"/>
                  <a:gd name="connsiteX102" fmla="*/ 1794 w 5195"/>
                  <a:gd name="connsiteY102" fmla="*/ 93 h 1072"/>
                  <a:gd name="connsiteX103" fmla="*/ 1726 w 5195"/>
                  <a:gd name="connsiteY103" fmla="*/ 104 h 1072"/>
                  <a:gd name="connsiteX104" fmla="*/ 1664 w 5195"/>
                  <a:gd name="connsiteY104" fmla="*/ 122 h 1072"/>
                  <a:gd name="connsiteX105" fmla="*/ 1607 w 5195"/>
                  <a:gd name="connsiteY105" fmla="*/ 147 h 1072"/>
                  <a:gd name="connsiteX106" fmla="*/ 1553 w 5195"/>
                  <a:gd name="connsiteY106" fmla="*/ 181 h 1072"/>
                  <a:gd name="connsiteX107" fmla="*/ 1501 w 5195"/>
                  <a:gd name="connsiteY107" fmla="*/ 218 h 1072"/>
                  <a:gd name="connsiteX108" fmla="*/ 1456 w 5195"/>
                  <a:gd name="connsiteY108" fmla="*/ 261 h 1072"/>
                  <a:gd name="connsiteX109" fmla="*/ 1410 w 5195"/>
                  <a:gd name="connsiteY109" fmla="*/ 307 h 1072"/>
                  <a:gd name="connsiteX110" fmla="*/ 1369 w 5195"/>
                  <a:gd name="connsiteY110" fmla="*/ 359 h 1072"/>
                  <a:gd name="connsiteX111" fmla="*/ 1330 w 5195"/>
                  <a:gd name="connsiteY111" fmla="*/ 413 h 1072"/>
                  <a:gd name="connsiteX112" fmla="*/ 1293 w 5195"/>
                  <a:gd name="connsiteY112" fmla="*/ 467 h 1072"/>
                  <a:gd name="connsiteX113" fmla="*/ 1256 w 5195"/>
                  <a:gd name="connsiteY113" fmla="*/ 523 h 1072"/>
                  <a:gd name="connsiteX114" fmla="*/ 1218 w 5195"/>
                  <a:gd name="connsiteY114" fmla="*/ 581 h 1072"/>
                  <a:gd name="connsiteX115" fmla="*/ 1183 w 5195"/>
                  <a:gd name="connsiteY115" fmla="*/ 637 h 1072"/>
                  <a:gd name="connsiteX116" fmla="*/ 1109 w 5195"/>
                  <a:gd name="connsiteY116" fmla="*/ 749 h 1072"/>
                  <a:gd name="connsiteX117" fmla="*/ 1070 w 5195"/>
                  <a:gd name="connsiteY117" fmla="*/ 801 h 1072"/>
                  <a:gd name="connsiteX118" fmla="*/ 1028 w 5195"/>
                  <a:gd name="connsiteY118" fmla="*/ 850 h 1072"/>
                  <a:gd name="connsiteX119" fmla="*/ 985 w 5195"/>
                  <a:gd name="connsiteY119" fmla="*/ 896 h 1072"/>
                  <a:gd name="connsiteX120" fmla="*/ 938 w 5195"/>
                  <a:gd name="connsiteY120" fmla="*/ 937 h 1072"/>
                  <a:gd name="connsiteX121" fmla="*/ 888 w 5195"/>
                  <a:gd name="connsiteY121" fmla="*/ 973 h 1072"/>
                  <a:gd name="connsiteX122" fmla="*/ 834 w 5195"/>
                  <a:gd name="connsiteY122" fmla="*/ 1002 h 1072"/>
                  <a:gd name="connsiteX123" fmla="*/ 779 w 5195"/>
                  <a:gd name="connsiteY123" fmla="*/ 1025 h 1072"/>
                  <a:gd name="connsiteX124" fmla="*/ 715 w 5195"/>
                  <a:gd name="connsiteY124" fmla="*/ 1037 h 1072"/>
                  <a:gd name="connsiteX125" fmla="*/ 649 w 5195"/>
                  <a:gd name="connsiteY125" fmla="*/ 1043 h 1072"/>
                  <a:gd name="connsiteX126" fmla="*/ 642 w 5195"/>
                  <a:gd name="connsiteY126" fmla="*/ 1043 h 1072"/>
                  <a:gd name="connsiteX127" fmla="*/ 574 w 5195"/>
                  <a:gd name="connsiteY127" fmla="*/ 1039 h 1072"/>
                  <a:gd name="connsiteX128" fmla="*/ 512 w 5195"/>
                  <a:gd name="connsiteY128" fmla="*/ 1027 h 1072"/>
                  <a:gd name="connsiteX129" fmla="*/ 454 w 5195"/>
                  <a:gd name="connsiteY129" fmla="*/ 1008 h 1072"/>
                  <a:gd name="connsiteX130" fmla="*/ 403 w 5195"/>
                  <a:gd name="connsiteY130" fmla="*/ 983 h 1072"/>
                  <a:gd name="connsiteX131" fmla="*/ 355 w 5195"/>
                  <a:gd name="connsiteY131" fmla="*/ 952 h 1072"/>
                  <a:gd name="connsiteX132" fmla="*/ 310 w 5195"/>
                  <a:gd name="connsiteY132" fmla="*/ 915 h 1072"/>
                  <a:gd name="connsiteX133" fmla="*/ 269 w 5195"/>
                  <a:gd name="connsiteY133" fmla="*/ 873 h 1072"/>
                  <a:gd name="connsiteX134" fmla="*/ 231 w 5195"/>
                  <a:gd name="connsiteY134" fmla="*/ 828 h 1072"/>
                  <a:gd name="connsiteX135" fmla="*/ 194 w 5195"/>
                  <a:gd name="connsiteY135" fmla="*/ 780 h 1072"/>
                  <a:gd name="connsiteX136" fmla="*/ 161 w 5195"/>
                  <a:gd name="connsiteY136" fmla="*/ 728 h 1072"/>
                  <a:gd name="connsiteX137" fmla="*/ 126 w 5195"/>
                  <a:gd name="connsiteY137" fmla="*/ 674 h 1072"/>
                  <a:gd name="connsiteX138" fmla="*/ 95 w 5195"/>
                  <a:gd name="connsiteY138" fmla="*/ 618 h 1072"/>
                  <a:gd name="connsiteX139" fmla="*/ 62 w 5195"/>
                  <a:gd name="connsiteY139" fmla="*/ 560 h 1072"/>
                  <a:gd name="connsiteX140" fmla="*/ 0 w 5195"/>
                  <a:gd name="connsiteY140" fmla="*/ 448 h 1072"/>
                  <a:gd name="connsiteX141" fmla="*/ 139 w 5195"/>
                  <a:gd name="connsiteY141" fmla="*/ 516 h 1072"/>
                  <a:gd name="connsiteX142" fmla="*/ 172 w 5195"/>
                  <a:gd name="connsiteY142" fmla="*/ 575 h 1072"/>
                  <a:gd name="connsiteX143" fmla="*/ 205 w 5195"/>
                  <a:gd name="connsiteY143" fmla="*/ 631 h 1072"/>
                  <a:gd name="connsiteX144" fmla="*/ 238 w 5195"/>
                  <a:gd name="connsiteY144" fmla="*/ 684 h 1072"/>
                  <a:gd name="connsiteX145" fmla="*/ 271 w 5195"/>
                  <a:gd name="connsiteY145" fmla="*/ 736 h 1072"/>
                  <a:gd name="connsiteX146" fmla="*/ 306 w 5195"/>
                  <a:gd name="connsiteY146" fmla="*/ 782 h 1072"/>
                  <a:gd name="connsiteX147" fmla="*/ 343 w 5195"/>
                  <a:gd name="connsiteY147" fmla="*/ 825 h 1072"/>
                  <a:gd name="connsiteX148" fmla="*/ 384 w 5195"/>
                  <a:gd name="connsiteY148" fmla="*/ 863 h 1072"/>
                  <a:gd name="connsiteX149" fmla="*/ 428 w 5195"/>
                  <a:gd name="connsiteY149" fmla="*/ 894 h 1072"/>
                  <a:gd name="connsiteX150" fmla="*/ 475 w 5195"/>
                  <a:gd name="connsiteY150" fmla="*/ 921 h 1072"/>
                  <a:gd name="connsiteX151" fmla="*/ 525 w 5195"/>
                  <a:gd name="connsiteY151" fmla="*/ 940 h 1072"/>
                  <a:gd name="connsiteX152" fmla="*/ 580 w 5195"/>
                  <a:gd name="connsiteY152" fmla="*/ 952 h 1072"/>
                  <a:gd name="connsiteX153" fmla="*/ 642 w 5195"/>
                  <a:gd name="connsiteY153" fmla="*/ 956 h 1072"/>
                  <a:gd name="connsiteX154" fmla="*/ 649 w 5195"/>
                  <a:gd name="connsiteY154" fmla="*/ 956 h 1072"/>
                  <a:gd name="connsiteX155" fmla="*/ 708 w 5195"/>
                  <a:gd name="connsiteY155" fmla="*/ 950 h 1072"/>
                  <a:gd name="connsiteX156" fmla="*/ 764 w 5195"/>
                  <a:gd name="connsiteY156" fmla="*/ 935 h 1072"/>
                  <a:gd name="connsiteX157" fmla="*/ 818 w 5195"/>
                  <a:gd name="connsiteY157" fmla="*/ 913 h 1072"/>
                  <a:gd name="connsiteX158" fmla="*/ 865 w 5195"/>
                  <a:gd name="connsiteY158" fmla="*/ 884 h 1072"/>
                  <a:gd name="connsiteX159" fmla="*/ 911 w 5195"/>
                  <a:gd name="connsiteY159" fmla="*/ 846 h 1072"/>
                  <a:gd name="connsiteX160" fmla="*/ 954 w 5195"/>
                  <a:gd name="connsiteY160" fmla="*/ 803 h 1072"/>
                  <a:gd name="connsiteX161" fmla="*/ 993 w 5195"/>
                  <a:gd name="connsiteY161" fmla="*/ 755 h 1072"/>
                  <a:gd name="connsiteX162" fmla="*/ 1033 w 5195"/>
                  <a:gd name="connsiteY162" fmla="*/ 703 h 1072"/>
                  <a:gd name="connsiteX163" fmla="*/ 1072 w 5195"/>
                  <a:gd name="connsiteY163" fmla="*/ 649 h 1072"/>
                  <a:gd name="connsiteX164" fmla="*/ 1183 w 5195"/>
                  <a:gd name="connsiteY164" fmla="*/ 475 h 1072"/>
                  <a:gd name="connsiteX165" fmla="*/ 1223 w 5195"/>
                  <a:gd name="connsiteY165" fmla="*/ 415 h 1072"/>
                  <a:gd name="connsiteX166" fmla="*/ 1264 w 5195"/>
                  <a:gd name="connsiteY166" fmla="*/ 357 h 1072"/>
                  <a:gd name="connsiteX167" fmla="*/ 1307 w 5195"/>
                  <a:gd name="connsiteY167" fmla="*/ 299 h 1072"/>
                  <a:gd name="connsiteX168" fmla="*/ 1353 w 5195"/>
                  <a:gd name="connsiteY168" fmla="*/ 245 h 1072"/>
                  <a:gd name="connsiteX169" fmla="*/ 1400 w 5195"/>
                  <a:gd name="connsiteY169" fmla="*/ 193 h 1072"/>
                  <a:gd name="connsiteX170" fmla="*/ 1454 w 5195"/>
                  <a:gd name="connsiteY170" fmla="*/ 145 h 1072"/>
                  <a:gd name="connsiteX171" fmla="*/ 1509 w 5195"/>
                  <a:gd name="connsiteY171" fmla="*/ 104 h 1072"/>
                  <a:gd name="connsiteX172" fmla="*/ 1571 w 5195"/>
                  <a:gd name="connsiteY172" fmla="*/ 69 h 1072"/>
                  <a:gd name="connsiteX173" fmla="*/ 1637 w 5195"/>
                  <a:gd name="connsiteY173" fmla="*/ 40 h 1072"/>
                  <a:gd name="connsiteX174" fmla="*/ 1710 w 5195"/>
                  <a:gd name="connsiteY174" fmla="*/ 19 h 1072"/>
                  <a:gd name="connsiteX175" fmla="*/ 1788 w 5195"/>
                  <a:gd name="connsiteY175" fmla="*/ 6 h 1072"/>
                  <a:gd name="connsiteX176" fmla="*/ 1858 w 5195"/>
                  <a:gd name="connsiteY176" fmla="*/ 4 h 1072"/>
                  <a:gd name="connsiteX177" fmla="*/ 1924 w 5195"/>
                  <a:gd name="connsiteY177" fmla="*/ 13 h 1072"/>
                  <a:gd name="connsiteX178" fmla="*/ 1984 w 5195"/>
                  <a:gd name="connsiteY178" fmla="*/ 27 h 1072"/>
                  <a:gd name="connsiteX179" fmla="*/ 2042 w 5195"/>
                  <a:gd name="connsiteY179" fmla="*/ 50 h 1072"/>
                  <a:gd name="connsiteX180" fmla="*/ 2096 w 5195"/>
                  <a:gd name="connsiteY180" fmla="*/ 81 h 1072"/>
                  <a:gd name="connsiteX181" fmla="*/ 2145 w 5195"/>
                  <a:gd name="connsiteY181" fmla="*/ 116 h 1072"/>
                  <a:gd name="connsiteX182" fmla="*/ 2191 w 5195"/>
                  <a:gd name="connsiteY182" fmla="*/ 158 h 1072"/>
                  <a:gd name="connsiteX183" fmla="*/ 2236 w 5195"/>
                  <a:gd name="connsiteY183" fmla="*/ 203 h 1072"/>
                  <a:gd name="connsiteX184" fmla="*/ 2278 w 5195"/>
                  <a:gd name="connsiteY184" fmla="*/ 251 h 1072"/>
                  <a:gd name="connsiteX185" fmla="*/ 2317 w 5195"/>
                  <a:gd name="connsiteY185" fmla="*/ 303 h 1072"/>
                  <a:gd name="connsiteX186" fmla="*/ 2354 w 5195"/>
                  <a:gd name="connsiteY186" fmla="*/ 357 h 1072"/>
                  <a:gd name="connsiteX187" fmla="*/ 2389 w 5195"/>
                  <a:gd name="connsiteY187" fmla="*/ 413 h 1072"/>
                  <a:gd name="connsiteX188" fmla="*/ 2424 w 5195"/>
                  <a:gd name="connsiteY188" fmla="*/ 467 h 1072"/>
                  <a:gd name="connsiteX189" fmla="*/ 2457 w 5195"/>
                  <a:gd name="connsiteY189" fmla="*/ 523 h 1072"/>
                  <a:gd name="connsiteX190" fmla="*/ 2494 w 5195"/>
                  <a:gd name="connsiteY190" fmla="*/ 585 h 1072"/>
                  <a:gd name="connsiteX191" fmla="*/ 2531 w 5195"/>
                  <a:gd name="connsiteY191" fmla="*/ 643 h 1072"/>
                  <a:gd name="connsiteX192" fmla="*/ 2571 w 5195"/>
                  <a:gd name="connsiteY192" fmla="*/ 701 h 1072"/>
                  <a:gd name="connsiteX193" fmla="*/ 2608 w 5195"/>
                  <a:gd name="connsiteY193" fmla="*/ 755 h 1072"/>
                  <a:gd name="connsiteX194" fmla="*/ 2649 w 5195"/>
                  <a:gd name="connsiteY194" fmla="*/ 805 h 1072"/>
                  <a:gd name="connsiteX195" fmla="*/ 2690 w 5195"/>
                  <a:gd name="connsiteY195" fmla="*/ 848 h 1072"/>
                  <a:gd name="connsiteX196" fmla="*/ 2734 w 5195"/>
                  <a:gd name="connsiteY196" fmla="*/ 886 h 1072"/>
                  <a:gd name="connsiteX197" fmla="*/ 2779 w 5195"/>
                  <a:gd name="connsiteY197" fmla="*/ 917 h 1072"/>
                  <a:gd name="connsiteX198" fmla="*/ 2829 w 5195"/>
                  <a:gd name="connsiteY198" fmla="*/ 940 h 1072"/>
                  <a:gd name="connsiteX199" fmla="*/ 2882 w 5195"/>
                  <a:gd name="connsiteY199" fmla="*/ 952 h 1072"/>
                  <a:gd name="connsiteX200" fmla="*/ 2938 w 5195"/>
                  <a:gd name="connsiteY200" fmla="*/ 956 h 1072"/>
                  <a:gd name="connsiteX201" fmla="*/ 2994 w 5195"/>
                  <a:gd name="connsiteY201" fmla="*/ 950 h 1072"/>
                  <a:gd name="connsiteX202" fmla="*/ 3044 w 5195"/>
                  <a:gd name="connsiteY202" fmla="*/ 935 h 1072"/>
                  <a:gd name="connsiteX203" fmla="*/ 3091 w 5195"/>
                  <a:gd name="connsiteY203" fmla="*/ 915 h 1072"/>
                  <a:gd name="connsiteX204" fmla="*/ 3134 w 5195"/>
                  <a:gd name="connsiteY204" fmla="*/ 884 h 1072"/>
                  <a:gd name="connsiteX205" fmla="*/ 3174 w 5195"/>
                  <a:gd name="connsiteY205" fmla="*/ 848 h 1072"/>
                  <a:gd name="connsiteX206" fmla="*/ 3211 w 5195"/>
                  <a:gd name="connsiteY206" fmla="*/ 807 h 1072"/>
                  <a:gd name="connsiteX207" fmla="*/ 3246 w 5195"/>
                  <a:gd name="connsiteY207" fmla="*/ 759 h 1072"/>
                  <a:gd name="connsiteX208" fmla="*/ 3279 w 5195"/>
                  <a:gd name="connsiteY208" fmla="*/ 709 h 1072"/>
                  <a:gd name="connsiteX209" fmla="*/ 3312 w 5195"/>
                  <a:gd name="connsiteY209" fmla="*/ 655 h 1072"/>
                  <a:gd name="connsiteX210" fmla="*/ 3345 w 5195"/>
                  <a:gd name="connsiteY210" fmla="*/ 597 h 1072"/>
                  <a:gd name="connsiteX211" fmla="*/ 3378 w 5195"/>
                  <a:gd name="connsiteY211" fmla="*/ 537 h 1072"/>
                  <a:gd name="connsiteX212" fmla="*/ 3407 w 5195"/>
                  <a:gd name="connsiteY212" fmla="*/ 483 h 1072"/>
                  <a:gd name="connsiteX213" fmla="*/ 3469 w 5195"/>
                  <a:gd name="connsiteY213" fmla="*/ 375 h 1072"/>
                  <a:gd name="connsiteX214" fmla="*/ 3539 w 5195"/>
                  <a:gd name="connsiteY214" fmla="*/ 272 h 1072"/>
                  <a:gd name="connsiteX215" fmla="*/ 3576 w 5195"/>
                  <a:gd name="connsiteY215" fmla="*/ 224 h 1072"/>
                  <a:gd name="connsiteX216" fmla="*/ 3617 w 5195"/>
                  <a:gd name="connsiteY216" fmla="*/ 178 h 1072"/>
                  <a:gd name="connsiteX217" fmla="*/ 3661 w 5195"/>
                  <a:gd name="connsiteY217" fmla="*/ 137 h 1072"/>
                  <a:gd name="connsiteX218" fmla="*/ 3708 w 5195"/>
                  <a:gd name="connsiteY218" fmla="*/ 100 h 1072"/>
                  <a:gd name="connsiteX219" fmla="*/ 3760 w 5195"/>
                  <a:gd name="connsiteY219" fmla="*/ 66 h 1072"/>
                  <a:gd name="connsiteX220" fmla="*/ 3818 w 5195"/>
                  <a:gd name="connsiteY220" fmla="*/ 40 h 1072"/>
                  <a:gd name="connsiteX221" fmla="*/ 3878 w 5195"/>
                  <a:gd name="connsiteY221" fmla="*/ 19 h 1072"/>
                  <a:gd name="connsiteX222" fmla="*/ 3944 w 5195"/>
                  <a:gd name="connsiteY222" fmla="*/ 6 h 1072"/>
                  <a:gd name="connsiteX223" fmla="*/ 4016 w 5195"/>
                  <a:gd name="connsiteY223" fmla="*/ 0 h 1072"/>
                  <a:gd name="connsiteX0" fmla="*/ 3954 w 5133"/>
                  <a:gd name="connsiteY0" fmla="*/ 0 h 1072"/>
                  <a:gd name="connsiteX1" fmla="*/ 4004 w 5133"/>
                  <a:gd name="connsiteY1" fmla="*/ 0 h 1072"/>
                  <a:gd name="connsiteX2" fmla="*/ 4032 w 5133"/>
                  <a:gd name="connsiteY2" fmla="*/ 4 h 1072"/>
                  <a:gd name="connsiteX3" fmla="*/ 4063 w 5133"/>
                  <a:gd name="connsiteY3" fmla="*/ 13 h 1072"/>
                  <a:gd name="connsiteX4" fmla="*/ 4101 w 5133"/>
                  <a:gd name="connsiteY4" fmla="*/ 23 h 1072"/>
                  <a:gd name="connsiteX5" fmla="*/ 4142 w 5133"/>
                  <a:gd name="connsiteY5" fmla="*/ 40 h 1072"/>
                  <a:gd name="connsiteX6" fmla="*/ 4185 w 5133"/>
                  <a:gd name="connsiteY6" fmla="*/ 60 h 1072"/>
                  <a:gd name="connsiteX7" fmla="*/ 4233 w 5133"/>
                  <a:gd name="connsiteY7" fmla="*/ 89 h 1072"/>
                  <a:gd name="connsiteX8" fmla="*/ 4282 w 5133"/>
                  <a:gd name="connsiteY8" fmla="*/ 125 h 1072"/>
                  <a:gd name="connsiteX9" fmla="*/ 4332 w 5133"/>
                  <a:gd name="connsiteY9" fmla="*/ 170 h 1072"/>
                  <a:gd name="connsiteX10" fmla="*/ 4383 w 5133"/>
                  <a:gd name="connsiteY10" fmla="*/ 224 h 1072"/>
                  <a:gd name="connsiteX11" fmla="*/ 4435 w 5133"/>
                  <a:gd name="connsiteY11" fmla="*/ 286 h 1072"/>
                  <a:gd name="connsiteX12" fmla="*/ 4487 w 5133"/>
                  <a:gd name="connsiteY12" fmla="*/ 361 h 1072"/>
                  <a:gd name="connsiteX13" fmla="*/ 4538 w 5133"/>
                  <a:gd name="connsiteY13" fmla="*/ 448 h 1072"/>
                  <a:gd name="connsiteX14" fmla="*/ 4590 w 5133"/>
                  <a:gd name="connsiteY14" fmla="*/ 548 h 1072"/>
                  <a:gd name="connsiteX15" fmla="*/ 4635 w 5133"/>
                  <a:gd name="connsiteY15" fmla="*/ 633 h 1072"/>
                  <a:gd name="connsiteX16" fmla="*/ 4681 w 5133"/>
                  <a:gd name="connsiteY16" fmla="*/ 705 h 1072"/>
                  <a:gd name="connsiteX17" fmla="*/ 4728 w 5133"/>
                  <a:gd name="connsiteY17" fmla="*/ 767 h 1072"/>
                  <a:gd name="connsiteX18" fmla="*/ 4776 w 5133"/>
                  <a:gd name="connsiteY18" fmla="*/ 819 h 1072"/>
                  <a:gd name="connsiteX19" fmla="*/ 4821 w 5133"/>
                  <a:gd name="connsiteY19" fmla="*/ 863 h 1072"/>
                  <a:gd name="connsiteX20" fmla="*/ 4869 w 5133"/>
                  <a:gd name="connsiteY20" fmla="*/ 898 h 1072"/>
                  <a:gd name="connsiteX21" fmla="*/ 4912 w 5133"/>
                  <a:gd name="connsiteY21" fmla="*/ 927 h 1072"/>
                  <a:gd name="connsiteX22" fmla="*/ 4955 w 5133"/>
                  <a:gd name="connsiteY22" fmla="*/ 948 h 1072"/>
                  <a:gd name="connsiteX23" fmla="*/ 4992 w 5133"/>
                  <a:gd name="connsiteY23" fmla="*/ 962 h 1072"/>
                  <a:gd name="connsiteX24" fmla="*/ 5030 w 5133"/>
                  <a:gd name="connsiteY24" fmla="*/ 973 h 1072"/>
                  <a:gd name="connsiteX25" fmla="*/ 5059 w 5133"/>
                  <a:gd name="connsiteY25" fmla="*/ 981 h 1072"/>
                  <a:gd name="connsiteX26" fmla="*/ 5085 w 5133"/>
                  <a:gd name="connsiteY26" fmla="*/ 983 h 1072"/>
                  <a:gd name="connsiteX27" fmla="*/ 5104 w 5133"/>
                  <a:gd name="connsiteY27" fmla="*/ 985 h 1072"/>
                  <a:gd name="connsiteX28" fmla="*/ 5125 w 5133"/>
                  <a:gd name="connsiteY28" fmla="*/ 985 h 1072"/>
                  <a:gd name="connsiteX29" fmla="*/ 5133 w 5133"/>
                  <a:gd name="connsiteY29" fmla="*/ 1072 h 1072"/>
                  <a:gd name="connsiteX30" fmla="*/ 5098 w 5133"/>
                  <a:gd name="connsiteY30" fmla="*/ 1072 h 1072"/>
                  <a:gd name="connsiteX31" fmla="*/ 5071 w 5133"/>
                  <a:gd name="connsiteY31" fmla="*/ 1070 h 1072"/>
                  <a:gd name="connsiteX32" fmla="*/ 5040 w 5133"/>
                  <a:gd name="connsiteY32" fmla="*/ 1064 h 1072"/>
                  <a:gd name="connsiteX33" fmla="*/ 5003 w 5133"/>
                  <a:gd name="connsiteY33" fmla="*/ 1056 h 1072"/>
                  <a:gd name="connsiteX34" fmla="*/ 4961 w 5133"/>
                  <a:gd name="connsiteY34" fmla="*/ 1043 h 1072"/>
                  <a:gd name="connsiteX35" fmla="*/ 4916 w 5133"/>
                  <a:gd name="connsiteY35" fmla="*/ 1025 h 1072"/>
                  <a:gd name="connsiteX36" fmla="*/ 4869 w 5133"/>
                  <a:gd name="connsiteY36" fmla="*/ 1002 h 1072"/>
                  <a:gd name="connsiteX37" fmla="*/ 4819 w 5133"/>
                  <a:gd name="connsiteY37" fmla="*/ 971 h 1072"/>
                  <a:gd name="connsiteX38" fmla="*/ 4767 w 5133"/>
                  <a:gd name="connsiteY38" fmla="*/ 931 h 1072"/>
                  <a:gd name="connsiteX39" fmla="*/ 4716 w 5133"/>
                  <a:gd name="connsiteY39" fmla="*/ 881 h 1072"/>
                  <a:gd name="connsiteX40" fmla="*/ 4662 w 5133"/>
                  <a:gd name="connsiteY40" fmla="*/ 823 h 1072"/>
                  <a:gd name="connsiteX41" fmla="*/ 4611 w 5133"/>
                  <a:gd name="connsiteY41" fmla="*/ 755 h 1072"/>
                  <a:gd name="connsiteX42" fmla="*/ 4561 w 5133"/>
                  <a:gd name="connsiteY42" fmla="*/ 676 h 1072"/>
                  <a:gd name="connsiteX43" fmla="*/ 4513 w 5133"/>
                  <a:gd name="connsiteY43" fmla="*/ 583 h 1072"/>
                  <a:gd name="connsiteX44" fmla="*/ 4464 w 5133"/>
                  <a:gd name="connsiteY44" fmla="*/ 487 h 1072"/>
                  <a:gd name="connsiteX45" fmla="*/ 4414 w 5133"/>
                  <a:gd name="connsiteY45" fmla="*/ 404 h 1072"/>
                  <a:gd name="connsiteX46" fmla="*/ 4365 w 5133"/>
                  <a:gd name="connsiteY46" fmla="*/ 336 h 1072"/>
                  <a:gd name="connsiteX47" fmla="*/ 4315 w 5133"/>
                  <a:gd name="connsiteY47" fmla="*/ 276 h 1072"/>
                  <a:gd name="connsiteX48" fmla="*/ 4268 w 5133"/>
                  <a:gd name="connsiteY48" fmla="*/ 228 h 1072"/>
                  <a:gd name="connsiteX49" fmla="*/ 4222 w 5133"/>
                  <a:gd name="connsiteY49" fmla="*/ 189 h 1072"/>
                  <a:gd name="connsiteX50" fmla="*/ 4181 w 5133"/>
                  <a:gd name="connsiteY50" fmla="*/ 158 h 1072"/>
                  <a:gd name="connsiteX51" fmla="*/ 4142 w 5133"/>
                  <a:gd name="connsiteY51" fmla="*/ 135 h 1072"/>
                  <a:gd name="connsiteX52" fmla="*/ 4092 w 5133"/>
                  <a:gd name="connsiteY52" fmla="*/ 112 h 1072"/>
                  <a:gd name="connsiteX53" fmla="*/ 4049 w 5133"/>
                  <a:gd name="connsiteY53" fmla="*/ 98 h 1072"/>
                  <a:gd name="connsiteX54" fmla="*/ 4014 w 5133"/>
                  <a:gd name="connsiteY54" fmla="*/ 89 h 1072"/>
                  <a:gd name="connsiteX55" fmla="*/ 3985 w 5133"/>
                  <a:gd name="connsiteY55" fmla="*/ 87 h 1072"/>
                  <a:gd name="connsiteX56" fmla="*/ 3958 w 5133"/>
                  <a:gd name="connsiteY56" fmla="*/ 87 h 1072"/>
                  <a:gd name="connsiteX57" fmla="*/ 3892 w 5133"/>
                  <a:gd name="connsiteY57" fmla="*/ 93 h 1072"/>
                  <a:gd name="connsiteX58" fmla="*/ 3830 w 5133"/>
                  <a:gd name="connsiteY58" fmla="*/ 106 h 1072"/>
                  <a:gd name="connsiteX59" fmla="*/ 3774 w 5133"/>
                  <a:gd name="connsiteY59" fmla="*/ 127 h 1072"/>
                  <a:gd name="connsiteX60" fmla="*/ 3723 w 5133"/>
                  <a:gd name="connsiteY60" fmla="*/ 154 h 1072"/>
                  <a:gd name="connsiteX61" fmla="*/ 3675 w 5133"/>
                  <a:gd name="connsiteY61" fmla="*/ 187 h 1072"/>
                  <a:gd name="connsiteX62" fmla="*/ 3632 w 5133"/>
                  <a:gd name="connsiteY62" fmla="*/ 224 h 1072"/>
                  <a:gd name="connsiteX63" fmla="*/ 3593 w 5133"/>
                  <a:gd name="connsiteY63" fmla="*/ 268 h 1072"/>
                  <a:gd name="connsiteX64" fmla="*/ 3553 w 5133"/>
                  <a:gd name="connsiteY64" fmla="*/ 313 h 1072"/>
                  <a:gd name="connsiteX65" fmla="*/ 3518 w 5133"/>
                  <a:gd name="connsiteY65" fmla="*/ 363 h 1072"/>
                  <a:gd name="connsiteX66" fmla="*/ 3485 w 5133"/>
                  <a:gd name="connsiteY66" fmla="*/ 415 h 1072"/>
                  <a:gd name="connsiteX67" fmla="*/ 3423 w 5133"/>
                  <a:gd name="connsiteY67" fmla="*/ 523 h 1072"/>
                  <a:gd name="connsiteX68" fmla="*/ 3330 w 5133"/>
                  <a:gd name="connsiteY68" fmla="*/ 691 h 1072"/>
                  <a:gd name="connsiteX69" fmla="*/ 3297 w 5133"/>
                  <a:gd name="connsiteY69" fmla="*/ 747 h 1072"/>
                  <a:gd name="connsiteX70" fmla="*/ 3262 w 5133"/>
                  <a:gd name="connsiteY70" fmla="*/ 799 h 1072"/>
                  <a:gd name="connsiteX71" fmla="*/ 3227 w 5133"/>
                  <a:gd name="connsiteY71" fmla="*/ 848 h 1072"/>
                  <a:gd name="connsiteX72" fmla="*/ 3188 w 5133"/>
                  <a:gd name="connsiteY72" fmla="*/ 894 h 1072"/>
                  <a:gd name="connsiteX73" fmla="*/ 3147 w 5133"/>
                  <a:gd name="connsiteY73" fmla="*/ 935 h 1072"/>
                  <a:gd name="connsiteX74" fmla="*/ 3101 w 5133"/>
                  <a:gd name="connsiteY74" fmla="*/ 971 h 1072"/>
                  <a:gd name="connsiteX75" fmla="*/ 3052 w 5133"/>
                  <a:gd name="connsiteY75" fmla="*/ 1000 h 1072"/>
                  <a:gd name="connsiteX76" fmla="*/ 3000 w 5133"/>
                  <a:gd name="connsiteY76" fmla="*/ 1022 h 1072"/>
                  <a:gd name="connsiteX77" fmla="*/ 2942 w 5133"/>
                  <a:gd name="connsiteY77" fmla="*/ 1037 h 1072"/>
                  <a:gd name="connsiteX78" fmla="*/ 2878 w 5133"/>
                  <a:gd name="connsiteY78" fmla="*/ 1043 h 1072"/>
                  <a:gd name="connsiteX79" fmla="*/ 2870 w 5133"/>
                  <a:gd name="connsiteY79" fmla="*/ 1043 h 1072"/>
                  <a:gd name="connsiteX80" fmla="*/ 2808 w 5133"/>
                  <a:gd name="connsiteY80" fmla="*/ 1039 h 1072"/>
                  <a:gd name="connsiteX81" fmla="*/ 2748 w 5133"/>
                  <a:gd name="connsiteY81" fmla="*/ 1025 h 1072"/>
                  <a:gd name="connsiteX82" fmla="*/ 2695 w 5133"/>
                  <a:gd name="connsiteY82" fmla="*/ 1002 h 1072"/>
                  <a:gd name="connsiteX83" fmla="*/ 2643 w 5133"/>
                  <a:gd name="connsiteY83" fmla="*/ 973 h 1072"/>
                  <a:gd name="connsiteX84" fmla="*/ 2595 w 5133"/>
                  <a:gd name="connsiteY84" fmla="*/ 935 h 1072"/>
                  <a:gd name="connsiteX85" fmla="*/ 2552 w 5133"/>
                  <a:gd name="connsiteY85" fmla="*/ 894 h 1072"/>
                  <a:gd name="connsiteX86" fmla="*/ 2509 w 5133"/>
                  <a:gd name="connsiteY86" fmla="*/ 846 h 1072"/>
                  <a:gd name="connsiteX87" fmla="*/ 2469 w 5133"/>
                  <a:gd name="connsiteY87" fmla="*/ 796 h 1072"/>
                  <a:gd name="connsiteX88" fmla="*/ 2430 w 5133"/>
                  <a:gd name="connsiteY88" fmla="*/ 740 h 1072"/>
                  <a:gd name="connsiteX89" fmla="*/ 2393 w 5133"/>
                  <a:gd name="connsiteY89" fmla="*/ 684 h 1072"/>
                  <a:gd name="connsiteX90" fmla="*/ 2288 w 5133"/>
                  <a:gd name="connsiteY90" fmla="*/ 510 h 1072"/>
                  <a:gd name="connsiteX91" fmla="*/ 2251 w 5133"/>
                  <a:gd name="connsiteY91" fmla="*/ 452 h 1072"/>
                  <a:gd name="connsiteX92" fmla="*/ 2213 w 5133"/>
                  <a:gd name="connsiteY92" fmla="*/ 396 h 1072"/>
                  <a:gd name="connsiteX93" fmla="*/ 2176 w 5133"/>
                  <a:gd name="connsiteY93" fmla="*/ 342 h 1072"/>
                  <a:gd name="connsiteX94" fmla="*/ 2137 w 5133"/>
                  <a:gd name="connsiteY94" fmla="*/ 293 h 1072"/>
                  <a:gd name="connsiteX95" fmla="*/ 2096 w 5133"/>
                  <a:gd name="connsiteY95" fmla="*/ 247 h 1072"/>
                  <a:gd name="connsiteX96" fmla="*/ 2054 w 5133"/>
                  <a:gd name="connsiteY96" fmla="*/ 205 h 1072"/>
                  <a:gd name="connsiteX97" fmla="*/ 2009 w 5133"/>
                  <a:gd name="connsiteY97" fmla="*/ 168 h 1072"/>
                  <a:gd name="connsiteX98" fmla="*/ 1962 w 5133"/>
                  <a:gd name="connsiteY98" fmla="*/ 139 h 1072"/>
                  <a:gd name="connsiteX99" fmla="*/ 1910 w 5133"/>
                  <a:gd name="connsiteY99" fmla="*/ 116 h 1072"/>
                  <a:gd name="connsiteX100" fmla="*/ 1854 w 5133"/>
                  <a:gd name="connsiteY100" fmla="*/ 100 h 1072"/>
                  <a:gd name="connsiteX101" fmla="*/ 1796 w 5133"/>
                  <a:gd name="connsiteY101" fmla="*/ 91 h 1072"/>
                  <a:gd name="connsiteX102" fmla="*/ 1732 w 5133"/>
                  <a:gd name="connsiteY102" fmla="*/ 93 h 1072"/>
                  <a:gd name="connsiteX103" fmla="*/ 1664 w 5133"/>
                  <a:gd name="connsiteY103" fmla="*/ 104 h 1072"/>
                  <a:gd name="connsiteX104" fmla="*/ 1602 w 5133"/>
                  <a:gd name="connsiteY104" fmla="*/ 122 h 1072"/>
                  <a:gd name="connsiteX105" fmla="*/ 1545 w 5133"/>
                  <a:gd name="connsiteY105" fmla="*/ 147 h 1072"/>
                  <a:gd name="connsiteX106" fmla="*/ 1491 w 5133"/>
                  <a:gd name="connsiteY106" fmla="*/ 181 h 1072"/>
                  <a:gd name="connsiteX107" fmla="*/ 1439 w 5133"/>
                  <a:gd name="connsiteY107" fmla="*/ 218 h 1072"/>
                  <a:gd name="connsiteX108" fmla="*/ 1394 w 5133"/>
                  <a:gd name="connsiteY108" fmla="*/ 261 h 1072"/>
                  <a:gd name="connsiteX109" fmla="*/ 1348 w 5133"/>
                  <a:gd name="connsiteY109" fmla="*/ 307 h 1072"/>
                  <a:gd name="connsiteX110" fmla="*/ 1307 w 5133"/>
                  <a:gd name="connsiteY110" fmla="*/ 359 h 1072"/>
                  <a:gd name="connsiteX111" fmla="*/ 1268 w 5133"/>
                  <a:gd name="connsiteY111" fmla="*/ 413 h 1072"/>
                  <a:gd name="connsiteX112" fmla="*/ 1231 w 5133"/>
                  <a:gd name="connsiteY112" fmla="*/ 467 h 1072"/>
                  <a:gd name="connsiteX113" fmla="*/ 1194 w 5133"/>
                  <a:gd name="connsiteY113" fmla="*/ 523 h 1072"/>
                  <a:gd name="connsiteX114" fmla="*/ 1156 w 5133"/>
                  <a:gd name="connsiteY114" fmla="*/ 581 h 1072"/>
                  <a:gd name="connsiteX115" fmla="*/ 1121 w 5133"/>
                  <a:gd name="connsiteY115" fmla="*/ 637 h 1072"/>
                  <a:gd name="connsiteX116" fmla="*/ 1047 w 5133"/>
                  <a:gd name="connsiteY116" fmla="*/ 749 h 1072"/>
                  <a:gd name="connsiteX117" fmla="*/ 1008 w 5133"/>
                  <a:gd name="connsiteY117" fmla="*/ 801 h 1072"/>
                  <a:gd name="connsiteX118" fmla="*/ 966 w 5133"/>
                  <a:gd name="connsiteY118" fmla="*/ 850 h 1072"/>
                  <a:gd name="connsiteX119" fmla="*/ 923 w 5133"/>
                  <a:gd name="connsiteY119" fmla="*/ 896 h 1072"/>
                  <a:gd name="connsiteX120" fmla="*/ 876 w 5133"/>
                  <a:gd name="connsiteY120" fmla="*/ 937 h 1072"/>
                  <a:gd name="connsiteX121" fmla="*/ 826 w 5133"/>
                  <a:gd name="connsiteY121" fmla="*/ 973 h 1072"/>
                  <a:gd name="connsiteX122" fmla="*/ 772 w 5133"/>
                  <a:gd name="connsiteY122" fmla="*/ 1002 h 1072"/>
                  <a:gd name="connsiteX123" fmla="*/ 717 w 5133"/>
                  <a:gd name="connsiteY123" fmla="*/ 1025 h 1072"/>
                  <a:gd name="connsiteX124" fmla="*/ 653 w 5133"/>
                  <a:gd name="connsiteY124" fmla="*/ 1037 h 1072"/>
                  <a:gd name="connsiteX125" fmla="*/ 587 w 5133"/>
                  <a:gd name="connsiteY125" fmla="*/ 1043 h 1072"/>
                  <a:gd name="connsiteX126" fmla="*/ 580 w 5133"/>
                  <a:gd name="connsiteY126" fmla="*/ 1043 h 1072"/>
                  <a:gd name="connsiteX127" fmla="*/ 512 w 5133"/>
                  <a:gd name="connsiteY127" fmla="*/ 1039 h 1072"/>
                  <a:gd name="connsiteX128" fmla="*/ 450 w 5133"/>
                  <a:gd name="connsiteY128" fmla="*/ 1027 h 1072"/>
                  <a:gd name="connsiteX129" fmla="*/ 392 w 5133"/>
                  <a:gd name="connsiteY129" fmla="*/ 1008 h 1072"/>
                  <a:gd name="connsiteX130" fmla="*/ 341 w 5133"/>
                  <a:gd name="connsiteY130" fmla="*/ 983 h 1072"/>
                  <a:gd name="connsiteX131" fmla="*/ 293 w 5133"/>
                  <a:gd name="connsiteY131" fmla="*/ 952 h 1072"/>
                  <a:gd name="connsiteX132" fmla="*/ 248 w 5133"/>
                  <a:gd name="connsiteY132" fmla="*/ 915 h 1072"/>
                  <a:gd name="connsiteX133" fmla="*/ 207 w 5133"/>
                  <a:gd name="connsiteY133" fmla="*/ 873 h 1072"/>
                  <a:gd name="connsiteX134" fmla="*/ 169 w 5133"/>
                  <a:gd name="connsiteY134" fmla="*/ 828 h 1072"/>
                  <a:gd name="connsiteX135" fmla="*/ 132 w 5133"/>
                  <a:gd name="connsiteY135" fmla="*/ 780 h 1072"/>
                  <a:gd name="connsiteX136" fmla="*/ 99 w 5133"/>
                  <a:gd name="connsiteY136" fmla="*/ 728 h 1072"/>
                  <a:gd name="connsiteX137" fmla="*/ 64 w 5133"/>
                  <a:gd name="connsiteY137" fmla="*/ 674 h 1072"/>
                  <a:gd name="connsiteX138" fmla="*/ 33 w 5133"/>
                  <a:gd name="connsiteY138" fmla="*/ 618 h 1072"/>
                  <a:gd name="connsiteX139" fmla="*/ 0 w 5133"/>
                  <a:gd name="connsiteY139" fmla="*/ 560 h 1072"/>
                  <a:gd name="connsiteX140" fmla="*/ 77 w 5133"/>
                  <a:gd name="connsiteY140" fmla="*/ 516 h 1072"/>
                  <a:gd name="connsiteX141" fmla="*/ 110 w 5133"/>
                  <a:gd name="connsiteY141" fmla="*/ 575 h 1072"/>
                  <a:gd name="connsiteX142" fmla="*/ 143 w 5133"/>
                  <a:gd name="connsiteY142" fmla="*/ 631 h 1072"/>
                  <a:gd name="connsiteX143" fmla="*/ 176 w 5133"/>
                  <a:gd name="connsiteY143" fmla="*/ 684 h 1072"/>
                  <a:gd name="connsiteX144" fmla="*/ 209 w 5133"/>
                  <a:gd name="connsiteY144" fmla="*/ 736 h 1072"/>
                  <a:gd name="connsiteX145" fmla="*/ 244 w 5133"/>
                  <a:gd name="connsiteY145" fmla="*/ 782 h 1072"/>
                  <a:gd name="connsiteX146" fmla="*/ 281 w 5133"/>
                  <a:gd name="connsiteY146" fmla="*/ 825 h 1072"/>
                  <a:gd name="connsiteX147" fmla="*/ 322 w 5133"/>
                  <a:gd name="connsiteY147" fmla="*/ 863 h 1072"/>
                  <a:gd name="connsiteX148" fmla="*/ 366 w 5133"/>
                  <a:gd name="connsiteY148" fmla="*/ 894 h 1072"/>
                  <a:gd name="connsiteX149" fmla="*/ 413 w 5133"/>
                  <a:gd name="connsiteY149" fmla="*/ 921 h 1072"/>
                  <a:gd name="connsiteX150" fmla="*/ 463 w 5133"/>
                  <a:gd name="connsiteY150" fmla="*/ 940 h 1072"/>
                  <a:gd name="connsiteX151" fmla="*/ 518 w 5133"/>
                  <a:gd name="connsiteY151" fmla="*/ 952 h 1072"/>
                  <a:gd name="connsiteX152" fmla="*/ 580 w 5133"/>
                  <a:gd name="connsiteY152" fmla="*/ 956 h 1072"/>
                  <a:gd name="connsiteX153" fmla="*/ 587 w 5133"/>
                  <a:gd name="connsiteY153" fmla="*/ 956 h 1072"/>
                  <a:gd name="connsiteX154" fmla="*/ 646 w 5133"/>
                  <a:gd name="connsiteY154" fmla="*/ 950 h 1072"/>
                  <a:gd name="connsiteX155" fmla="*/ 702 w 5133"/>
                  <a:gd name="connsiteY155" fmla="*/ 935 h 1072"/>
                  <a:gd name="connsiteX156" fmla="*/ 756 w 5133"/>
                  <a:gd name="connsiteY156" fmla="*/ 913 h 1072"/>
                  <a:gd name="connsiteX157" fmla="*/ 803 w 5133"/>
                  <a:gd name="connsiteY157" fmla="*/ 884 h 1072"/>
                  <a:gd name="connsiteX158" fmla="*/ 849 w 5133"/>
                  <a:gd name="connsiteY158" fmla="*/ 846 h 1072"/>
                  <a:gd name="connsiteX159" fmla="*/ 892 w 5133"/>
                  <a:gd name="connsiteY159" fmla="*/ 803 h 1072"/>
                  <a:gd name="connsiteX160" fmla="*/ 931 w 5133"/>
                  <a:gd name="connsiteY160" fmla="*/ 755 h 1072"/>
                  <a:gd name="connsiteX161" fmla="*/ 971 w 5133"/>
                  <a:gd name="connsiteY161" fmla="*/ 703 h 1072"/>
                  <a:gd name="connsiteX162" fmla="*/ 1010 w 5133"/>
                  <a:gd name="connsiteY162" fmla="*/ 649 h 1072"/>
                  <a:gd name="connsiteX163" fmla="*/ 1121 w 5133"/>
                  <a:gd name="connsiteY163" fmla="*/ 475 h 1072"/>
                  <a:gd name="connsiteX164" fmla="*/ 1161 w 5133"/>
                  <a:gd name="connsiteY164" fmla="*/ 415 h 1072"/>
                  <a:gd name="connsiteX165" fmla="*/ 1202 w 5133"/>
                  <a:gd name="connsiteY165" fmla="*/ 357 h 1072"/>
                  <a:gd name="connsiteX166" fmla="*/ 1245 w 5133"/>
                  <a:gd name="connsiteY166" fmla="*/ 299 h 1072"/>
                  <a:gd name="connsiteX167" fmla="*/ 1291 w 5133"/>
                  <a:gd name="connsiteY167" fmla="*/ 245 h 1072"/>
                  <a:gd name="connsiteX168" fmla="*/ 1338 w 5133"/>
                  <a:gd name="connsiteY168" fmla="*/ 193 h 1072"/>
                  <a:gd name="connsiteX169" fmla="*/ 1392 w 5133"/>
                  <a:gd name="connsiteY169" fmla="*/ 145 h 1072"/>
                  <a:gd name="connsiteX170" fmla="*/ 1447 w 5133"/>
                  <a:gd name="connsiteY170" fmla="*/ 104 h 1072"/>
                  <a:gd name="connsiteX171" fmla="*/ 1509 w 5133"/>
                  <a:gd name="connsiteY171" fmla="*/ 69 h 1072"/>
                  <a:gd name="connsiteX172" fmla="*/ 1575 w 5133"/>
                  <a:gd name="connsiteY172" fmla="*/ 40 h 1072"/>
                  <a:gd name="connsiteX173" fmla="*/ 1648 w 5133"/>
                  <a:gd name="connsiteY173" fmla="*/ 19 h 1072"/>
                  <a:gd name="connsiteX174" fmla="*/ 1726 w 5133"/>
                  <a:gd name="connsiteY174" fmla="*/ 6 h 1072"/>
                  <a:gd name="connsiteX175" fmla="*/ 1796 w 5133"/>
                  <a:gd name="connsiteY175" fmla="*/ 4 h 1072"/>
                  <a:gd name="connsiteX176" fmla="*/ 1862 w 5133"/>
                  <a:gd name="connsiteY176" fmla="*/ 13 h 1072"/>
                  <a:gd name="connsiteX177" fmla="*/ 1922 w 5133"/>
                  <a:gd name="connsiteY177" fmla="*/ 27 h 1072"/>
                  <a:gd name="connsiteX178" fmla="*/ 1980 w 5133"/>
                  <a:gd name="connsiteY178" fmla="*/ 50 h 1072"/>
                  <a:gd name="connsiteX179" fmla="*/ 2034 w 5133"/>
                  <a:gd name="connsiteY179" fmla="*/ 81 h 1072"/>
                  <a:gd name="connsiteX180" fmla="*/ 2083 w 5133"/>
                  <a:gd name="connsiteY180" fmla="*/ 116 h 1072"/>
                  <a:gd name="connsiteX181" fmla="*/ 2129 w 5133"/>
                  <a:gd name="connsiteY181" fmla="*/ 158 h 1072"/>
                  <a:gd name="connsiteX182" fmla="*/ 2174 w 5133"/>
                  <a:gd name="connsiteY182" fmla="*/ 203 h 1072"/>
                  <a:gd name="connsiteX183" fmla="*/ 2216 w 5133"/>
                  <a:gd name="connsiteY183" fmla="*/ 251 h 1072"/>
                  <a:gd name="connsiteX184" fmla="*/ 2255 w 5133"/>
                  <a:gd name="connsiteY184" fmla="*/ 303 h 1072"/>
                  <a:gd name="connsiteX185" fmla="*/ 2292 w 5133"/>
                  <a:gd name="connsiteY185" fmla="*/ 357 h 1072"/>
                  <a:gd name="connsiteX186" fmla="*/ 2327 w 5133"/>
                  <a:gd name="connsiteY186" fmla="*/ 413 h 1072"/>
                  <a:gd name="connsiteX187" fmla="*/ 2362 w 5133"/>
                  <a:gd name="connsiteY187" fmla="*/ 467 h 1072"/>
                  <a:gd name="connsiteX188" fmla="*/ 2395 w 5133"/>
                  <a:gd name="connsiteY188" fmla="*/ 523 h 1072"/>
                  <a:gd name="connsiteX189" fmla="*/ 2432 w 5133"/>
                  <a:gd name="connsiteY189" fmla="*/ 585 h 1072"/>
                  <a:gd name="connsiteX190" fmla="*/ 2469 w 5133"/>
                  <a:gd name="connsiteY190" fmla="*/ 643 h 1072"/>
                  <a:gd name="connsiteX191" fmla="*/ 2509 w 5133"/>
                  <a:gd name="connsiteY191" fmla="*/ 701 h 1072"/>
                  <a:gd name="connsiteX192" fmla="*/ 2546 w 5133"/>
                  <a:gd name="connsiteY192" fmla="*/ 755 h 1072"/>
                  <a:gd name="connsiteX193" fmla="*/ 2587 w 5133"/>
                  <a:gd name="connsiteY193" fmla="*/ 805 h 1072"/>
                  <a:gd name="connsiteX194" fmla="*/ 2628 w 5133"/>
                  <a:gd name="connsiteY194" fmla="*/ 848 h 1072"/>
                  <a:gd name="connsiteX195" fmla="*/ 2672 w 5133"/>
                  <a:gd name="connsiteY195" fmla="*/ 886 h 1072"/>
                  <a:gd name="connsiteX196" fmla="*/ 2717 w 5133"/>
                  <a:gd name="connsiteY196" fmla="*/ 917 h 1072"/>
                  <a:gd name="connsiteX197" fmla="*/ 2767 w 5133"/>
                  <a:gd name="connsiteY197" fmla="*/ 940 h 1072"/>
                  <a:gd name="connsiteX198" fmla="*/ 2820 w 5133"/>
                  <a:gd name="connsiteY198" fmla="*/ 952 h 1072"/>
                  <a:gd name="connsiteX199" fmla="*/ 2876 w 5133"/>
                  <a:gd name="connsiteY199" fmla="*/ 956 h 1072"/>
                  <a:gd name="connsiteX200" fmla="*/ 2932 w 5133"/>
                  <a:gd name="connsiteY200" fmla="*/ 950 h 1072"/>
                  <a:gd name="connsiteX201" fmla="*/ 2982 w 5133"/>
                  <a:gd name="connsiteY201" fmla="*/ 935 h 1072"/>
                  <a:gd name="connsiteX202" fmla="*/ 3029 w 5133"/>
                  <a:gd name="connsiteY202" fmla="*/ 915 h 1072"/>
                  <a:gd name="connsiteX203" fmla="*/ 3072 w 5133"/>
                  <a:gd name="connsiteY203" fmla="*/ 884 h 1072"/>
                  <a:gd name="connsiteX204" fmla="*/ 3112 w 5133"/>
                  <a:gd name="connsiteY204" fmla="*/ 848 h 1072"/>
                  <a:gd name="connsiteX205" fmla="*/ 3149 w 5133"/>
                  <a:gd name="connsiteY205" fmla="*/ 807 h 1072"/>
                  <a:gd name="connsiteX206" fmla="*/ 3184 w 5133"/>
                  <a:gd name="connsiteY206" fmla="*/ 759 h 1072"/>
                  <a:gd name="connsiteX207" fmla="*/ 3217 w 5133"/>
                  <a:gd name="connsiteY207" fmla="*/ 709 h 1072"/>
                  <a:gd name="connsiteX208" fmla="*/ 3250 w 5133"/>
                  <a:gd name="connsiteY208" fmla="*/ 655 h 1072"/>
                  <a:gd name="connsiteX209" fmla="*/ 3283 w 5133"/>
                  <a:gd name="connsiteY209" fmla="*/ 597 h 1072"/>
                  <a:gd name="connsiteX210" fmla="*/ 3316 w 5133"/>
                  <a:gd name="connsiteY210" fmla="*/ 537 h 1072"/>
                  <a:gd name="connsiteX211" fmla="*/ 3345 w 5133"/>
                  <a:gd name="connsiteY211" fmla="*/ 483 h 1072"/>
                  <a:gd name="connsiteX212" fmla="*/ 3407 w 5133"/>
                  <a:gd name="connsiteY212" fmla="*/ 375 h 1072"/>
                  <a:gd name="connsiteX213" fmla="*/ 3477 w 5133"/>
                  <a:gd name="connsiteY213" fmla="*/ 272 h 1072"/>
                  <a:gd name="connsiteX214" fmla="*/ 3514 w 5133"/>
                  <a:gd name="connsiteY214" fmla="*/ 224 h 1072"/>
                  <a:gd name="connsiteX215" fmla="*/ 3555 w 5133"/>
                  <a:gd name="connsiteY215" fmla="*/ 178 h 1072"/>
                  <a:gd name="connsiteX216" fmla="*/ 3599 w 5133"/>
                  <a:gd name="connsiteY216" fmla="*/ 137 h 1072"/>
                  <a:gd name="connsiteX217" fmla="*/ 3646 w 5133"/>
                  <a:gd name="connsiteY217" fmla="*/ 100 h 1072"/>
                  <a:gd name="connsiteX218" fmla="*/ 3698 w 5133"/>
                  <a:gd name="connsiteY218" fmla="*/ 66 h 1072"/>
                  <a:gd name="connsiteX219" fmla="*/ 3756 w 5133"/>
                  <a:gd name="connsiteY219" fmla="*/ 40 h 1072"/>
                  <a:gd name="connsiteX220" fmla="*/ 3816 w 5133"/>
                  <a:gd name="connsiteY220" fmla="*/ 19 h 1072"/>
                  <a:gd name="connsiteX221" fmla="*/ 3882 w 5133"/>
                  <a:gd name="connsiteY221" fmla="*/ 6 h 1072"/>
                  <a:gd name="connsiteX222" fmla="*/ 3954 w 5133"/>
                  <a:gd name="connsiteY222" fmla="*/ 0 h 1072"/>
                  <a:gd name="connsiteX0" fmla="*/ 3954 w 5133"/>
                  <a:gd name="connsiteY0" fmla="*/ 0 h 1072"/>
                  <a:gd name="connsiteX1" fmla="*/ 4004 w 5133"/>
                  <a:gd name="connsiteY1" fmla="*/ 0 h 1072"/>
                  <a:gd name="connsiteX2" fmla="*/ 4032 w 5133"/>
                  <a:gd name="connsiteY2" fmla="*/ 4 h 1072"/>
                  <a:gd name="connsiteX3" fmla="*/ 4063 w 5133"/>
                  <a:gd name="connsiteY3" fmla="*/ 13 h 1072"/>
                  <a:gd name="connsiteX4" fmla="*/ 4101 w 5133"/>
                  <a:gd name="connsiteY4" fmla="*/ 23 h 1072"/>
                  <a:gd name="connsiteX5" fmla="*/ 4142 w 5133"/>
                  <a:gd name="connsiteY5" fmla="*/ 40 h 1072"/>
                  <a:gd name="connsiteX6" fmla="*/ 4185 w 5133"/>
                  <a:gd name="connsiteY6" fmla="*/ 60 h 1072"/>
                  <a:gd name="connsiteX7" fmla="*/ 4233 w 5133"/>
                  <a:gd name="connsiteY7" fmla="*/ 89 h 1072"/>
                  <a:gd name="connsiteX8" fmla="*/ 4282 w 5133"/>
                  <a:gd name="connsiteY8" fmla="*/ 125 h 1072"/>
                  <a:gd name="connsiteX9" fmla="*/ 4332 w 5133"/>
                  <a:gd name="connsiteY9" fmla="*/ 170 h 1072"/>
                  <a:gd name="connsiteX10" fmla="*/ 4383 w 5133"/>
                  <a:gd name="connsiteY10" fmla="*/ 224 h 1072"/>
                  <a:gd name="connsiteX11" fmla="*/ 4435 w 5133"/>
                  <a:gd name="connsiteY11" fmla="*/ 286 h 1072"/>
                  <a:gd name="connsiteX12" fmla="*/ 4487 w 5133"/>
                  <a:gd name="connsiteY12" fmla="*/ 361 h 1072"/>
                  <a:gd name="connsiteX13" fmla="*/ 4538 w 5133"/>
                  <a:gd name="connsiteY13" fmla="*/ 448 h 1072"/>
                  <a:gd name="connsiteX14" fmla="*/ 4590 w 5133"/>
                  <a:gd name="connsiteY14" fmla="*/ 548 h 1072"/>
                  <a:gd name="connsiteX15" fmla="*/ 4635 w 5133"/>
                  <a:gd name="connsiteY15" fmla="*/ 633 h 1072"/>
                  <a:gd name="connsiteX16" fmla="*/ 4681 w 5133"/>
                  <a:gd name="connsiteY16" fmla="*/ 705 h 1072"/>
                  <a:gd name="connsiteX17" fmla="*/ 4728 w 5133"/>
                  <a:gd name="connsiteY17" fmla="*/ 767 h 1072"/>
                  <a:gd name="connsiteX18" fmla="*/ 4776 w 5133"/>
                  <a:gd name="connsiteY18" fmla="*/ 819 h 1072"/>
                  <a:gd name="connsiteX19" fmla="*/ 4821 w 5133"/>
                  <a:gd name="connsiteY19" fmla="*/ 863 h 1072"/>
                  <a:gd name="connsiteX20" fmla="*/ 4869 w 5133"/>
                  <a:gd name="connsiteY20" fmla="*/ 898 h 1072"/>
                  <a:gd name="connsiteX21" fmla="*/ 4912 w 5133"/>
                  <a:gd name="connsiteY21" fmla="*/ 927 h 1072"/>
                  <a:gd name="connsiteX22" fmla="*/ 4955 w 5133"/>
                  <a:gd name="connsiteY22" fmla="*/ 948 h 1072"/>
                  <a:gd name="connsiteX23" fmla="*/ 4992 w 5133"/>
                  <a:gd name="connsiteY23" fmla="*/ 962 h 1072"/>
                  <a:gd name="connsiteX24" fmla="*/ 5030 w 5133"/>
                  <a:gd name="connsiteY24" fmla="*/ 973 h 1072"/>
                  <a:gd name="connsiteX25" fmla="*/ 5059 w 5133"/>
                  <a:gd name="connsiteY25" fmla="*/ 981 h 1072"/>
                  <a:gd name="connsiteX26" fmla="*/ 5085 w 5133"/>
                  <a:gd name="connsiteY26" fmla="*/ 983 h 1072"/>
                  <a:gd name="connsiteX27" fmla="*/ 5125 w 5133"/>
                  <a:gd name="connsiteY27" fmla="*/ 985 h 1072"/>
                  <a:gd name="connsiteX28" fmla="*/ 5133 w 5133"/>
                  <a:gd name="connsiteY28" fmla="*/ 1072 h 1072"/>
                  <a:gd name="connsiteX29" fmla="*/ 5098 w 5133"/>
                  <a:gd name="connsiteY29" fmla="*/ 1072 h 1072"/>
                  <a:gd name="connsiteX30" fmla="*/ 5071 w 5133"/>
                  <a:gd name="connsiteY30" fmla="*/ 1070 h 1072"/>
                  <a:gd name="connsiteX31" fmla="*/ 5040 w 5133"/>
                  <a:gd name="connsiteY31" fmla="*/ 1064 h 1072"/>
                  <a:gd name="connsiteX32" fmla="*/ 5003 w 5133"/>
                  <a:gd name="connsiteY32" fmla="*/ 1056 h 1072"/>
                  <a:gd name="connsiteX33" fmla="*/ 4961 w 5133"/>
                  <a:gd name="connsiteY33" fmla="*/ 1043 h 1072"/>
                  <a:gd name="connsiteX34" fmla="*/ 4916 w 5133"/>
                  <a:gd name="connsiteY34" fmla="*/ 1025 h 1072"/>
                  <a:gd name="connsiteX35" fmla="*/ 4869 w 5133"/>
                  <a:gd name="connsiteY35" fmla="*/ 1002 h 1072"/>
                  <a:gd name="connsiteX36" fmla="*/ 4819 w 5133"/>
                  <a:gd name="connsiteY36" fmla="*/ 971 h 1072"/>
                  <a:gd name="connsiteX37" fmla="*/ 4767 w 5133"/>
                  <a:gd name="connsiteY37" fmla="*/ 931 h 1072"/>
                  <a:gd name="connsiteX38" fmla="*/ 4716 w 5133"/>
                  <a:gd name="connsiteY38" fmla="*/ 881 h 1072"/>
                  <a:gd name="connsiteX39" fmla="*/ 4662 w 5133"/>
                  <a:gd name="connsiteY39" fmla="*/ 823 h 1072"/>
                  <a:gd name="connsiteX40" fmla="*/ 4611 w 5133"/>
                  <a:gd name="connsiteY40" fmla="*/ 755 h 1072"/>
                  <a:gd name="connsiteX41" fmla="*/ 4561 w 5133"/>
                  <a:gd name="connsiteY41" fmla="*/ 676 h 1072"/>
                  <a:gd name="connsiteX42" fmla="*/ 4513 w 5133"/>
                  <a:gd name="connsiteY42" fmla="*/ 583 h 1072"/>
                  <a:gd name="connsiteX43" fmla="*/ 4464 w 5133"/>
                  <a:gd name="connsiteY43" fmla="*/ 487 h 1072"/>
                  <a:gd name="connsiteX44" fmla="*/ 4414 w 5133"/>
                  <a:gd name="connsiteY44" fmla="*/ 404 h 1072"/>
                  <a:gd name="connsiteX45" fmla="*/ 4365 w 5133"/>
                  <a:gd name="connsiteY45" fmla="*/ 336 h 1072"/>
                  <a:gd name="connsiteX46" fmla="*/ 4315 w 5133"/>
                  <a:gd name="connsiteY46" fmla="*/ 276 h 1072"/>
                  <a:gd name="connsiteX47" fmla="*/ 4268 w 5133"/>
                  <a:gd name="connsiteY47" fmla="*/ 228 h 1072"/>
                  <a:gd name="connsiteX48" fmla="*/ 4222 w 5133"/>
                  <a:gd name="connsiteY48" fmla="*/ 189 h 1072"/>
                  <a:gd name="connsiteX49" fmla="*/ 4181 w 5133"/>
                  <a:gd name="connsiteY49" fmla="*/ 158 h 1072"/>
                  <a:gd name="connsiteX50" fmla="*/ 4142 w 5133"/>
                  <a:gd name="connsiteY50" fmla="*/ 135 h 1072"/>
                  <a:gd name="connsiteX51" fmla="*/ 4092 w 5133"/>
                  <a:gd name="connsiteY51" fmla="*/ 112 h 1072"/>
                  <a:gd name="connsiteX52" fmla="*/ 4049 w 5133"/>
                  <a:gd name="connsiteY52" fmla="*/ 98 h 1072"/>
                  <a:gd name="connsiteX53" fmla="*/ 4014 w 5133"/>
                  <a:gd name="connsiteY53" fmla="*/ 89 h 1072"/>
                  <a:gd name="connsiteX54" fmla="*/ 3985 w 5133"/>
                  <a:gd name="connsiteY54" fmla="*/ 87 h 1072"/>
                  <a:gd name="connsiteX55" fmla="*/ 3958 w 5133"/>
                  <a:gd name="connsiteY55" fmla="*/ 87 h 1072"/>
                  <a:gd name="connsiteX56" fmla="*/ 3892 w 5133"/>
                  <a:gd name="connsiteY56" fmla="*/ 93 h 1072"/>
                  <a:gd name="connsiteX57" fmla="*/ 3830 w 5133"/>
                  <a:gd name="connsiteY57" fmla="*/ 106 h 1072"/>
                  <a:gd name="connsiteX58" fmla="*/ 3774 w 5133"/>
                  <a:gd name="connsiteY58" fmla="*/ 127 h 1072"/>
                  <a:gd name="connsiteX59" fmla="*/ 3723 w 5133"/>
                  <a:gd name="connsiteY59" fmla="*/ 154 h 1072"/>
                  <a:gd name="connsiteX60" fmla="*/ 3675 w 5133"/>
                  <a:gd name="connsiteY60" fmla="*/ 187 h 1072"/>
                  <a:gd name="connsiteX61" fmla="*/ 3632 w 5133"/>
                  <a:gd name="connsiteY61" fmla="*/ 224 h 1072"/>
                  <a:gd name="connsiteX62" fmla="*/ 3593 w 5133"/>
                  <a:gd name="connsiteY62" fmla="*/ 268 h 1072"/>
                  <a:gd name="connsiteX63" fmla="*/ 3553 w 5133"/>
                  <a:gd name="connsiteY63" fmla="*/ 313 h 1072"/>
                  <a:gd name="connsiteX64" fmla="*/ 3518 w 5133"/>
                  <a:gd name="connsiteY64" fmla="*/ 363 h 1072"/>
                  <a:gd name="connsiteX65" fmla="*/ 3485 w 5133"/>
                  <a:gd name="connsiteY65" fmla="*/ 415 h 1072"/>
                  <a:gd name="connsiteX66" fmla="*/ 3423 w 5133"/>
                  <a:gd name="connsiteY66" fmla="*/ 523 h 1072"/>
                  <a:gd name="connsiteX67" fmla="*/ 3330 w 5133"/>
                  <a:gd name="connsiteY67" fmla="*/ 691 h 1072"/>
                  <a:gd name="connsiteX68" fmla="*/ 3297 w 5133"/>
                  <a:gd name="connsiteY68" fmla="*/ 747 h 1072"/>
                  <a:gd name="connsiteX69" fmla="*/ 3262 w 5133"/>
                  <a:gd name="connsiteY69" fmla="*/ 799 h 1072"/>
                  <a:gd name="connsiteX70" fmla="*/ 3227 w 5133"/>
                  <a:gd name="connsiteY70" fmla="*/ 848 h 1072"/>
                  <a:gd name="connsiteX71" fmla="*/ 3188 w 5133"/>
                  <a:gd name="connsiteY71" fmla="*/ 894 h 1072"/>
                  <a:gd name="connsiteX72" fmla="*/ 3147 w 5133"/>
                  <a:gd name="connsiteY72" fmla="*/ 935 h 1072"/>
                  <a:gd name="connsiteX73" fmla="*/ 3101 w 5133"/>
                  <a:gd name="connsiteY73" fmla="*/ 971 h 1072"/>
                  <a:gd name="connsiteX74" fmla="*/ 3052 w 5133"/>
                  <a:gd name="connsiteY74" fmla="*/ 1000 h 1072"/>
                  <a:gd name="connsiteX75" fmla="*/ 3000 w 5133"/>
                  <a:gd name="connsiteY75" fmla="*/ 1022 h 1072"/>
                  <a:gd name="connsiteX76" fmla="*/ 2942 w 5133"/>
                  <a:gd name="connsiteY76" fmla="*/ 1037 h 1072"/>
                  <a:gd name="connsiteX77" fmla="*/ 2878 w 5133"/>
                  <a:gd name="connsiteY77" fmla="*/ 1043 h 1072"/>
                  <a:gd name="connsiteX78" fmla="*/ 2870 w 5133"/>
                  <a:gd name="connsiteY78" fmla="*/ 1043 h 1072"/>
                  <a:gd name="connsiteX79" fmla="*/ 2808 w 5133"/>
                  <a:gd name="connsiteY79" fmla="*/ 1039 h 1072"/>
                  <a:gd name="connsiteX80" fmla="*/ 2748 w 5133"/>
                  <a:gd name="connsiteY80" fmla="*/ 1025 h 1072"/>
                  <a:gd name="connsiteX81" fmla="*/ 2695 w 5133"/>
                  <a:gd name="connsiteY81" fmla="*/ 1002 h 1072"/>
                  <a:gd name="connsiteX82" fmla="*/ 2643 w 5133"/>
                  <a:gd name="connsiteY82" fmla="*/ 973 h 1072"/>
                  <a:gd name="connsiteX83" fmla="*/ 2595 w 5133"/>
                  <a:gd name="connsiteY83" fmla="*/ 935 h 1072"/>
                  <a:gd name="connsiteX84" fmla="*/ 2552 w 5133"/>
                  <a:gd name="connsiteY84" fmla="*/ 894 h 1072"/>
                  <a:gd name="connsiteX85" fmla="*/ 2509 w 5133"/>
                  <a:gd name="connsiteY85" fmla="*/ 846 h 1072"/>
                  <a:gd name="connsiteX86" fmla="*/ 2469 w 5133"/>
                  <a:gd name="connsiteY86" fmla="*/ 796 h 1072"/>
                  <a:gd name="connsiteX87" fmla="*/ 2430 w 5133"/>
                  <a:gd name="connsiteY87" fmla="*/ 740 h 1072"/>
                  <a:gd name="connsiteX88" fmla="*/ 2393 w 5133"/>
                  <a:gd name="connsiteY88" fmla="*/ 684 h 1072"/>
                  <a:gd name="connsiteX89" fmla="*/ 2288 w 5133"/>
                  <a:gd name="connsiteY89" fmla="*/ 510 h 1072"/>
                  <a:gd name="connsiteX90" fmla="*/ 2251 w 5133"/>
                  <a:gd name="connsiteY90" fmla="*/ 452 h 1072"/>
                  <a:gd name="connsiteX91" fmla="*/ 2213 w 5133"/>
                  <a:gd name="connsiteY91" fmla="*/ 396 h 1072"/>
                  <a:gd name="connsiteX92" fmla="*/ 2176 w 5133"/>
                  <a:gd name="connsiteY92" fmla="*/ 342 h 1072"/>
                  <a:gd name="connsiteX93" fmla="*/ 2137 w 5133"/>
                  <a:gd name="connsiteY93" fmla="*/ 293 h 1072"/>
                  <a:gd name="connsiteX94" fmla="*/ 2096 w 5133"/>
                  <a:gd name="connsiteY94" fmla="*/ 247 h 1072"/>
                  <a:gd name="connsiteX95" fmla="*/ 2054 w 5133"/>
                  <a:gd name="connsiteY95" fmla="*/ 205 h 1072"/>
                  <a:gd name="connsiteX96" fmla="*/ 2009 w 5133"/>
                  <a:gd name="connsiteY96" fmla="*/ 168 h 1072"/>
                  <a:gd name="connsiteX97" fmla="*/ 1962 w 5133"/>
                  <a:gd name="connsiteY97" fmla="*/ 139 h 1072"/>
                  <a:gd name="connsiteX98" fmla="*/ 1910 w 5133"/>
                  <a:gd name="connsiteY98" fmla="*/ 116 h 1072"/>
                  <a:gd name="connsiteX99" fmla="*/ 1854 w 5133"/>
                  <a:gd name="connsiteY99" fmla="*/ 100 h 1072"/>
                  <a:gd name="connsiteX100" fmla="*/ 1796 w 5133"/>
                  <a:gd name="connsiteY100" fmla="*/ 91 h 1072"/>
                  <a:gd name="connsiteX101" fmla="*/ 1732 w 5133"/>
                  <a:gd name="connsiteY101" fmla="*/ 93 h 1072"/>
                  <a:gd name="connsiteX102" fmla="*/ 1664 w 5133"/>
                  <a:gd name="connsiteY102" fmla="*/ 104 h 1072"/>
                  <a:gd name="connsiteX103" fmla="*/ 1602 w 5133"/>
                  <a:gd name="connsiteY103" fmla="*/ 122 h 1072"/>
                  <a:gd name="connsiteX104" fmla="*/ 1545 w 5133"/>
                  <a:gd name="connsiteY104" fmla="*/ 147 h 1072"/>
                  <a:gd name="connsiteX105" fmla="*/ 1491 w 5133"/>
                  <a:gd name="connsiteY105" fmla="*/ 181 h 1072"/>
                  <a:gd name="connsiteX106" fmla="*/ 1439 w 5133"/>
                  <a:gd name="connsiteY106" fmla="*/ 218 h 1072"/>
                  <a:gd name="connsiteX107" fmla="*/ 1394 w 5133"/>
                  <a:gd name="connsiteY107" fmla="*/ 261 h 1072"/>
                  <a:gd name="connsiteX108" fmla="*/ 1348 w 5133"/>
                  <a:gd name="connsiteY108" fmla="*/ 307 h 1072"/>
                  <a:gd name="connsiteX109" fmla="*/ 1307 w 5133"/>
                  <a:gd name="connsiteY109" fmla="*/ 359 h 1072"/>
                  <a:gd name="connsiteX110" fmla="*/ 1268 w 5133"/>
                  <a:gd name="connsiteY110" fmla="*/ 413 h 1072"/>
                  <a:gd name="connsiteX111" fmla="*/ 1231 w 5133"/>
                  <a:gd name="connsiteY111" fmla="*/ 467 h 1072"/>
                  <a:gd name="connsiteX112" fmla="*/ 1194 w 5133"/>
                  <a:gd name="connsiteY112" fmla="*/ 523 h 1072"/>
                  <a:gd name="connsiteX113" fmla="*/ 1156 w 5133"/>
                  <a:gd name="connsiteY113" fmla="*/ 581 h 1072"/>
                  <a:gd name="connsiteX114" fmla="*/ 1121 w 5133"/>
                  <a:gd name="connsiteY114" fmla="*/ 637 h 1072"/>
                  <a:gd name="connsiteX115" fmla="*/ 1047 w 5133"/>
                  <a:gd name="connsiteY115" fmla="*/ 749 h 1072"/>
                  <a:gd name="connsiteX116" fmla="*/ 1008 w 5133"/>
                  <a:gd name="connsiteY116" fmla="*/ 801 h 1072"/>
                  <a:gd name="connsiteX117" fmla="*/ 966 w 5133"/>
                  <a:gd name="connsiteY117" fmla="*/ 850 h 1072"/>
                  <a:gd name="connsiteX118" fmla="*/ 923 w 5133"/>
                  <a:gd name="connsiteY118" fmla="*/ 896 h 1072"/>
                  <a:gd name="connsiteX119" fmla="*/ 876 w 5133"/>
                  <a:gd name="connsiteY119" fmla="*/ 937 h 1072"/>
                  <a:gd name="connsiteX120" fmla="*/ 826 w 5133"/>
                  <a:gd name="connsiteY120" fmla="*/ 973 h 1072"/>
                  <a:gd name="connsiteX121" fmla="*/ 772 w 5133"/>
                  <a:gd name="connsiteY121" fmla="*/ 1002 h 1072"/>
                  <a:gd name="connsiteX122" fmla="*/ 717 w 5133"/>
                  <a:gd name="connsiteY122" fmla="*/ 1025 h 1072"/>
                  <a:gd name="connsiteX123" fmla="*/ 653 w 5133"/>
                  <a:gd name="connsiteY123" fmla="*/ 1037 h 1072"/>
                  <a:gd name="connsiteX124" fmla="*/ 587 w 5133"/>
                  <a:gd name="connsiteY124" fmla="*/ 1043 h 1072"/>
                  <a:gd name="connsiteX125" fmla="*/ 580 w 5133"/>
                  <a:gd name="connsiteY125" fmla="*/ 1043 h 1072"/>
                  <a:gd name="connsiteX126" fmla="*/ 512 w 5133"/>
                  <a:gd name="connsiteY126" fmla="*/ 1039 h 1072"/>
                  <a:gd name="connsiteX127" fmla="*/ 450 w 5133"/>
                  <a:gd name="connsiteY127" fmla="*/ 1027 h 1072"/>
                  <a:gd name="connsiteX128" fmla="*/ 392 w 5133"/>
                  <a:gd name="connsiteY128" fmla="*/ 1008 h 1072"/>
                  <a:gd name="connsiteX129" fmla="*/ 341 w 5133"/>
                  <a:gd name="connsiteY129" fmla="*/ 983 h 1072"/>
                  <a:gd name="connsiteX130" fmla="*/ 293 w 5133"/>
                  <a:gd name="connsiteY130" fmla="*/ 952 h 1072"/>
                  <a:gd name="connsiteX131" fmla="*/ 248 w 5133"/>
                  <a:gd name="connsiteY131" fmla="*/ 915 h 1072"/>
                  <a:gd name="connsiteX132" fmla="*/ 207 w 5133"/>
                  <a:gd name="connsiteY132" fmla="*/ 873 h 1072"/>
                  <a:gd name="connsiteX133" fmla="*/ 169 w 5133"/>
                  <a:gd name="connsiteY133" fmla="*/ 828 h 1072"/>
                  <a:gd name="connsiteX134" fmla="*/ 132 w 5133"/>
                  <a:gd name="connsiteY134" fmla="*/ 780 h 1072"/>
                  <a:gd name="connsiteX135" fmla="*/ 99 w 5133"/>
                  <a:gd name="connsiteY135" fmla="*/ 728 h 1072"/>
                  <a:gd name="connsiteX136" fmla="*/ 64 w 5133"/>
                  <a:gd name="connsiteY136" fmla="*/ 674 h 1072"/>
                  <a:gd name="connsiteX137" fmla="*/ 33 w 5133"/>
                  <a:gd name="connsiteY137" fmla="*/ 618 h 1072"/>
                  <a:gd name="connsiteX138" fmla="*/ 0 w 5133"/>
                  <a:gd name="connsiteY138" fmla="*/ 560 h 1072"/>
                  <a:gd name="connsiteX139" fmla="*/ 77 w 5133"/>
                  <a:gd name="connsiteY139" fmla="*/ 516 h 1072"/>
                  <a:gd name="connsiteX140" fmla="*/ 110 w 5133"/>
                  <a:gd name="connsiteY140" fmla="*/ 575 h 1072"/>
                  <a:gd name="connsiteX141" fmla="*/ 143 w 5133"/>
                  <a:gd name="connsiteY141" fmla="*/ 631 h 1072"/>
                  <a:gd name="connsiteX142" fmla="*/ 176 w 5133"/>
                  <a:gd name="connsiteY142" fmla="*/ 684 h 1072"/>
                  <a:gd name="connsiteX143" fmla="*/ 209 w 5133"/>
                  <a:gd name="connsiteY143" fmla="*/ 736 h 1072"/>
                  <a:gd name="connsiteX144" fmla="*/ 244 w 5133"/>
                  <a:gd name="connsiteY144" fmla="*/ 782 h 1072"/>
                  <a:gd name="connsiteX145" fmla="*/ 281 w 5133"/>
                  <a:gd name="connsiteY145" fmla="*/ 825 h 1072"/>
                  <a:gd name="connsiteX146" fmla="*/ 322 w 5133"/>
                  <a:gd name="connsiteY146" fmla="*/ 863 h 1072"/>
                  <a:gd name="connsiteX147" fmla="*/ 366 w 5133"/>
                  <a:gd name="connsiteY147" fmla="*/ 894 h 1072"/>
                  <a:gd name="connsiteX148" fmla="*/ 413 w 5133"/>
                  <a:gd name="connsiteY148" fmla="*/ 921 h 1072"/>
                  <a:gd name="connsiteX149" fmla="*/ 463 w 5133"/>
                  <a:gd name="connsiteY149" fmla="*/ 940 h 1072"/>
                  <a:gd name="connsiteX150" fmla="*/ 518 w 5133"/>
                  <a:gd name="connsiteY150" fmla="*/ 952 h 1072"/>
                  <a:gd name="connsiteX151" fmla="*/ 580 w 5133"/>
                  <a:gd name="connsiteY151" fmla="*/ 956 h 1072"/>
                  <a:gd name="connsiteX152" fmla="*/ 587 w 5133"/>
                  <a:gd name="connsiteY152" fmla="*/ 956 h 1072"/>
                  <a:gd name="connsiteX153" fmla="*/ 646 w 5133"/>
                  <a:gd name="connsiteY153" fmla="*/ 950 h 1072"/>
                  <a:gd name="connsiteX154" fmla="*/ 702 w 5133"/>
                  <a:gd name="connsiteY154" fmla="*/ 935 h 1072"/>
                  <a:gd name="connsiteX155" fmla="*/ 756 w 5133"/>
                  <a:gd name="connsiteY155" fmla="*/ 913 h 1072"/>
                  <a:gd name="connsiteX156" fmla="*/ 803 w 5133"/>
                  <a:gd name="connsiteY156" fmla="*/ 884 h 1072"/>
                  <a:gd name="connsiteX157" fmla="*/ 849 w 5133"/>
                  <a:gd name="connsiteY157" fmla="*/ 846 h 1072"/>
                  <a:gd name="connsiteX158" fmla="*/ 892 w 5133"/>
                  <a:gd name="connsiteY158" fmla="*/ 803 h 1072"/>
                  <a:gd name="connsiteX159" fmla="*/ 931 w 5133"/>
                  <a:gd name="connsiteY159" fmla="*/ 755 h 1072"/>
                  <a:gd name="connsiteX160" fmla="*/ 971 w 5133"/>
                  <a:gd name="connsiteY160" fmla="*/ 703 h 1072"/>
                  <a:gd name="connsiteX161" fmla="*/ 1010 w 5133"/>
                  <a:gd name="connsiteY161" fmla="*/ 649 h 1072"/>
                  <a:gd name="connsiteX162" fmla="*/ 1121 w 5133"/>
                  <a:gd name="connsiteY162" fmla="*/ 475 h 1072"/>
                  <a:gd name="connsiteX163" fmla="*/ 1161 w 5133"/>
                  <a:gd name="connsiteY163" fmla="*/ 415 h 1072"/>
                  <a:gd name="connsiteX164" fmla="*/ 1202 w 5133"/>
                  <a:gd name="connsiteY164" fmla="*/ 357 h 1072"/>
                  <a:gd name="connsiteX165" fmla="*/ 1245 w 5133"/>
                  <a:gd name="connsiteY165" fmla="*/ 299 h 1072"/>
                  <a:gd name="connsiteX166" fmla="*/ 1291 w 5133"/>
                  <a:gd name="connsiteY166" fmla="*/ 245 h 1072"/>
                  <a:gd name="connsiteX167" fmla="*/ 1338 w 5133"/>
                  <a:gd name="connsiteY167" fmla="*/ 193 h 1072"/>
                  <a:gd name="connsiteX168" fmla="*/ 1392 w 5133"/>
                  <a:gd name="connsiteY168" fmla="*/ 145 h 1072"/>
                  <a:gd name="connsiteX169" fmla="*/ 1447 w 5133"/>
                  <a:gd name="connsiteY169" fmla="*/ 104 h 1072"/>
                  <a:gd name="connsiteX170" fmla="*/ 1509 w 5133"/>
                  <a:gd name="connsiteY170" fmla="*/ 69 h 1072"/>
                  <a:gd name="connsiteX171" fmla="*/ 1575 w 5133"/>
                  <a:gd name="connsiteY171" fmla="*/ 40 h 1072"/>
                  <a:gd name="connsiteX172" fmla="*/ 1648 w 5133"/>
                  <a:gd name="connsiteY172" fmla="*/ 19 h 1072"/>
                  <a:gd name="connsiteX173" fmla="*/ 1726 w 5133"/>
                  <a:gd name="connsiteY173" fmla="*/ 6 h 1072"/>
                  <a:gd name="connsiteX174" fmla="*/ 1796 w 5133"/>
                  <a:gd name="connsiteY174" fmla="*/ 4 h 1072"/>
                  <a:gd name="connsiteX175" fmla="*/ 1862 w 5133"/>
                  <a:gd name="connsiteY175" fmla="*/ 13 h 1072"/>
                  <a:gd name="connsiteX176" fmla="*/ 1922 w 5133"/>
                  <a:gd name="connsiteY176" fmla="*/ 27 h 1072"/>
                  <a:gd name="connsiteX177" fmla="*/ 1980 w 5133"/>
                  <a:gd name="connsiteY177" fmla="*/ 50 h 1072"/>
                  <a:gd name="connsiteX178" fmla="*/ 2034 w 5133"/>
                  <a:gd name="connsiteY178" fmla="*/ 81 h 1072"/>
                  <a:gd name="connsiteX179" fmla="*/ 2083 w 5133"/>
                  <a:gd name="connsiteY179" fmla="*/ 116 h 1072"/>
                  <a:gd name="connsiteX180" fmla="*/ 2129 w 5133"/>
                  <a:gd name="connsiteY180" fmla="*/ 158 h 1072"/>
                  <a:gd name="connsiteX181" fmla="*/ 2174 w 5133"/>
                  <a:gd name="connsiteY181" fmla="*/ 203 h 1072"/>
                  <a:gd name="connsiteX182" fmla="*/ 2216 w 5133"/>
                  <a:gd name="connsiteY182" fmla="*/ 251 h 1072"/>
                  <a:gd name="connsiteX183" fmla="*/ 2255 w 5133"/>
                  <a:gd name="connsiteY183" fmla="*/ 303 h 1072"/>
                  <a:gd name="connsiteX184" fmla="*/ 2292 w 5133"/>
                  <a:gd name="connsiteY184" fmla="*/ 357 h 1072"/>
                  <a:gd name="connsiteX185" fmla="*/ 2327 w 5133"/>
                  <a:gd name="connsiteY185" fmla="*/ 413 h 1072"/>
                  <a:gd name="connsiteX186" fmla="*/ 2362 w 5133"/>
                  <a:gd name="connsiteY186" fmla="*/ 467 h 1072"/>
                  <a:gd name="connsiteX187" fmla="*/ 2395 w 5133"/>
                  <a:gd name="connsiteY187" fmla="*/ 523 h 1072"/>
                  <a:gd name="connsiteX188" fmla="*/ 2432 w 5133"/>
                  <a:gd name="connsiteY188" fmla="*/ 585 h 1072"/>
                  <a:gd name="connsiteX189" fmla="*/ 2469 w 5133"/>
                  <a:gd name="connsiteY189" fmla="*/ 643 h 1072"/>
                  <a:gd name="connsiteX190" fmla="*/ 2509 w 5133"/>
                  <a:gd name="connsiteY190" fmla="*/ 701 h 1072"/>
                  <a:gd name="connsiteX191" fmla="*/ 2546 w 5133"/>
                  <a:gd name="connsiteY191" fmla="*/ 755 h 1072"/>
                  <a:gd name="connsiteX192" fmla="*/ 2587 w 5133"/>
                  <a:gd name="connsiteY192" fmla="*/ 805 h 1072"/>
                  <a:gd name="connsiteX193" fmla="*/ 2628 w 5133"/>
                  <a:gd name="connsiteY193" fmla="*/ 848 h 1072"/>
                  <a:gd name="connsiteX194" fmla="*/ 2672 w 5133"/>
                  <a:gd name="connsiteY194" fmla="*/ 886 h 1072"/>
                  <a:gd name="connsiteX195" fmla="*/ 2717 w 5133"/>
                  <a:gd name="connsiteY195" fmla="*/ 917 h 1072"/>
                  <a:gd name="connsiteX196" fmla="*/ 2767 w 5133"/>
                  <a:gd name="connsiteY196" fmla="*/ 940 h 1072"/>
                  <a:gd name="connsiteX197" fmla="*/ 2820 w 5133"/>
                  <a:gd name="connsiteY197" fmla="*/ 952 h 1072"/>
                  <a:gd name="connsiteX198" fmla="*/ 2876 w 5133"/>
                  <a:gd name="connsiteY198" fmla="*/ 956 h 1072"/>
                  <a:gd name="connsiteX199" fmla="*/ 2932 w 5133"/>
                  <a:gd name="connsiteY199" fmla="*/ 950 h 1072"/>
                  <a:gd name="connsiteX200" fmla="*/ 2982 w 5133"/>
                  <a:gd name="connsiteY200" fmla="*/ 935 h 1072"/>
                  <a:gd name="connsiteX201" fmla="*/ 3029 w 5133"/>
                  <a:gd name="connsiteY201" fmla="*/ 915 h 1072"/>
                  <a:gd name="connsiteX202" fmla="*/ 3072 w 5133"/>
                  <a:gd name="connsiteY202" fmla="*/ 884 h 1072"/>
                  <a:gd name="connsiteX203" fmla="*/ 3112 w 5133"/>
                  <a:gd name="connsiteY203" fmla="*/ 848 h 1072"/>
                  <a:gd name="connsiteX204" fmla="*/ 3149 w 5133"/>
                  <a:gd name="connsiteY204" fmla="*/ 807 h 1072"/>
                  <a:gd name="connsiteX205" fmla="*/ 3184 w 5133"/>
                  <a:gd name="connsiteY205" fmla="*/ 759 h 1072"/>
                  <a:gd name="connsiteX206" fmla="*/ 3217 w 5133"/>
                  <a:gd name="connsiteY206" fmla="*/ 709 h 1072"/>
                  <a:gd name="connsiteX207" fmla="*/ 3250 w 5133"/>
                  <a:gd name="connsiteY207" fmla="*/ 655 h 1072"/>
                  <a:gd name="connsiteX208" fmla="*/ 3283 w 5133"/>
                  <a:gd name="connsiteY208" fmla="*/ 597 h 1072"/>
                  <a:gd name="connsiteX209" fmla="*/ 3316 w 5133"/>
                  <a:gd name="connsiteY209" fmla="*/ 537 h 1072"/>
                  <a:gd name="connsiteX210" fmla="*/ 3345 w 5133"/>
                  <a:gd name="connsiteY210" fmla="*/ 483 h 1072"/>
                  <a:gd name="connsiteX211" fmla="*/ 3407 w 5133"/>
                  <a:gd name="connsiteY211" fmla="*/ 375 h 1072"/>
                  <a:gd name="connsiteX212" fmla="*/ 3477 w 5133"/>
                  <a:gd name="connsiteY212" fmla="*/ 272 h 1072"/>
                  <a:gd name="connsiteX213" fmla="*/ 3514 w 5133"/>
                  <a:gd name="connsiteY213" fmla="*/ 224 h 1072"/>
                  <a:gd name="connsiteX214" fmla="*/ 3555 w 5133"/>
                  <a:gd name="connsiteY214" fmla="*/ 178 h 1072"/>
                  <a:gd name="connsiteX215" fmla="*/ 3599 w 5133"/>
                  <a:gd name="connsiteY215" fmla="*/ 137 h 1072"/>
                  <a:gd name="connsiteX216" fmla="*/ 3646 w 5133"/>
                  <a:gd name="connsiteY216" fmla="*/ 100 h 1072"/>
                  <a:gd name="connsiteX217" fmla="*/ 3698 w 5133"/>
                  <a:gd name="connsiteY217" fmla="*/ 66 h 1072"/>
                  <a:gd name="connsiteX218" fmla="*/ 3756 w 5133"/>
                  <a:gd name="connsiteY218" fmla="*/ 40 h 1072"/>
                  <a:gd name="connsiteX219" fmla="*/ 3816 w 5133"/>
                  <a:gd name="connsiteY219" fmla="*/ 19 h 1072"/>
                  <a:gd name="connsiteX220" fmla="*/ 3882 w 5133"/>
                  <a:gd name="connsiteY220" fmla="*/ 6 h 1072"/>
                  <a:gd name="connsiteX221" fmla="*/ 3954 w 5133"/>
                  <a:gd name="connsiteY221" fmla="*/ 0 h 1072"/>
                  <a:gd name="connsiteX0" fmla="*/ 3954 w 5133"/>
                  <a:gd name="connsiteY0" fmla="*/ 0 h 1072"/>
                  <a:gd name="connsiteX1" fmla="*/ 4004 w 5133"/>
                  <a:gd name="connsiteY1" fmla="*/ 0 h 1072"/>
                  <a:gd name="connsiteX2" fmla="*/ 4032 w 5133"/>
                  <a:gd name="connsiteY2" fmla="*/ 4 h 1072"/>
                  <a:gd name="connsiteX3" fmla="*/ 4063 w 5133"/>
                  <a:gd name="connsiteY3" fmla="*/ 13 h 1072"/>
                  <a:gd name="connsiteX4" fmla="*/ 4101 w 5133"/>
                  <a:gd name="connsiteY4" fmla="*/ 23 h 1072"/>
                  <a:gd name="connsiteX5" fmla="*/ 4142 w 5133"/>
                  <a:gd name="connsiteY5" fmla="*/ 40 h 1072"/>
                  <a:gd name="connsiteX6" fmla="*/ 4185 w 5133"/>
                  <a:gd name="connsiteY6" fmla="*/ 60 h 1072"/>
                  <a:gd name="connsiteX7" fmla="*/ 4233 w 5133"/>
                  <a:gd name="connsiteY7" fmla="*/ 89 h 1072"/>
                  <a:gd name="connsiteX8" fmla="*/ 4282 w 5133"/>
                  <a:gd name="connsiteY8" fmla="*/ 125 h 1072"/>
                  <a:gd name="connsiteX9" fmla="*/ 4332 w 5133"/>
                  <a:gd name="connsiteY9" fmla="*/ 170 h 1072"/>
                  <a:gd name="connsiteX10" fmla="*/ 4383 w 5133"/>
                  <a:gd name="connsiteY10" fmla="*/ 224 h 1072"/>
                  <a:gd name="connsiteX11" fmla="*/ 4435 w 5133"/>
                  <a:gd name="connsiteY11" fmla="*/ 286 h 1072"/>
                  <a:gd name="connsiteX12" fmla="*/ 4487 w 5133"/>
                  <a:gd name="connsiteY12" fmla="*/ 361 h 1072"/>
                  <a:gd name="connsiteX13" fmla="*/ 4538 w 5133"/>
                  <a:gd name="connsiteY13" fmla="*/ 448 h 1072"/>
                  <a:gd name="connsiteX14" fmla="*/ 4590 w 5133"/>
                  <a:gd name="connsiteY14" fmla="*/ 548 h 1072"/>
                  <a:gd name="connsiteX15" fmla="*/ 4635 w 5133"/>
                  <a:gd name="connsiteY15" fmla="*/ 633 h 1072"/>
                  <a:gd name="connsiteX16" fmla="*/ 4681 w 5133"/>
                  <a:gd name="connsiteY16" fmla="*/ 705 h 1072"/>
                  <a:gd name="connsiteX17" fmla="*/ 4728 w 5133"/>
                  <a:gd name="connsiteY17" fmla="*/ 767 h 1072"/>
                  <a:gd name="connsiteX18" fmla="*/ 4776 w 5133"/>
                  <a:gd name="connsiteY18" fmla="*/ 819 h 1072"/>
                  <a:gd name="connsiteX19" fmla="*/ 4821 w 5133"/>
                  <a:gd name="connsiteY19" fmla="*/ 863 h 1072"/>
                  <a:gd name="connsiteX20" fmla="*/ 4869 w 5133"/>
                  <a:gd name="connsiteY20" fmla="*/ 898 h 1072"/>
                  <a:gd name="connsiteX21" fmla="*/ 4912 w 5133"/>
                  <a:gd name="connsiteY21" fmla="*/ 927 h 1072"/>
                  <a:gd name="connsiteX22" fmla="*/ 4955 w 5133"/>
                  <a:gd name="connsiteY22" fmla="*/ 948 h 1072"/>
                  <a:gd name="connsiteX23" fmla="*/ 5030 w 5133"/>
                  <a:gd name="connsiteY23" fmla="*/ 973 h 1072"/>
                  <a:gd name="connsiteX24" fmla="*/ 5059 w 5133"/>
                  <a:gd name="connsiteY24" fmla="*/ 981 h 1072"/>
                  <a:gd name="connsiteX25" fmla="*/ 5085 w 5133"/>
                  <a:gd name="connsiteY25" fmla="*/ 983 h 1072"/>
                  <a:gd name="connsiteX26" fmla="*/ 5125 w 5133"/>
                  <a:gd name="connsiteY26" fmla="*/ 985 h 1072"/>
                  <a:gd name="connsiteX27" fmla="*/ 5133 w 5133"/>
                  <a:gd name="connsiteY27" fmla="*/ 1072 h 1072"/>
                  <a:gd name="connsiteX28" fmla="*/ 5098 w 5133"/>
                  <a:gd name="connsiteY28" fmla="*/ 1072 h 1072"/>
                  <a:gd name="connsiteX29" fmla="*/ 5071 w 5133"/>
                  <a:gd name="connsiteY29" fmla="*/ 1070 h 1072"/>
                  <a:gd name="connsiteX30" fmla="*/ 5040 w 5133"/>
                  <a:gd name="connsiteY30" fmla="*/ 1064 h 1072"/>
                  <a:gd name="connsiteX31" fmla="*/ 5003 w 5133"/>
                  <a:gd name="connsiteY31" fmla="*/ 1056 h 1072"/>
                  <a:gd name="connsiteX32" fmla="*/ 4961 w 5133"/>
                  <a:gd name="connsiteY32" fmla="*/ 1043 h 1072"/>
                  <a:gd name="connsiteX33" fmla="*/ 4916 w 5133"/>
                  <a:gd name="connsiteY33" fmla="*/ 1025 h 1072"/>
                  <a:gd name="connsiteX34" fmla="*/ 4869 w 5133"/>
                  <a:gd name="connsiteY34" fmla="*/ 1002 h 1072"/>
                  <a:gd name="connsiteX35" fmla="*/ 4819 w 5133"/>
                  <a:gd name="connsiteY35" fmla="*/ 971 h 1072"/>
                  <a:gd name="connsiteX36" fmla="*/ 4767 w 5133"/>
                  <a:gd name="connsiteY36" fmla="*/ 931 h 1072"/>
                  <a:gd name="connsiteX37" fmla="*/ 4716 w 5133"/>
                  <a:gd name="connsiteY37" fmla="*/ 881 h 1072"/>
                  <a:gd name="connsiteX38" fmla="*/ 4662 w 5133"/>
                  <a:gd name="connsiteY38" fmla="*/ 823 h 1072"/>
                  <a:gd name="connsiteX39" fmla="*/ 4611 w 5133"/>
                  <a:gd name="connsiteY39" fmla="*/ 755 h 1072"/>
                  <a:gd name="connsiteX40" fmla="*/ 4561 w 5133"/>
                  <a:gd name="connsiteY40" fmla="*/ 676 h 1072"/>
                  <a:gd name="connsiteX41" fmla="*/ 4513 w 5133"/>
                  <a:gd name="connsiteY41" fmla="*/ 583 h 1072"/>
                  <a:gd name="connsiteX42" fmla="*/ 4464 w 5133"/>
                  <a:gd name="connsiteY42" fmla="*/ 487 h 1072"/>
                  <a:gd name="connsiteX43" fmla="*/ 4414 w 5133"/>
                  <a:gd name="connsiteY43" fmla="*/ 404 h 1072"/>
                  <a:gd name="connsiteX44" fmla="*/ 4365 w 5133"/>
                  <a:gd name="connsiteY44" fmla="*/ 336 h 1072"/>
                  <a:gd name="connsiteX45" fmla="*/ 4315 w 5133"/>
                  <a:gd name="connsiteY45" fmla="*/ 276 h 1072"/>
                  <a:gd name="connsiteX46" fmla="*/ 4268 w 5133"/>
                  <a:gd name="connsiteY46" fmla="*/ 228 h 1072"/>
                  <a:gd name="connsiteX47" fmla="*/ 4222 w 5133"/>
                  <a:gd name="connsiteY47" fmla="*/ 189 h 1072"/>
                  <a:gd name="connsiteX48" fmla="*/ 4181 w 5133"/>
                  <a:gd name="connsiteY48" fmla="*/ 158 h 1072"/>
                  <a:gd name="connsiteX49" fmla="*/ 4142 w 5133"/>
                  <a:gd name="connsiteY49" fmla="*/ 135 h 1072"/>
                  <a:gd name="connsiteX50" fmla="*/ 4092 w 5133"/>
                  <a:gd name="connsiteY50" fmla="*/ 112 h 1072"/>
                  <a:gd name="connsiteX51" fmla="*/ 4049 w 5133"/>
                  <a:gd name="connsiteY51" fmla="*/ 98 h 1072"/>
                  <a:gd name="connsiteX52" fmla="*/ 4014 w 5133"/>
                  <a:gd name="connsiteY52" fmla="*/ 89 h 1072"/>
                  <a:gd name="connsiteX53" fmla="*/ 3985 w 5133"/>
                  <a:gd name="connsiteY53" fmla="*/ 87 h 1072"/>
                  <a:gd name="connsiteX54" fmla="*/ 3958 w 5133"/>
                  <a:gd name="connsiteY54" fmla="*/ 87 h 1072"/>
                  <a:gd name="connsiteX55" fmla="*/ 3892 w 5133"/>
                  <a:gd name="connsiteY55" fmla="*/ 93 h 1072"/>
                  <a:gd name="connsiteX56" fmla="*/ 3830 w 5133"/>
                  <a:gd name="connsiteY56" fmla="*/ 106 h 1072"/>
                  <a:gd name="connsiteX57" fmla="*/ 3774 w 5133"/>
                  <a:gd name="connsiteY57" fmla="*/ 127 h 1072"/>
                  <a:gd name="connsiteX58" fmla="*/ 3723 w 5133"/>
                  <a:gd name="connsiteY58" fmla="*/ 154 h 1072"/>
                  <a:gd name="connsiteX59" fmla="*/ 3675 w 5133"/>
                  <a:gd name="connsiteY59" fmla="*/ 187 h 1072"/>
                  <a:gd name="connsiteX60" fmla="*/ 3632 w 5133"/>
                  <a:gd name="connsiteY60" fmla="*/ 224 h 1072"/>
                  <a:gd name="connsiteX61" fmla="*/ 3593 w 5133"/>
                  <a:gd name="connsiteY61" fmla="*/ 268 h 1072"/>
                  <a:gd name="connsiteX62" fmla="*/ 3553 w 5133"/>
                  <a:gd name="connsiteY62" fmla="*/ 313 h 1072"/>
                  <a:gd name="connsiteX63" fmla="*/ 3518 w 5133"/>
                  <a:gd name="connsiteY63" fmla="*/ 363 h 1072"/>
                  <a:gd name="connsiteX64" fmla="*/ 3485 w 5133"/>
                  <a:gd name="connsiteY64" fmla="*/ 415 h 1072"/>
                  <a:gd name="connsiteX65" fmla="*/ 3423 w 5133"/>
                  <a:gd name="connsiteY65" fmla="*/ 523 h 1072"/>
                  <a:gd name="connsiteX66" fmla="*/ 3330 w 5133"/>
                  <a:gd name="connsiteY66" fmla="*/ 691 h 1072"/>
                  <a:gd name="connsiteX67" fmla="*/ 3297 w 5133"/>
                  <a:gd name="connsiteY67" fmla="*/ 747 h 1072"/>
                  <a:gd name="connsiteX68" fmla="*/ 3262 w 5133"/>
                  <a:gd name="connsiteY68" fmla="*/ 799 h 1072"/>
                  <a:gd name="connsiteX69" fmla="*/ 3227 w 5133"/>
                  <a:gd name="connsiteY69" fmla="*/ 848 h 1072"/>
                  <a:gd name="connsiteX70" fmla="*/ 3188 w 5133"/>
                  <a:gd name="connsiteY70" fmla="*/ 894 h 1072"/>
                  <a:gd name="connsiteX71" fmla="*/ 3147 w 5133"/>
                  <a:gd name="connsiteY71" fmla="*/ 935 h 1072"/>
                  <a:gd name="connsiteX72" fmla="*/ 3101 w 5133"/>
                  <a:gd name="connsiteY72" fmla="*/ 971 h 1072"/>
                  <a:gd name="connsiteX73" fmla="*/ 3052 w 5133"/>
                  <a:gd name="connsiteY73" fmla="*/ 1000 h 1072"/>
                  <a:gd name="connsiteX74" fmla="*/ 3000 w 5133"/>
                  <a:gd name="connsiteY74" fmla="*/ 1022 h 1072"/>
                  <a:gd name="connsiteX75" fmla="*/ 2942 w 5133"/>
                  <a:gd name="connsiteY75" fmla="*/ 1037 h 1072"/>
                  <a:gd name="connsiteX76" fmla="*/ 2878 w 5133"/>
                  <a:gd name="connsiteY76" fmla="*/ 1043 h 1072"/>
                  <a:gd name="connsiteX77" fmla="*/ 2870 w 5133"/>
                  <a:gd name="connsiteY77" fmla="*/ 1043 h 1072"/>
                  <a:gd name="connsiteX78" fmla="*/ 2808 w 5133"/>
                  <a:gd name="connsiteY78" fmla="*/ 1039 h 1072"/>
                  <a:gd name="connsiteX79" fmla="*/ 2748 w 5133"/>
                  <a:gd name="connsiteY79" fmla="*/ 1025 h 1072"/>
                  <a:gd name="connsiteX80" fmla="*/ 2695 w 5133"/>
                  <a:gd name="connsiteY80" fmla="*/ 1002 h 1072"/>
                  <a:gd name="connsiteX81" fmla="*/ 2643 w 5133"/>
                  <a:gd name="connsiteY81" fmla="*/ 973 h 1072"/>
                  <a:gd name="connsiteX82" fmla="*/ 2595 w 5133"/>
                  <a:gd name="connsiteY82" fmla="*/ 935 h 1072"/>
                  <a:gd name="connsiteX83" fmla="*/ 2552 w 5133"/>
                  <a:gd name="connsiteY83" fmla="*/ 894 h 1072"/>
                  <a:gd name="connsiteX84" fmla="*/ 2509 w 5133"/>
                  <a:gd name="connsiteY84" fmla="*/ 846 h 1072"/>
                  <a:gd name="connsiteX85" fmla="*/ 2469 w 5133"/>
                  <a:gd name="connsiteY85" fmla="*/ 796 h 1072"/>
                  <a:gd name="connsiteX86" fmla="*/ 2430 w 5133"/>
                  <a:gd name="connsiteY86" fmla="*/ 740 h 1072"/>
                  <a:gd name="connsiteX87" fmla="*/ 2393 w 5133"/>
                  <a:gd name="connsiteY87" fmla="*/ 684 h 1072"/>
                  <a:gd name="connsiteX88" fmla="*/ 2288 w 5133"/>
                  <a:gd name="connsiteY88" fmla="*/ 510 h 1072"/>
                  <a:gd name="connsiteX89" fmla="*/ 2251 w 5133"/>
                  <a:gd name="connsiteY89" fmla="*/ 452 h 1072"/>
                  <a:gd name="connsiteX90" fmla="*/ 2213 w 5133"/>
                  <a:gd name="connsiteY90" fmla="*/ 396 h 1072"/>
                  <a:gd name="connsiteX91" fmla="*/ 2176 w 5133"/>
                  <a:gd name="connsiteY91" fmla="*/ 342 h 1072"/>
                  <a:gd name="connsiteX92" fmla="*/ 2137 w 5133"/>
                  <a:gd name="connsiteY92" fmla="*/ 293 h 1072"/>
                  <a:gd name="connsiteX93" fmla="*/ 2096 w 5133"/>
                  <a:gd name="connsiteY93" fmla="*/ 247 h 1072"/>
                  <a:gd name="connsiteX94" fmla="*/ 2054 w 5133"/>
                  <a:gd name="connsiteY94" fmla="*/ 205 h 1072"/>
                  <a:gd name="connsiteX95" fmla="*/ 2009 w 5133"/>
                  <a:gd name="connsiteY95" fmla="*/ 168 h 1072"/>
                  <a:gd name="connsiteX96" fmla="*/ 1962 w 5133"/>
                  <a:gd name="connsiteY96" fmla="*/ 139 h 1072"/>
                  <a:gd name="connsiteX97" fmla="*/ 1910 w 5133"/>
                  <a:gd name="connsiteY97" fmla="*/ 116 h 1072"/>
                  <a:gd name="connsiteX98" fmla="*/ 1854 w 5133"/>
                  <a:gd name="connsiteY98" fmla="*/ 100 h 1072"/>
                  <a:gd name="connsiteX99" fmla="*/ 1796 w 5133"/>
                  <a:gd name="connsiteY99" fmla="*/ 91 h 1072"/>
                  <a:gd name="connsiteX100" fmla="*/ 1732 w 5133"/>
                  <a:gd name="connsiteY100" fmla="*/ 93 h 1072"/>
                  <a:gd name="connsiteX101" fmla="*/ 1664 w 5133"/>
                  <a:gd name="connsiteY101" fmla="*/ 104 h 1072"/>
                  <a:gd name="connsiteX102" fmla="*/ 1602 w 5133"/>
                  <a:gd name="connsiteY102" fmla="*/ 122 h 1072"/>
                  <a:gd name="connsiteX103" fmla="*/ 1545 w 5133"/>
                  <a:gd name="connsiteY103" fmla="*/ 147 h 1072"/>
                  <a:gd name="connsiteX104" fmla="*/ 1491 w 5133"/>
                  <a:gd name="connsiteY104" fmla="*/ 181 h 1072"/>
                  <a:gd name="connsiteX105" fmla="*/ 1439 w 5133"/>
                  <a:gd name="connsiteY105" fmla="*/ 218 h 1072"/>
                  <a:gd name="connsiteX106" fmla="*/ 1394 w 5133"/>
                  <a:gd name="connsiteY106" fmla="*/ 261 h 1072"/>
                  <a:gd name="connsiteX107" fmla="*/ 1348 w 5133"/>
                  <a:gd name="connsiteY107" fmla="*/ 307 h 1072"/>
                  <a:gd name="connsiteX108" fmla="*/ 1307 w 5133"/>
                  <a:gd name="connsiteY108" fmla="*/ 359 h 1072"/>
                  <a:gd name="connsiteX109" fmla="*/ 1268 w 5133"/>
                  <a:gd name="connsiteY109" fmla="*/ 413 h 1072"/>
                  <a:gd name="connsiteX110" fmla="*/ 1231 w 5133"/>
                  <a:gd name="connsiteY110" fmla="*/ 467 h 1072"/>
                  <a:gd name="connsiteX111" fmla="*/ 1194 w 5133"/>
                  <a:gd name="connsiteY111" fmla="*/ 523 h 1072"/>
                  <a:gd name="connsiteX112" fmla="*/ 1156 w 5133"/>
                  <a:gd name="connsiteY112" fmla="*/ 581 h 1072"/>
                  <a:gd name="connsiteX113" fmla="*/ 1121 w 5133"/>
                  <a:gd name="connsiteY113" fmla="*/ 637 h 1072"/>
                  <a:gd name="connsiteX114" fmla="*/ 1047 w 5133"/>
                  <a:gd name="connsiteY114" fmla="*/ 749 h 1072"/>
                  <a:gd name="connsiteX115" fmla="*/ 1008 w 5133"/>
                  <a:gd name="connsiteY115" fmla="*/ 801 h 1072"/>
                  <a:gd name="connsiteX116" fmla="*/ 966 w 5133"/>
                  <a:gd name="connsiteY116" fmla="*/ 850 h 1072"/>
                  <a:gd name="connsiteX117" fmla="*/ 923 w 5133"/>
                  <a:gd name="connsiteY117" fmla="*/ 896 h 1072"/>
                  <a:gd name="connsiteX118" fmla="*/ 876 w 5133"/>
                  <a:gd name="connsiteY118" fmla="*/ 937 h 1072"/>
                  <a:gd name="connsiteX119" fmla="*/ 826 w 5133"/>
                  <a:gd name="connsiteY119" fmla="*/ 973 h 1072"/>
                  <a:gd name="connsiteX120" fmla="*/ 772 w 5133"/>
                  <a:gd name="connsiteY120" fmla="*/ 1002 h 1072"/>
                  <a:gd name="connsiteX121" fmla="*/ 717 w 5133"/>
                  <a:gd name="connsiteY121" fmla="*/ 1025 h 1072"/>
                  <a:gd name="connsiteX122" fmla="*/ 653 w 5133"/>
                  <a:gd name="connsiteY122" fmla="*/ 1037 h 1072"/>
                  <a:gd name="connsiteX123" fmla="*/ 587 w 5133"/>
                  <a:gd name="connsiteY123" fmla="*/ 1043 h 1072"/>
                  <a:gd name="connsiteX124" fmla="*/ 580 w 5133"/>
                  <a:gd name="connsiteY124" fmla="*/ 1043 h 1072"/>
                  <a:gd name="connsiteX125" fmla="*/ 512 w 5133"/>
                  <a:gd name="connsiteY125" fmla="*/ 1039 h 1072"/>
                  <a:gd name="connsiteX126" fmla="*/ 450 w 5133"/>
                  <a:gd name="connsiteY126" fmla="*/ 1027 h 1072"/>
                  <a:gd name="connsiteX127" fmla="*/ 392 w 5133"/>
                  <a:gd name="connsiteY127" fmla="*/ 1008 h 1072"/>
                  <a:gd name="connsiteX128" fmla="*/ 341 w 5133"/>
                  <a:gd name="connsiteY128" fmla="*/ 983 h 1072"/>
                  <a:gd name="connsiteX129" fmla="*/ 293 w 5133"/>
                  <a:gd name="connsiteY129" fmla="*/ 952 h 1072"/>
                  <a:gd name="connsiteX130" fmla="*/ 248 w 5133"/>
                  <a:gd name="connsiteY130" fmla="*/ 915 h 1072"/>
                  <a:gd name="connsiteX131" fmla="*/ 207 w 5133"/>
                  <a:gd name="connsiteY131" fmla="*/ 873 h 1072"/>
                  <a:gd name="connsiteX132" fmla="*/ 169 w 5133"/>
                  <a:gd name="connsiteY132" fmla="*/ 828 h 1072"/>
                  <a:gd name="connsiteX133" fmla="*/ 132 w 5133"/>
                  <a:gd name="connsiteY133" fmla="*/ 780 h 1072"/>
                  <a:gd name="connsiteX134" fmla="*/ 99 w 5133"/>
                  <a:gd name="connsiteY134" fmla="*/ 728 h 1072"/>
                  <a:gd name="connsiteX135" fmla="*/ 64 w 5133"/>
                  <a:gd name="connsiteY135" fmla="*/ 674 h 1072"/>
                  <a:gd name="connsiteX136" fmla="*/ 33 w 5133"/>
                  <a:gd name="connsiteY136" fmla="*/ 618 h 1072"/>
                  <a:gd name="connsiteX137" fmla="*/ 0 w 5133"/>
                  <a:gd name="connsiteY137" fmla="*/ 560 h 1072"/>
                  <a:gd name="connsiteX138" fmla="*/ 77 w 5133"/>
                  <a:gd name="connsiteY138" fmla="*/ 516 h 1072"/>
                  <a:gd name="connsiteX139" fmla="*/ 110 w 5133"/>
                  <a:gd name="connsiteY139" fmla="*/ 575 h 1072"/>
                  <a:gd name="connsiteX140" fmla="*/ 143 w 5133"/>
                  <a:gd name="connsiteY140" fmla="*/ 631 h 1072"/>
                  <a:gd name="connsiteX141" fmla="*/ 176 w 5133"/>
                  <a:gd name="connsiteY141" fmla="*/ 684 h 1072"/>
                  <a:gd name="connsiteX142" fmla="*/ 209 w 5133"/>
                  <a:gd name="connsiteY142" fmla="*/ 736 h 1072"/>
                  <a:gd name="connsiteX143" fmla="*/ 244 w 5133"/>
                  <a:gd name="connsiteY143" fmla="*/ 782 h 1072"/>
                  <a:gd name="connsiteX144" fmla="*/ 281 w 5133"/>
                  <a:gd name="connsiteY144" fmla="*/ 825 h 1072"/>
                  <a:gd name="connsiteX145" fmla="*/ 322 w 5133"/>
                  <a:gd name="connsiteY145" fmla="*/ 863 h 1072"/>
                  <a:gd name="connsiteX146" fmla="*/ 366 w 5133"/>
                  <a:gd name="connsiteY146" fmla="*/ 894 h 1072"/>
                  <a:gd name="connsiteX147" fmla="*/ 413 w 5133"/>
                  <a:gd name="connsiteY147" fmla="*/ 921 h 1072"/>
                  <a:gd name="connsiteX148" fmla="*/ 463 w 5133"/>
                  <a:gd name="connsiteY148" fmla="*/ 940 h 1072"/>
                  <a:gd name="connsiteX149" fmla="*/ 518 w 5133"/>
                  <a:gd name="connsiteY149" fmla="*/ 952 h 1072"/>
                  <a:gd name="connsiteX150" fmla="*/ 580 w 5133"/>
                  <a:gd name="connsiteY150" fmla="*/ 956 h 1072"/>
                  <a:gd name="connsiteX151" fmla="*/ 587 w 5133"/>
                  <a:gd name="connsiteY151" fmla="*/ 956 h 1072"/>
                  <a:gd name="connsiteX152" fmla="*/ 646 w 5133"/>
                  <a:gd name="connsiteY152" fmla="*/ 950 h 1072"/>
                  <a:gd name="connsiteX153" fmla="*/ 702 w 5133"/>
                  <a:gd name="connsiteY153" fmla="*/ 935 h 1072"/>
                  <a:gd name="connsiteX154" fmla="*/ 756 w 5133"/>
                  <a:gd name="connsiteY154" fmla="*/ 913 h 1072"/>
                  <a:gd name="connsiteX155" fmla="*/ 803 w 5133"/>
                  <a:gd name="connsiteY155" fmla="*/ 884 h 1072"/>
                  <a:gd name="connsiteX156" fmla="*/ 849 w 5133"/>
                  <a:gd name="connsiteY156" fmla="*/ 846 h 1072"/>
                  <a:gd name="connsiteX157" fmla="*/ 892 w 5133"/>
                  <a:gd name="connsiteY157" fmla="*/ 803 h 1072"/>
                  <a:gd name="connsiteX158" fmla="*/ 931 w 5133"/>
                  <a:gd name="connsiteY158" fmla="*/ 755 h 1072"/>
                  <a:gd name="connsiteX159" fmla="*/ 971 w 5133"/>
                  <a:gd name="connsiteY159" fmla="*/ 703 h 1072"/>
                  <a:gd name="connsiteX160" fmla="*/ 1010 w 5133"/>
                  <a:gd name="connsiteY160" fmla="*/ 649 h 1072"/>
                  <a:gd name="connsiteX161" fmla="*/ 1121 w 5133"/>
                  <a:gd name="connsiteY161" fmla="*/ 475 h 1072"/>
                  <a:gd name="connsiteX162" fmla="*/ 1161 w 5133"/>
                  <a:gd name="connsiteY162" fmla="*/ 415 h 1072"/>
                  <a:gd name="connsiteX163" fmla="*/ 1202 w 5133"/>
                  <a:gd name="connsiteY163" fmla="*/ 357 h 1072"/>
                  <a:gd name="connsiteX164" fmla="*/ 1245 w 5133"/>
                  <a:gd name="connsiteY164" fmla="*/ 299 h 1072"/>
                  <a:gd name="connsiteX165" fmla="*/ 1291 w 5133"/>
                  <a:gd name="connsiteY165" fmla="*/ 245 h 1072"/>
                  <a:gd name="connsiteX166" fmla="*/ 1338 w 5133"/>
                  <a:gd name="connsiteY166" fmla="*/ 193 h 1072"/>
                  <a:gd name="connsiteX167" fmla="*/ 1392 w 5133"/>
                  <a:gd name="connsiteY167" fmla="*/ 145 h 1072"/>
                  <a:gd name="connsiteX168" fmla="*/ 1447 w 5133"/>
                  <a:gd name="connsiteY168" fmla="*/ 104 h 1072"/>
                  <a:gd name="connsiteX169" fmla="*/ 1509 w 5133"/>
                  <a:gd name="connsiteY169" fmla="*/ 69 h 1072"/>
                  <a:gd name="connsiteX170" fmla="*/ 1575 w 5133"/>
                  <a:gd name="connsiteY170" fmla="*/ 40 h 1072"/>
                  <a:gd name="connsiteX171" fmla="*/ 1648 w 5133"/>
                  <a:gd name="connsiteY171" fmla="*/ 19 h 1072"/>
                  <a:gd name="connsiteX172" fmla="*/ 1726 w 5133"/>
                  <a:gd name="connsiteY172" fmla="*/ 6 h 1072"/>
                  <a:gd name="connsiteX173" fmla="*/ 1796 w 5133"/>
                  <a:gd name="connsiteY173" fmla="*/ 4 h 1072"/>
                  <a:gd name="connsiteX174" fmla="*/ 1862 w 5133"/>
                  <a:gd name="connsiteY174" fmla="*/ 13 h 1072"/>
                  <a:gd name="connsiteX175" fmla="*/ 1922 w 5133"/>
                  <a:gd name="connsiteY175" fmla="*/ 27 h 1072"/>
                  <a:gd name="connsiteX176" fmla="*/ 1980 w 5133"/>
                  <a:gd name="connsiteY176" fmla="*/ 50 h 1072"/>
                  <a:gd name="connsiteX177" fmla="*/ 2034 w 5133"/>
                  <a:gd name="connsiteY177" fmla="*/ 81 h 1072"/>
                  <a:gd name="connsiteX178" fmla="*/ 2083 w 5133"/>
                  <a:gd name="connsiteY178" fmla="*/ 116 h 1072"/>
                  <a:gd name="connsiteX179" fmla="*/ 2129 w 5133"/>
                  <a:gd name="connsiteY179" fmla="*/ 158 h 1072"/>
                  <a:gd name="connsiteX180" fmla="*/ 2174 w 5133"/>
                  <a:gd name="connsiteY180" fmla="*/ 203 h 1072"/>
                  <a:gd name="connsiteX181" fmla="*/ 2216 w 5133"/>
                  <a:gd name="connsiteY181" fmla="*/ 251 h 1072"/>
                  <a:gd name="connsiteX182" fmla="*/ 2255 w 5133"/>
                  <a:gd name="connsiteY182" fmla="*/ 303 h 1072"/>
                  <a:gd name="connsiteX183" fmla="*/ 2292 w 5133"/>
                  <a:gd name="connsiteY183" fmla="*/ 357 h 1072"/>
                  <a:gd name="connsiteX184" fmla="*/ 2327 w 5133"/>
                  <a:gd name="connsiteY184" fmla="*/ 413 h 1072"/>
                  <a:gd name="connsiteX185" fmla="*/ 2362 w 5133"/>
                  <a:gd name="connsiteY185" fmla="*/ 467 h 1072"/>
                  <a:gd name="connsiteX186" fmla="*/ 2395 w 5133"/>
                  <a:gd name="connsiteY186" fmla="*/ 523 h 1072"/>
                  <a:gd name="connsiteX187" fmla="*/ 2432 w 5133"/>
                  <a:gd name="connsiteY187" fmla="*/ 585 h 1072"/>
                  <a:gd name="connsiteX188" fmla="*/ 2469 w 5133"/>
                  <a:gd name="connsiteY188" fmla="*/ 643 h 1072"/>
                  <a:gd name="connsiteX189" fmla="*/ 2509 w 5133"/>
                  <a:gd name="connsiteY189" fmla="*/ 701 h 1072"/>
                  <a:gd name="connsiteX190" fmla="*/ 2546 w 5133"/>
                  <a:gd name="connsiteY190" fmla="*/ 755 h 1072"/>
                  <a:gd name="connsiteX191" fmla="*/ 2587 w 5133"/>
                  <a:gd name="connsiteY191" fmla="*/ 805 h 1072"/>
                  <a:gd name="connsiteX192" fmla="*/ 2628 w 5133"/>
                  <a:gd name="connsiteY192" fmla="*/ 848 h 1072"/>
                  <a:gd name="connsiteX193" fmla="*/ 2672 w 5133"/>
                  <a:gd name="connsiteY193" fmla="*/ 886 h 1072"/>
                  <a:gd name="connsiteX194" fmla="*/ 2717 w 5133"/>
                  <a:gd name="connsiteY194" fmla="*/ 917 h 1072"/>
                  <a:gd name="connsiteX195" fmla="*/ 2767 w 5133"/>
                  <a:gd name="connsiteY195" fmla="*/ 940 h 1072"/>
                  <a:gd name="connsiteX196" fmla="*/ 2820 w 5133"/>
                  <a:gd name="connsiteY196" fmla="*/ 952 h 1072"/>
                  <a:gd name="connsiteX197" fmla="*/ 2876 w 5133"/>
                  <a:gd name="connsiteY197" fmla="*/ 956 h 1072"/>
                  <a:gd name="connsiteX198" fmla="*/ 2932 w 5133"/>
                  <a:gd name="connsiteY198" fmla="*/ 950 h 1072"/>
                  <a:gd name="connsiteX199" fmla="*/ 2982 w 5133"/>
                  <a:gd name="connsiteY199" fmla="*/ 935 h 1072"/>
                  <a:gd name="connsiteX200" fmla="*/ 3029 w 5133"/>
                  <a:gd name="connsiteY200" fmla="*/ 915 h 1072"/>
                  <a:gd name="connsiteX201" fmla="*/ 3072 w 5133"/>
                  <a:gd name="connsiteY201" fmla="*/ 884 h 1072"/>
                  <a:gd name="connsiteX202" fmla="*/ 3112 w 5133"/>
                  <a:gd name="connsiteY202" fmla="*/ 848 h 1072"/>
                  <a:gd name="connsiteX203" fmla="*/ 3149 w 5133"/>
                  <a:gd name="connsiteY203" fmla="*/ 807 h 1072"/>
                  <a:gd name="connsiteX204" fmla="*/ 3184 w 5133"/>
                  <a:gd name="connsiteY204" fmla="*/ 759 h 1072"/>
                  <a:gd name="connsiteX205" fmla="*/ 3217 w 5133"/>
                  <a:gd name="connsiteY205" fmla="*/ 709 h 1072"/>
                  <a:gd name="connsiteX206" fmla="*/ 3250 w 5133"/>
                  <a:gd name="connsiteY206" fmla="*/ 655 h 1072"/>
                  <a:gd name="connsiteX207" fmla="*/ 3283 w 5133"/>
                  <a:gd name="connsiteY207" fmla="*/ 597 h 1072"/>
                  <a:gd name="connsiteX208" fmla="*/ 3316 w 5133"/>
                  <a:gd name="connsiteY208" fmla="*/ 537 h 1072"/>
                  <a:gd name="connsiteX209" fmla="*/ 3345 w 5133"/>
                  <a:gd name="connsiteY209" fmla="*/ 483 h 1072"/>
                  <a:gd name="connsiteX210" fmla="*/ 3407 w 5133"/>
                  <a:gd name="connsiteY210" fmla="*/ 375 h 1072"/>
                  <a:gd name="connsiteX211" fmla="*/ 3477 w 5133"/>
                  <a:gd name="connsiteY211" fmla="*/ 272 h 1072"/>
                  <a:gd name="connsiteX212" fmla="*/ 3514 w 5133"/>
                  <a:gd name="connsiteY212" fmla="*/ 224 h 1072"/>
                  <a:gd name="connsiteX213" fmla="*/ 3555 w 5133"/>
                  <a:gd name="connsiteY213" fmla="*/ 178 h 1072"/>
                  <a:gd name="connsiteX214" fmla="*/ 3599 w 5133"/>
                  <a:gd name="connsiteY214" fmla="*/ 137 h 1072"/>
                  <a:gd name="connsiteX215" fmla="*/ 3646 w 5133"/>
                  <a:gd name="connsiteY215" fmla="*/ 100 h 1072"/>
                  <a:gd name="connsiteX216" fmla="*/ 3698 w 5133"/>
                  <a:gd name="connsiteY216" fmla="*/ 66 h 1072"/>
                  <a:gd name="connsiteX217" fmla="*/ 3756 w 5133"/>
                  <a:gd name="connsiteY217" fmla="*/ 40 h 1072"/>
                  <a:gd name="connsiteX218" fmla="*/ 3816 w 5133"/>
                  <a:gd name="connsiteY218" fmla="*/ 19 h 1072"/>
                  <a:gd name="connsiteX219" fmla="*/ 3882 w 5133"/>
                  <a:gd name="connsiteY219" fmla="*/ 6 h 1072"/>
                  <a:gd name="connsiteX220" fmla="*/ 3954 w 5133"/>
                  <a:gd name="connsiteY220" fmla="*/ 0 h 1072"/>
                  <a:gd name="connsiteX0" fmla="*/ 3954 w 5133"/>
                  <a:gd name="connsiteY0" fmla="*/ 0 h 1072"/>
                  <a:gd name="connsiteX1" fmla="*/ 4004 w 5133"/>
                  <a:gd name="connsiteY1" fmla="*/ 0 h 1072"/>
                  <a:gd name="connsiteX2" fmla="*/ 4032 w 5133"/>
                  <a:gd name="connsiteY2" fmla="*/ 4 h 1072"/>
                  <a:gd name="connsiteX3" fmla="*/ 4063 w 5133"/>
                  <a:gd name="connsiteY3" fmla="*/ 13 h 1072"/>
                  <a:gd name="connsiteX4" fmla="*/ 4101 w 5133"/>
                  <a:gd name="connsiteY4" fmla="*/ 23 h 1072"/>
                  <a:gd name="connsiteX5" fmla="*/ 4142 w 5133"/>
                  <a:gd name="connsiteY5" fmla="*/ 40 h 1072"/>
                  <a:gd name="connsiteX6" fmla="*/ 4185 w 5133"/>
                  <a:gd name="connsiteY6" fmla="*/ 60 h 1072"/>
                  <a:gd name="connsiteX7" fmla="*/ 4233 w 5133"/>
                  <a:gd name="connsiteY7" fmla="*/ 89 h 1072"/>
                  <a:gd name="connsiteX8" fmla="*/ 4282 w 5133"/>
                  <a:gd name="connsiteY8" fmla="*/ 125 h 1072"/>
                  <a:gd name="connsiteX9" fmla="*/ 4332 w 5133"/>
                  <a:gd name="connsiteY9" fmla="*/ 170 h 1072"/>
                  <a:gd name="connsiteX10" fmla="*/ 4383 w 5133"/>
                  <a:gd name="connsiteY10" fmla="*/ 224 h 1072"/>
                  <a:gd name="connsiteX11" fmla="*/ 4435 w 5133"/>
                  <a:gd name="connsiteY11" fmla="*/ 286 h 1072"/>
                  <a:gd name="connsiteX12" fmla="*/ 4487 w 5133"/>
                  <a:gd name="connsiteY12" fmla="*/ 361 h 1072"/>
                  <a:gd name="connsiteX13" fmla="*/ 4538 w 5133"/>
                  <a:gd name="connsiteY13" fmla="*/ 448 h 1072"/>
                  <a:gd name="connsiteX14" fmla="*/ 4590 w 5133"/>
                  <a:gd name="connsiteY14" fmla="*/ 548 h 1072"/>
                  <a:gd name="connsiteX15" fmla="*/ 4635 w 5133"/>
                  <a:gd name="connsiteY15" fmla="*/ 633 h 1072"/>
                  <a:gd name="connsiteX16" fmla="*/ 4681 w 5133"/>
                  <a:gd name="connsiteY16" fmla="*/ 705 h 1072"/>
                  <a:gd name="connsiteX17" fmla="*/ 4728 w 5133"/>
                  <a:gd name="connsiteY17" fmla="*/ 767 h 1072"/>
                  <a:gd name="connsiteX18" fmla="*/ 4776 w 5133"/>
                  <a:gd name="connsiteY18" fmla="*/ 819 h 1072"/>
                  <a:gd name="connsiteX19" fmla="*/ 4821 w 5133"/>
                  <a:gd name="connsiteY19" fmla="*/ 863 h 1072"/>
                  <a:gd name="connsiteX20" fmla="*/ 4869 w 5133"/>
                  <a:gd name="connsiteY20" fmla="*/ 898 h 1072"/>
                  <a:gd name="connsiteX21" fmla="*/ 4955 w 5133"/>
                  <a:gd name="connsiteY21" fmla="*/ 948 h 1072"/>
                  <a:gd name="connsiteX22" fmla="*/ 5030 w 5133"/>
                  <a:gd name="connsiteY22" fmla="*/ 973 h 1072"/>
                  <a:gd name="connsiteX23" fmla="*/ 5059 w 5133"/>
                  <a:gd name="connsiteY23" fmla="*/ 981 h 1072"/>
                  <a:gd name="connsiteX24" fmla="*/ 5085 w 5133"/>
                  <a:gd name="connsiteY24" fmla="*/ 983 h 1072"/>
                  <a:gd name="connsiteX25" fmla="*/ 5125 w 5133"/>
                  <a:gd name="connsiteY25" fmla="*/ 985 h 1072"/>
                  <a:gd name="connsiteX26" fmla="*/ 5133 w 5133"/>
                  <a:gd name="connsiteY26" fmla="*/ 1072 h 1072"/>
                  <a:gd name="connsiteX27" fmla="*/ 5098 w 5133"/>
                  <a:gd name="connsiteY27" fmla="*/ 1072 h 1072"/>
                  <a:gd name="connsiteX28" fmla="*/ 5071 w 5133"/>
                  <a:gd name="connsiteY28" fmla="*/ 1070 h 1072"/>
                  <a:gd name="connsiteX29" fmla="*/ 5040 w 5133"/>
                  <a:gd name="connsiteY29" fmla="*/ 1064 h 1072"/>
                  <a:gd name="connsiteX30" fmla="*/ 5003 w 5133"/>
                  <a:gd name="connsiteY30" fmla="*/ 1056 h 1072"/>
                  <a:gd name="connsiteX31" fmla="*/ 4961 w 5133"/>
                  <a:gd name="connsiteY31" fmla="*/ 1043 h 1072"/>
                  <a:gd name="connsiteX32" fmla="*/ 4916 w 5133"/>
                  <a:gd name="connsiteY32" fmla="*/ 1025 h 1072"/>
                  <a:gd name="connsiteX33" fmla="*/ 4869 w 5133"/>
                  <a:gd name="connsiteY33" fmla="*/ 1002 h 1072"/>
                  <a:gd name="connsiteX34" fmla="*/ 4819 w 5133"/>
                  <a:gd name="connsiteY34" fmla="*/ 971 h 1072"/>
                  <a:gd name="connsiteX35" fmla="*/ 4767 w 5133"/>
                  <a:gd name="connsiteY35" fmla="*/ 931 h 1072"/>
                  <a:gd name="connsiteX36" fmla="*/ 4716 w 5133"/>
                  <a:gd name="connsiteY36" fmla="*/ 881 h 1072"/>
                  <a:gd name="connsiteX37" fmla="*/ 4662 w 5133"/>
                  <a:gd name="connsiteY37" fmla="*/ 823 h 1072"/>
                  <a:gd name="connsiteX38" fmla="*/ 4611 w 5133"/>
                  <a:gd name="connsiteY38" fmla="*/ 755 h 1072"/>
                  <a:gd name="connsiteX39" fmla="*/ 4561 w 5133"/>
                  <a:gd name="connsiteY39" fmla="*/ 676 h 1072"/>
                  <a:gd name="connsiteX40" fmla="*/ 4513 w 5133"/>
                  <a:gd name="connsiteY40" fmla="*/ 583 h 1072"/>
                  <a:gd name="connsiteX41" fmla="*/ 4464 w 5133"/>
                  <a:gd name="connsiteY41" fmla="*/ 487 h 1072"/>
                  <a:gd name="connsiteX42" fmla="*/ 4414 w 5133"/>
                  <a:gd name="connsiteY42" fmla="*/ 404 h 1072"/>
                  <a:gd name="connsiteX43" fmla="*/ 4365 w 5133"/>
                  <a:gd name="connsiteY43" fmla="*/ 336 h 1072"/>
                  <a:gd name="connsiteX44" fmla="*/ 4315 w 5133"/>
                  <a:gd name="connsiteY44" fmla="*/ 276 h 1072"/>
                  <a:gd name="connsiteX45" fmla="*/ 4268 w 5133"/>
                  <a:gd name="connsiteY45" fmla="*/ 228 h 1072"/>
                  <a:gd name="connsiteX46" fmla="*/ 4222 w 5133"/>
                  <a:gd name="connsiteY46" fmla="*/ 189 h 1072"/>
                  <a:gd name="connsiteX47" fmla="*/ 4181 w 5133"/>
                  <a:gd name="connsiteY47" fmla="*/ 158 h 1072"/>
                  <a:gd name="connsiteX48" fmla="*/ 4142 w 5133"/>
                  <a:gd name="connsiteY48" fmla="*/ 135 h 1072"/>
                  <a:gd name="connsiteX49" fmla="*/ 4092 w 5133"/>
                  <a:gd name="connsiteY49" fmla="*/ 112 h 1072"/>
                  <a:gd name="connsiteX50" fmla="*/ 4049 w 5133"/>
                  <a:gd name="connsiteY50" fmla="*/ 98 h 1072"/>
                  <a:gd name="connsiteX51" fmla="*/ 4014 w 5133"/>
                  <a:gd name="connsiteY51" fmla="*/ 89 h 1072"/>
                  <a:gd name="connsiteX52" fmla="*/ 3985 w 5133"/>
                  <a:gd name="connsiteY52" fmla="*/ 87 h 1072"/>
                  <a:gd name="connsiteX53" fmla="*/ 3958 w 5133"/>
                  <a:gd name="connsiteY53" fmla="*/ 87 h 1072"/>
                  <a:gd name="connsiteX54" fmla="*/ 3892 w 5133"/>
                  <a:gd name="connsiteY54" fmla="*/ 93 h 1072"/>
                  <a:gd name="connsiteX55" fmla="*/ 3830 w 5133"/>
                  <a:gd name="connsiteY55" fmla="*/ 106 h 1072"/>
                  <a:gd name="connsiteX56" fmla="*/ 3774 w 5133"/>
                  <a:gd name="connsiteY56" fmla="*/ 127 h 1072"/>
                  <a:gd name="connsiteX57" fmla="*/ 3723 w 5133"/>
                  <a:gd name="connsiteY57" fmla="*/ 154 h 1072"/>
                  <a:gd name="connsiteX58" fmla="*/ 3675 w 5133"/>
                  <a:gd name="connsiteY58" fmla="*/ 187 h 1072"/>
                  <a:gd name="connsiteX59" fmla="*/ 3632 w 5133"/>
                  <a:gd name="connsiteY59" fmla="*/ 224 h 1072"/>
                  <a:gd name="connsiteX60" fmla="*/ 3593 w 5133"/>
                  <a:gd name="connsiteY60" fmla="*/ 268 h 1072"/>
                  <a:gd name="connsiteX61" fmla="*/ 3553 w 5133"/>
                  <a:gd name="connsiteY61" fmla="*/ 313 h 1072"/>
                  <a:gd name="connsiteX62" fmla="*/ 3518 w 5133"/>
                  <a:gd name="connsiteY62" fmla="*/ 363 h 1072"/>
                  <a:gd name="connsiteX63" fmla="*/ 3485 w 5133"/>
                  <a:gd name="connsiteY63" fmla="*/ 415 h 1072"/>
                  <a:gd name="connsiteX64" fmla="*/ 3423 w 5133"/>
                  <a:gd name="connsiteY64" fmla="*/ 523 h 1072"/>
                  <a:gd name="connsiteX65" fmla="*/ 3330 w 5133"/>
                  <a:gd name="connsiteY65" fmla="*/ 691 h 1072"/>
                  <a:gd name="connsiteX66" fmla="*/ 3297 w 5133"/>
                  <a:gd name="connsiteY66" fmla="*/ 747 h 1072"/>
                  <a:gd name="connsiteX67" fmla="*/ 3262 w 5133"/>
                  <a:gd name="connsiteY67" fmla="*/ 799 h 1072"/>
                  <a:gd name="connsiteX68" fmla="*/ 3227 w 5133"/>
                  <a:gd name="connsiteY68" fmla="*/ 848 h 1072"/>
                  <a:gd name="connsiteX69" fmla="*/ 3188 w 5133"/>
                  <a:gd name="connsiteY69" fmla="*/ 894 h 1072"/>
                  <a:gd name="connsiteX70" fmla="*/ 3147 w 5133"/>
                  <a:gd name="connsiteY70" fmla="*/ 935 h 1072"/>
                  <a:gd name="connsiteX71" fmla="*/ 3101 w 5133"/>
                  <a:gd name="connsiteY71" fmla="*/ 971 h 1072"/>
                  <a:gd name="connsiteX72" fmla="*/ 3052 w 5133"/>
                  <a:gd name="connsiteY72" fmla="*/ 1000 h 1072"/>
                  <a:gd name="connsiteX73" fmla="*/ 3000 w 5133"/>
                  <a:gd name="connsiteY73" fmla="*/ 1022 h 1072"/>
                  <a:gd name="connsiteX74" fmla="*/ 2942 w 5133"/>
                  <a:gd name="connsiteY74" fmla="*/ 1037 h 1072"/>
                  <a:gd name="connsiteX75" fmla="*/ 2878 w 5133"/>
                  <a:gd name="connsiteY75" fmla="*/ 1043 h 1072"/>
                  <a:gd name="connsiteX76" fmla="*/ 2870 w 5133"/>
                  <a:gd name="connsiteY76" fmla="*/ 1043 h 1072"/>
                  <a:gd name="connsiteX77" fmla="*/ 2808 w 5133"/>
                  <a:gd name="connsiteY77" fmla="*/ 1039 h 1072"/>
                  <a:gd name="connsiteX78" fmla="*/ 2748 w 5133"/>
                  <a:gd name="connsiteY78" fmla="*/ 1025 h 1072"/>
                  <a:gd name="connsiteX79" fmla="*/ 2695 w 5133"/>
                  <a:gd name="connsiteY79" fmla="*/ 1002 h 1072"/>
                  <a:gd name="connsiteX80" fmla="*/ 2643 w 5133"/>
                  <a:gd name="connsiteY80" fmla="*/ 973 h 1072"/>
                  <a:gd name="connsiteX81" fmla="*/ 2595 w 5133"/>
                  <a:gd name="connsiteY81" fmla="*/ 935 h 1072"/>
                  <a:gd name="connsiteX82" fmla="*/ 2552 w 5133"/>
                  <a:gd name="connsiteY82" fmla="*/ 894 h 1072"/>
                  <a:gd name="connsiteX83" fmla="*/ 2509 w 5133"/>
                  <a:gd name="connsiteY83" fmla="*/ 846 h 1072"/>
                  <a:gd name="connsiteX84" fmla="*/ 2469 w 5133"/>
                  <a:gd name="connsiteY84" fmla="*/ 796 h 1072"/>
                  <a:gd name="connsiteX85" fmla="*/ 2430 w 5133"/>
                  <a:gd name="connsiteY85" fmla="*/ 740 h 1072"/>
                  <a:gd name="connsiteX86" fmla="*/ 2393 w 5133"/>
                  <a:gd name="connsiteY86" fmla="*/ 684 h 1072"/>
                  <a:gd name="connsiteX87" fmla="*/ 2288 w 5133"/>
                  <a:gd name="connsiteY87" fmla="*/ 510 h 1072"/>
                  <a:gd name="connsiteX88" fmla="*/ 2251 w 5133"/>
                  <a:gd name="connsiteY88" fmla="*/ 452 h 1072"/>
                  <a:gd name="connsiteX89" fmla="*/ 2213 w 5133"/>
                  <a:gd name="connsiteY89" fmla="*/ 396 h 1072"/>
                  <a:gd name="connsiteX90" fmla="*/ 2176 w 5133"/>
                  <a:gd name="connsiteY90" fmla="*/ 342 h 1072"/>
                  <a:gd name="connsiteX91" fmla="*/ 2137 w 5133"/>
                  <a:gd name="connsiteY91" fmla="*/ 293 h 1072"/>
                  <a:gd name="connsiteX92" fmla="*/ 2096 w 5133"/>
                  <a:gd name="connsiteY92" fmla="*/ 247 h 1072"/>
                  <a:gd name="connsiteX93" fmla="*/ 2054 w 5133"/>
                  <a:gd name="connsiteY93" fmla="*/ 205 h 1072"/>
                  <a:gd name="connsiteX94" fmla="*/ 2009 w 5133"/>
                  <a:gd name="connsiteY94" fmla="*/ 168 h 1072"/>
                  <a:gd name="connsiteX95" fmla="*/ 1962 w 5133"/>
                  <a:gd name="connsiteY95" fmla="*/ 139 h 1072"/>
                  <a:gd name="connsiteX96" fmla="*/ 1910 w 5133"/>
                  <a:gd name="connsiteY96" fmla="*/ 116 h 1072"/>
                  <a:gd name="connsiteX97" fmla="*/ 1854 w 5133"/>
                  <a:gd name="connsiteY97" fmla="*/ 100 h 1072"/>
                  <a:gd name="connsiteX98" fmla="*/ 1796 w 5133"/>
                  <a:gd name="connsiteY98" fmla="*/ 91 h 1072"/>
                  <a:gd name="connsiteX99" fmla="*/ 1732 w 5133"/>
                  <a:gd name="connsiteY99" fmla="*/ 93 h 1072"/>
                  <a:gd name="connsiteX100" fmla="*/ 1664 w 5133"/>
                  <a:gd name="connsiteY100" fmla="*/ 104 h 1072"/>
                  <a:gd name="connsiteX101" fmla="*/ 1602 w 5133"/>
                  <a:gd name="connsiteY101" fmla="*/ 122 h 1072"/>
                  <a:gd name="connsiteX102" fmla="*/ 1545 w 5133"/>
                  <a:gd name="connsiteY102" fmla="*/ 147 h 1072"/>
                  <a:gd name="connsiteX103" fmla="*/ 1491 w 5133"/>
                  <a:gd name="connsiteY103" fmla="*/ 181 h 1072"/>
                  <a:gd name="connsiteX104" fmla="*/ 1439 w 5133"/>
                  <a:gd name="connsiteY104" fmla="*/ 218 h 1072"/>
                  <a:gd name="connsiteX105" fmla="*/ 1394 w 5133"/>
                  <a:gd name="connsiteY105" fmla="*/ 261 h 1072"/>
                  <a:gd name="connsiteX106" fmla="*/ 1348 w 5133"/>
                  <a:gd name="connsiteY106" fmla="*/ 307 h 1072"/>
                  <a:gd name="connsiteX107" fmla="*/ 1307 w 5133"/>
                  <a:gd name="connsiteY107" fmla="*/ 359 h 1072"/>
                  <a:gd name="connsiteX108" fmla="*/ 1268 w 5133"/>
                  <a:gd name="connsiteY108" fmla="*/ 413 h 1072"/>
                  <a:gd name="connsiteX109" fmla="*/ 1231 w 5133"/>
                  <a:gd name="connsiteY109" fmla="*/ 467 h 1072"/>
                  <a:gd name="connsiteX110" fmla="*/ 1194 w 5133"/>
                  <a:gd name="connsiteY110" fmla="*/ 523 h 1072"/>
                  <a:gd name="connsiteX111" fmla="*/ 1156 w 5133"/>
                  <a:gd name="connsiteY111" fmla="*/ 581 h 1072"/>
                  <a:gd name="connsiteX112" fmla="*/ 1121 w 5133"/>
                  <a:gd name="connsiteY112" fmla="*/ 637 h 1072"/>
                  <a:gd name="connsiteX113" fmla="*/ 1047 w 5133"/>
                  <a:gd name="connsiteY113" fmla="*/ 749 h 1072"/>
                  <a:gd name="connsiteX114" fmla="*/ 1008 w 5133"/>
                  <a:gd name="connsiteY114" fmla="*/ 801 h 1072"/>
                  <a:gd name="connsiteX115" fmla="*/ 966 w 5133"/>
                  <a:gd name="connsiteY115" fmla="*/ 850 h 1072"/>
                  <a:gd name="connsiteX116" fmla="*/ 923 w 5133"/>
                  <a:gd name="connsiteY116" fmla="*/ 896 h 1072"/>
                  <a:gd name="connsiteX117" fmla="*/ 876 w 5133"/>
                  <a:gd name="connsiteY117" fmla="*/ 937 h 1072"/>
                  <a:gd name="connsiteX118" fmla="*/ 826 w 5133"/>
                  <a:gd name="connsiteY118" fmla="*/ 973 h 1072"/>
                  <a:gd name="connsiteX119" fmla="*/ 772 w 5133"/>
                  <a:gd name="connsiteY119" fmla="*/ 1002 h 1072"/>
                  <a:gd name="connsiteX120" fmla="*/ 717 w 5133"/>
                  <a:gd name="connsiteY120" fmla="*/ 1025 h 1072"/>
                  <a:gd name="connsiteX121" fmla="*/ 653 w 5133"/>
                  <a:gd name="connsiteY121" fmla="*/ 1037 h 1072"/>
                  <a:gd name="connsiteX122" fmla="*/ 587 w 5133"/>
                  <a:gd name="connsiteY122" fmla="*/ 1043 h 1072"/>
                  <a:gd name="connsiteX123" fmla="*/ 580 w 5133"/>
                  <a:gd name="connsiteY123" fmla="*/ 1043 h 1072"/>
                  <a:gd name="connsiteX124" fmla="*/ 512 w 5133"/>
                  <a:gd name="connsiteY124" fmla="*/ 1039 h 1072"/>
                  <a:gd name="connsiteX125" fmla="*/ 450 w 5133"/>
                  <a:gd name="connsiteY125" fmla="*/ 1027 h 1072"/>
                  <a:gd name="connsiteX126" fmla="*/ 392 w 5133"/>
                  <a:gd name="connsiteY126" fmla="*/ 1008 h 1072"/>
                  <a:gd name="connsiteX127" fmla="*/ 341 w 5133"/>
                  <a:gd name="connsiteY127" fmla="*/ 983 h 1072"/>
                  <a:gd name="connsiteX128" fmla="*/ 293 w 5133"/>
                  <a:gd name="connsiteY128" fmla="*/ 952 h 1072"/>
                  <a:gd name="connsiteX129" fmla="*/ 248 w 5133"/>
                  <a:gd name="connsiteY129" fmla="*/ 915 h 1072"/>
                  <a:gd name="connsiteX130" fmla="*/ 207 w 5133"/>
                  <a:gd name="connsiteY130" fmla="*/ 873 h 1072"/>
                  <a:gd name="connsiteX131" fmla="*/ 169 w 5133"/>
                  <a:gd name="connsiteY131" fmla="*/ 828 h 1072"/>
                  <a:gd name="connsiteX132" fmla="*/ 132 w 5133"/>
                  <a:gd name="connsiteY132" fmla="*/ 780 h 1072"/>
                  <a:gd name="connsiteX133" fmla="*/ 99 w 5133"/>
                  <a:gd name="connsiteY133" fmla="*/ 728 h 1072"/>
                  <a:gd name="connsiteX134" fmla="*/ 64 w 5133"/>
                  <a:gd name="connsiteY134" fmla="*/ 674 h 1072"/>
                  <a:gd name="connsiteX135" fmla="*/ 33 w 5133"/>
                  <a:gd name="connsiteY135" fmla="*/ 618 h 1072"/>
                  <a:gd name="connsiteX136" fmla="*/ 0 w 5133"/>
                  <a:gd name="connsiteY136" fmla="*/ 560 h 1072"/>
                  <a:gd name="connsiteX137" fmla="*/ 77 w 5133"/>
                  <a:gd name="connsiteY137" fmla="*/ 516 h 1072"/>
                  <a:gd name="connsiteX138" fmla="*/ 110 w 5133"/>
                  <a:gd name="connsiteY138" fmla="*/ 575 h 1072"/>
                  <a:gd name="connsiteX139" fmla="*/ 143 w 5133"/>
                  <a:gd name="connsiteY139" fmla="*/ 631 h 1072"/>
                  <a:gd name="connsiteX140" fmla="*/ 176 w 5133"/>
                  <a:gd name="connsiteY140" fmla="*/ 684 h 1072"/>
                  <a:gd name="connsiteX141" fmla="*/ 209 w 5133"/>
                  <a:gd name="connsiteY141" fmla="*/ 736 h 1072"/>
                  <a:gd name="connsiteX142" fmla="*/ 244 w 5133"/>
                  <a:gd name="connsiteY142" fmla="*/ 782 h 1072"/>
                  <a:gd name="connsiteX143" fmla="*/ 281 w 5133"/>
                  <a:gd name="connsiteY143" fmla="*/ 825 h 1072"/>
                  <a:gd name="connsiteX144" fmla="*/ 322 w 5133"/>
                  <a:gd name="connsiteY144" fmla="*/ 863 h 1072"/>
                  <a:gd name="connsiteX145" fmla="*/ 366 w 5133"/>
                  <a:gd name="connsiteY145" fmla="*/ 894 h 1072"/>
                  <a:gd name="connsiteX146" fmla="*/ 413 w 5133"/>
                  <a:gd name="connsiteY146" fmla="*/ 921 h 1072"/>
                  <a:gd name="connsiteX147" fmla="*/ 463 w 5133"/>
                  <a:gd name="connsiteY147" fmla="*/ 940 h 1072"/>
                  <a:gd name="connsiteX148" fmla="*/ 518 w 5133"/>
                  <a:gd name="connsiteY148" fmla="*/ 952 h 1072"/>
                  <a:gd name="connsiteX149" fmla="*/ 580 w 5133"/>
                  <a:gd name="connsiteY149" fmla="*/ 956 h 1072"/>
                  <a:gd name="connsiteX150" fmla="*/ 587 w 5133"/>
                  <a:gd name="connsiteY150" fmla="*/ 956 h 1072"/>
                  <a:gd name="connsiteX151" fmla="*/ 646 w 5133"/>
                  <a:gd name="connsiteY151" fmla="*/ 950 h 1072"/>
                  <a:gd name="connsiteX152" fmla="*/ 702 w 5133"/>
                  <a:gd name="connsiteY152" fmla="*/ 935 h 1072"/>
                  <a:gd name="connsiteX153" fmla="*/ 756 w 5133"/>
                  <a:gd name="connsiteY153" fmla="*/ 913 h 1072"/>
                  <a:gd name="connsiteX154" fmla="*/ 803 w 5133"/>
                  <a:gd name="connsiteY154" fmla="*/ 884 h 1072"/>
                  <a:gd name="connsiteX155" fmla="*/ 849 w 5133"/>
                  <a:gd name="connsiteY155" fmla="*/ 846 h 1072"/>
                  <a:gd name="connsiteX156" fmla="*/ 892 w 5133"/>
                  <a:gd name="connsiteY156" fmla="*/ 803 h 1072"/>
                  <a:gd name="connsiteX157" fmla="*/ 931 w 5133"/>
                  <a:gd name="connsiteY157" fmla="*/ 755 h 1072"/>
                  <a:gd name="connsiteX158" fmla="*/ 971 w 5133"/>
                  <a:gd name="connsiteY158" fmla="*/ 703 h 1072"/>
                  <a:gd name="connsiteX159" fmla="*/ 1010 w 5133"/>
                  <a:gd name="connsiteY159" fmla="*/ 649 h 1072"/>
                  <a:gd name="connsiteX160" fmla="*/ 1121 w 5133"/>
                  <a:gd name="connsiteY160" fmla="*/ 475 h 1072"/>
                  <a:gd name="connsiteX161" fmla="*/ 1161 w 5133"/>
                  <a:gd name="connsiteY161" fmla="*/ 415 h 1072"/>
                  <a:gd name="connsiteX162" fmla="*/ 1202 w 5133"/>
                  <a:gd name="connsiteY162" fmla="*/ 357 h 1072"/>
                  <a:gd name="connsiteX163" fmla="*/ 1245 w 5133"/>
                  <a:gd name="connsiteY163" fmla="*/ 299 h 1072"/>
                  <a:gd name="connsiteX164" fmla="*/ 1291 w 5133"/>
                  <a:gd name="connsiteY164" fmla="*/ 245 h 1072"/>
                  <a:gd name="connsiteX165" fmla="*/ 1338 w 5133"/>
                  <a:gd name="connsiteY165" fmla="*/ 193 h 1072"/>
                  <a:gd name="connsiteX166" fmla="*/ 1392 w 5133"/>
                  <a:gd name="connsiteY166" fmla="*/ 145 h 1072"/>
                  <a:gd name="connsiteX167" fmla="*/ 1447 w 5133"/>
                  <a:gd name="connsiteY167" fmla="*/ 104 h 1072"/>
                  <a:gd name="connsiteX168" fmla="*/ 1509 w 5133"/>
                  <a:gd name="connsiteY168" fmla="*/ 69 h 1072"/>
                  <a:gd name="connsiteX169" fmla="*/ 1575 w 5133"/>
                  <a:gd name="connsiteY169" fmla="*/ 40 h 1072"/>
                  <a:gd name="connsiteX170" fmla="*/ 1648 w 5133"/>
                  <a:gd name="connsiteY170" fmla="*/ 19 h 1072"/>
                  <a:gd name="connsiteX171" fmla="*/ 1726 w 5133"/>
                  <a:gd name="connsiteY171" fmla="*/ 6 h 1072"/>
                  <a:gd name="connsiteX172" fmla="*/ 1796 w 5133"/>
                  <a:gd name="connsiteY172" fmla="*/ 4 h 1072"/>
                  <a:gd name="connsiteX173" fmla="*/ 1862 w 5133"/>
                  <a:gd name="connsiteY173" fmla="*/ 13 h 1072"/>
                  <a:gd name="connsiteX174" fmla="*/ 1922 w 5133"/>
                  <a:gd name="connsiteY174" fmla="*/ 27 h 1072"/>
                  <a:gd name="connsiteX175" fmla="*/ 1980 w 5133"/>
                  <a:gd name="connsiteY175" fmla="*/ 50 h 1072"/>
                  <a:gd name="connsiteX176" fmla="*/ 2034 w 5133"/>
                  <a:gd name="connsiteY176" fmla="*/ 81 h 1072"/>
                  <a:gd name="connsiteX177" fmla="*/ 2083 w 5133"/>
                  <a:gd name="connsiteY177" fmla="*/ 116 h 1072"/>
                  <a:gd name="connsiteX178" fmla="*/ 2129 w 5133"/>
                  <a:gd name="connsiteY178" fmla="*/ 158 h 1072"/>
                  <a:gd name="connsiteX179" fmla="*/ 2174 w 5133"/>
                  <a:gd name="connsiteY179" fmla="*/ 203 h 1072"/>
                  <a:gd name="connsiteX180" fmla="*/ 2216 w 5133"/>
                  <a:gd name="connsiteY180" fmla="*/ 251 h 1072"/>
                  <a:gd name="connsiteX181" fmla="*/ 2255 w 5133"/>
                  <a:gd name="connsiteY181" fmla="*/ 303 h 1072"/>
                  <a:gd name="connsiteX182" fmla="*/ 2292 w 5133"/>
                  <a:gd name="connsiteY182" fmla="*/ 357 h 1072"/>
                  <a:gd name="connsiteX183" fmla="*/ 2327 w 5133"/>
                  <a:gd name="connsiteY183" fmla="*/ 413 h 1072"/>
                  <a:gd name="connsiteX184" fmla="*/ 2362 w 5133"/>
                  <a:gd name="connsiteY184" fmla="*/ 467 h 1072"/>
                  <a:gd name="connsiteX185" fmla="*/ 2395 w 5133"/>
                  <a:gd name="connsiteY185" fmla="*/ 523 h 1072"/>
                  <a:gd name="connsiteX186" fmla="*/ 2432 w 5133"/>
                  <a:gd name="connsiteY186" fmla="*/ 585 h 1072"/>
                  <a:gd name="connsiteX187" fmla="*/ 2469 w 5133"/>
                  <a:gd name="connsiteY187" fmla="*/ 643 h 1072"/>
                  <a:gd name="connsiteX188" fmla="*/ 2509 w 5133"/>
                  <a:gd name="connsiteY188" fmla="*/ 701 h 1072"/>
                  <a:gd name="connsiteX189" fmla="*/ 2546 w 5133"/>
                  <a:gd name="connsiteY189" fmla="*/ 755 h 1072"/>
                  <a:gd name="connsiteX190" fmla="*/ 2587 w 5133"/>
                  <a:gd name="connsiteY190" fmla="*/ 805 h 1072"/>
                  <a:gd name="connsiteX191" fmla="*/ 2628 w 5133"/>
                  <a:gd name="connsiteY191" fmla="*/ 848 h 1072"/>
                  <a:gd name="connsiteX192" fmla="*/ 2672 w 5133"/>
                  <a:gd name="connsiteY192" fmla="*/ 886 h 1072"/>
                  <a:gd name="connsiteX193" fmla="*/ 2717 w 5133"/>
                  <a:gd name="connsiteY193" fmla="*/ 917 h 1072"/>
                  <a:gd name="connsiteX194" fmla="*/ 2767 w 5133"/>
                  <a:gd name="connsiteY194" fmla="*/ 940 h 1072"/>
                  <a:gd name="connsiteX195" fmla="*/ 2820 w 5133"/>
                  <a:gd name="connsiteY195" fmla="*/ 952 h 1072"/>
                  <a:gd name="connsiteX196" fmla="*/ 2876 w 5133"/>
                  <a:gd name="connsiteY196" fmla="*/ 956 h 1072"/>
                  <a:gd name="connsiteX197" fmla="*/ 2932 w 5133"/>
                  <a:gd name="connsiteY197" fmla="*/ 950 h 1072"/>
                  <a:gd name="connsiteX198" fmla="*/ 2982 w 5133"/>
                  <a:gd name="connsiteY198" fmla="*/ 935 h 1072"/>
                  <a:gd name="connsiteX199" fmla="*/ 3029 w 5133"/>
                  <a:gd name="connsiteY199" fmla="*/ 915 h 1072"/>
                  <a:gd name="connsiteX200" fmla="*/ 3072 w 5133"/>
                  <a:gd name="connsiteY200" fmla="*/ 884 h 1072"/>
                  <a:gd name="connsiteX201" fmla="*/ 3112 w 5133"/>
                  <a:gd name="connsiteY201" fmla="*/ 848 h 1072"/>
                  <a:gd name="connsiteX202" fmla="*/ 3149 w 5133"/>
                  <a:gd name="connsiteY202" fmla="*/ 807 h 1072"/>
                  <a:gd name="connsiteX203" fmla="*/ 3184 w 5133"/>
                  <a:gd name="connsiteY203" fmla="*/ 759 h 1072"/>
                  <a:gd name="connsiteX204" fmla="*/ 3217 w 5133"/>
                  <a:gd name="connsiteY204" fmla="*/ 709 h 1072"/>
                  <a:gd name="connsiteX205" fmla="*/ 3250 w 5133"/>
                  <a:gd name="connsiteY205" fmla="*/ 655 h 1072"/>
                  <a:gd name="connsiteX206" fmla="*/ 3283 w 5133"/>
                  <a:gd name="connsiteY206" fmla="*/ 597 h 1072"/>
                  <a:gd name="connsiteX207" fmla="*/ 3316 w 5133"/>
                  <a:gd name="connsiteY207" fmla="*/ 537 h 1072"/>
                  <a:gd name="connsiteX208" fmla="*/ 3345 w 5133"/>
                  <a:gd name="connsiteY208" fmla="*/ 483 h 1072"/>
                  <a:gd name="connsiteX209" fmla="*/ 3407 w 5133"/>
                  <a:gd name="connsiteY209" fmla="*/ 375 h 1072"/>
                  <a:gd name="connsiteX210" fmla="*/ 3477 w 5133"/>
                  <a:gd name="connsiteY210" fmla="*/ 272 h 1072"/>
                  <a:gd name="connsiteX211" fmla="*/ 3514 w 5133"/>
                  <a:gd name="connsiteY211" fmla="*/ 224 h 1072"/>
                  <a:gd name="connsiteX212" fmla="*/ 3555 w 5133"/>
                  <a:gd name="connsiteY212" fmla="*/ 178 h 1072"/>
                  <a:gd name="connsiteX213" fmla="*/ 3599 w 5133"/>
                  <a:gd name="connsiteY213" fmla="*/ 137 h 1072"/>
                  <a:gd name="connsiteX214" fmla="*/ 3646 w 5133"/>
                  <a:gd name="connsiteY214" fmla="*/ 100 h 1072"/>
                  <a:gd name="connsiteX215" fmla="*/ 3698 w 5133"/>
                  <a:gd name="connsiteY215" fmla="*/ 66 h 1072"/>
                  <a:gd name="connsiteX216" fmla="*/ 3756 w 5133"/>
                  <a:gd name="connsiteY216" fmla="*/ 40 h 1072"/>
                  <a:gd name="connsiteX217" fmla="*/ 3816 w 5133"/>
                  <a:gd name="connsiteY217" fmla="*/ 19 h 1072"/>
                  <a:gd name="connsiteX218" fmla="*/ 3882 w 5133"/>
                  <a:gd name="connsiteY218" fmla="*/ 6 h 1072"/>
                  <a:gd name="connsiteX219" fmla="*/ 3954 w 5133"/>
                  <a:gd name="connsiteY219" fmla="*/ 0 h 1072"/>
                  <a:gd name="connsiteX0" fmla="*/ 3954 w 5133"/>
                  <a:gd name="connsiteY0" fmla="*/ 0 h 1072"/>
                  <a:gd name="connsiteX1" fmla="*/ 4004 w 5133"/>
                  <a:gd name="connsiteY1" fmla="*/ 0 h 1072"/>
                  <a:gd name="connsiteX2" fmla="*/ 4032 w 5133"/>
                  <a:gd name="connsiteY2" fmla="*/ 4 h 1072"/>
                  <a:gd name="connsiteX3" fmla="*/ 4063 w 5133"/>
                  <a:gd name="connsiteY3" fmla="*/ 13 h 1072"/>
                  <a:gd name="connsiteX4" fmla="*/ 4101 w 5133"/>
                  <a:gd name="connsiteY4" fmla="*/ 23 h 1072"/>
                  <a:gd name="connsiteX5" fmla="*/ 4142 w 5133"/>
                  <a:gd name="connsiteY5" fmla="*/ 40 h 1072"/>
                  <a:gd name="connsiteX6" fmla="*/ 4185 w 5133"/>
                  <a:gd name="connsiteY6" fmla="*/ 60 h 1072"/>
                  <a:gd name="connsiteX7" fmla="*/ 4233 w 5133"/>
                  <a:gd name="connsiteY7" fmla="*/ 89 h 1072"/>
                  <a:gd name="connsiteX8" fmla="*/ 4282 w 5133"/>
                  <a:gd name="connsiteY8" fmla="*/ 125 h 1072"/>
                  <a:gd name="connsiteX9" fmla="*/ 4332 w 5133"/>
                  <a:gd name="connsiteY9" fmla="*/ 170 h 1072"/>
                  <a:gd name="connsiteX10" fmla="*/ 4383 w 5133"/>
                  <a:gd name="connsiteY10" fmla="*/ 224 h 1072"/>
                  <a:gd name="connsiteX11" fmla="*/ 4435 w 5133"/>
                  <a:gd name="connsiteY11" fmla="*/ 286 h 1072"/>
                  <a:gd name="connsiteX12" fmla="*/ 4487 w 5133"/>
                  <a:gd name="connsiteY12" fmla="*/ 361 h 1072"/>
                  <a:gd name="connsiteX13" fmla="*/ 4538 w 5133"/>
                  <a:gd name="connsiteY13" fmla="*/ 448 h 1072"/>
                  <a:gd name="connsiteX14" fmla="*/ 4590 w 5133"/>
                  <a:gd name="connsiteY14" fmla="*/ 548 h 1072"/>
                  <a:gd name="connsiteX15" fmla="*/ 4635 w 5133"/>
                  <a:gd name="connsiteY15" fmla="*/ 633 h 1072"/>
                  <a:gd name="connsiteX16" fmla="*/ 4681 w 5133"/>
                  <a:gd name="connsiteY16" fmla="*/ 705 h 1072"/>
                  <a:gd name="connsiteX17" fmla="*/ 4728 w 5133"/>
                  <a:gd name="connsiteY17" fmla="*/ 767 h 1072"/>
                  <a:gd name="connsiteX18" fmla="*/ 4776 w 5133"/>
                  <a:gd name="connsiteY18" fmla="*/ 819 h 1072"/>
                  <a:gd name="connsiteX19" fmla="*/ 4821 w 5133"/>
                  <a:gd name="connsiteY19" fmla="*/ 863 h 1072"/>
                  <a:gd name="connsiteX20" fmla="*/ 4869 w 5133"/>
                  <a:gd name="connsiteY20" fmla="*/ 898 h 1072"/>
                  <a:gd name="connsiteX21" fmla="*/ 4955 w 5133"/>
                  <a:gd name="connsiteY21" fmla="*/ 948 h 1072"/>
                  <a:gd name="connsiteX22" fmla="*/ 5030 w 5133"/>
                  <a:gd name="connsiteY22" fmla="*/ 973 h 1072"/>
                  <a:gd name="connsiteX23" fmla="*/ 5059 w 5133"/>
                  <a:gd name="connsiteY23" fmla="*/ 981 h 1072"/>
                  <a:gd name="connsiteX24" fmla="*/ 5085 w 5133"/>
                  <a:gd name="connsiteY24" fmla="*/ 983 h 1072"/>
                  <a:gd name="connsiteX25" fmla="*/ 5125 w 5133"/>
                  <a:gd name="connsiteY25" fmla="*/ 985 h 1072"/>
                  <a:gd name="connsiteX26" fmla="*/ 5133 w 5133"/>
                  <a:gd name="connsiteY26" fmla="*/ 1072 h 1072"/>
                  <a:gd name="connsiteX27" fmla="*/ 5098 w 5133"/>
                  <a:gd name="connsiteY27" fmla="*/ 1072 h 1072"/>
                  <a:gd name="connsiteX28" fmla="*/ 5071 w 5133"/>
                  <a:gd name="connsiteY28" fmla="*/ 1070 h 1072"/>
                  <a:gd name="connsiteX29" fmla="*/ 5040 w 5133"/>
                  <a:gd name="connsiteY29" fmla="*/ 1064 h 1072"/>
                  <a:gd name="connsiteX30" fmla="*/ 5003 w 5133"/>
                  <a:gd name="connsiteY30" fmla="*/ 1056 h 1072"/>
                  <a:gd name="connsiteX31" fmla="*/ 4961 w 5133"/>
                  <a:gd name="connsiteY31" fmla="*/ 1043 h 1072"/>
                  <a:gd name="connsiteX32" fmla="*/ 4869 w 5133"/>
                  <a:gd name="connsiteY32" fmla="*/ 1002 h 1072"/>
                  <a:gd name="connsiteX33" fmla="*/ 4819 w 5133"/>
                  <a:gd name="connsiteY33" fmla="*/ 971 h 1072"/>
                  <a:gd name="connsiteX34" fmla="*/ 4767 w 5133"/>
                  <a:gd name="connsiteY34" fmla="*/ 931 h 1072"/>
                  <a:gd name="connsiteX35" fmla="*/ 4716 w 5133"/>
                  <a:gd name="connsiteY35" fmla="*/ 881 h 1072"/>
                  <a:gd name="connsiteX36" fmla="*/ 4662 w 5133"/>
                  <a:gd name="connsiteY36" fmla="*/ 823 h 1072"/>
                  <a:gd name="connsiteX37" fmla="*/ 4611 w 5133"/>
                  <a:gd name="connsiteY37" fmla="*/ 755 h 1072"/>
                  <a:gd name="connsiteX38" fmla="*/ 4561 w 5133"/>
                  <a:gd name="connsiteY38" fmla="*/ 676 h 1072"/>
                  <a:gd name="connsiteX39" fmla="*/ 4513 w 5133"/>
                  <a:gd name="connsiteY39" fmla="*/ 583 h 1072"/>
                  <a:gd name="connsiteX40" fmla="*/ 4464 w 5133"/>
                  <a:gd name="connsiteY40" fmla="*/ 487 h 1072"/>
                  <a:gd name="connsiteX41" fmla="*/ 4414 w 5133"/>
                  <a:gd name="connsiteY41" fmla="*/ 404 h 1072"/>
                  <a:gd name="connsiteX42" fmla="*/ 4365 w 5133"/>
                  <a:gd name="connsiteY42" fmla="*/ 336 h 1072"/>
                  <a:gd name="connsiteX43" fmla="*/ 4315 w 5133"/>
                  <a:gd name="connsiteY43" fmla="*/ 276 h 1072"/>
                  <a:gd name="connsiteX44" fmla="*/ 4268 w 5133"/>
                  <a:gd name="connsiteY44" fmla="*/ 228 h 1072"/>
                  <a:gd name="connsiteX45" fmla="*/ 4222 w 5133"/>
                  <a:gd name="connsiteY45" fmla="*/ 189 h 1072"/>
                  <a:gd name="connsiteX46" fmla="*/ 4181 w 5133"/>
                  <a:gd name="connsiteY46" fmla="*/ 158 h 1072"/>
                  <a:gd name="connsiteX47" fmla="*/ 4142 w 5133"/>
                  <a:gd name="connsiteY47" fmla="*/ 135 h 1072"/>
                  <a:gd name="connsiteX48" fmla="*/ 4092 w 5133"/>
                  <a:gd name="connsiteY48" fmla="*/ 112 h 1072"/>
                  <a:gd name="connsiteX49" fmla="*/ 4049 w 5133"/>
                  <a:gd name="connsiteY49" fmla="*/ 98 h 1072"/>
                  <a:gd name="connsiteX50" fmla="*/ 4014 w 5133"/>
                  <a:gd name="connsiteY50" fmla="*/ 89 h 1072"/>
                  <a:gd name="connsiteX51" fmla="*/ 3985 w 5133"/>
                  <a:gd name="connsiteY51" fmla="*/ 87 h 1072"/>
                  <a:gd name="connsiteX52" fmla="*/ 3958 w 5133"/>
                  <a:gd name="connsiteY52" fmla="*/ 87 h 1072"/>
                  <a:gd name="connsiteX53" fmla="*/ 3892 w 5133"/>
                  <a:gd name="connsiteY53" fmla="*/ 93 h 1072"/>
                  <a:gd name="connsiteX54" fmla="*/ 3830 w 5133"/>
                  <a:gd name="connsiteY54" fmla="*/ 106 h 1072"/>
                  <a:gd name="connsiteX55" fmla="*/ 3774 w 5133"/>
                  <a:gd name="connsiteY55" fmla="*/ 127 h 1072"/>
                  <a:gd name="connsiteX56" fmla="*/ 3723 w 5133"/>
                  <a:gd name="connsiteY56" fmla="*/ 154 h 1072"/>
                  <a:gd name="connsiteX57" fmla="*/ 3675 w 5133"/>
                  <a:gd name="connsiteY57" fmla="*/ 187 h 1072"/>
                  <a:gd name="connsiteX58" fmla="*/ 3632 w 5133"/>
                  <a:gd name="connsiteY58" fmla="*/ 224 h 1072"/>
                  <a:gd name="connsiteX59" fmla="*/ 3593 w 5133"/>
                  <a:gd name="connsiteY59" fmla="*/ 268 h 1072"/>
                  <a:gd name="connsiteX60" fmla="*/ 3553 w 5133"/>
                  <a:gd name="connsiteY60" fmla="*/ 313 h 1072"/>
                  <a:gd name="connsiteX61" fmla="*/ 3518 w 5133"/>
                  <a:gd name="connsiteY61" fmla="*/ 363 h 1072"/>
                  <a:gd name="connsiteX62" fmla="*/ 3485 w 5133"/>
                  <a:gd name="connsiteY62" fmla="*/ 415 h 1072"/>
                  <a:gd name="connsiteX63" fmla="*/ 3423 w 5133"/>
                  <a:gd name="connsiteY63" fmla="*/ 523 h 1072"/>
                  <a:gd name="connsiteX64" fmla="*/ 3330 w 5133"/>
                  <a:gd name="connsiteY64" fmla="*/ 691 h 1072"/>
                  <a:gd name="connsiteX65" fmla="*/ 3297 w 5133"/>
                  <a:gd name="connsiteY65" fmla="*/ 747 h 1072"/>
                  <a:gd name="connsiteX66" fmla="*/ 3262 w 5133"/>
                  <a:gd name="connsiteY66" fmla="*/ 799 h 1072"/>
                  <a:gd name="connsiteX67" fmla="*/ 3227 w 5133"/>
                  <a:gd name="connsiteY67" fmla="*/ 848 h 1072"/>
                  <a:gd name="connsiteX68" fmla="*/ 3188 w 5133"/>
                  <a:gd name="connsiteY68" fmla="*/ 894 h 1072"/>
                  <a:gd name="connsiteX69" fmla="*/ 3147 w 5133"/>
                  <a:gd name="connsiteY69" fmla="*/ 935 h 1072"/>
                  <a:gd name="connsiteX70" fmla="*/ 3101 w 5133"/>
                  <a:gd name="connsiteY70" fmla="*/ 971 h 1072"/>
                  <a:gd name="connsiteX71" fmla="*/ 3052 w 5133"/>
                  <a:gd name="connsiteY71" fmla="*/ 1000 h 1072"/>
                  <a:gd name="connsiteX72" fmla="*/ 3000 w 5133"/>
                  <a:gd name="connsiteY72" fmla="*/ 1022 h 1072"/>
                  <a:gd name="connsiteX73" fmla="*/ 2942 w 5133"/>
                  <a:gd name="connsiteY73" fmla="*/ 1037 h 1072"/>
                  <a:gd name="connsiteX74" fmla="*/ 2878 w 5133"/>
                  <a:gd name="connsiteY74" fmla="*/ 1043 h 1072"/>
                  <a:gd name="connsiteX75" fmla="*/ 2870 w 5133"/>
                  <a:gd name="connsiteY75" fmla="*/ 1043 h 1072"/>
                  <a:gd name="connsiteX76" fmla="*/ 2808 w 5133"/>
                  <a:gd name="connsiteY76" fmla="*/ 1039 h 1072"/>
                  <a:gd name="connsiteX77" fmla="*/ 2748 w 5133"/>
                  <a:gd name="connsiteY77" fmla="*/ 1025 h 1072"/>
                  <a:gd name="connsiteX78" fmla="*/ 2695 w 5133"/>
                  <a:gd name="connsiteY78" fmla="*/ 1002 h 1072"/>
                  <a:gd name="connsiteX79" fmla="*/ 2643 w 5133"/>
                  <a:gd name="connsiteY79" fmla="*/ 973 h 1072"/>
                  <a:gd name="connsiteX80" fmla="*/ 2595 w 5133"/>
                  <a:gd name="connsiteY80" fmla="*/ 935 h 1072"/>
                  <a:gd name="connsiteX81" fmla="*/ 2552 w 5133"/>
                  <a:gd name="connsiteY81" fmla="*/ 894 h 1072"/>
                  <a:gd name="connsiteX82" fmla="*/ 2509 w 5133"/>
                  <a:gd name="connsiteY82" fmla="*/ 846 h 1072"/>
                  <a:gd name="connsiteX83" fmla="*/ 2469 w 5133"/>
                  <a:gd name="connsiteY83" fmla="*/ 796 h 1072"/>
                  <a:gd name="connsiteX84" fmla="*/ 2430 w 5133"/>
                  <a:gd name="connsiteY84" fmla="*/ 740 h 1072"/>
                  <a:gd name="connsiteX85" fmla="*/ 2393 w 5133"/>
                  <a:gd name="connsiteY85" fmla="*/ 684 h 1072"/>
                  <a:gd name="connsiteX86" fmla="*/ 2288 w 5133"/>
                  <a:gd name="connsiteY86" fmla="*/ 510 h 1072"/>
                  <a:gd name="connsiteX87" fmla="*/ 2251 w 5133"/>
                  <a:gd name="connsiteY87" fmla="*/ 452 h 1072"/>
                  <a:gd name="connsiteX88" fmla="*/ 2213 w 5133"/>
                  <a:gd name="connsiteY88" fmla="*/ 396 h 1072"/>
                  <a:gd name="connsiteX89" fmla="*/ 2176 w 5133"/>
                  <a:gd name="connsiteY89" fmla="*/ 342 h 1072"/>
                  <a:gd name="connsiteX90" fmla="*/ 2137 w 5133"/>
                  <a:gd name="connsiteY90" fmla="*/ 293 h 1072"/>
                  <a:gd name="connsiteX91" fmla="*/ 2096 w 5133"/>
                  <a:gd name="connsiteY91" fmla="*/ 247 h 1072"/>
                  <a:gd name="connsiteX92" fmla="*/ 2054 w 5133"/>
                  <a:gd name="connsiteY92" fmla="*/ 205 h 1072"/>
                  <a:gd name="connsiteX93" fmla="*/ 2009 w 5133"/>
                  <a:gd name="connsiteY93" fmla="*/ 168 h 1072"/>
                  <a:gd name="connsiteX94" fmla="*/ 1962 w 5133"/>
                  <a:gd name="connsiteY94" fmla="*/ 139 h 1072"/>
                  <a:gd name="connsiteX95" fmla="*/ 1910 w 5133"/>
                  <a:gd name="connsiteY95" fmla="*/ 116 h 1072"/>
                  <a:gd name="connsiteX96" fmla="*/ 1854 w 5133"/>
                  <a:gd name="connsiteY96" fmla="*/ 100 h 1072"/>
                  <a:gd name="connsiteX97" fmla="*/ 1796 w 5133"/>
                  <a:gd name="connsiteY97" fmla="*/ 91 h 1072"/>
                  <a:gd name="connsiteX98" fmla="*/ 1732 w 5133"/>
                  <a:gd name="connsiteY98" fmla="*/ 93 h 1072"/>
                  <a:gd name="connsiteX99" fmla="*/ 1664 w 5133"/>
                  <a:gd name="connsiteY99" fmla="*/ 104 h 1072"/>
                  <a:gd name="connsiteX100" fmla="*/ 1602 w 5133"/>
                  <a:gd name="connsiteY100" fmla="*/ 122 h 1072"/>
                  <a:gd name="connsiteX101" fmla="*/ 1545 w 5133"/>
                  <a:gd name="connsiteY101" fmla="*/ 147 h 1072"/>
                  <a:gd name="connsiteX102" fmla="*/ 1491 w 5133"/>
                  <a:gd name="connsiteY102" fmla="*/ 181 h 1072"/>
                  <a:gd name="connsiteX103" fmla="*/ 1439 w 5133"/>
                  <a:gd name="connsiteY103" fmla="*/ 218 h 1072"/>
                  <a:gd name="connsiteX104" fmla="*/ 1394 w 5133"/>
                  <a:gd name="connsiteY104" fmla="*/ 261 h 1072"/>
                  <a:gd name="connsiteX105" fmla="*/ 1348 w 5133"/>
                  <a:gd name="connsiteY105" fmla="*/ 307 h 1072"/>
                  <a:gd name="connsiteX106" fmla="*/ 1307 w 5133"/>
                  <a:gd name="connsiteY106" fmla="*/ 359 h 1072"/>
                  <a:gd name="connsiteX107" fmla="*/ 1268 w 5133"/>
                  <a:gd name="connsiteY107" fmla="*/ 413 h 1072"/>
                  <a:gd name="connsiteX108" fmla="*/ 1231 w 5133"/>
                  <a:gd name="connsiteY108" fmla="*/ 467 h 1072"/>
                  <a:gd name="connsiteX109" fmla="*/ 1194 w 5133"/>
                  <a:gd name="connsiteY109" fmla="*/ 523 h 1072"/>
                  <a:gd name="connsiteX110" fmla="*/ 1156 w 5133"/>
                  <a:gd name="connsiteY110" fmla="*/ 581 h 1072"/>
                  <a:gd name="connsiteX111" fmla="*/ 1121 w 5133"/>
                  <a:gd name="connsiteY111" fmla="*/ 637 h 1072"/>
                  <a:gd name="connsiteX112" fmla="*/ 1047 w 5133"/>
                  <a:gd name="connsiteY112" fmla="*/ 749 h 1072"/>
                  <a:gd name="connsiteX113" fmla="*/ 1008 w 5133"/>
                  <a:gd name="connsiteY113" fmla="*/ 801 h 1072"/>
                  <a:gd name="connsiteX114" fmla="*/ 966 w 5133"/>
                  <a:gd name="connsiteY114" fmla="*/ 850 h 1072"/>
                  <a:gd name="connsiteX115" fmla="*/ 923 w 5133"/>
                  <a:gd name="connsiteY115" fmla="*/ 896 h 1072"/>
                  <a:gd name="connsiteX116" fmla="*/ 876 w 5133"/>
                  <a:gd name="connsiteY116" fmla="*/ 937 h 1072"/>
                  <a:gd name="connsiteX117" fmla="*/ 826 w 5133"/>
                  <a:gd name="connsiteY117" fmla="*/ 973 h 1072"/>
                  <a:gd name="connsiteX118" fmla="*/ 772 w 5133"/>
                  <a:gd name="connsiteY118" fmla="*/ 1002 h 1072"/>
                  <a:gd name="connsiteX119" fmla="*/ 717 w 5133"/>
                  <a:gd name="connsiteY119" fmla="*/ 1025 h 1072"/>
                  <a:gd name="connsiteX120" fmla="*/ 653 w 5133"/>
                  <a:gd name="connsiteY120" fmla="*/ 1037 h 1072"/>
                  <a:gd name="connsiteX121" fmla="*/ 587 w 5133"/>
                  <a:gd name="connsiteY121" fmla="*/ 1043 h 1072"/>
                  <a:gd name="connsiteX122" fmla="*/ 580 w 5133"/>
                  <a:gd name="connsiteY122" fmla="*/ 1043 h 1072"/>
                  <a:gd name="connsiteX123" fmla="*/ 512 w 5133"/>
                  <a:gd name="connsiteY123" fmla="*/ 1039 h 1072"/>
                  <a:gd name="connsiteX124" fmla="*/ 450 w 5133"/>
                  <a:gd name="connsiteY124" fmla="*/ 1027 h 1072"/>
                  <a:gd name="connsiteX125" fmla="*/ 392 w 5133"/>
                  <a:gd name="connsiteY125" fmla="*/ 1008 h 1072"/>
                  <a:gd name="connsiteX126" fmla="*/ 341 w 5133"/>
                  <a:gd name="connsiteY126" fmla="*/ 983 h 1072"/>
                  <a:gd name="connsiteX127" fmla="*/ 293 w 5133"/>
                  <a:gd name="connsiteY127" fmla="*/ 952 h 1072"/>
                  <a:gd name="connsiteX128" fmla="*/ 248 w 5133"/>
                  <a:gd name="connsiteY128" fmla="*/ 915 h 1072"/>
                  <a:gd name="connsiteX129" fmla="*/ 207 w 5133"/>
                  <a:gd name="connsiteY129" fmla="*/ 873 h 1072"/>
                  <a:gd name="connsiteX130" fmla="*/ 169 w 5133"/>
                  <a:gd name="connsiteY130" fmla="*/ 828 h 1072"/>
                  <a:gd name="connsiteX131" fmla="*/ 132 w 5133"/>
                  <a:gd name="connsiteY131" fmla="*/ 780 h 1072"/>
                  <a:gd name="connsiteX132" fmla="*/ 99 w 5133"/>
                  <a:gd name="connsiteY132" fmla="*/ 728 h 1072"/>
                  <a:gd name="connsiteX133" fmla="*/ 64 w 5133"/>
                  <a:gd name="connsiteY133" fmla="*/ 674 h 1072"/>
                  <a:gd name="connsiteX134" fmla="*/ 33 w 5133"/>
                  <a:gd name="connsiteY134" fmla="*/ 618 h 1072"/>
                  <a:gd name="connsiteX135" fmla="*/ 0 w 5133"/>
                  <a:gd name="connsiteY135" fmla="*/ 560 h 1072"/>
                  <a:gd name="connsiteX136" fmla="*/ 77 w 5133"/>
                  <a:gd name="connsiteY136" fmla="*/ 516 h 1072"/>
                  <a:gd name="connsiteX137" fmla="*/ 110 w 5133"/>
                  <a:gd name="connsiteY137" fmla="*/ 575 h 1072"/>
                  <a:gd name="connsiteX138" fmla="*/ 143 w 5133"/>
                  <a:gd name="connsiteY138" fmla="*/ 631 h 1072"/>
                  <a:gd name="connsiteX139" fmla="*/ 176 w 5133"/>
                  <a:gd name="connsiteY139" fmla="*/ 684 h 1072"/>
                  <a:gd name="connsiteX140" fmla="*/ 209 w 5133"/>
                  <a:gd name="connsiteY140" fmla="*/ 736 h 1072"/>
                  <a:gd name="connsiteX141" fmla="*/ 244 w 5133"/>
                  <a:gd name="connsiteY141" fmla="*/ 782 h 1072"/>
                  <a:gd name="connsiteX142" fmla="*/ 281 w 5133"/>
                  <a:gd name="connsiteY142" fmla="*/ 825 h 1072"/>
                  <a:gd name="connsiteX143" fmla="*/ 322 w 5133"/>
                  <a:gd name="connsiteY143" fmla="*/ 863 h 1072"/>
                  <a:gd name="connsiteX144" fmla="*/ 366 w 5133"/>
                  <a:gd name="connsiteY144" fmla="*/ 894 h 1072"/>
                  <a:gd name="connsiteX145" fmla="*/ 413 w 5133"/>
                  <a:gd name="connsiteY145" fmla="*/ 921 h 1072"/>
                  <a:gd name="connsiteX146" fmla="*/ 463 w 5133"/>
                  <a:gd name="connsiteY146" fmla="*/ 940 h 1072"/>
                  <a:gd name="connsiteX147" fmla="*/ 518 w 5133"/>
                  <a:gd name="connsiteY147" fmla="*/ 952 h 1072"/>
                  <a:gd name="connsiteX148" fmla="*/ 580 w 5133"/>
                  <a:gd name="connsiteY148" fmla="*/ 956 h 1072"/>
                  <a:gd name="connsiteX149" fmla="*/ 587 w 5133"/>
                  <a:gd name="connsiteY149" fmla="*/ 956 h 1072"/>
                  <a:gd name="connsiteX150" fmla="*/ 646 w 5133"/>
                  <a:gd name="connsiteY150" fmla="*/ 950 h 1072"/>
                  <a:gd name="connsiteX151" fmla="*/ 702 w 5133"/>
                  <a:gd name="connsiteY151" fmla="*/ 935 h 1072"/>
                  <a:gd name="connsiteX152" fmla="*/ 756 w 5133"/>
                  <a:gd name="connsiteY152" fmla="*/ 913 h 1072"/>
                  <a:gd name="connsiteX153" fmla="*/ 803 w 5133"/>
                  <a:gd name="connsiteY153" fmla="*/ 884 h 1072"/>
                  <a:gd name="connsiteX154" fmla="*/ 849 w 5133"/>
                  <a:gd name="connsiteY154" fmla="*/ 846 h 1072"/>
                  <a:gd name="connsiteX155" fmla="*/ 892 w 5133"/>
                  <a:gd name="connsiteY155" fmla="*/ 803 h 1072"/>
                  <a:gd name="connsiteX156" fmla="*/ 931 w 5133"/>
                  <a:gd name="connsiteY156" fmla="*/ 755 h 1072"/>
                  <a:gd name="connsiteX157" fmla="*/ 971 w 5133"/>
                  <a:gd name="connsiteY157" fmla="*/ 703 h 1072"/>
                  <a:gd name="connsiteX158" fmla="*/ 1010 w 5133"/>
                  <a:gd name="connsiteY158" fmla="*/ 649 h 1072"/>
                  <a:gd name="connsiteX159" fmla="*/ 1121 w 5133"/>
                  <a:gd name="connsiteY159" fmla="*/ 475 h 1072"/>
                  <a:gd name="connsiteX160" fmla="*/ 1161 w 5133"/>
                  <a:gd name="connsiteY160" fmla="*/ 415 h 1072"/>
                  <a:gd name="connsiteX161" fmla="*/ 1202 w 5133"/>
                  <a:gd name="connsiteY161" fmla="*/ 357 h 1072"/>
                  <a:gd name="connsiteX162" fmla="*/ 1245 w 5133"/>
                  <a:gd name="connsiteY162" fmla="*/ 299 h 1072"/>
                  <a:gd name="connsiteX163" fmla="*/ 1291 w 5133"/>
                  <a:gd name="connsiteY163" fmla="*/ 245 h 1072"/>
                  <a:gd name="connsiteX164" fmla="*/ 1338 w 5133"/>
                  <a:gd name="connsiteY164" fmla="*/ 193 h 1072"/>
                  <a:gd name="connsiteX165" fmla="*/ 1392 w 5133"/>
                  <a:gd name="connsiteY165" fmla="*/ 145 h 1072"/>
                  <a:gd name="connsiteX166" fmla="*/ 1447 w 5133"/>
                  <a:gd name="connsiteY166" fmla="*/ 104 h 1072"/>
                  <a:gd name="connsiteX167" fmla="*/ 1509 w 5133"/>
                  <a:gd name="connsiteY167" fmla="*/ 69 h 1072"/>
                  <a:gd name="connsiteX168" fmla="*/ 1575 w 5133"/>
                  <a:gd name="connsiteY168" fmla="*/ 40 h 1072"/>
                  <a:gd name="connsiteX169" fmla="*/ 1648 w 5133"/>
                  <a:gd name="connsiteY169" fmla="*/ 19 h 1072"/>
                  <a:gd name="connsiteX170" fmla="*/ 1726 w 5133"/>
                  <a:gd name="connsiteY170" fmla="*/ 6 h 1072"/>
                  <a:gd name="connsiteX171" fmla="*/ 1796 w 5133"/>
                  <a:gd name="connsiteY171" fmla="*/ 4 h 1072"/>
                  <a:gd name="connsiteX172" fmla="*/ 1862 w 5133"/>
                  <a:gd name="connsiteY172" fmla="*/ 13 h 1072"/>
                  <a:gd name="connsiteX173" fmla="*/ 1922 w 5133"/>
                  <a:gd name="connsiteY173" fmla="*/ 27 h 1072"/>
                  <a:gd name="connsiteX174" fmla="*/ 1980 w 5133"/>
                  <a:gd name="connsiteY174" fmla="*/ 50 h 1072"/>
                  <a:gd name="connsiteX175" fmla="*/ 2034 w 5133"/>
                  <a:gd name="connsiteY175" fmla="*/ 81 h 1072"/>
                  <a:gd name="connsiteX176" fmla="*/ 2083 w 5133"/>
                  <a:gd name="connsiteY176" fmla="*/ 116 h 1072"/>
                  <a:gd name="connsiteX177" fmla="*/ 2129 w 5133"/>
                  <a:gd name="connsiteY177" fmla="*/ 158 h 1072"/>
                  <a:gd name="connsiteX178" fmla="*/ 2174 w 5133"/>
                  <a:gd name="connsiteY178" fmla="*/ 203 h 1072"/>
                  <a:gd name="connsiteX179" fmla="*/ 2216 w 5133"/>
                  <a:gd name="connsiteY179" fmla="*/ 251 h 1072"/>
                  <a:gd name="connsiteX180" fmla="*/ 2255 w 5133"/>
                  <a:gd name="connsiteY180" fmla="*/ 303 h 1072"/>
                  <a:gd name="connsiteX181" fmla="*/ 2292 w 5133"/>
                  <a:gd name="connsiteY181" fmla="*/ 357 h 1072"/>
                  <a:gd name="connsiteX182" fmla="*/ 2327 w 5133"/>
                  <a:gd name="connsiteY182" fmla="*/ 413 h 1072"/>
                  <a:gd name="connsiteX183" fmla="*/ 2362 w 5133"/>
                  <a:gd name="connsiteY183" fmla="*/ 467 h 1072"/>
                  <a:gd name="connsiteX184" fmla="*/ 2395 w 5133"/>
                  <a:gd name="connsiteY184" fmla="*/ 523 h 1072"/>
                  <a:gd name="connsiteX185" fmla="*/ 2432 w 5133"/>
                  <a:gd name="connsiteY185" fmla="*/ 585 h 1072"/>
                  <a:gd name="connsiteX186" fmla="*/ 2469 w 5133"/>
                  <a:gd name="connsiteY186" fmla="*/ 643 h 1072"/>
                  <a:gd name="connsiteX187" fmla="*/ 2509 w 5133"/>
                  <a:gd name="connsiteY187" fmla="*/ 701 h 1072"/>
                  <a:gd name="connsiteX188" fmla="*/ 2546 w 5133"/>
                  <a:gd name="connsiteY188" fmla="*/ 755 h 1072"/>
                  <a:gd name="connsiteX189" fmla="*/ 2587 w 5133"/>
                  <a:gd name="connsiteY189" fmla="*/ 805 h 1072"/>
                  <a:gd name="connsiteX190" fmla="*/ 2628 w 5133"/>
                  <a:gd name="connsiteY190" fmla="*/ 848 h 1072"/>
                  <a:gd name="connsiteX191" fmla="*/ 2672 w 5133"/>
                  <a:gd name="connsiteY191" fmla="*/ 886 h 1072"/>
                  <a:gd name="connsiteX192" fmla="*/ 2717 w 5133"/>
                  <a:gd name="connsiteY192" fmla="*/ 917 h 1072"/>
                  <a:gd name="connsiteX193" fmla="*/ 2767 w 5133"/>
                  <a:gd name="connsiteY193" fmla="*/ 940 h 1072"/>
                  <a:gd name="connsiteX194" fmla="*/ 2820 w 5133"/>
                  <a:gd name="connsiteY194" fmla="*/ 952 h 1072"/>
                  <a:gd name="connsiteX195" fmla="*/ 2876 w 5133"/>
                  <a:gd name="connsiteY195" fmla="*/ 956 h 1072"/>
                  <a:gd name="connsiteX196" fmla="*/ 2932 w 5133"/>
                  <a:gd name="connsiteY196" fmla="*/ 950 h 1072"/>
                  <a:gd name="connsiteX197" fmla="*/ 2982 w 5133"/>
                  <a:gd name="connsiteY197" fmla="*/ 935 h 1072"/>
                  <a:gd name="connsiteX198" fmla="*/ 3029 w 5133"/>
                  <a:gd name="connsiteY198" fmla="*/ 915 h 1072"/>
                  <a:gd name="connsiteX199" fmla="*/ 3072 w 5133"/>
                  <a:gd name="connsiteY199" fmla="*/ 884 h 1072"/>
                  <a:gd name="connsiteX200" fmla="*/ 3112 w 5133"/>
                  <a:gd name="connsiteY200" fmla="*/ 848 h 1072"/>
                  <a:gd name="connsiteX201" fmla="*/ 3149 w 5133"/>
                  <a:gd name="connsiteY201" fmla="*/ 807 h 1072"/>
                  <a:gd name="connsiteX202" fmla="*/ 3184 w 5133"/>
                  <a:gd name="connsiteY202" fmla="*/ 759 h 1072"/>
                  <a:gd name="connsiteX203" fmla="*/ 3217 w 5133"/>
                  <a:gd name="connsiteY203" fmla="*/ 709 h 1072"/>
                  <a:gd name="connsiteX204" fmla="*/ 3250 w 5133"/>
                  <a:gd name="connsiteY204" fmla="*/ 655 h 1072"/>
                  <a:gd name="connsiteX205" fmla="*/ 3283 w 5133"/>
                  <a:gd name="connsiteY205" fmla="*/ 597 h 1072"/>
                  <a:gd name="connsiteX206" fmla="*/ 3316 w 5133"/>
                  <a:gd name="connsiteY206" fmla="*/ 537 h 1072"/>
                  <a:gd name="connsiteX207" fmla="*/ 3345 w 5133"/>
                  <a:gd name="connsiteY207" fmla="*/ 483 h 1072"/>
                  <a:gd name="connsiteX208" fmla="*/ 3407 w 5133"/>
                  <a:gd name="connsiteY208" fmla="*/ 375 h 1072"/>
                  <a:gd name="connsiteX209" fmla="*/ 3477 w 5133"/>
                  <a:gd name="connsiteY209" fmla="*/ 272 h 1072"/>
                  <a:gd name="connsiteX210" fmla="*/ 3514 w 5133"/>
                  <a:gd name="connsiteY210" fmla="*/ 224 h 1072"/>
                  <a:gd name="connsiteX211" fmla="*/ 3555 w 5133"/>
                  <a:gd name="connsiteY211" fmla="*/ 178 h 1072"/>
                  <a:gd name="connsiteX212" fmla="*/ 3599 w 5133"/>
                  <a:gd name="connsiteY212" fmla="*/ 137 h 1072"/>
                  <a:gd name="connsiteX213" fmla="*/ 3646 w 5133"/>
                  <a:gd name="connsiteY213" fmla="*/ 100 h 1072"/>
                  <a:gd name="connsiteX214" fmla="*/ 3698 w 5133"/>
                  <a:gd name="connsiteY214" fmla="*/ 66 h 1072"/>
                  <a:gd name="connsiteX215" fmla="*/ 3756 w 5133"/>
                  <a:gd name="connsiteY215" fmla="*/ 40 h 1072"/>
                  <a:gd name="connsiteX216" fmla="*/ 3816 w 5133"/>
                  <a:gd name="connsiteY216" fmla="*/ 19 h 1072"/>
                  <a:gd name="connsiteX217" fmla="*/ 3882 w 5133"/>
                  <a:gd name="connsiteY217" fmla="*/ 6 h 1072"/>
                  <a:gd name="connsiteX218" fmla="*/ 3954 w 5133"/>
                  <a:gd name="connsiteY218" fmla="*/ 0 h 1072"/>
                  <a:gd name="connsiteX0" fmla="*/ 3954 w 5133"/>
                  <a:gd name="connsiteY0" fmla="*/ 0 h 1072"/>
                  <a:gd name="connsiteX1" fmla="*/ 4004 w 5133"/>
                  <a:gd name="connsiteY1" fmla="*/ 0 h 1072"/>
                  <a:gd name="connsiteX2" fmla="*/ 4032 w 5133"/>
                  <a:gd name="connsiteY2" fmla="*/ 4 h 1072"/>
                  <a:gd name="connsiteX3" fmla="*/ 4063 w 5133"/>
                  <a:gd name="connsiteY3" fmla="*/ 13 h 1072"/>
                  <a:gd name="connsiteX4" fmla="*/ 4101 w 5133"/>
                  <a:gd name="connsiteY4" fmla="*/ 23 h 1072"/>
                  <a:gd name="connsiteX5" fmla="*/ 4142 w 5133"/>
                  <a:gd name="connsiteY5" fmla="*/ 40 h 1072"/>
                  <a:gd name="connsiteX6" fmla="*/ 4185 w 5133"/>
                  <a:gd name="connsiteY6" fmla="*/ 60 h 1072"/>
                  <a:gd name="connsiteX7" fmla="*/ 4233 w 5133"/>
                  <a:gd name="connsiteY7" fmla="*/ 89 h 1072"/>
                  <a:gd name="connsiteX8" fmla="*/ 4282 w 5133"/>
                  <a:gd name="connsiteY8" fmla="*/ 125 h 1072"/>
                  <a:gd name="connsiteX9" fmla="*/ 4332 w 5133"/>
                  <a:gd name="connsiteY9" fmla="*/ 170 h 1072"/>
                  <a:gd name="connsiteX10" fmla="*/ 4383 w 5133"/>
                  <a:gd name="connsiteY10" fmla="*/ 224 h 1072"/>
                  <a:gd name="connsiteX11" fmla="*/ 4435 w 5133"/>
                  <a:gd name="connsiteY11" fmla="*/ 286 h 1072"/>
                  <a:gd name="connsiteX12" fmla="*/ 4487 w 5133"/>
                  <a:gd name="connsiteY12" fmla="*/ 361 h 1072"/>
                  <a:gd name="connsiteX13" fmla="*/ 4538 w 5133"/>
                  <a:gd name="connsiteY13" fmla="*/ 448 h 1072"/>
                  <a:gd name="connsiteX14" fmla="*/ 4590 w 5133"/>
                  <a:gd name="connsiteY14" fmla="*/ 548 h 1072"/>
                  <a:gd name="connsiteX15" fmla="*/ 4635 w 5133"/>
                  <a:gd name="connsiteY15" fmla="*/ 633 h 1072"/>
                  <a:gd name="connsiteX16" fmla="*/ 4681 w 5133"/>
                  <a:gd name="connsiteY16" fmla="*/ 705 h 1072"/>
                  <a:gd name="connsiteX17" fmla="*/ 4728 w 5133"/>
                  <a:gd name="connsiteY17" fmla="*/ 767 h 1072"/>
                  <a:gd name="connsiteX18" fmla="*/ 4776 w 5133"/>
                  <a:gd name="connsiteY18" fmla="*/ 819 h 1072"/>
                  <a:gd name="connsiteX19" fmla="*/ 4821 w 5133"/>
                  <a:gd name="connsiteY19" fmla="*/ 863 h 1072"/>
                  <a:gd name="connsiteX20" fmla="*/ 4869 w 5133"/>
                  <a:gd name="connsiteY20" fmla="*/ 898 h 1072"/>
                  <a:gd name="connsiteX21" fmla="*/ 4955 w 5133"/>
                  <a:gd name="connsiteY21" fmla="*/ 948 h 1072"/>
                  <a:gd name="connsiteX22" fmla="*/ 5030 w 5133"/>
                  <a:gd name="connsiteY22" fmla="*/ 973 h 1072"/>
                  <a:gd name="connsiteX23" fmla="*/ 5059 w 5133"/>
                  <a:gd name="connsiteY23" fmla="*/ 981 h 1072"/>
                  <a:gd name="connsiteX24" fmla="*/ 5125 w 5133"/>
                  <a:gd name="connsiteY24" fmla="*/ 985 h 1072"/>
                  <a:gd name="connsiteX25" fmla="*/ 5133 w 5133"/>
                  <a:gd name="connsiteY25" fmla="*/ 1072 h 1072"/>
                  <a:gd name="connsiteX26" fmla="*/ 5098 w 5133"/>
                  <a:gd name="connsiteY26" fmla="*/ 1072 h 1072"/>
                  <a:gd name="connsiteX27" fmla="*/ 5071 w 5133"/>
                  <a:gd name="connsiteY27" fmla="*/ 1070 h 1072"/>
                  <a:gd name="connsiteX28" fmla="*/ 5040 w 5133"/>
                  <a:gd name="connsiteY28" fmla="*/ 1064 h 1072"/>
                  <a:gd name="connsiteX29" fmla="*/ 5003 w 5133"/>
                  <a:gd name="connsiteY29" fmla="*/ 1056 h 1072"/>
                  <a:gd name="connsiteX30" fmla="*/ 4961 w 5133"/>
                  <a:gd name="connsiteY30" fmla="*/ 1043 h 1072"/>
                  <a:gd name="connsiteX31" fmla="*/ 4869 w 5133"/>
                  <a:gd name="connsiteY31" fmla="*/ 1002 h 1072"/>
                  <a:gd name="connsiteX32" fmla="*/ 4819 w 5133"/>
                  <a:gd name="connsiteY32" fmla="*/ 971 h 1072"/>
                  <a:gd name="connsiteX33" fmla="*/ 4767 w 5133"/>
                  <a:gd name="connsiteY33" fmla="*/ 931 h 1072"/>
                  <a:gd name="connsiteX34" fmla="*/ 4716 w 5133"/>
                  <a:gd name="connsiteY34" fmla="*/ 881 h 1072"/>
                  <a:gd name="connsiteX35" fmla="*/ 4662 w 5133"/>
                  <a:gd name="connsiteY35" fmla="*/ 823 h 1072"/>
                  <a:gd name="connsiteX36" fmla="*/ 4611 w 5133"/>
                  <a:gd name="connsiteY36" fmla="*/ 755 h 1072"/>
                  <a:gd name="connsiteX37" fmla="*/ 4561 w 5133"/>
                  <a:gd name="connsiteY37" fmla="*/ 676 h 1072"/>
                  <a:gd name="connsiteX38" fmla="*/ 4513 w 5133"/>
                  <a:gd name="connsiteY38" fmla="*/ 583 h 1072"/>
                  <a:gd name="connsiteX39" fmla="*/ 4464 w 5133"/>
                  <a:gd name="connsiteY39" fmla="*/ 487 h 1072"/>
                  <a:gd name="connsiteX40" fmla="*/ 4414 w 5133"/>
                  <a:gd name="connsiteY40" fmla="*/ 404 h 1072"/>
                  <a:gd name="connsiteX41" fmla="*/ 4365 w 5133"/>
                  <a:gd name="connsiteY41" fmla="*/ 336 h 1072"/>
                  <a:gd name="connsiteX42" fmla="*/ 4315 w 5133"/>
                  <a:gd name="connsiteY42" fmla="*/ 276 h 1072"/>
                  <a:gd name="connsiteX43" fmla="*/ 4268 w 5133"/>
                  <a:gd name="connsiteY43" fmla="*/ 228 h 1072"/>
                  <a:gd name="connsiteX44" fmla="*/ 4222 w 5133"/>
                  <a:gd name="connsiteY44" fmla="*/ 189 h 1072"/>
                  <a:gd name="connsiteX45" fmla="*/ 4181 w 5133"/>
                  <a:gd name="connsiteY45" fmla="*/ 158 h 1072"/>
                  <a:gd name="connsiteX46" fmla="*/ 4142 w 5133"/>
                  <a:gd name="connsiteY46" fmla="*/ 135 h 1072"/>
                  <a:gd name="connsiteX47" fmla="*/ 4092 w 5133"/>
                  <a:gd name="connsiteY47" fmla="*/ 112 h 1072"/>
                  <a:gd name="connsiteX48" fmla="*/ 4049 w 5133"/>
                  <a:gd name="connsiteY48" fmla="*/ 98 h 1072"/>
                  <a:gd name="connsiteX49" fmla="*/ 4014 w 5133"/>
                  <a:gd name="connsiteY49" fmla="*/ 89 h 1072"/>
                  <a:gd name="connsiteX50" fmla="*/ 3985 w 5133"/>
                  <a:gd name="connsiteY50" fmla="*/ 87 h 1072"/>
                  <a:gd name="connsiteX51" fmla="*/ 3958 w 5133"/>
                  <a:gd name="connsiteY51" fmla="*/ 87 h 1072"/>
                  <a:gd name="connsiteX52" fmla="*/ 3892 w 5133"/>
                  <a:gd name="connsiteY52" fmla="*/ 93 h 1072"/>
                  <a:gd name="connsiteX53" fmla="*/ 3830 w 5133"/>
                  <a:gd name="connsiteY53" fmla="*/ 106 h 1072"/>
                  <a:gd name="connsiteX54" fmla="*/ 3774 w 5133"/>
                  <a:gd name="connsiteY54" fmla="*/ 127 h 1072"/>
                  <a:gd name="connsiteX55" fmla="*/ 3723 w 5133"/>
                  <a:gd name="connsiteY55" fmla="*/ 154 h 1072"/>
                  <a:gd name="connsiteX56" fmla="*/ 3675 w 5133"/>
                  <a:gd name="connsiteY56" fmla="*/ 187 h 1072"/>
                  <a:gd name="connsiteX57" fmla="*/ 3632 w 5133"/>
                  <a:gd name="connsiteY57" fmla="*/ 224 h 1072"/>
                  <a:gd name="connsiteX58" fmla="*/ 3593 w 5133"/>
                  <a:gd name="connsiteY58" fmla="*/ 268 h 1072"/>
                  <a:gd name="connsiteX59" fmla="*/ 3553 w 5133"/>
                  <a:gd name="connsiteY59" fmla="*/ 313 h 1072"/>
                  <a:gd name="connsiteX60" fmla="*/ 3518 w 5133"/>
                  <a:gd name="connsiteY60" fmla="*/ 363 h 1072"/>
                  <a:gd name="connsiteX61" fmla="*/ 3485 w 5133"/>
                  <a:gd name="connsiteY61" fmla="*/ 415 h 1072"/>
                  <a:gd name="connsiteX62" fmla="*/ 3423 w 5133"/>
                  <a:gd name="connsiteY62" fmla="*/ 523 h 1072"/>
                  <a:gd name="connsiteX63" fmla="*/ 3330 w 5133"/>
                  <a:gd name="connsiteY63" fmla="*/ 691 h 1072"/>
                  <a:gd name="connsiteX64" fmla="*/ 3297 w 5133"/>
                  <a:gd name="connsiteY64" fmla="*/ 747 h 1072"/>
                  <a:gd name="connsiteX65" fmla="*/ 3262 w 5133"/>
                  <a:gd name="connsiteY65" fmla="*/ 799 h 1072"/>
                  <a:gd name="connsiteX66" fmla="*/ 3227 w 5133"/>
                  <a:gd name="connsiteY66" fmla="*/ 848 h 1072"/>
                  <a:gd name="connsiteX67" fmla="*/ 3188 w 5133"/>
                  <a:gd name="connsiteY67" fmla="*/ 894 h 1072"/>
                  <a:gd name="connsiteX68" fmla="*/ 3147 w 5133"/>
                  <a:gd name="connsiteY68" fmla="*/ 935 h 1072"/>
                  <a:gd name="connsiteX69" fmla="*/ 3101 w 5133"/>
                  <a:gd name="connsiteY69" fmla="*/ 971 h 1072"/>
                  <a:gd name="connsiteX70" fmla="*/ 3052 w 5133"/>
                  <a:gd name="connsiteY70" fmla="*/ 1000 h 1072"/>
                  <a:gd name="connsiteX71" fmla="*/ 3000 w 5133"/>
                  <a:gd name="connsiteY71" fmla="*/ 1022 h 1072"/>
                  <a:gd name="connsiteX72" fmla="*/ 2942 w 5133"/>
                  <a:gd name="connsiteY72" fmla="*/ 1037 h 1072"/>
                  <a:gd name="connsiteX73" fmla="*/ 2878 w 5133"/>
                  <a:gd name="connsiteY73" fmla="*/ 1043 h 1072"/>
                  <a:gd name="connsiteX74" fmla="*/ 2870 w 5133"/>
                  <a:gd name="connsiteY74" fmla="*/ 1043 h 1072"/>
                  <a:gd name="connsiteX75" fmla="*/ 2808 w 5133"/>
                  <a:gd name="connsiteY75" fmla="*/ 1039 h 1072"/>
                  <a:gd name="connsiteX76" fmla="*/ 2748 w 5133"/>
                  <a:gd name="connsiteY76" fmla="*/ 1025 h 1072"/>
                  <a:gd name="connsiteX77" fmla="*/ 2695 w 5133"/>
                  <a:gd name="connsiteY77" fmla="*/ 1002 h 1072"/>
                  <a:gd name="connsiteX78" fmla="*/ 2643 w 5133"/>
                  <a:gd name="connsiteY78" fmla="*/ 973 h 1072"/>
                  <a:gd name="connsiteX79" fmla="*/ 2595 w 5133"/>
                  <a:gd name="connsiteY79" fmla="*/ 935 h 1072"/>
                  <a:gd name="connsiteX80" fmla="*/ 2552 w 5133"/>
                  <a:gd name="connsiteY80" fmla="*/ 894 h 1072"/>
                  <a:gd name="connsiteX81" fmla="*/ 2509 w 5133"/>
                  <a:gd name="connsiteY81" fmla="*/ 846 h 1072"/>
                  <a:gd name="connsiteX82" fmla="*/ 2469 w 5133"/>
                  <a:gd name="connsiteY82" fmla="*/ 796 h 1072"/>
                  <a:gd name="connsiteX83" fmla="*/ 2430 w 5133"/>
                  <a:gd name="connsiteY83" fmla="*/ 740 h 1072"/>
                  <a:gd name="connsiteX84" fmla="*/ 2393 w 5133"/>
                  <a:gd name="connsiteY84" fmla="*/ 684 h 1072"/>
                  <a:gd name="connsiteX85" fmla="*/ 2288 w 5133"/>
                  <a:gd name="connsiteY85" fmla="*/ 510 h 1072"/>
                  <a:gd name="connsiteX86" fmla="*/ 2251 w 5133"/>
                  <a:gd name="connsiteY86" fmla="*/ 452 h 1072"/>
                  <a:gd name="connsiteX87" fmla="*/ 2213 w 5133"/>
                  <a:gd name="connsiteY87" fmla="*/ 396 h 1072"/>
                  <a:gd name="connsiteX88" fmla="*/ 2176 w 5133"/>
                  <a:gd name="connsiteY88" fmla="*/ 342 h 1072"/>
                  <a:gd name="connsiteX89" fmla="*/ 2137 w 5133"/>
                  <a:gd name="connsiteY89" fmla="*/ 293 h 1072"/>
                  <a:gd name="connsiteX90" fmla="*/ 2096 w 5133"/>
                  <a:gd name="connsiteY90" fmla="*/ 247 h 1072"/>
                  <a:gd name="connsiteX91" fmla="*/ 2054 w 5133"/>
                  <a:gd name="connsiteY91" fmla="*/ 205 h 1072"/>
                  <a:gd name="connsiteX92" fmla="*/ 2009 w 5133"/>
                  <a:gd name="connsiteY92" fmla="*/ 168 h 1072"/>
                  <a:gd name="connsiteX93" fmla="*/ 1962 w 5133"/>
                  <a:gd name="connsiteY93" fmla="*/ 139 h 1072"/>
                  <a:gd name="connsiteX94" fmla="*/ 1910 w 5133"/>
                  <a:gd name="connsiteY94" fmla="*/ 116 h 1072"/>
                  <a:gd name="connsiteX95" fmla="*/ 1854 w 5133"/>
                  <a:gd name="connsiteY95" fmla="*/ 100 h 1072"/>
                  <a:gd name="connsiteX96" fmla="*/ 1796 w 5133"/>
                  <a:gd name="connsiteY96" fmla="*/ 91 h 1072"/>
                  <a:gd name="connsiteX97" fmla="*/ 1732 w 5133"/>
                  <a:gd name="connsiteY97" fmla="*/ 93 h 1072"/>
                  <a:gd name="connsiteX98" fmla="*/ 1664 w 5133"/>
                  <a:gd name="connsiteY98" fmla="*/ 104 h 1072"/>
                  <a:gd name="connsiteX99" fmla="*/ 1602 w 5133"/>
                  <a:gd name="connsiteY99" fmla="*/ 122 h 1072"/>
                  <a:gd name="connsiteX100" fmla="*/ 1545 w 5133"/>
                  <a:gd name="connsiteY100" fmla="*/ 147 h 1072"/>
                  <a:gd name="connsiteX101" fmla="*/ 1491 w 5133"/>
                  <a:gd name="connsiteY101" fmla="*/ 181 h 1072"/>
                  <a:gd name="connsiteX102" fmla="*/ 1439 w 5133"/>
                  <a:gd name="connsiteY102" fmla="*/ 218 h 1072"/>
                  <a:gd name="connsiteX103" fmla="*/ 1394 w 5133"/>
                  <a:gd name="connsiteY103" fmla="*/ 261 h 1072"/>
                  <a:gd name="connsiteX104" fmla="*/ 1348 w 5133"/>
                  <a:gd name="connsiteY104" fmla="*/ 307 h 1072"/>
                  <a:gd name="connsiteX105" fmla="*/ 1307 w 5133"/>
                  <a:gd name="connsiteY105" fmla="*/ 359 h 1072"/>
                  <a:gd name="connsiteX106" fmla="*/ 1268 w 5133"/>
                  <a:gd name="connsiteY106" fmla="*/ 413 h 1072"/>
                  <a:gd name="connsiteX107" fmla="*/ 1231 w 5133"/>
                  <a:gd name="connsiteY107" fmla="*/ 467 h 1072"/>
                  <a:gd name="connsiteX108" fmla="*/ 1194 w 5133"/>
                  <a:gd name="connsiteY108" fmla="*/ 523 h 1072"/>
                  <a:gd name="connsiteX109" fmla="*/ 1156 w 5133"/>
                  <a:gd name="connsiteY109" fmla="*/ 581 h 1072"/>
                  <a:gd name="connsiteX110" fmla="*/ 1121 w 5133"/>
                  <a:gd name="connsiteY110" fmla="*/ 637 h 1072"/>
                  <a:gd name="connsiteX111" fmla="*/ 1047 w 5133"/>
                  <a:gd name="connsiteY111" fmla="*/ 749 h 1072"/>
                  <a:gd name="connsiteX112" fmla="*/ 1008 w 5133"/>
                  <a:gd name="connsiteY112" fmla="*/ 801 h 1072"/>
                  <a:gd name="connsiteX113" fmla="*/ 966 w 5133"/>
                  <a:gd name="connsiteY113" fmla="*/ 850 h 1072"/>
                  <a:gd name="connsiteX114" fmla="*/ 923 w 5133"/>
                  <a:gd name="connsiteY114" fmla="*/ 896 h 1072"/>
                  <a:gd name="connsiteX115" fmla="*/ 876 w 5133"/>
                  <a:gd name="connsiteY115" fmla="*/ 937 h 1072"/>
                  <a:gd name="connsiteX116" fmla="*/ 826 w 5133"/>
                  <a:gd name="connsiteY116" fmla="*/ 973 h 1072"/>
                  <a:gd name="connsiteX117" fmla="*/ 772 w 5133"/>
                  <a:gd name="connsiteY117" fmla="*/ 1002 h 1072"/>
                  <a:gd name="connsiteX118" fmla="*/ 717 w 5133"/>
                  <a:gd name="connsiteY118" fmla="*/ 1025 h 1072"/>
                  <a:gd name="connsiteX119" fmla="*/ 653 w 5133"/>
                  <a:gd name="connsiteY119" fmla="*/ 1037 h 1072"/>
                  <a:gd name="connsiteX120" fmla="*/ 587 w 5133"/>
                  <a:gd name="connsiteY120" fmla="*/ 1043 h 1072"/>
                  <a:gd name="connsiteX121" fmla="*/ 580 w 5133"/>
                  <a:gd name="connsiteY121" fmla="*/ 1043 h 1072"/>
                  <a:gd name="connsiteX122" fmla="*/ 512 w 5133"/>
                  <a:gd name="connsiteY122" fmla="*/ 1039 h 1072"/>
                  <a:gd name="connsiteX123" fmla="*/ 450 w 5133"/>
                  <a:gd name="connsiteY123" fmla="*/ 1027 h 1072"/>
                  <a:gd name="connsiteX124" fmla="*/ 392 w 5133"/>
                  <a:gd name="connsiteY124" fmla="*/ 1008 h 1072"/>
                  <a:gd name="connsiteX125" fmla="*/ 341 w 5133"/>
                  <a:gd name="connsiteY125" fmla="*/ 983 h 1072"/>
                  <a:gd name="connsiteX126" fmla="*/ 293 w 5133"/>
                  <a:gd name="connsiteY126" fmla="*/ 952 h 1072"/>
                  <a:gd name="connsiteX127" fmla="*/ 248 w 5133"/>
                  <a:gd name="connsiteY127" fmla="*/ 915 h 1072"/>
                  <a:gd name="connsiteX128" fmla="*/ 207 w 5133"/>
                  <a:gd name="connsiteY128" fmla="*/ 873 h 1072"/>
                  <a:gd name="connsiteX129" fmla="*/ 169 w 5133"/>
                  <a:gd name="connsiteY129" fmla="*/ 828 h 1072"/>
                  <a:gd name="connsiteX130" fmla="*/ 132 w 5133"/>
                  <a:gd name="connsiteY130" fmla="*/ 780 h 1072"/>
                  <a:gd name="connsiteX131" fmla="*/ 99 w 5133"/>
                  <a:gd name="connsiteY131" fmla="*/ 728 h 1072"/>
                  <a:gd name="connsiteX132" fmla="*/ 64 w 5133"/>
                  <a:gd name="connsiteY132" fmla="*/ 674 h 1072"/>
                  <a:gd name="connsiteX133" fmla="*/ 33 w 5133"/>
                  <a:gd name="connsiteY133" fmla="*/ 618 h 1072"/>
                  <a:gd name="connsiteX134" fmla="*/ 0 w 5133"/>
                  <a:gd name="connsiteY134" fmla="*/ 560 h 1072"/>
                  <a:gd name="connsiteX135" fmla="*/ 77 w 5133"/>
                  <a:gd name="connsiteY135" fmla="*/ 516 h 1072"/>
                  <a:gd name="connsiteX136" fmla="*/ 110 w 5133"/>
                  <a:gd name="connsiteY136" fmla="*/ 575 h 1072"/>
                  <a:gd name="connsiteX137" fmla="*/ 143 w 5133"/>
                  <a:gd name="connsiteY137" fmla="*/ 631 h 1072"/>
                  <a:gd name="connsiteX138" fmla="*/ 176 w 5133"/>
                  <a:gd name="connsiteY138" fmla="*/ 684 h 1072"/>
                  <a:gd name="connsiteX139" fmla="*/ 209 w 5133"/>
                  <a:gd name="connsiteY139" fmla="*/ 736 h 1072"/>
                  <a:gd name="connsiteX140" fmla="*/ 244 w 5133"/>
                  <a:gd name="connsiteY140" fmla="*/ 782 h 1072"/>
                  <a:gd name="connsiteX141" fmla="*/ 281 w 5133"/>
                  <a:gd name="connsiteY141" fmla="*/ 825 h 1072"/>
                  <a:gd name="connsiteX142" fmla="*/ 322 w 5133"/>
                  <a:gd name="connsiteY142" fmla="*/ 863 h 1072"/>
                  <a:gd name="connsiteX143" fmla="*/ 366 w 5133"/>
                  <a:gd name="connsiteY143" fmla="*/ 894 h 1072"/>
                  <a:gd name="connsiteX144" fmla="*/ 413 w 5133"/>
                  <a:gd name="connsiteY144" fmla="*/ 921 h 1072"/>
                  <a:gd name="connsiteX145" fmla="*/ 463 w 5133"/>
                  <a:gd name="connsiteY145" fmla="*/ 940 h 1072"/>
                  <a:gd name="connsiteX146" fmla="*/ 518 w 5133"/>
                  <a:gd name="connsiteY146" fmla="*/ 952 h 1072"/>
                  <a:gd name="connsiteX147" fmla="*/ 580 w 5133"/>
                  <a:gd name="connsiteY147" fmla="*/ 956 h 1072"/>
                  <a:gd name="connsiteX148" fmla="*/ 587 w 5133"/>
                  <a:gd name="connsiteY148" fmla="*/ 956 h 1072"/>
                  <a:gd name="connsiteX149" fmla="*/ 646 w 5133"/>
                  <a:gd name="connsiteY149" fmla="*/ 950 h 1072"/>
                  <a:gd name="connsiteX150" fmla="*/ 702 w 5133"/>
                  <a:gd name="connsiteY150" fmla="*/ 935 h 1072"/>
                  <a:gd name="connsiteX151" fmla="*/ 756 w 5133"/>
                  <a:gd name="connsiteY151" fmla="*/ 913 h 1072"/>
                  <a:gd name="connsiteX152" fmla="*/ 803 w 5133"/>
                  <a:gd name="connsiteY152" fmla="*/ 884 h 1072"/>
                  <a:gd name="connsiteX153" fmla="*/ 849 w 5133"/>
                  <a:gd name="connsiteY153" fmla="*/ 846 h 1072"/>
                  <a:gd name="connsiteX154" fmla="*/ 892 w 5133"/>
                  <a:gd name="connsiteY154" fmla="*/ 803 h 1072"/>
                  <a:gd name="connsiteX155" fmla="*/ 931 w 5133"/>
                  <a:gd name="connsiteY155" fmla="*/ 755 h 1072"/>
                  <a:gd name="connsiteX156" fmla="*/ 971 w 5133"/>
                  <a:gd name="connsiteY156" fmla="*/ 703 h 1072"/>
                  <a:gd name="connsiteX157" fmla="*/ 1010 w 5133"/>
                  <a:gd name="connsiteY157" fmla="*/ 649 h 1072"/>
                  <a:gd name="connsiteX158" fmla="*/ 1121 w 5133"/>
                  <a:gd name="connsiteY158" fmla="*/ 475 h 1072"/>
                  <a:gd name="connsiteX159" fmla="*/ 1161 w 5133"/>
                  <a:gd name="connsiteY159" fmla="*/ 415 h 1072"/>
                  <a:gd name="connsiteX160" fmla="*/ 1202 w 5133"/>
                  <a:gd name="connsiteY160" fmla="*/ 357 h 1072"/>
                  <a:gd name="connsiteX161" fmla="*/ 1245 w 5133"/>
                  <a:gd name="connsiteY161" fmla="*/ 299 h 1072"/>
                  <a:gd name="connsiteX162" fmla="*/ 1291 w 5133"/>
                  <a:gd name="connsiteY162" fmla="*/ 245 h 1072"/>
                  <a:gd name="connsiteX163" fmla="*/ 1338 w 5133"/>
                  <a:gd name="connsiteY163" fmla="*/ 193 h 1072"/>
                  <a:gd name="connsiteX164" fmla="*/ 1392 w 5133"/>
                  <a:gd name="connsiteY164" fmla="*/ 145 h 1072"/>
                  <a:gd name="connsiteX165" fmla="*/ 1447 w 5133"/>
                  <a:gd name="connsiteY165" fmla="*/ 104 h 1072"/>
                  <a:gd name="connsiteX166" fmla="*/ 1509 w 5133"/>
                  <a:gd name="connsiteY166" fmla="*/ 69 h 1072"/>
                  <a:gd name="connsiteX167" fmla="*/ 1575 w 5133"/>
                  <a:gd name="connsiteY167" fmla="*/ 40 h 1072"/>
                  <a:gd name="connsiteX168" fmla="*/ 1648 w 5133"/>
                  <a:gd name="connsiteY168" fmla="*/ 19 h 1072"/>
                  <a:gd name="connsiteX169" fmla="*/ 1726 w 5133"/>
                  <a:gd name="connsiteY169" fmla="*/ 6 h 1072"/>
                  <a:gd name="connsiteX170" fmla="*/ 1796 w 5133"/>
                  <a:gd name="connsiteY170" fmla="*/ 4 h 1072"/>
                  <a:gd name="connsiteX171" fmla="*/ 1862 w 5133"/>
                  <a:gd name="connsiteY171" fmla="*/ 13 h 1072"/>
                  <a:gd name="connsiteX172" fmla="*/ 1922 w 5133"/>
                  <a:gd name="connsiteY172" fmla="*/ 27 h 1072"/>
                  <a:gd name="connsiteX173" fmla="*/ 1980 w 5133"/>
                  <a:gd name="connsiteY173" fmla="*/ 50 h 1072"/>
                  <a:gd name="connsiteX174" fmla="*/ 2034 w 5133"/>
                  <a:gd name="connsiteY174" fmla="*/ 81 h 1072"/>
                  <a:gd name="connsiteX175" fmla="*/ 2083 w 5133"/>
                  <a:gd name="connsiteY175" fmla="*/ 116 h 1072"/>
                  <a:gd name="connsiteX176" fmla="*/ 2129 w 5133"/>
                  <a:gd name="connsiteY176" fmla="*/ 158 h 1072"/>
                  <a:gd name="connsiteX177" fmla="*/ 2174 w 5133"/>
                  <a:gd name="connsiteY177" fmla="*/ 203 h 1072"/>
                  <a:gd name="connsiteX178" fmla="*/ 2216 w 5133"/>
                  <a:gd name="connsiteY178" fmla="*/ 251 h 1072"/>
                  <a:gd name="connsiteX179" fmla="*/ 2255 w 5133"/>
                  <a:gd name="connsiteY179" fmla="*/ 303 h 1072"/>
                  <a:gd name="connsiteX180" fmla="*/ 2292 w 5133"/>
                  <a:gd name="connsiteY180" fmla="*/ 357 h 1072"/>
                  <a:gd name="connsiteX181" fmla="*/ 2327 w 5133"/>
                  <a:gd name="connsiteY181" fmla="*/ 413 h 1072"/>
                  <a:gd name="connsiteX182" fmla="*/ 2362 w 5133"/>
                  <a:gd name="connsiteY182" fmla="*/ 467 h 1072"/>
                  <a:gd name="connsiteX183" fmla="*/ 2395 w 5133"/>
                  <a:gd name="connsiteY183" fmla="*/ 523 h 1072"/>
                  <a:gd name="connsiteX184" fmla="*/ 2432 w 5133"/>
                  <a:gd name="connsiteY184" fmla="*/ 585 h 1072"/>
                  <a:gd name="connsiteX185" fmla="*/ 2469 w 5133"/>
                  <a:gd name="connsiteY185" fmla="*/ 643 h 1072"/>
                  <a:gd name="connsiteX186" fmla="*/ 2509 w 5133"/>
                  <a:gd name="connsiteY186" fmla="*/ 701 h 1072"/>
                  <a:gd name="connsiteX187" fmla="*/ 2546 w 5133"/>
                  <a:gd name="connsiteY187" fmla="*/ 755 h 1072"/>
                  <a:gd name="connsiteX188" fmla="*/ 2587 w 5133"/>
                  <a:gd name="connsiteY188" fmla="*/ 805 h 1072"/>
                  <a:gd name="connsiteX189" fmla="*/ 2628 w 5133"/>
                  <a:gd name="connsiteY189" fmla="*/ 848 h 1072"/>
                  <a:gd name="connsiteX190" fmla="*/ 2672 w 5133"/>
                  <a:gd name="connsiteY190" fmla="*/ 886 h 1072"/>
                  <a:gd name="connsiteX191" fmla="*/ 2717 w 5133"/>
                  <a:gd name="connsiteY191" fmla="*/ 917 h 1072"/>
                  <a:gd name="connsiteX192" fmla="*/ 2767 w 5133"/>
                  <a:gd name="connsiteY192" fmla="*/ 940 h 1072"/>
                  <a:gd name="connsiteX193" fmla="*/ 2820 w 5133"/>
                  <a:gd name="connsiteY193" fmla="*/ 952 h 1072"/>
                  <a:gd name="connsiteX194" fmla="*/ 2876 w 5133"/>
                  <a:gd name="connsiteY194" fmla="*/ 956 h 1072"/>
                  <a:gd name="connsiteX195" fmla="*/ 2932 w 5133"/>
                  <a:gd name="connsiteY195" fmla="*/ 950 h 1072"/>
                  <a:gd name="connsiteX196" fmla="*/ 2982 w 5133"/>
                  <a:gd name="connsiteY196" fmla="*/ 935 h 1072"/>
                  <a:gd name="connsiteX197" fmla="*/ 3029 w 5133"/>
                  <a:gd name="connsiteY197" fmla="*/ 915 h 1072"/>
                  <a:gd name="connsiteX198" fmla="*/ 3072 w 5133"/>
                  <a:gd name="connsiteY198" fmla="*/ 884 h 1072"/>
                  <a:gd name="connsiteX199" fmla="*/ 3112 w 5133"/>
                  <a:gd name="connsiteY199" fmla="*/ 848 h 1072"/>
                  <a:gd name="connsiteX200" fmla="*/ 3149 w 5133"/>
                  <a:gd name="connsiteY200" fmla="*/ 807 h 1072"/>
                  <a:gd name="connsiteX201" fmla="*/ 3184 w 5133"/>
                  <a:gd name="connsiteY201" fmla="*/ 759 h 1072"/>
                  <a:gd name="connsiteX202" fmla="*/ 3217 w 5133"/>
                  <a:gd name="connsiteY202" fmla="*/ 709 h 1072"/>
                  <a:gd name="connsiteX203" fmla="*/ 3250 w 5133"/>
                  <a:gd name="connsiteY203" fmla="*/ 655 h 1072"/>
                  <a:gd name="connsiteX204" fmla="*/ 3283 w 5133"/>
                  <a:gd name="connsiteY204" fmla="*/ 597 h 1072"/>
                  <a:gd name="connsiteX205" fmla="*/ 3316 w 5133"/>
                  <a:gd name="connsiteY205" fmla="*/ 537 h 1072"/>
                  <a:gd name="connsiteX206" fmla="*/ 3345 w 5133"/>
                  <a:gd name="connsiteY206" fmla="*/ 483 h 1072"/>
                  <a:gd name="connsiteX207" fmla="*/ 3407 w 5133"/>
                  <a:gd name="connsiteY207" fmla="*/ 375 h 1072"/>
                  <a:gd name="connsiteX208" fmla="*/ 3477 w 5133"/>
                  <a:gd name="connsiteY208" fmla="*/ 272 h 1072"/>
                  <a:gd name="connsiteX209" fmla="*/ 3514 w 5133"/>
                  <a:gd name="connsiteY209" fmla="*/ 224 h 1072"/>
                  <a:gd name="connsiteX210" fmla="*/ 3555 w 5133"/>
                  <a:gd name="connsiteY210" fmla="*/ 178 h 1072"/>
                  <a:gd name="connsiteX211" fmla="*/ 3599 w 5133"/>
                  <a:gd name="connsiteY211" fmla="*/ 137 h 1072"/>
                  <a:gd name="connsiteX212" fmla="*/ 3646 w 5133"/>
                  <a:gd name="connsiteY212" fmla="*/ 100 h 1072"/>
                  <a:gd name="connsiteX213" fmla="*/ 3698 w 5133"/>
                  <a:gd name="connsiteY213" fmla="*/ 66 h 1072"/>
                  <a:gd name="connsiteX214" fmla="*/ 3756 w 5133"/>
                  <a:gd name="connsiteY214" fmla="*/ 40 h 1072"/>
                  <a:gd name="connsiteX215" fmla="*/ 3816 w 5133"/>
                  <a:gd name="connsiteY215" fmla="*/ 19 h 1072"/>
                  <a:gd name="connsiteX216" fmla="*/ 3882 w 5133"/>
                  <a:gd name="connsiteY216" fmla="*/ 6 h 1072"/>
                  <a:gd name="connsiteX217" fmla="*/ 3954 w 5133"/>
                  <a:gd name="connsiteY217" fmla="*/ 0 h 1072"/>
                  <a:gd name="connsiteX0" fmla="*/ 3954 w 5133"/>
                  <a:gd name="connsiteY0" fmla="*/ 0 h 1072"/>
                  <a:gd name="connsiteX1" fmla="*/ 4004 w 5133"/>
                  <a:gd name="connsiteY1" fmla="*/ 0 h 1072"/>
                  <a:gd name="connsiteX2" fmla="*/ 4032 w 5133"/>
                  <a:gd name="connsiteY2" fmla="*/ 4 h 1072"/>
                  <a:gd name="connsiteX3" fmla="*/ 4063 w 5133"/>
                  <a:gd name="connsiteY3" fmla="*/ 13 h 1072"/>
                  <a:gd name="connsiteX4" fmla="*/ 4101 w 5133"/>
                  <a:gd name="connsiteY4" fmla="*/ 23 h 1072"/>
                  <a:gd name="connsiteX5" fmla="*/ 4142 w 5133"/>
                  <a:gd name="connsiteY5" fmla="*/ 40 h 1072"/>
                  <a:gd name="connsiteX6" fmla="*/ 4185 w 5133"/>
                  <a:gd name="connsiteY6" fmla="*/ 60 h 1072"/>
                  <a:gd name="connsiteX7" fmla="*/ 4233 w 5133"/>
                  <a:gd name="connsiteY7" fmla="*/ 89 h 1072"/>
                  <a:gd name="connsiteX8" fmla="*/ 4282 w 5133"/>
                  <a:gd name="connsiteY8" fmla="*/ 125 h 1072"/>
                  <a:gd name="connsiteX9" fmla="*/ 4332 w 5133"/>
                  <a:gd name="connsiteY9" fmla="*/ 170 h 1072"/>
                  <a:gd name="connsiteX10" fmla="*/ 4383 w 5133"/>
                  <a:gd name="connsiteY10" fmla="*/ 224 h 1072"/>
                  <a:gd name="connsiteX11" fmla="*/ 4435 w 5133"/>
                  <a:gd name="connsiteY11" fmla="*/ 286 h 1072"/>
                  <a:gd name="connsiteX12" fmla="*/ 4487 w 5133"/>
                  <a:gd name="connsiteY12" fmla="*/ 361 h 1072"/>
                  <a:gd name="connsiteX13" fmla="*/ 4538 w 5133"/>
                  <a:gd name="connsiteY13" fmla="*/ 448 h 1072"/>
                  <a:gd name="connsiteX14" fmla="*/ 4590 w 5133"/>
                  <a:gd name="connsiteY14" fmla="*/ 548 h 1072"/>
                  <a:gd name="connsiteX15" fmla="*/ 4635 w 5133"/>
                  <a:gd name="connsiteY15" fmla="*/ 633 h 1072"/>
                  <a:gd name="connsiteX16" fmla="*/ 4681 w 5133"/>
                  <a:gd name="connsiteY16" fmla="*/ 705 h 1072"/>
                  <a:gd name="connsiteX17" fmla="*/ 4728 w 5133"/>
                  <a:gd name="connsiteY17" fmla="*/ 767 h 1072"/>
                  <a:gd name="connsiteX18" fmla="*/ 4776 w 5133"/>
                  <a:gd name="connsiteY18" fmla="*/ 819 h 1072"/>
                  <a:gd name="connsiteX19" fmla="*/ 4821 w 5133"/>
                  <a:gd name="connsiteY19" fmla="*/ 863 h 1072"/>
                  <a:gd name="connsiteX20" fmla="*/ 4869 w 5133"/>
                  <a:gd name="connsiteY20" fmla="*/ 898 h 1072"/>
                  <a:gd name="connsiteX21" fmla="*/ 4955 w 5133"/>
                  <a:gd name="connsiteY21" fmla="*/ 948 h 1072"/>
                  <a:gd name="connsiteX22" fmla="*/ 5030 w 5133"/>
                  <a:gd name="connsiteY22" fmla="*/ 973 h 1072"/>
                  <a:gd name="connsiteX23" fmla="*/ 5059 w 5133"/>
                  <a:gd name="connsiteY23" fmla="*/ 981 h 1072"/>
                  <a:gd name="connsiteX24" fmla="*/ 5133 w 5133"/>
                  <a:gd name="connsiteY24" fmla="*/ 1072 h 1072"/>
                  <a:gd name="connsiteX25" fmla="*/ 5098 w 5133"/>
                  <a:gd name="connsiteY25" fmla="*/ 1072 h 1072"/>
                  <a:gd name="connsiteX26" fmla="*/ 5071 w 5133"/>
                  <a:gd name="connsiteY26" fmla="*/ 1070 h 1072"/>
                  <a:gd name="connsiteX27" fmla="*/ 5040 w 5133"/>
                  <a:gd name="connsiteY27" fmla="*/ 1064 h 1072"/>
                  <a:gd name="connsiteX28" fmla="*/ 5003 w 5133"/>
                  <a:gd name="connsiteY28" fmla="*/ 1056 h 1072"/>
                  <a:gd name="connsiteX29" fmla="*/ 4961 w 5133"/>
                  <a:gd name="connsiteY29" fmla="*/ 1043 h 1072"/>
                  <a:gd name="connsiteX30" fmla="*/ 4869 w 5133"/>
                  <a:gd name="connsiteY30" fmla="*/ 1002 h 1072"/>
                  <a:gd name="connsiteX31" fmla="*/ 4819 w 5133"/>
                  <a:gd name="connsiteY31" fmla="*/ 971 h 1072"/>
                  <a:gd name="connsiteX32" fmla="*/ 4767 w 5133"/>
                  <a:gd name="connsiteY32" fmla="*/ 931 h 1072"/>
                  <a:gd name="connsiteX33" fmla="*/ 4716 w 5133"/>
                  <a:gd name="connsiteY33" fmla="*/ 881 h 1072"/>
                  <a:gd name="connsiteX34" fmla="*/ 4662 w 5133"/>
                  <a:gd name="connsiteY34" fmla="*/ 823 h 1072"/>
                  <a:gd name="connsiteX35" fmla="*/ 4611 w 5133"/>
                  <a:gd name="connsiteY35" fmla="*/ 755 h 1072"/>
                  <a:gd name="connsiteX36" fmla="*/ 4561 w 5133"/>
                  <a:gd name="connsiteY36" fmla="*/ 676 h 1072"/>
                  <a:gd name="connsiteX37" fmla="*/ 4513 w 5133"/>
                  <a:gd name="connsiteY37" fmla="*/ 583 h 1072"/>
                  <a:gd name="connsiteX38" fmla="*/ 4464 w 5133"/>
                  <a:gd name="connsiteY38" fmla="*/ 487 h 1072"/>
                  <a:gd name="connsiteX39" fmla="*/ 4414 w 5133"/>
                  <a:gd name="connsiteY39" fmla="*/ 404 h 1072"/>
                  <a:gd name="connsiteX40" fmla="*/ 4365 w 5133"/>
                  <a:gd name="connsiteY40" fmla="*/ 336 h 1072"/>
                  <a:gd name="connsiteX41" fmla="*/ 4315 w 5133"/>
                  <a:gd name="connsiteY41" fmla="*/ 276 h 1072"/>
                  <a:gd name="connsiteX42" fmla="*/ 4268 w 5133"/>
                  <a:gd name="connsiteY42" fmla="*/ 228 h 1072"/>
                  <a:gd name="connsiteX43" fmla="*/ 4222 w 5133"/>
                  <a:gd name="connsiteY43" fmla="*/ 189 h 1072"/>
                  <a:gd name="connsiteX44" fmla="*/ 4181 w 5133"/>
                  <a:gd name="connsiteY44" fmla="*/ 158 h 1072"/>
                  <a:gd name="connsiteX45" fmla="*/ 4142 w 5133"/>
                  <a:gd name="connsiteY45" fmla="*/ 135 h 1072"/>
                  <a:gd name="connsiteX46" fmla="*/ 4092 w 5133"/>
                  <a:gd name="connsiteY46" fmla="*/ 112 h 1072"/>
                  <a:gd name="connsiteX47" fmla="*/ 4049 w 5133"/>
                  <a:gd name="connsiteY47" fmla="*/ 98 h 1072"/>
                  <a:gd name="connsiteX48" fmla="*/ 4014 w 5133"/>
                  <a:gd name="connsiteY48" fmla="*/ 89 h 1072"/>
                  <a:gd name="connsiteX49" fmla="*/ 3985 w 5133"/>
                  <a:gd name="connsiteY49" fmla="*/ 87 h 1072"/>
                  <a:gd name="connsiteX50" fmla="*/ 3958 w 5133"/>
                  <a:gd name="connsiteY50" fmla="*/ 87 h 1072"/>
                  <a:gd name="connsiteX51" fmla="*/ 3892 w 5133"/>
                  <a:gd name="connsiteY51" fmla="*/ 93 h 1072"/>
                  <a:gd name="connsiteX52" fmla="*/ 3830 w 5133"/>
                  <a:gd name="connsiteY52" fmla="*/ 106 h 1072"/>
                  <a:gd name="connsiteX53" fmla="*/ 3774 w 5133"/>
                  <a:gd name="connsiteY53" fmla="*/ 127 h 1072"/>
                  <a:gd name="connsiteX54" fmla="*/ 3723 w 5133"/>
                  <a:gd name="connsiteY54" fmla="*/ 154 h 1072"/>
                  <a:gd name="connsiteX55" fmla="*/ 3675 w 5133"/>
                  <a:gd name="connsiteY55" fmla="*/ 187 h 1072"/>
                  <a:gd name="connsiteX56" fmla="*/ 3632 w 5133"/>
                  <a:gd name="connsiteY56" fmla="*/ 224 h 1072"/>
                  <a:gd name="connsiteX57" fmla="*/ 3593 w 5133"/>
                  <a:gd name="connsiteY57" fmla="*/ 268 h 1072"/>
                  <a:gd name="connsiteX58" fmla="*/ 3553 w 5133"/>
                  <a:gd name="connsiteY58" fmla="*/ 313 h 1072"/>
                  <a:gd name="connsiteX59" fmla="*/ 3518 w 5133"/>
                  <a:gd name="connsiteY59" fmla="*/ 363 h 1072"/>
                  <a:gd name="connsiteX60" fmla="*/ 3485 w 5133"/>
                  <a:gd name="connsiteY60" fmla="*/ 415 h 1072"/>
                  <a:gd name="connsiteX61" fmla="*/ 3423 w 5133"/>
                  <a:gd name="connsiteY61" fmla="*/ 523 h 1072"/>
                  <a:gd name="connsiteX62" fmla="*/ 3330 w 5133"/>
                  <a:gd name="connsiteY62" fmla="*/ 691 h 1072"/>
                  <a:gd name="connsiteX63" fmla="*/ 3297 w 5133"/>
                  <a:gd name="connsiteY63" fmla="*/ 747 h 1072"/>
                  <a:gd name="connsiteX64" fmla="*/ 3262 w 5133"/>
                  <a:gd name="connsiteY64" fmla="*/ 799 h 1072"/>
                  <a:gd name="connsiteX65" fmla="*/ 3227 w 5133"/>
                  <a:gd name="connsiteY65" fmla="*/ 848 h 1072"/>
                  <a:gd name="connsiteX66" fmla="*/ 3188 w 5133"/>
                  <a:gd name="connsiteY66" fmla="*/ 894 h 1072"/>
                  <a:gd name="connsiteX67" fmla="*/ 3147 w 5133"/>
                  <a:gd name="connsiteY67" fmla="*/ 935 h 1072"/>
                  <a:gd name="connsiteX68" fmla="*/ 3101 w 5133"/>
                  <a:gd name="connsiteY68" fmla="*/ 971 h 1072"/>
                  <a:gd name="connsiteX69" fmla="*/ 3052 w 5133"/>
                  <a:gd name="connsiteY69" fmla="*/ 1000 h 1072"/>
                  <a:gd name="connsiteX70" fmla="*/ 3000 w 5133"/>
                  <a:gd name="connsiteY70" fmla="*/ 1022 h 1072"/>
                  <a:gd name="connsiteX71" fmla="*/ 2942 w 5133"/>
                  <a:gd name="connsiteY71" fmla="*/ 1037 h 1072"/>
                  <a:gd name="connsiteX72" fmla="*/ 2878 w 5133"/>
                  <a:gd name="connsiteY72" fmla="*/ 1043 h 1072"/>
                  <a:gd name="connsiteX73" fmla="*/ 2870 w 5133"/>
                  <a:gd name="connsiteY73" fmla="*/ 1043 h 1072"/>
                  <a:gd name="connsiteX74" fmla="*/ 2808 w 5133"/>
                  <a:gd name="connsiteY74" fmla="*/ 1039 h 1072"/>
                  <a:gd name="connsiteX75" fmla="*/ 2748 w 5133"/>
                  <a:gd name="connsiteY75" fmla="*/ 1025 h 1072"/>
                  <a:gd name="connsiteX76" fmla="*/ 2695 w 5133"/>
                  <a:gd name="connsiteY76" fmla="*/ 1002 h 1072"/>
                  <a:gd name="connsiteX77" fmla="*/ 2643 w 5133"/>
                  <a:gd name="connsiteY77" fmla="*/ 973 h 1072"/>
                  <a:gd name="connsiteX78" fmla="*/ 2595 w 5133"/>
                  <a:gd name="connsiteY78" fmla="*/ 935 h 1072"/>
                  <a:gd name="connsiteX79" fmla="*/ 2552 w 5133"/>
                  <a:gd name="connsiteY79" fmla="*/ 894 h 1072"/>
                  <a:gd name="connsiteX80" fmla="*/ 2509 w 5133"/>
                  <a:gd name="connsiteY80" fmla="*/ 846 h 1072"/>
                  <a:gd name="connsiteX81" fmla="*/ 2469 w 5133"/>
                  <a:gd name="connsiteY81" fmla="*/ 796 h 1072"/>
                  <a:gd name="connsiteX82" fmla="*/ 2430 w 5133"/>
                  <a:gd name="connsiteY82" fmla="*/ 740 h 1072"/>
                  <a:gd name="connsiteX83" fmla="*/ 2393 w 5133"/>
                  <a:gd name="connsiteY83" fmla="*/ 684 h 1072"/>
                  <a:gd name="connsiteX84" fmla="*/ 2288 w 5133"/>
                  <a:gd name="connsiteY84" fmla="*/ 510 h 1072"/>
                  <a:gd name="connsiteX85" fmla="*/ 2251 w 5133"/>
                  <a:gd name="connsiteY85" fmla="*/ 452 h 1072"/>
                  <a:gd name="connsiteX86" fmla="*/ 2213 w 5133"/>
                  <a:gd name="connsiteY86" fmla="*/ 396 h 1072"/>
                  <a:gd name="connsiteX87" fmla="*/ 2176 w 5133"/>
                  <a:gd name="connsiteY87" fmla="*/ 342 h 1072"/>
                  <a:gd name="connsiteX88" fmla="*/ 2137 w 5133"/>
                  <a:gd name="connsiteY88" fmla="*/ 293 h 1072"/>
                  <a:gd name="connsiteX89" fmla="*/ 2096 w 5133"/>
                  <a:gd name="connsiteY89" fmla="*/ 247 h 1072"/>
                  <a:gd name="connsiteX90" fmla="*/ 2054 w 5133"/>
                  <a:gd name="connsiteY90" fmla="*/ 205 h 1072"/>
                  <a:gd name="connsiteX91" fmla="*/ 2009 w 5133"/>
                  <a:gd name="connsiteY91" fmla="*/ 168 h 1072"/>
                  <a:gd name="connsiteX92" fmla="*/ 1962 w 5133"/>
                  <a:gd name="connsiteY92" fmla="*/ 139 h 1072"/>
                  <a:gd name="connsiteX93" fmla="*/ 1910 w 5133"/>
                  <a:gd name="connsiteY93" fmla="*/ 116 h 1072"/>
                  <a:gd name="connsiteX94" fmla="*/ 1854 w 5133"/>
                  <a:gd name="connsiteY94" fmla="*/ 100 h 1072"/>
                  <a:gd name="connsiteX95" fmla="*/ 1796 w 5133"/>
                  <a:gd name="connsiteY95" fmla="*/ 91 h 1072"/>
                  <a:gd name="connsiteX96" fmla="*/ 1732 w 5133"/>
                  <a:gd name="connsiteY96" fmla="*/ 93 h 1072"/>
                  <a:gd name="connsiteX97" fmla="*/ 1664 w 5133"/>
                  <a:gd name="connsiteY97" fmla="*/ 104 h 1072"/>
                  <a:gd name="connsiteX98" fmla="*/ 1602 w 5133"/>
                  <a:gd name="connsiteY98" fmla="*/ 122 h 1072"/>
                  <a:gd name="connsiteX99" fmla="*/ 1545 w 5133"/>
                  <a:gd name="connsiteY99" fmla="*/ 147 h 1072"/>
                  <a:gd name="connsiteX100" fmla="*/ 1491 w 5133"/>
                  <a:gd name="connsiteY100" fmla="*/ 181 h 1072"/>
                  <a:gd name="connsiteX101" fmla="*/ 1439 w 5133"/>
                  <a:gd name="connsiteY101" fmla="*/ 218 h 1072"/>
                  <a:gd name="connsiteX102" fmla="*/ 1394 w 5133"/>
                  <a:gd name="connsiteY102" fmla="*/ 261 h 1072"/>
                  <a:gd name="connsiteX103" fmla="*/ 1348 w 5133"/>
                  <a:gd name="connsiteY103" fmla="*/ 307 h 1072"/>
                  <a:gd name="connsiteX104" fmla="*/ 1307 w 5133"/>
                  <a:gd name="connsiteY104" fmla="*/ 359 h 1072"/>
                  <a:gd name="connsiteX105" fmla="*/ 1268 w 5133"/>
                  <a:gd name="connsiteY105" fmla="*/ 413 h 1072"/>
                  <a:gd name="connsiteX106" fmla="*/ 1231 w 5133"/>
                  <a:gd name="connsiteY106" fmla="*/ 467 h 1072"/>
                  <a:gd name="connsiteX107" fmla="*/ 1194 w 5133"/>
                  <a:gd name="connsiteY107" fmla="*/ 523 h 1072"/>
                  <a:gd name="connsiteX108" fmla="*/ 1156 w 5133"/>
                  <a:gd name="connsiteY108" fmla="*/ 581 h 1072"/>
                  <a:gd name="connsiteX109" fmla="*/ 1121 w 5133"/>
                  <a:gd name="connsiteY109" fmla="*/ 637 h 1072"/>
                  <a:gd name="connsiteX110" fmla="*/ 1047 w 5133"/>
                  <a:gd name="connsiteY110" fmla="*/ 749 h 1072"/>
                  <a:gd name="connsiteX111" fmla="*/ 1008 w 5133"/>
                  <a:gd name="connsiteY111" fmla="*/ 801 h 1072"/>
                  <a:gd name="connsiteX112" fmla="*/ 966 w 5133"/>
                  <a:gd name="connsiteY112" fmla="*/ 850 h 1072"/>
                  <a:gd name="connsiteX113" fmla="*/ 923 w 5133"/>
                  <a:gd name="connsiteY113" fmla="*/ 896 h 1072"/>
                  <a:gd name="connsiteX114" fmla="*/ 876 w 5133"/>
                  <a:gd name="connsiteY114" fmla="*/ 937 h 1072"/>
                  <a:gd name="connsiteX115" fmla="*/ 826 w 5133"/>
                  <a:gd name="connsiteY115" fmla="*/ 973 h 1072"/>
                  <a:gd name="connsiteX116" fmla="*/ 772 w 5133"/>
                  <a:gd name="connsiteY116" fmla="*/ 1002 h 1072"/>
                  <a:gd name="connsiteX117" fmla="*/ 717 w 5133"/>
                  <a:gd name="connsiteY117" fmla="*/ 1025 h 1072"/>
                  <a:gd name="connsiteX118" fmla="*/ 653 w 5133"/>
                  <a:gd name="connsiteY118" fmla="*/ 1037 h 1072"/>
                  <a:gd name="connsiteX119" fmla="*/ 587 w 5133"/>
                  <a:gd name="connsiteY119" fmla="*/ 1043 h 1072"/>
                  <a:gd name="connsiteX120" fmla="*/ 580 w 5133"/>
                  <a:gd name="connsiteY120" fmla="*/ 1043 h 1072"/>
                  <a:gd name="connsiteX121" fmla="*/ 512 w 5133"/>
                  <a:gd name="connsiteY121" fmla="*/ 1039 h 1072"/>
                  <a:gd name="connsiteX122" fmla="*/ 450 w 5133"/>
                  <a:gd name="connsiteY122" fmla="*/ 1027 h 1072"/>
                  <a:gd name="connsiteX123" fmla="*/ 392 w 5133"/>
                  <a:gd name="connsiteY123" fmla="*/ 1008 h 1072"/>
                  <a:gd name="connsiteX124" fmla="*/ 341 w 5133"/>
                  <a:gd name="connsiteY124" fmla="*/ 983 h 1072"/>
                  <a:gd name="connsiteX125" fmla="*/ 293 w 5133"/>
                  <a:gd name="connsiteY125" fmla="*/ 952 h 1072"/>
                  <a:gd name="connsiteX126" fmla="*/ 248 w 5133"/>
                  <a:gd name="connsiteY126" fmla="*/ 915 h 1072"/>
                  <a:gd name="connsiteX127" fmla="*/ 207 w 5133"/>
                  <a:gd name="connsiteY127" fmla="*/ 873 h 1072"/>
                  <a:gd name="connsiteX128" fmla="*/ 169 w 5133"/>
                  <a:gd name="connsiteY128" fmla="*/ 828 h 1072"/>
                  <a:gd name="connsiteX129" fmla="*/ 132 w 5133"/>
                  <a:gd name="connsiteY129" fmla="*/ 780 h 1072"/>
                  <a:gd name="connsiteX130" fmla="*/ 99 w 5133"/>
                  <a:gd name="connsiteY130" fmla="*/ 728 h 1072"/>
                  <a:gd name="connsiteX131" fmla="*/ 64 w 5133"/>
                  <a:gd name="connsiteY131" fmla="*/ 674 h 1072"/>
                  <a:gd name="connsiteX132" fmla="*/ 33 w 5133"/>
                  <a:gd name="connsiteY132" fmla="*/ 618 h 1072"/>
                  <a:gd name="connsiteX133" fmla="*/ 0 w 5133"/>
                  <a:gd name="connsiteY133" fmla="*/ 560 h 1072"/>
                  <a:gd name="connsiteX134" fmla="*/ 77 w 5133"/>
                  <a:gd name="connsiteY134" fmla="*/ 516 h 1072"/>
                  <a:gd name="connsiteX135" fmla="*/ 110 w 5133"/>
                  <a:gd name="connsiteY135" fmla="*/ 575 h 1072"/>
                  <a:gd name="connsiteX136" fmla="*/ 143 w 5133"/>
                  <a:gd name="connsiteY136" fmla="*/ 631 h 1072"/>
                  <a:gd name="connsiteX137" fmla="*/ 176 w 5133"/>
                  <a:gd name="connsiteY137" fmla="*/ 684 h 1072"/>
                  <a:gd name="connsiteX138" fmla="*/ 209 w 5133"/>
                  <a:gd name="connsiteY138" fmla="*/ 736 h 1072"/>
                  <a:gd name="connsiteX139" fmla="*/ 244 w 5133"/>
                  <a:gd name="connsiteY139" fmla="*/ 782 h 1072"/>
                  <a:gd name="connsiteX140" fmla="*/ 281 w 5133"/>
                  <a:gd name="connsiteY140" fmla="*/ 825 h 1072"/>
                  <a:gd name="connsiteX141" fmla="*/ 322 w 5133"/>
                  <a:gd name="connsiteY141" fmla="*/ 863 h 1072"/>
                  <a:gd name="connsiteX142" fmla="*/ 366 w 5133"/>
                  <a:gd name="connsiteY142" fmla="*/ 894 h 1072"/>
                  <a:gd name="connsiteX143" fmla="*/ 413 w 5133"/>
                  <a:gd name="connsiteY143" fmla="*/ 921 h 1072"/>
                  <a:gd name="connsiteX144" fmla="*/ 463 w 5133"/>
                  <a:gd name="connsiteY144" fmla="*/ 940 h 1072"/>
                  <a:gd name="connsiteX145" fmla="*/ 518 w 5133"/>
                  <a:gd name="connsiteY145" fmla="*/ 952 h 1072"/>
                  <a:gd name="connsiteX146" fmla="*/ 580 w 5133"/>
                  <a:gd name="connsiteY146" fmla="*/ 956 h 1072"/>
                  <a:gd name="connsiteX147" fmla="*/ 587 w 5133"/>
                  <a:gd name="connsiteY147" fmla="*/ 956 h 1072"/>
                  <a:gd name="connsiteX148" fmla="*/ 646 w 5133"/>
                  <a:gd name="connsiteY148" fmla="*/ 950 h 1072"/>
                  <a:gd name="connsiteX149" fmla="*/ 702 w 5133"/>
                  <a:gd name="connsiteY149" fmla="*/ 935 h 1072"/>
                  <a:gd name="connsiteX150" fmla="*/ 756 w 5133"/>
                  <a:gd name="connsiteY150" fmla="*/ 913 h 1072"/>
                  <a:gd name="connsiteX151" fmla="*/ 803 w 5133"/>
                  <a:gd name="connsiteY151" fmla="*/ 884 h 1072"/>
                  <a:gd name="connsiteX152" fmla="*/ 849 w 5133"/>
                  <a:gd name="connsiteY152" fmla="*/ 846 h 1072"/>
                  <a:gd name="connsiteX153" fmla="*/ 892 w 5133"/>
                  <a:gd name="connsiteY153" fmla="*/ 803 h 1072"/>
                  <a:gd name="connsiteX154" fmla="*/ 931 w 5133"/>
                  <a:gd name="connsiteY154" fmla="*/ 755 h 1072"/>
                  <a:gd name="connsiteX155" fmla="*/ 971 w 5133"/>
                  <a:gd name="connsiteY155" fmla="*/ 703 h 1072"/>
                  <a:gd name="connsiteX156" fmla="*/ 1010 w 5133"/>
                  <a:gd name="connsiteY156" fmla="*/ 649 h 1072"/>
                  <a:gd name="connsiteX157" fmla="*/ 1121 w 5133"/>
                  <a:gd name="connsiteY157" fmla="*/ 475 h 1072"/>
                  <a:gd name="connsiteX158" fmla="*/ 1161 w 5133"/>
                  <a:gd name="connsiteY158" fmla="*/ 415 h 1072"/>
                  <a:gd name="connsiteX159" fmla="*/ 1202 w 5133"/>
                  <a:gd name="connsiteY159" fmla="*/ 357 h 1072"/>
                  <a:gd name="connsiteX160" fmla="*/ 1245 w 5133"/>
                  <a:gd name="connsiteY160" fmla="*/ 299 h 1072"/>
                  <a:gd name="connsiteX161" fmla="*/ 1291 w 5133"/>
                  <a:gd name="connsiteY161" fmla="*/ 245 h 1072"/>
                  <a:gd name="connsiteX162" fmla="*/ 1338 w 5133"/>
                  <a:gd name="connsiteY162" fmla="*/ 193 h 1072"/>
                  <a:gd name="connsiteX163" fmla="*/ 1392 w 5133"/>
                  <a:gd name="connsiteY163" fmla="*/ 145 h 1072"/>
                  <a:gd name="connsiteX164" fmla="*/ 1447 w 5133"/>
                  <a:gd name="connsiteY164" fmla="*/ 104 h 1072"/>
                  <a:gd name="connsiteX165" fmla="*/ 1509 w 5133"/>
                  <a:gd name="connsiteY165" fmla="*/ 69 h 1072"/>
                  <a:gd name="connsiteX166" fmla="*/ 1575 w 5133"/>
                  <a:gd name="connsiteY166" fmla="*/ 40 h 1072"/>
                  <a:gd name="connsiteX167" fmla="*/ 1648 w 5133"/>
                  <a:gd name="connsiteY167" fmla="*/ 19 h 1072"/>
                  <a:gd name="connsiteX168" fmla="*/ 1726 w 5133"/>
                  <a:gd name="connsiteY168" fmla="*/ 6 h 1072"/>
                  <a:gd name="connsiteX169" fmla="*/ 1796 w 5133"/>
                  <a:gd name="connsiteY169" fmla="*/ 4 h 1072"/>
                  <a:gd name="connsiteX170" fmla="*/ 1862 w 5133"/>
                  <a:gd name="connsiteY170" fmla="*/ 13 h 1072"/>
                  <a:gd name="connsiteX171" fmla="*/ 1922 w 5133"/>
                  <a:gd name="connsiteY171" fmla="*/ 27 h 1072"/>
                  <a:gd name="connsiteX172" fmla="*/ 1980 w 5133"/>
                  <a:gd name="connsiteY172" fmla="*/ 50 h 1072"/>
                  <a:gd name="connsiteX173" fmla="*/ 2034 w 5133"/>
                  <a:gd name="connsiteY173" fmla="*/ 81 h 1072"/>
                  <a:gd name="connsiteX174" fmla="*/ 2083 w 5133"/>
                  <a:gd name="connsiteY174" fmla="*/ 116 h 1072"/>
                  <a:gd name="connsiteX175" fmla="*/ 2129 w 5133"/>
                  <a:gd name="connsiteY175" fmla="*/ 158 h 1072"/>
                  <a:gd name="connsiteX176" fmla="*/ 2174 w 5133"/>
                  <a:gd name="connsiteY176" fmla="*/ 203 h 1072"/>
                  <a:gd name="connsiteX177" fmla="*/ 2216 w 5133"/>
                  <a:gd name="connsiteY177" fmla="*/ 251 h 1072"/>
                  <a:gd name="connsiteX178" fmla="*/ 2255 w 5133"/>
                  <a:gd name="connsiteY178" fmla="*/ 303 h 1072"/>
                  <a:gd name="connsiteX179" fmla="*/ 2292 w 5133"/>
                  <a:gd name="connsiteY179" fmla="*/ 357 h 1072"/>
                  <a:gd name="connsiteX180" fmla="*/ 2327 w 5133"/>
                  <a:gd name="connsiteY180" fmla="*/ 413 h 1072"/>
                  <a:gd name="connsiteX181" fmla="*/ 2362 w 5133"/>
                  <a:gd name="connsiteY181" fmla="*/ 467 h 1072"/>
                  <a:gd name="connsiteX182" fmla="*/ 2395 w 5133"/>
                  <a:gd name="connsiteY182" fmla="*/ 523 h 1072"/>
                  <a:gd name="connsiteX183" fmla="*/ 2432 w 5133"/>
                  <a:gd name="connsiteY183" fmla="*/ 585 h 1072"/>
                  <a:gd name="connsiteX184" fmla="*/ 2469 w 5133"/>
                  <a:gd name="connsiteY184" fmla="*/ 643 h 1072"/>
                  <a:gd name="connsiteX185" fmla="*/ 2509 w 5133"/>
                  <a:gd name="connsiteY185" fmla="*/ 701 h 1072"/>
                  <a:gd name="connsiteX186" fmla="*/ 2546 w 5133"/>
                  <a:gd name="connsiteY186" fmla="*/ 755 h 1072"/>
                  <a:gd name="connsiteX187" fmla="*/ 2587 w 5133"/>
                  <a:gd name="connsiteY187" fmla="*/ 805 h 1072"/>
                  <a:gd name="connsiteX188" fmla="*/ 2628 w 5133"/>
                  <a:gd name="connsiteY188" fmla="*/ 848 h 1072"/>
                  <a:gd name="connsiteX189" fmla="*/ 2672 w 5133"/>
                  <a:gd name="connsiteY189" fmla="*/ 886 h 1072"/>
                  <a:gd name="connsiteX190" fmla="*/ 2717 w 5133"/>
                  <a:gd name="connsiteY190" fmla="*/ 917 h 1072"/>
                  <a:gd name="connsiteX191" fmla="*/ 2767 w 5133"/>
                  <a:gd name="connsiteY191" fmla="*/ 940 h 1072"/>
                  <a:gd name="connsiteX192" fmla="*/ 2820 w 5133"/>
                  <a:gd name="connsiteY192" fmla="*/ 952 h 1072"/>
                  <a:gd name="connsiteX193" fmla="*/ 2876 w 5133"/>
                  <a:gd name="connsiteY193" fmla="*/ 956 h 1072"/>
                  <a:gd name="connsiteX194" fmla="*/ 2932 w 5133"/>
                  <a:gd name="connsiteY194" fmla="*/ 950 h 1072"/>
                  <a:gd name="connsiteX195" fmla="*/ 2982 w 5133"/>
                  <a:gd name="connsiteY195" fmla="*/ 935 h 1072"/>
                  <a:gd name="connsiteX196" fmla="*/ 3029 w 5133"/>
                  <a:gd name="connsiteY196" fmla="*/ 915 h 1072"/>
                  <a:gd name="connsiteX197" fmla="*/ 3072 w 5133"/>
                  <a:gd name="connsiteY197" fmla="*/ 884 h 1072"/>
                  <a:gd name="connsiteX198" fmla="*/ 3112 w 5133"/>
                  <a:gd name="connsiteY198" fmla="*/ 848 h 1072"/>
                  <a:gd name="connsiteX199" fmla="*/ 3149 w 5133"/>
                  <a:gd name="connsiteY199" fmla="*/ 807 h 1072"/>
                  <a:gd name="connsiteX200" fmla="*/ 3184 w 5133"/>
                  <a:gd name="connsiteY200" fmla="*/ 759 h 1072"/>
                  <a:gd name="connsiteX201" fmla="*/ 3217 w 5133"/>
                  <a:gd name="connsiteY201" fmla="*/ 709 h 1072"/>
                  <a:gd name="connsiteX202" fmla="*/ 3250 w 5133"/>
                  <a:gd name="connsiteY202" fmla="*/ 655 h 1072"/>
                  <a:gd name="connsiteX203" fmla="*/ 3283 w 5133"/>
                  <a:gd name="connsiteY203" fmla="*/ 597 h 1072"/>
                  <a:gd name="connsiteX204" fmla="*/ 3316 w 5133"/>
                  <a:gd name="connsiteY204" fmla="*/ 537 h 1072"/>
                  <a:gd name="connsiteX205" fmla="*/ 3345 w 5133"/>
                  <a:gd name="connsiteY205" fmla="*/ 483 h 1072"/>
                  <a:gd name="connsiteX206" fmla="*/ 3407 w 5133"/>
                  <a:gd name="connsiteY206" fmla="*/ 375 h 1072"/>
                  <a:gd name="connsiteX207" fmla="*/ 3477 w 5133"/>
                  <a:gd name="connsiteY207" fmla="*/ 272 h 1072"/>
                  <a:gd name="connsiteX208" fmla="*/ 3514 w 5133"/>
                  <a:gd name="connsiteY208" fmla="*/ 224 h 1072"/>
                  <a:gd name="connsiteX209" fmla="*/ 3555 w 5133"/>
                  <a:gd name="connsiteY209" fmla="*/ 178 h 1072"/>
                  <a:gd name="connsiteX210" fmla="*/ 3599 w 5133"/>
                  <a:gd name="connsiteY210" fmla="*/ 137 h 1072"/>
                  <a:gd name="connsiteX211" fmla="*/ 3646 w 5133"/>
                  <a:gd name="connsiteY211" fmla="*/ 100 h 1072"/>
                  <a:gd name="connsiteX212" fmla="*/ 3698 w 5133"/>
                  <a:gd name="connsiteY212" fmla="*/ 66 h 1072"/>
                  <a:gd name="connsiteX213" fmla="*/ 3756 w 5133"/>
                  <a:gd name="connsiteY213" fmla="*/ 40 h 1072"/>
                  <a:gd name="connsiteX214" fmla="*/ 3816 w 5133"/>
                  <a:gd name="connsiteY214" fmla="*/ 19 h 1072"/>
                  <a:gd name="connsiteX215" fmla="*/ 3882 w 5133"/>
                  <a:gd name="connsiteY215" fmla="*/ 6 h 1072"/>
                  <a:gd name="connsiteX216" fmla="*/ 3954 w 5133"/>
                  <a:gd name="connsiteY216" fmla="*/ 0 h 1072"/>
                  <a:gd name="connsiteX0" fmla="*/ 3954 w 5133"/>
                  <a:gd name="connsiteY0" fmla="*/ 0 h 1072"/>
                  <a:gd name="connsiteX1" fmla="*/ 4004 w 5133"/>
                  <a:gd name="connsiteY1" fmla="*/ 0 h 1072"/>
                  <a:gd name="connsiteX2" fmla="*/ 4032 w 5133"/>
                  <a:gd name="connsiteY2" fmla="*/ 4 h 1072"/>
                  <a:gd name="connsiteX3" fmla="*/ 4063 w 5133"/>
                  <a:gd name="connsiteY3" fmla="*/ 13 h 1072"/>
                  <a:gd name="connsiteX4" fmla="*/ 4101 w 5133"/>
                  <a:gd name="connsiteY4" fmla="*/ 23 h 1072"/>
                  <a:gd name="connsiteX5" fmla="*/ 4142 w 5133"/>
                  <a:gd name="connsiteY5" fmla="*/ 40 h 1072"/>
                  <a:gd name="connsiteX6" fmla="*/ 4185 w 5133"/>
                  <a:gd name="connsiteY6" fmla="*/ 60 h 1072"/>
                  <a:gd name="connsiteX7" fmla="*/ 4233 w 5133"/>
                  <a:gd name="connsiteY7" fmla="*/ 89 h 1072"/>
                  <a:gd name="connsiteX8" fmla="*/ 4282 w 5133"/>
                  <a:gd name="connsiteY8" fmla="*/ 125 h 1072"/>
                  <a:gd name="connsiteX9" fmla="*/ 4332 w 5133"/>
                  <a:gd name="connsiteY9" fmla="*/ 170 h 1072"/>
                  <a:gd name="connsiteX10" fmla="*/ 4383 w 5133"/>
                  <a:gd name="connsiteY10" fmla="*/ 224 h 1072"/>
                  <a:gd name="connsiteX11" fmla="*/ 4435 w 5133"/>
                  <a:gd name="connsiteY11" fmla="*/ 286 h 1072"/>
                  <a:gd name="connsiteX12" fmla="*/ 4487 w 5133"/>
                  <a:gd name="connsiteY12" fmla="*/ 361 h 1072"/>
                  <a:gd name="connsiteX13" fmla="*/ 4538 w 5133"/>
                  <a:gd name="connsiteY13" fmla="*/ 448 h 1072"/>
                  <a:gd name="connsiteX14" fmla="*/ 4590 w 5133"/>
                  <a:gd name="connsiteY14" fmla="*/ 548 h 1072"/>
                  <a:gd name="connsiteX15" fmla="*/ 4635 w 5133"/>
                  <a:gd name="connsiteY15" fmla="*/ 633 h 1072"/>
                  <a:gd name="connsiteX16" fmla="*/ 4681 w 5133"/>
                  <a:gd name="connsiteY16" fmla="*/ 705 h 1072"/>
                  <a:gd name="connsiteX17" fmla="*/ 4728 w 5133"/>
                  <a:gd name="connsiteY17" fmla="*/ 767 h 1072"/>
                  <a:gd name="connsiteX18" fmla="*/ 4776 w 5133"/>
                  <a:gd name="connsiteY18" fmla="*/ 819 h 1072"/>
                  <a:gd name="connsiteX19" fmla="*/ 4821 w 5133"/>
                  <a:gd name="connsiteY19" fmla="*/ 863 h 1072"/>
                  <a:gd name="connsiteX20" fmla="*/ 4869 w 5133"/>
                  <a:gd name="connsiteY20" fmla="*/ 898 h 1072"/>
                  <a:gd name="connsiteX21" fmla="*/ 4955 w 5133"/>
                  <a:gd name="connsiteY21" fmla="*/ 948 h 1072"/>
                  <a:gd name="connsiteX22" fmla="*/ 5030 w 5133"/>
                  <a:gd name="connsiteY22" fmla="*/ 973 h 1072"/>
                  <a:gd name="connsiteX23" fmla="*/ 5059 w 5133"/>
                  <a:gd name="connsiteY23" fmla="*/ 981 h 1072"/>
                  <a:gd name="connsiteX24" fmla="*/ 5133 w 5133"/>
                  <a:gd name="connsiteY24" fmla="*/ 1072 h 1072"/>
                  <a:gd name="connsiteX25" fmla="*/ 5098 w 5133"/>
                  <a:gd name="connsiteY25" fmla="*/ 1072 h 1072"/>
                  <a:gd name="connsiteX26" fmla="*/ 5040 w 5133"/>
                  <a:gd name="connsiteY26" fmla="*/ 1064 h 1072"/>
                  <a:gd name="connsiteX27" fmla="*/ 5003 w 5133"/>
                  <a:gd name="connsiteY27" fmla="*/ 1056 h 1072"/>
                  <a:gd name="connsiteX28" fmla="*/ 4961 w 5133"/>
                  <a:gd name="connsiteY28" fmla="*/ 1043 h 1072"/>
                  <a:gd name="connsiteX29" fmla="*/ 4869 w 5133"/>
                  <a:gd name="connsiteY29" fmla="*/ 1002 h 1072"/>
                  <a:gd name="connsiteX30" fmla="*/ 4819 w 5133"/>
                  <a:gd name="connsiteY30" fmla="*/ 971 h 1072"/>
                  <a:gd name="connsiteX31" fmla="*/ 4767 w 5133"/>
                  <a:gd name="connsiteY31" fmla="*/ 931 h 1072"/>
                  <a:gd name="connsiteX32" fmla="*/ 4716 w 5133"/>
                  <a:gd name="connsiteY32" fmla="*/ 881 h 1072"/>
                  <a:gd name="connsiteX33" fmla="*/ 4662 w 5133"/>
                  <a:gd name="connsiteY33" fmla="*/ 823 h 1072"/>
                  <a:gd name="connsiteX34" fmla="*/ 4611 w 5133"/>
                  <a:gd name="connsiteY34" fmla="*/ 755 h 1072"/>
                  <a:gd name="connsiteX35" fmla="*/ 4561 w 5133"/>
                  <a:gd name="connsiteY35" fmla="*/ 676 h 1072"/>
                  <a:gd name="connsiteX36" fmla="*/ 4513 w 5133"/>
                  <a:gd name="connsiteY36" fmla="*/ 583 h 1072"/>
                  <a:gd name="connsiteX37" fmla="*/ 4464 w 5133"/>
                  <a:gd name="connsiteY37" fmla="*/ 487 h 1072"/>
                  <a:gd name="connsiteX38" fmla="*/ 4414 w 5133"/>
                  <a:gd name="connsiteY38" fmla="*/ 404 h 1072"/>
                  <a:gd name="connsiteX39" fmla="*/ 4365 w 5133"/>
                  <a:gd name="connsiteY39" fmla="*/ 336 h 1072"/>
                  <a:gd name="connsiteX40" fmla="*/ 4315 w 5133"/>
                  <a:gd name="connsiteY40" fmla="*/ 276 h 1072"/>
                  <a:gd name="connsiteX41" fmla="*/ 4268 w 5133"/>
                  <a:gd name="connsiteY41" fmla="*/ 228 h 1072"/>
                  <a:gd name="connsiteX42" fmla="*/ 4222 w 5133"/>
                  <a:gd name="connsiteY42" fmla="*/ 189 h 1072"/>
                  <a:gd name="connsiteX43" fmla="*/ 4181 w 5133"/>
                  <a:gd name="connsiteY43" fmla="*/ 158 h 1072"/>
                  <a:gd name="connsiteX44" fmla="*/ 4142 w 5133"/>
                  <a:gd name="connsiteY44" fmla="*/ 135 h 1072"/>
                  <a:gd name="connsiteX45" fmla="*/ 4092 w 5133"/>
                  <a:gd name="connsiteY45" fmla="*/ 112 h 1072"/>
                  <a:gd name="connsiteX46" fmla="*/ 4049 w 5133"/>
                  <a:gd name="connsiteY46" fmla="*/ 98 h 1072"/>
                  <a:gd name="connsiteX47" fmla="*/ 4014 w 5133"/>
                  <a:gd name="connsiteY47" fmla="*/ 89 h 1072"/>
                  <a:gd name="connsiteX48" fmla="*/ 3985 w 5133"/>
                  <a:gd name="connsiteY48" fmla="*/ 87 h 1072"/>
                  <a:gd name="connsiteX49" fmla="*/ 3958 w 5133"/>
                  <a:gd name="connsiteY49" fmla="*/ 87 h 1072"/>
                  <a:gd name="connsiteX50" fmla="*/ 3892 w 5133"/>
                  <a:gd name="connsiteY50" fmla="*/ 93 h 1072"/>
                  <a:gd name="connsiteX51" fmla="*/ 3830 w 5133"/>
                  <a:gd name="connsiteY51" fmla="*/ 106 h 1072"/>
                  <a:gd name="connsiteX52" fmla="*/ 3774 w 5133"/>
                  <a:gd name="connsiteY52" fmla="*/ 127 h 1072"/>
                  <a:gd name="connsiteX53" fmla="*/ 3723 w 5133"/>
                  <a:gd name="connsiteY53" fmla="*/ 154 h 1072"/>
                  <a:gd name="connsiteX54" fmla="*/ 3675 w 5133"/>
                  <a:gd name="connsiteY54" fmla="*/ 187 h 1072"/>
                  <a:gd name="connsiteX55" fmla="*/ 3632 w 5133"/>
                  <a:gd name="connsiteY55" fmla="*/ 224 h 1072"/>
                  <a:gd name="connsiteX56" fmla="*/ 3593 w 5133"/>
                  <a:gd name="connsiteY56" fmla="*/ 268 h 1072"/>
                  <a:gd name="connsiteX57" fmla="*/ 3553 w 5133"/>
                  <a:gd name="connsiteY57" fmla="*/ 313 h 1072"/>
                  <a:gd name="connsiteX58" fmla="*/ 3518 w 5133"/>
                  <a:gd name="connsiteY58" fmla="*/ 363 h 1072"/>
                  <a:gd name="connsiteX59" fmla="*/ 3485 w 5133"/>
                  <a:gd name="connsiteY59" fmla="*/ 415 h 1072"/>
                  <a:gd name="connsiteX60" fmla="*/ 3423 w 5133"/>
                  <a:gd name="connsiteY60" fmla="*/ 523 h 1072"/>
                  <a:gd name="connsiteX61" fmla="*/ 3330 w 5133"/>
                  <a:gd name="connsiteY61" fmla="*/ 691 h 1072"/>
                  <a:gd name="connsiteX62" fmla="*/ 3297 w 5133"/>
                  <a:gd name="connsiteY62" fmla="*/ 747 h 1072"/>
                  <a:gd name="connsiteX63" fmla="*/ 3262 w 5133"/>
                  <a:gd name="connsiteY63" fmla="*/ 799 h 1072"/>
                  <a:gd name="connsiteX64" fmla="*/ 3227 w 5133"/>
                  <a:gd name="connsiteY64" fmla="*/ 848 h 1072"/>
                  <a:gd name="connsiteX65" fmla="*/ 3188 w 5133"/>
                  <a:gd name="connsiteY65" fmla="*/ 894 h 1072"/>
                  <a:gd name="connsiteX66" fmla="*/ 3147 w 5133"/>
                  <a:gd name="connsiteY66" fmla="*/ 935 h 1072"/>
                  <a:gd name="connsiteX67" fmla="*/ 3101 w 5133"/>
                  <a:gd name="connsiteY67" fmla="*/ 971 h 1072"/>
                  <a:gd name="connsiteX68" fmla="*/ 3052 w 5133"/>
                  <a:gd name="connsiteY68" fmla="*/ 1000 h 1072"/>
                  <a:gd name="connsiteX69" fmla="*/ 3000 w 5133"/>
                  <a:gd name="connsiteY69" fmla="*/ 1022 h 1072"/>
                  <a:gd name="connsiteX70" fmla="*/ 2942 w 5133"/>
                  <a:gd name="connsiteY70" fmla="*/ 1037 h 1072"/>
                  <a:gd name="connsiteX71" fmla="*/ 2878 w 5133"/>
                  <a:gd name="connsiteY71" fmla="*/ 1043 h 1072"/>
                  <a:gd name="connsiteX72" fmla="*/ 2870 w 5133"/>
                  <a:gd name="connsiteY72" fmla="*/ 1043 h 1072"/>
                  <a:gd name="connsiteX73" fmla="*/ 2808 w 5133"/>
                  <a:gd name="connsiteY73" fmla="*/ 1039 h 1072"/>
                  <a:gd name="connsiteX74" fmla="*/ 2748 w 5133"/>
                  <a:gd name="connsiteY74" fmla="*/ 1025 h 1072"/>
                  <a:gd name="connsiteX75" fmla="*/ 2695 w 5133"/>
                  <a:gd name="connsiteY75" fmla="*/ 1002 h 1072"/>
                  <a:gd name="connsiteX76" fmla="*/ 2643 w 5133"/>
                  <a:gd name="connsiteY76" fmla="*/ 973 h 1072"/>
                  <a:gd name="connsiteX77" fmla="*/ 2595 w 5133"/>
                  <a:gd name="connsiteY77" fmla="*/ 935 h 1072"/>
                  <a:gd name="connsiteX78" fmla="*/ 2552 w 5133"/>
                  <a:gd name="connsiteY78" fmla="*/ 894 h 1072"/>
                  <a:gd name="connsiteX79" fmla="*/ 2509 w 5133"/>
                  <a:gd name="connsiteY79" fmla="*/ 846 h 1072"/>
                  <a:gd name="connsiteX80" fmla="*/ 2469 w 5133"/>
                  <a:gd name="connsiteY80" fmla="*/ 796 h 1072"/>
                  <a:gd name="connsiteX81" fmla="*/ 2430 w 5133"/>
                  <a:gd name="connsiteY81" fmla="*/ 740 h 1072"/>
                  <a:gd name="connsiteX82" fmla="*/ 2393 w 5133"/>
                  <a:gd name="connsiteY82" fmla="*/ 684 h 1072"/>
                  <a:gd name="connsiteX83" fmla="*/ 2288 w 5133"/>
                  <a:gd name="connsiteY83" fmla="*/ 510 h 1072"/>
                  <a:gd name="connsiteX84" fmla="*/ 2251 w 5133"/>
                  <a:gd name="connsiteY84" fmla="*/ 452 h 1072"/>
                  <a:gd name="connsiteX85" fmla="*/ 2213 w 5133"/>
                  <a:gd name="connsiteY85" fmla="*/ 396 h 1072"/>
                  <a:gd name="connsiteX86" fmla="*/ 2176 w 5133"/>
                  <a:gd name="connsiteY86" fmla="*/ 342 h 1072"/>
                  <a:gd name="connsiteX87" fmla="*/ 2137 w 5133"/>
                  <a:gd name="connsiteY87" fmla="*/ 293 h 1072"/>
                  <a:gd name="connsiteX88" fmla="*/ 2096 w 5133"/>
                  <a:gd name="connsiteY88" fmla="*/ 247 h 1072"/>
                  <a:gd name="connsiteX89" fmla="*/ 2054 w 5133"/>
                  <a:gd name="connsiteY89" fmla="*/ 205 h 1072"/>
                  <a:gd name="connsiteX90" fmla="*/ 2009 w 5133"/>
                  <a:gd name="connsiteY90" fmla="*/ 168 h 1072"/>
                  <a:gd name="connsiteX91" fmla="*/ 1962 w 5133"/>
                  <a:gd name="connsiteY91" fmla="*/ 139 h 1072"/>
                  <a:gd name="connsiteX92" fmla="*/ 1910 w 5133"/>
                  <a:gd name="connsiteY92" fmla="*/ 116 h 1072"/>
                  <a:gd name="connsiteX93" fmla="*/ 1854 w 5133"/>
                  <a:gd name="connsiteY93" fmla="*/ 100 h 1072"/>
                  <a:gd name="connsiteX94" fmla="*/ 1796 w 5133"/>
                  <a:gd name="connsiteY94" fmla="*/ 91 h 1072"/>
                  <a:gd name="connsiteX95" fmla="*/ 1732 w 5133"/>
                  <a:gd name="connsiteY95" fmla="*/ 93 h 1072"/>
                  <a:gd name="connsiteX96" fmla="*/ 1664 w 5133"/>
                  <a:gd name="connsiteY96" fmla="*/ 104 h 1072"/>
                  <a:gd name="connsiteX97" fmla="*/ 1602 w 5133"/>
                  <a:gd name="connsiteY97" fmla="*/ 122 h 1072"/>
                  <a:gd name="connsiteX98" fmla="*/ 1545 w 5133"/>
                  <a:gd name="connsiteY98" fmla="*/ 147 h 1072"/>
                  <a:gd name="connsiteX99" fmla="*/ 1491 w 5133"/>
                  <a:gd name="connsiteY99" fmla="*/ 181 h 1072"/>
                  <a:gd name="connsiteX100" fmla="*/ 1439 w 5133"/>
                  <a:gd name="connsiteY100" fmla="*/ 218 h 1072"/>
                  <a:gd name="connsiteX101" fmla="*/ 1394 w 5133"/>
                  <a:gd name="connsiteY101" fmla="*/ 261 h 1072"/>
                  <a:gd name="connsiteX102" fmla="*/ 1348 w 5133"/>
                  <a:gd name="connsiteY102" fmla="*/ 307 h 1072"/>
                  <a:gd name="connsiteX103" fmla="*/ 1307 w 5133"/>
                  <a:gd name="connsiteY103" fmla="*/ 359 h 1072"/>
                  <a:gd name="connsiteX104" fmla="*/ 1268 w 5133"/>
                  <a:gd name="connsiteY104" fmla="*/ 413 h 1072"/>
                  <a:gd name="connsiteX105" fmla="*/ 1231 w 5133"/>
                  <a:gd name="connsiteY105" fmla="*/ 467 h 1072"/>
                  <a:gd name="connsiteX106" fmla="*/ 1194 w 5133"/>
                  <a:gd name="connsiteY106" fmla="*/ 523 h 1072"/>
                  <a:gd name="connsiteX107" fmla="*/ 1156 w 5133"/>
                  <a:gd name="connsiteY107" fmla="*/ 581 h 1072"/>
                  <a:gd name="connsiteX108" fmla="*/ 1121 w 5133"/>
                  <a:gd name="connsiteY108" fmla="*/ 637 h 1072"/>
                  <a:gd name="connsiteX109" fmla="*/ 1047 w 5133"/>
                  <a:gd name="connsiteY109" fmla="*/ 749 h 1072"/>
                  <a:gd name="connsiteX110" fmla="*/ 1008 w 5133"/>
                  <a:gd name="connsiteY110" fmla="*/ 801 h 1072"/>
                  <a:gd name="connsiteX111" fmla="*/ 966 w 5133"/>
                  <a:gd name="connsiteY111" fmla="*/ 850 h 1072"/>
                  <a:gd name="connsiteX112" fmla="*/ 923 w 5133"/>
                  <a:gd name="connsiteY112" fmla="*/ 896 h 1072"/>
                  <a:gd name="connsiteX113" fmla="*/ 876 w 5133"/>
                  <a:gd name="connsiteY113" fmla="*/ 937 h 1072"/>
                  <a:gd name="connsiteX114" fmla="*/ 826 w 5133"/>
                  <a:gd name="connsiteY114" fmla="*/ 973 h 1072"/>
                  <a:gd name="connsiteX115" fmla="*/ 772 w 5133"/>
                  <a:gd name="connsiteY115" fmla="*/ 1002 h 1072"/>
                  <a:gd name="connsiteX116" fmla="*/ 717 w 5133"/>
                  <a:gd name="connsiteY116" fmla="*/ 1025 h 1072"/>
                  <a:gd name="connsiteX117" fmla="*/ 653 w 5133"/>
                  <a:gd name="connsiteY117" fmla="*/ 1037 h 1072"/>
                  <a:gd name="connsiteX118" fmla="*/ 587 w 5133"/>
                  <a:gd name="connsiteY118" fmla="*/ 1043 h 1072"/>
                  <a:gd name="connsiteX119" fmla="*/ 580 w 5133"/>
                  <a:gd name="connsiteY119" fmla="*/ 1043 h 1072"/>
                  <a:gd name="connsiteX120" fmla="*/ 512 w 5133"/>
                  <a:gd name="connsiteY120" fmla="*/ 1039 h 1072"/>
                  <a:gd name="connsiteX121" fmla="*/ 450 w 5133"/>
                  <a:gd name="connsiteY121" fmla="*/ 1027 h 1072"/>
                  <a:gd name="connsiteX122" fmla="*/ 392 w 5133"/>
                  <a:gd name="connsiteY122" fmla="*/ 1008 h 1072"/>
                  <a:gd name="connsiteX123" fmla="*/ 341 w 5133"/>
                  <a:gd name="connsiteY123" fmla="*/ 983 h 1072"/>
                  <a:gd name="connsiteX124" fmla="*/ 293 w 5133"/>
                  <a:gd name="connsiteY124" fmla="*/ 952 h 1072"/>
                  <a:gd name="connsiteX125" fmla="*/ 248 w 5133"/>
                  <a:gd name="connsiteY125" fmla="*/ 915 h 1072"/>
                  <a:gd name="connsiteX126" fmla="*/ 207 w 5133"/>
                  <a:gd name="connsiteY126" fmla="*/ 873 h 1072"/>
                  <a:gd name="connsiteX127" fmla="*/ 169 w 5133"/>
                  <a:gd name="connsiteY127" fmla="*/ 828 h 1072"/>
                  <a:gd name="connsiteX128" fmla="*/ 132 w 5133"/>
                  <a:gd name="connsiteY128" fmla="*/ 780 h 1072"/>
                  <a:gd name="connsiteX129" fmla="*/ 99 w 5133"/>
                  <a:gd name="connsiteY129" fmla="*/ 728 h 1072"/>
                  <a:gd name="connsiteX130" fmla="*/ 64 w 5133"/>
                  <a:gd name="connsiteY130" fmla="*/ 674 h 1072"/>
                  <a:gd name="connsiteX131" fmla="*/ 33 w 5133"/>
                  <a:gd name="connsiteY131" fmla="*/ 618 h 1072"/>
                  <a:gd name="connsiteX132" fmla="*/ 0 w 5133"/>
                  <a:gd name="connsiteY132" fmla="*/ 560 h 1072"/>
                  <a:gd name="connsiteX133" fmla="*/ 77 w 5133"/>
                  <a:gd name="connsiteY133" fmla="*/ 516 h 1072"/>
                  <a:gd name="connsiteX134" fmla="*/ 110 w 5133"/>
                  <a:gd name="connsiteY134" fmla="*/ 575 h 1072"/>
                  <a:gd name="connsiteX135" fmla="*/ 143 w 5133"/>
                  <a:gd name="connsiteY135" fmla="*/ 631 h 1072"/>
                  <a:gd name="connsiteX136" fmla="*/ 176 w 5133"/>
                  <a:gd name="connsiteY136" fmla="*/ 684 h 1072"/>
                  <a:gd name="connsiteX137" fmla="*/ 209 w 5133"/>
                  <a:gd name="connsiteY137" fmla="*/ 736 h 1072"/>
                  <a:gd name="connsiteX138" fmla="*/ 244 w 5133"/>
                  <a:gd name="connsiteY138" fmla="*/ 782 h 1072"/>
                  <a:gd name="connsiteX139" fmla="*/ 281 w 5133"/>
                  <a:gd name="connsiteY139" fmla="*/ 825 h 1072"/>
                  <a:gd name="connsiteX140" fmla="*/ 322 w 5133"/>
                  <a:gd name="connsiteY140" fmla="*/ 863 h 1072"/>
                  <a:gd name="connsiteX141" fmla="*/ 366 w 5133"/>
                  <a:gd name="connsiteY141" fmla="*/ 894 h 1072"/>
                  <a:gd name="connsiteX142" fmla="*/ 413 w 5133"/>
                  <a:gd name="connsiteY142" fmla="*/ 921 h 1072"/>
                  <a:gd name="connsiteX143" fmla="*/ 463 w 5133"/>
                  <a:gd name="connsiteY143" fmla="*/ 940 h 1072"/>
                  <a:gd name="connsiteX144" fmla="*/ 518 w 5133"/>
                  <a:gd name="connsiteY144" fmla="*/ 952 h 1072"/>
                  <a:gd name="connsiteX145" fmla="*/ 580 w 5133"/>
                  <a:gd name="connsiteY145" fmla="*/ 956 h 1072"/>
                  <a:gd name="connsiteX146" fmla="*/ 587 w 5133"/>
                  <a:gd name="connsiteY146" fmla="*/ 956 h 1072"/>
                  <a:gd name="connsiteX147" fmla="*/ 646 w 5133"/>
                  <a:gd name="connsiteY147" fmla="*/ 950 h 1072"/>
                  <a:gd name="connsiteX148" fmla="*/ 702 w 5133"/>
                  <a:gd name="connsiteY148" fmla="*/ 935 h 1072"/>
                  <a:gd name="connsiteX149" fmla="*/ 756 w 5133"/>
                  <a:gd name="connsiteY149" fmla="*/ 913 h 1072"/>
                  <a:gd name="connsiteX150" fmla="*/ 803 w 5133"/>
                  <a:gd name="connsiteY150" fmla="*/ 884 h 1072"/>
                  <a:gd name="connsiteX151" fmla="*/ 849 w 5133"/>
                  <a:gd name="connsiteY151" fmla="*/ 846 h 1072"/>
                  <a:gd name="connsiteX152" fmla="*/ 892 w 5133"/>
                  <a:gd name="connsiteY152" fmla="*/ 803 h 1072"/>
                  <a:gd name="connsiteX153" fmla="*/ 931 w 5133"/>
                  <a:gd name="connsiteY153" fmla="*/ 755 h 1072"/>
                  <a:gd name="connsiteX154" fmla="*/ 971 w 5133"/>
                  <a:gd name="connsiteY154" fmla="*/ 703 h 1072"/>
                  <a:gd name="connsiteX155" fmla="*/ 1010 w 5133"/>
                  <a:gd name="connsiteY155" fmla="*/ 649 h 1072"/>
                  <a:gd name="connsiteX156" fmla="*/ 1121 w 5133"/>
                  <a:gd name="connsiteY156" fmla="*/ 475 h 1072"/>
                  <a:gd name="connsiteX157" fmla="*/ 1161 w 5133"/>
                  <a:gd name="connsiteY157" fmla="*/ 415 h 1072"/>
                  <a:gd name="connsiteX158" fmla="*/ 1202 w 5133"/>
                  <a:gd name="connsiteY158" fmla="*/ 357 h 1072"/>
                  <a:gd name="connsiteX159" fmla="*/ 1245 w 5133"/>
                  <a:gd name="connsiteY159" fmla="*/ 299 h 1072"/>
                  <a:gd name="connsiteX160" fmla="*/ 1291 w 5133"/>
                  <a:gd name="connsiteY160" fmla="*/ 245 h 1072"/>
                  <a:gd name="connsiteX161" fmla="*/ 1338 w 5133"/>
                  <a:gd name="connsiteY161" fmla="*/ 193 h 1072"/>
                  <a:gd name="connsiteX162" fmla="*/ 1392 w 5133"/>
                  <a:gd name="connsiteY162" fmla="*/ 145 h 1072"/>
                  <a:gd name="connsiteX163" fmla="*/ 1447 w 5133"/>
                  <a:gd name="connsiteY163" fmla="*/ 104 h 1072"/>
                  <a:gd name="connsiteX164" fmla="*/ 1509 w 5133"/>
                  <a:gd name="connsiteY164" fmla="*/ 69 h 1072"/>
                  <a:gd name="connsiteX165" fmla="*/ 1575 w 5133"/>
                  <a:gd name="connsiteY165" fmla="*/ 40 h 1072"/>
                  <a:gd name="connsiteX166" fmla="*/ 1648 w 5133"/>
                  <a:gd name="connsiteY166" fmla="*/ 19 h 1072"/>
                  <a:gd name="connsiteX167" fmla="*/ 1726 w 5133"/>
                  <a:gd name="connsiteY167" fmla="*/ 6 h 1072"/>
                  <a:gd name="connsiteX168" fmla="*/ 1796 w 5133"/>
                  <a:gd name="connsiteY168" fmla="*/ 4 h 1072"/>
                  <a:gd name="connsiteX169" fmla="*/ 1862 w 5133"/>
                  <a:gd name="connsiteY169" fmla="*/ 13 h 1072"/>
                  <a:gd name="connsiteX170" fmla="*/ 1922 w 5133"/>
                  <a:gd name="connsiteY170" fmla="*/ 27 h 1072"/>
                  <a:gd name="connsiteX171" fmla="*/ 1980 w 5133"/>
                  <a:gd name="connsiteY171" fmla="*/ 50 h 1072"/>
                  <a:gd name="connsiteX172" fmla="*/ 2034 w 5133"/>
                  <a:gd name="connsiteY172" fmla="*/ 81 h 1072"/>
                  <a:gd name="connsiteX173" fmla="*/ 2083 w 5133"/>
                  <a:gd name="connsiteY173" fmla="*/ 116 h 1072"/>
                  <a:gd name="connsiteX174" fmla="*/ 2129 w 5133"/>
                  <a:gd name="connsiteY174" fmla="*/ 158 h 1072"/>
                  <a:gd name="connsiteX175" fmla="*/ 2174 w 5133"/>
                  <a:gd name="connsiteY175" fmla="*/ 203 h 1072"/>
                  <a:gd name="connsiteX176" fmla="*/ 2216 w 5133"/>
                  <a:gd name="connsiteY176" fmla="*/ 251 h 1072"/>
                  <a:gd name="connsiteX177" fmla="*/ 2255 w 5133"/>
                  <a:gd name="connsiteY177" fmla="*/ 303 h 1072"/>
                  <a:gd name="connsiteX178" fmla="*/ 2292 w 5133"/>
                  <a:gd name="connsiteY178" fmla="*/ 357 h 1072"/>
                  <a:gd name="connsiteX179" fmla="*/ 2327 w 5133"/>
                  <a:gd name="connsiteY179" fmla="*/ 413 h 1072"/>
                  <a:gd name="connsiteX180" fmla="*/ 2362 w 5133"/>
                  <a:gd name="connsiteY180" fmla="*/ 467 h 1072"/>
                  <a:gd name="connsiteX181" fmla="*/ 2395 w 5133"/>
                  <a:gd name="connsiteY181" fmla="*/ 523 h 1072"/>
                  <a:gd name="connsiteX182" fmla="*/ 2432 w 5133"/>
                  <a:gd name="connsiteY182" fmla="*/ 585 h 1072"/>
                  <a:gd name="connsiteX183" fmla="*/ 2469 w 5133"/>
                  <a:gd name="connsiteY183" fmla="*/ 643 h 1072"/>
                  <a:gd name="connsiteX184" fmla="*/ 2509 w 5133"/>
                  <a:gd name="connsiteY184" fmla="*/ 701 h 1072"/>
                  <a:gd name="connsiteX185" fmla="*/ 2546 w 5133"/>
                  <a:gd name="connsiteY185" fmla="*/ 755 h 1072"/>
                  <a:gd name="connsiteX186" fmla="*/ 2587 w 5133"/>
                  <a:gd name="connsiteY186" fmla="*/ 805 h 1072"/>
                  <a:gd name="connsiteX187" fmla="*/ 2628 w 5133"/>
                  <a:gd name="connsiteY187" fmla="*/ 848 h 1072"/>
                  <a:gd name="connsiteX188" fmla="*/ 2672 w 5133"/>
                  <a:gd name="connsiteY188" fmla="*/ 886 h 1072"/>
                  <a:gd name="connsiteX189" fmla="*/ 2717 w 5133"/>
                  <a:gd name="connsiteY189" fmla="*/ 917 h 1072"/>
                  <a:gd name="connsiteX190" fmla="*/ 2767 w 5133"/>
                  <a:gd name="connsiteY190" fmla="*/ 940 h 1072"/>
                  <a:gd name="connsiteX191" fmla="*/ 2820 w 5133"/>
                  <a:gd name="connsiteY191" fmla="*/ 952 h 1072"/>
                  <a:gd name="connsiteX192" fmla="*/ 2876 w 5133"/>
                  <a:gd name="connsiteY192" fmla="*/ 956 h 1072"/>
                  <a:gd name="connsiteX193" fmla="*/ 2932 w 5133"/>
                  <a:gd name="connsiteY193" fmla="*/ 950 h 1072"/>
                  <a:gd name="connsiteX194" fmla="*/ 2982 w 5133"/>
                  <a:gd name="connsiteY194" fmla="*/ 935 h 1072"/>
                  <a:gd name="connsiteX195" fmla="*/ 3029 w 5133"/>
                  <a:gd name="connsiteY195" fmla="*/ 915 h 1072"/>
                  <a:gd name="connsiteX196" fmla="*/ 3072 w 5133"/>
                  <a:gd name="connsiteY196" fmla="*/ 884 h 1072"/>
                  <a:gd name="connsiteX197" fmla="*/ 3112 w 5133"/>
                  <a:gd name="connsiteY197" fmla="*/ 848 h 1072"/>
                  <a:gd name="connsiteX198" fmla="*/ 3149 w 5133"/>
                  <a:gd name="connsiteY198" fmla="*/ 807 h 1072"/>
                  <a:gd name="connsiteX199" fmla="*/ 3184 w 5133"/>
                  <a:gd name="connsiteY199" fmla="*/ 759 h 1072"/>
                  <a:gd name="connsiteX200" fmla="*/ 3217 w 5133"/>
                  <a:gd name="connsiteY200" fmla="*/ 709 h 1072"/>
                  <a:gd name="connsiteX201" fmla="*/ 3250 w 5133"/>
                  <a:gd name="connsiteY201" fmla="*/ 655 h 1072"/>
                  <a:gd name="connsiteX202" fmla="*/ 3283 w 5133"/>
                  <a:gd name="connsiteY202" fmla="*/ 597 h 1072"/>
                  <a:gd name="connsiteX203" fmla="*/ 3316 w 5133"/>
                  <a:gd name="connsiteY203" fmla="*/ 537 h 1072"/>
                  <a:gd name="connsiteX204" fmla="*/ 3345 w 5133"/>
                  <a:gd name="connsiteY204" fmla="*/ 483 h 1072"/>
                  <a:gd name="connsiteX205" fmla="*/ 3407 w 5133"/>
                  <a:gd name="connsiteY205" fmla="*/ 375 h 1072"/>
                  <a:gd name="connsiteX206" fmla="*/ 3477 w 5133"/>
                  <a:gd name="connsiteY206" fmla="*/ 272 h 1072"/>
                  <a:gd name="connsiteX207" fmla="*/ 3514 w 5133"/>
                  <a:gd name="connsiteY207" fmla="*/ 224 h 1072"/>
                  <a:gd name="connsiteX208" fmla="*/ 3555 w 5133"/>
                  <a:gd name="connsiteY208" fmla="*/ 178 h 1072"/>
                  <a:gd name="connsiteX209" fmla="*/ 3599 w 5133"/>
                  <a:gd name="connsiteY209" fmla="*/ 137 h 1072"/>
                  <a:gd name="connsiteX210" fmla="*/ 3646 w 5133"/>
                  <a:gd name="connsiteY210" fmla="*/ 100 h 1072"/>
                  <a:gd name="connsiteX211" fmla="*/ 3698 w 5133"/>
                  <a:gd name="connsiteY211" fmla="*/ 66 h 1072"/>
                  <a:gd name="connsiteX212" fmla="*/ 3756 w 5133"/>
                  <a:gd name="connsiteY212" fmla="*/ 40 h 1072"/>
                  <a:gd name="connsiteX213" fmla="*/ 3816 w 5133"/>
                  <a:gd name="connsiteY213" fmla="*/ 19 h 1072"/>
                  <a:gd name="connsiteX214" fmla="*/ 3882 w 5133"/>
                  <a:gd name="connsiteY214" fmla="*/ 6 h 1072"/>
                  <a:gd name="connsiteX215" fmla="*/ 3954 w 5133"/>
                  <a:gd name="connsiteY215" fmla="*/ 0 h 1072"/>
                  <a:gd name="connsiteX0" fmla="*/ 3954 w 5133"/>
                  <a:gd name="connsiteY0" fmla="*/ 0 h 1072"/>
                  <a:gd name="connsiteX1" fmla="*/ 4004 w 5133"/>
                  <a:gd name="connsiteY1" fmla="*/ 0 h 1072"/>
                  <a:gd name="connsiteX2" fmla="*/ 4032 w 5133"/>
                  <a:gd name="connsiteY2" fmla="*/ 4 h 1072"/>
                  <a:gd name="connsiteX3" fmla="*/ 4063 w 5133"/>
                  <a:gd name="connsiteY3" fmla="*/ 13 h 1072"/>
                  <a:gd name="connsiteX4" fmla="*/ 4101 w 5133"/>
                  <a:gd name="connsiteY4" fmla="*/ 23 h 1072"/>
                  <a:gd name="connsiteX5" fmla="*/ 4142 w 5133"/>
                  <a:gd name="connsiteY5" fmla="*/ 40 h 1072"/>
                  <a:gd name="connsiteX6" fmla="*/ 4185 w 5133"/>
                  <a:gd name="connsiteY6" fmla="*/ 60 h 1072"/>
                  <a:gd name="connsiteX7" fmla="*/ 4233 w 5133"/>
                  <a:gd name="connsiteY7" fmla="*/ 89 h 1072"/>
                  <a:gd name="connsiteX8" fmla="*/ 4282 w 5133"/>
                  <a:gd name="connsiteY8" fmla="*/ 125 h 1072"/>
                  <a:gd name="connsiteX9" fmla="*/ 4332 w 5133"/>
                  <a:gd name="connsiteY9" fmla="*/ 170 h 1072"/>
                  <a:gd name="connsiteX10" fmla="*/ 4383 w 5133"/>
                  <a:gd name="connsiteY10" fmla="*/ 224 h 1072"/>
                  <a:gd name="connsiteX11" fmla="*/ 4435 w 5133"/>
                  <a:gd name="connsiteY11" fmla="*/ 286 h 1072"/>
                  <a:gd name="connsiteX12" fmla="*/ 4487 w 5133"/>
                  <a:gd name="connsiteY12" fmla="*/ 361 h 1072"/>
                  <a:gd name="connsiteX13" fmla="*/ 4538 w 5133"/>
                  <a:gd name="connsiteY13" fmla="*/ 448 h 1072"/>
                  <a:gd name="connsiteX14" fmla="*/ 4590 w 5133"/>
                  <a:gd name="connsiteY14" fmla="*/ 548 h 1072"/>
                  <a:gd name="connsiteX15" fmla="*/ 4635 w 5133"/>
                  <a:gd name="connsiteY15" fmla="*/ 633 h 1072"/>
                  <a:gd name="connsiteX16" fmla="*/ 4681 w 5133"/>
                  <a:gd name="connsiteY16" fmla="*/ 705 h 1072"/>
                  <a:gd name="connsiteX17" fmla="*/ 4728 w 5133"/>
                  <a:gd name="connsiteY17" fmla="*/ 767 h 1072"/>
                  <a:gd name="connsiteX18" fmla="*/ 4776 w 5133"/>
                  <a:gd name="connsiteY18" fmla="*/ 819 h 1072"/>
                  <a:gd name="connsiteX19" fmla="*/ 4821 w 5133"/>
                  <a:gd name="connsiteY19" fmla="*/ 863 h 1072"/>
                  <a:gd name="connsiteX20" fmla="*/ 4869 w 5133"/>
                  <a:gd name="connsiteY20" fmla="*/ 898 h 1072"/>
                  <a:gd name="connsiteX21" fmla="*/ 4955 w 5133"/>
                  <a:gd name="connsiteY21" fmla="*/ 948 h 1072"/>
                  <a:gd name="connsiteX22" fmla="*/ 5030 w 5133"/>
                  <a:gd name="connsiteY22" fmla="*/ 973 h 1072"/>
                  <a:gd name="connsiteX23" fmla="*/ 5059 w 5133"/>
                  <a:gd name="connsiteY23" fmla="*/ 981 h 1072"/>
                  <a:gd name="connsiteX24" fmla="*/ 5133 w 5133"/>
                  <a:gd name="connsiteY24" fmla="*/ 1072 h 1072"/>
                  <a:gd name="connsiteX25" fmla="*/ 5040 w 5133"/>
                  <a:gd name="connsiteY25" fmla="*/ 1064 h 1072"/>
                  <a:gd name="connsiteX26" fmla="*/ 5003 w 5133"/>
                  <a:gd name="connsiteY26" fmla="*/ 1056 h 1072"/>
                  <a:gd name="connsiteX27" fmla="*/ 4961 w 5133"/>
                  <a:gd name="connsiteY27" fmla="*/ 1043 h 1072"/>
                  <a:gd name="connsiteX28" fmla="*/ 4869 w 5133"/>
                  <a:gd name="connsiteY28" fmla="*/ 1002 h 1072"/>
                  <a:gd name="connsiteX29" fmla="*/ 4819 w 5133"/>
                  <a:gd name="connsiteY29" fmla="*/ 971 h 1072"/>
                  <a:gd name="connsiteX30" fmla="*/ 4767 w 5133"/>
                  <a:gd name="connsiteY30" fmla="*/ 931 h 1072"/>
                  <a:gd name="connsiteX31" fmla="*/ 4716 w 5133"/>
                  <a:gd name="connsiteY31" fmla="*/ 881 h 1072"/>
                  <a:gd name="connsiteX32" fmla="*/ 4662 w 5133"/>
                  <a:gd name="connsiteY32" fmla="*/ 823 h 1072"/>
                  <a:gd name="connsiteX33" fmla="*/ 4611 w 5133"/>
                  <a:gd name="connsiteY33" fmla="*/ 755 h 1072"/>
                  <a:gd name="connsiteX34" fmla="*/ 4561 w 5133"/>
                  <a:gd name="connsiteY34" fmla="*/ 676 h 1072"/>
                  <a:gd name="connsiteX35" fmla="*/ 4513 w 5133"/>
                  <a:gd name="connsiteY35" fmla="*/ 583 h 1072"/>
                  <a:gd name="connsiteX36" fmla="*/ 4464 w 5133"/>
                  <a:gd name="connsiteY36" fmla="*/ 487 h 1072"/>
                  <a:gd name="connsiteX37" fmla="*/ 4414 w 5133"/>
                  <a:gd name="connsiteY37" fmla="*/ 404 h 1072"/>
                  <a:gd name="connsiteX38" fmla="*/ 4365 w 5133"/>
                  <a:gd name="connsiteY38" fmla="*/ 336 h 1072"/>
                  <a:gd name="connsiteX39" fmla="*/ 4315 w 5133"/>
                  <a:gd name="connsiteY39" fmla="*/ 276 h 1072"/>
                  <a:gd name="connsiteX40" fmla="*/ 4268 w 5133"/>
                  <a:gd name="connsiteY40" fmla="*/ 228 h 1072"/>
                  <a:gd name="connsiteX41" fmla="*/ 4222 w 5133"/>
                  <a:gd name="connsiteY41" fmla="*/ 189 h 1072"/>
                  <a:gd name="connsiteX42" fmla="*/ 4181 w 5133"/>
                  <a:gd name="connsiteY42" fmla="*/ 158 h 1072"/>
                  <a:gd name="connsiteX43" fmla="*/ 4142 w 5133"/>
                  <a:gd name="connsiteY43" fmla="*/ 135 h 1072"/>
                  <a:gd name="connsiteX44" fmla="*/ 4092 w 5133"/>
                  <a:gd name="connsiteY44" fmla="*/ 112 h 1072"/>
                  <a:gd name="connsiteX45" fmla="*/ 4049 w 5133"/>
                  <a:gd name="connsiteY45" fmla="*/ 98 h 1072"/>
                  <a:gd name="connsiteX46" fmla="*/ 4014 w 5133"/>
                  <a:gd name="connsiteY46" fmla="*/ 89 h 1072"/>
                  <a:gd name="connsiteX47" fmla="*/ 3985 w 5133"/>
                  <a:gd name="connsiteY47" fmla="*/ 87 h 1072"/>
                  <a:gd name="connsiteX48" fmla="*/ 3958 w 5133"/>
                  <a:gd name="connsiteY48" fmla="*/ 87 h 1072"/>
                  <a:gd name="connsiteX49" fmla="*/ 3892 w 5133"/>
                  <a:gd name="connsiteY49" fmla="*/ 93 h 1072"/>
                  <a:gd name="connsiteX50" fmla="*/ 3830 w 5133"/>
                  <a:gd name="connsiteY50" fmla="*/ 106 h 1072"/>
                  <a:gd name="connsiteX51" fmla="*/ 3774 w 5133"/>
                  <a:gd name="connsiteY51" fmla="*/ 127 h 1072"/>
                  <a:gd name="connsiteX52" fmla="*/ 3723 w 5133"/>
                  <a:gd name="connsiteY52" fmla="*/ 154 h 1072"/>
                  <a:gd name="connsiteX53" fmla="*/ 3675 w 5133"/>
                  <a:gd name="connsiteY53" fmla="*/ 187 h 1072"/>
                  <a:gd name="connsiteX54" fmla="*/ 3632 w 5133"/>
                  <a:gd name="connsiteY54" fmla="*/ 224 h 1072"/>
                  <a:gd name="connsiteX55" fmla="*/ 3593 w 5133"/>
                  <a:gd name="connsiteY55" fmla="*/ 268 h 1072"/>
                  <a:gd name="connsiteX56" fmla="*/ 3553 w 5133"/>
                  <a:gd name="connsiteY56" fmla="*/ 313 h 1072"/>
                  <a:gd name="connsiteX57" fmla="*/ 3518 w 5133"/>
                  <a:gd name="connsiteY57" fmla="*/ 363 h 1072"/>
                  <a:gd name="connsiteX58" fmla="*/ 3485 w 5133"/>
                  <a:gd name="connsiteY58" fmla="*/ 415 h 1072"/>
                  <a:gd name="connsiteX59" fmla="*/ 3423 w 5133"/>
                  <a:gd name="connsiteY59" fmla="*/ 523 h 1072"/>
                  <a:gd name="connsiteX60" fmla="*/ 3330 w 5133"/>
                  <a:gd name="connsiteY60" fmla="*/ 691 h 1072"/>
                  <a:gd name="connsiteX61" fmla="*/ 3297 w 5133"/>
                  <a:gd name="connsiteY61" fmla="*/ 747 h 1072"/>
                  <a:gd name="connsiteX62" fmla="*/ 3262 w 5133"/>
                  <a:gd name="connsiteY62" fmla="*/ 799 h 1072"/>
                  <a:gd name="connsiteX63" fmla="*/ 3227 w 5133"/>
                  <a:gd name="connsiteY63" fmla="*/ 848 h 1072"/>
                  <a:gd name="connsiteX64" fmla="*/ 3188 w 5133"/>
                  <a:gd name="connsiteY64" fmla="*/ 894 h 1072"/>
                  <a:gd name="connsiteX65" fmla="*/ 3147 w 5133"/>
                  <a:gd name="connsiteY65" fmla="*/ 935 h 1072"/>
                  <a:gd name="connsiteX66" fmla="*/ 3101 w 5133"/>
                  <a:gd name="connsiteY66" fmla="*/ 971 h 1072"/>
                  <a:gd name="connsiteX67" fmla="*/ 3052 w 5133"/>
                  <a:gd name="connsiteY67" fmla="*/ 1000 h 1072"/>
                  <a:gd name="connsiteX68" fmla="*/ 3000 w 5133"/>
                  <a:gd name="connsiteY68" fmla="*/ 1022 h 1072"/>
                  <a:gd name="connsiteX69" fmla="*/ 2942 w 5133"/>
                  <a:gd name="connsiteY69" fmla="*/ 1037 h 1072"/>
                  <a:gd name="connsiteX70" fmla="*/ 2878 w 5133"/>
                  <a:gd name="connsiteY70" fmla="*/ 1043 h 1072"/>
                  <a:gd name="connsiteX71" fmla="*/ 2870 w 5133"/>
                  <a:gd name="connsiteY71" fmla="*/ 1043 h 1072"/>
                  <a:gd name="connsiteX72" fmla="*/ 2808 w 5133"/>
                  <a:gd name="connsiteY72" fmla="*/ 1039 h 1072"/>
                  <a:gd name="connsiteX73" fmla="*/ 2748 w 5133"/>
                  <a:gd name="connsiteY73" fmla="*/ 1025 h 1072"/>
                  <a:gd name="connsiteX74" fmla="*/ 2695 w 5133"/>
                  <a:gd name="connsiteY74" fmla="*/ 1002 h 1072"/>
                  <a:gd name="connsiteX75" fmla="*/ 2643 w 5133"/>
                  <a:gd name="connsiteY75" fmla="*/ 973 h 1072"/>
                  <a:gd name="connsiteX76" fmla="*/ 2595 w 5133"/>
                  <a:gd name="connsiteY76" fmla="*/ 935 h 1072"/>
                  <a:gd name="connsiteX77" fmla="*/ 2552 w 5133"/>
                  <a:gd name="connsiteY77" fmla="*/ 894 h 1072"/>
                  <a:gd name="connsiteX78" fmla="*/ 2509 w 5133"/>
                  <a:gd name="connsiteY78" fmla="*/ 846 h 1072"/>
                  <a:gd name="connsiteX79" fmla="*/ 2469 w 5133"/>
                  <a:gd name="connsiteY79" fmla="*/ 796 h 1072"/>
                  <a:gd name="connsiteX80" fmla="*/ 2430 w 5133"/>
                  <a:gd name="connsiteY80" fmla="*/ 740 h 1072"/>
                  <a:gd name="connsiteX81" fmla="*/ 2393 w 5133"/>
                  <a:gd name="connsiteY81" fmla="*/ 684 h 1072"/>
                  <a:gd name="connsiteX82" fmla="*/ 2288 w 5133"/>
                  <a:gd name="connsiteY82" fmla="*/ 510 h 1072"/>
                  <a:gd name="connsiteX83" fmla="*/ 2251 w 5133"/>
                  <a:gd name="connsiteY83" fmla="*/ 452 h 1072"/>
                  <a:gd name="connsiteX84" fmla="*/ 2213 w 5133"/>
                  <a:gd name="connsiteY84" fmla="*/ 396 h 1072"/>
                  <a:gd name="connsiteX85" fmla="*/ 2176 w 5133"/>
                  <a:gd name="connsiteY85" fmla="*/ 342 h 1072"/>
                  <a:gd name="connsiteX86" fmla="*/ 2137 w 5133"/>
                  <a:gd name="connsiteY86" fmla="*/ 293 h 1072"/>
                  <a:gd name="connsiteX87" fmla="*/ 2096 w 5133"/>
                  <a:gd name="connsiteY87" fmla="*/ 247 h 1072"/>
                  <a:gd name="connsiteX88" fmla="*/ 2054 w 5133"/>
                  <a:gd name="connsiteY88" fmla="*/ 205 h 1072"/>
                  <a:gd name="connsiteX89" fmla="*/ 2009 w 5133"/>
                  <a:gd name="connsiteY89" fmla="*/ 168 h 1072"/>
                  <a:gd name="connsiteX90" fmla="*/ 1962 w 5133"/>
                  <a:gd name="connsiteY90" fmla="*/ 139 h 1072"/>
                  <a:gd name="connsiteX91" fmla="*/ 1910 w 5133"/>
                  <a:gd name="connsiteY91" fmla="*/ 116 h 1072"/>
                  <a:gd name="connsiteX92" fmla="*/ 1854 w 5133"/>
                  <a:gd name="connsiteY92" fmla="*/ 100 h 1072"/>
                  <a:gd name="connsiteX93" fmla="*/ 1796 w 5133"/>
                  <a:gd name="connsiteY93" fmla="*/ 91 h 1072"/>
                  <a:gd name="connsiteX94" fmla="*/ 1732 w 5133"/>
                  <a:gd name="connsiteY94" fmla="*/ 93 h 1072"/>
                  <a:gd name="connsiteX95" fmla="*/ 1664 w 5133"/>
                  <a:gd name="connsiteY95" fmla="*/ 104 h 1072"/>
                  <a:gd name="connsiteX96" fmla="*/ 1602 w 5133"/>
                  <a:gd name="connsiteY96" fmla="*/ 122 h 1072"/>
                  <a:gd name="connsiteX97" fmla="*/ 1545 w 5133"/>
                  <a:gd name="connsiteY97" fmla="*/ 147 h 1072"/>
                  <a:gd name="connsiteX98" fmla="*/ 1491 w 5133"/>
                  <a:gd name="connsiteY98" fmla="*/ 181 h 1072"/>
                  <a:gd name="connsiteX99" fmla="*/ 1439 w 5133"/>
                  <a:gd name="connsiteY99" fmla="*/ 218 h 1072"/>
                  <a:gd name="connsiteX100" fmla="*/ 1394 w 5133"/>
                  <a:gd name="connsiteY100" fmla="*/ 261 h 1072"/>
                  <a:gd name="connsiteX101" fmla="*/ 1348 w 5133"/>
                  <a:gd name="connsiteY101" fmla="*/ 307 h 1072"/>
                  <a:gd name="connsiteX102" fmla="*/ 1307 w 5133"/>
                  <a:gd name="connsiteY102" fmla="*/ 359 h 1072"/>
                  <a:gd name="connsiteX103" fmla="*/ 1268 w 5133"/>
                  <a:gd name="connsiteY103" fmla="*/ 413 h 1072"/>
                  <a:gd name="connsiteX104" fmla="*/ 1231 w 5133"/>
                  <a:gd name="connsiteY104" fmla="*/ 467 h 1072"/>
                  <a:gd name="connsiteX105" fmla="*/ 1194 w 5133"/>
                  <a:gd name="connsiteY105" fmla="*/ 523 h 1072"/>
                  <a:gd name="connsiteX106" fmla="*/ 1156 w 5133"/>
                  <a:gd name="connsiteY106" fmla="*/ 581 h 1072"/>
                  <a:gd name="connsiteX107" fmla="*/ 1121 w 5133"/>
                  <a:gd name="connsiteY107" fmla="*/ 637 h 1072"/>
                  <a:gd name="connsiteX108" fmla="*/ 1047 w 5133"/>
                  <a:gd name="connsiteY108" fmla="*/ 749 h 1072"/>
                  <a:gd name="connsiteX109" fmla="*/ 1008 w 5133"/>
                  <a:gd name="connsiteY109" fmla="*/ 801 h 1072"/>
                  <a:gd name="connsiteX110" fmla="*/ 966 w 5133"/>
                  <a:gd name="connsiteY110" fmla="*/ 850 h 1072"/>
                  <a:gd name="connsiteX111" fmla="*/ 923 w 5133"/>
                  <a:gd name="connsiteY111" fmla="*/ 896 h 1072"/>
                  <a:gd name="connsiteX112" fmla="*/ 876 w 5133"/>
                  <a:gd name="connsiteY112" fmla="*/ 937 h 1072"/>
                  <a:gd name="connsiteX113" fmla="*/ 826 w 5133"/>
                  <a:gd name="connsiteY113" fmla="*/ 973 h 1072"/>
                  <a:gd name="connsiteX114" fmla="*/ 772 w 5133"/>
                  <a:gd name="connsiteY114" fmla="*/ 1002 h 1072"/>
                  <a:gd name="connsiteX115" fmla="*/ 717 w 5133"/>
                  <a:gd name="connsiteY115" fmla="*/ 1025 h 1072"/>
                  <a:gd name="connsiteX116" fmla="*/ 653 w 5133"/>
                  <a:gd name="connsiteY116" fmla="*/ 1037 h 1072"/>
                  <a:gd name="connsiteX117" fmla="*/ 587 w 5133"/>
                  <a:gd name="connsiteY117" fmla="*/ 1043 h 1072"/>
                  <a:gd name="connsiteX118" fmla="*/ 580 w 5133"/>
                  <a:gd name="connsiteY118" fmla="*/ 1043 h 1072"/>
                  <a:gd name="connsiteX119" fmla="*/ 512 w 5133"/>
                  <a:gd name="connsiteY119" fmla="*/ 1039 h 1072"/>
                  <a:gd name="connsiteX120" fmla="*/ 450 w 5133"/>
                  <a:gd name="connsiteY120" fmla="*/ 1027 h 1072"/>
                  <a:gd name="connsiteX121" fmla="*/ 392 w 5133"/>
                  <a:gd name="connsiteY121" fmla="*/ 1008 h 1072"/>
                  <a:gd name="connsiteX122" fmla="*/ 341 w 5133"/>
                  <a:gd name="connsiteY122" fmla="*/ 983 h 1072"/>
                  <a:gd name="connsiteX123" fmla="*/ 293 w 5133"/>
                  <a:gd name="connsiteY123" fmla="*/ 952 h 1072"/>
                  <a:gd name="connsiteX124" fmla="*/ 248 w 5133"/>
                  <a:gd name="connsiteY124" fmla="*/ 915 h 1072"/>
                  <a:gd name="connsiteX125" fmla="*/ 207 w 5133"/>
                  <a:gd name="connsiteY125" fmla="*/ 873 h 1072"/>
                  <a:gd name="connsiteX126" fmla="*/ 169 w 5133"/>
                  <a:gd name="connsiteY126" fmla="*/ 828 h 1072"/>
                  <a:gd name="connsiteX127" fmla="*/ 132 w 5133"/>
                  <a:gd name="connsiteY127" fmla="*/ 780 h 1072"/>
                  <a:gd name="connsiteX128" fmla="*/ 99 w 5133"/>
                  <a:gd name="connsiteY128" fmla="*/ 728 h 1072"/>
                  <a:gd name="connsiteX129" fmla="*/ 64 w 5133"/>
                  <a:gd name="connsiteY129" fmla="*/ 674 h 1072"/>
                  <a:gd name="connsiteX130" fmla="*/ 33 w 5133"/>
                  <a:gd name="connsiteY130" fmla="*/ 618 h 1072"/>
                  <a:gd name="connsiteX131" fmla="*/ 0 w 5133"/>
                  <a:gd name="connsiteY131" fmla="*/ 560 h 1072"/>
                  <a:gd name="connsiteX132" fmla="*/ 77 w 5133"/>
                  <a:gd name="connsiteY132" fmla="*/ 516 h 1072"/>
                  <a:gd name="connsiteX133" fmla="*/ 110 w 5133"/>
                  <a:gd name="connsiteY133" fmla="*/ 575 h 1072"/>
                  <a:gd name="connsiteX134" fmla="*/ 143 w 5133"/>
                  <a:gd name="connsiteY134" fmla="*/ 631 h 1072"/>
                  <a:gd name="connsiteX135" fmla="*/ 176 w 5133"/>
                  <a:gd name="connsiteY135" fmla="*/ 684 h 1072"/>
                  <a:gd name="connsiteX136" fmla="*/ 209 w 5133"/>
                  <a:gd name="connsiteY136" fmla="*/ 736 h 1072"/>
                  <a:gd name="connsiteX137" fmla="*/ 244 w 5133"/>
                  <a:gd name="connsiteY137" fmla="*/ 782 h 1072"/>
                  <a:gd name="connsiteX138" fmla="*/ 281 w 5133"/>
                  <a:gd name="connsiteY138" fmla="*/ 825 h 1072"/>
                  <a:gd name="connsiteX139" fmla="*/ 322 w 5133"/>
                  <a:gd name="connsiteY139" fmla="*/ 863 h 1072"/>
                  <a:gd name="connsiteX140" fmla="*/ 366 w 5133"/>
                  <a:gd name="connsiteY140" fmla="*/ 894 h 1072"/>
                  <a:gd name="connsiteX141" fmla="*/ 413 w 5133"/>
                  <a:gd name="connsiteY141" fmla="*/ 921 h 1072"/>
                  <a:gd name="connsiteX142" fmla="*/ 463 w 5133"/>
                  <a:gd name="connsiteY142" fmla="*/ 940 h 1072"/>
                  <a:gd name="connsiteX143" fmla="*/ 518 w 5133"/>
                  <a:gd name="connsiteY143" fmla="*/ 952 h 1072"/>
                  <a:gd name="connsiteX144" fmla="*/ 580 w 5133"/>
                  <a:gd name="connsiteY144" fmla="*/ 956 h 1072"/>
                  <a:gd name="connsiteX145" fmla="*/ 587 w 5133"/>
                  <a:gd name="connsiteY145" fmla="*/ 956 h 1072"/>
                  <a:gd name="connsiteX146" fmla="*/ 646 w 5133"/>
                  <a:gd name="connsiteY146" fmla="*/ 950 h 1072"/>
                  <a:gd name="connsiteX147" fmla="*/ 702 w 5133"/>
                  <a:gd name="connsiteY147" fmla="*/ 935 h 1072"/>
                  <a:gd name="connsiteX148" fmla="*/ 756 w 5133"/>
                  <a:gd name="connsiteY148" fmla="*/ 913 h 1072"/>
                  <a:gd name="connsiteX149" fmla="*/ 803 w 5133"/>
                  <a:gd name="connsiteY149" fmla="*/ 884 h 1072"/>
                  <a:gd name="connsiteX150" fmla="*/ 849 w 5133"/>
                  <a:gd name="connsiteY150" fmla="*/ 846 h 1072"/>
                  <a:gd name="connsiteX151" fmla="*/ 892 w 5133"/>
                  <a:gd name="connsiteY151" fmla="*/ 803 h 1072"/>
                  <a:gd name="connsiteX152" fmla="*/ 931 w 5133"/>
                  <a:gd name="connsiteY152" fmla="*/ 755 h 1072"/>
                  <a:gd name="connsiteX153" fmla="*/ 971 w 5133"/>
                  <a:gd name="connsiteY153" fmla="*/ 703 h 1072"/>
                  <a:gd name="connsiteX154" fmla="*/ 1010 w 5133"/>
                  <a:gd name="connsiteY154" fmla="*/ 649 h 1072"/>
                  <a:gd name="connsiteX155" fmla="*/ 1121 w 5133"/>
                  <a:gd name="connsiteY155" fmla="*/ 475 h 1072"/>
                  <a:gd name="connsiteX156" fmla="*/ 1161 w 5133"/>
                  <a:gd name="connsiteY156" fmla="*/ 415 h 1072"/>
                  <a:gd name="connsiteX157" fmla="*/ 1202 w 5133"/>
                  <a:gd name="connsiteY157" fmla="*/ 357 h 1072"/>
                  <a:gd name="connsiteX158" fmla="*/ 1245 w 5133"/>
                  <a:gd name="connsiteY158" fmla="*/ 299 h 1072"/>
                  <a:gd name="connsiteX159" fmla="*/ 1291 w 5133"/>
                  <a:gd name="connsiteY159" fmla="*/ 245 h 1072"/>
                  <a:gd name="connsiteX160" fmla="*/ 1338 w 5133"/>
                  <a:gd name="connsiteY160" fmla="*/ 193 h 1072"/>
                  <a:gd name="connsiteX161" fmla="*/ 1392 w 5133"/>
                  <a:gd name="connsiteY161" fmla="*/ 145 h 1072"/>
                  <a:gd name="connsiteX162" fmla="*/ 1447 w 5133"/>
                  <a:gd name="connsiteY162" fmla="*/ 104 h 1072"/>
                  <a:gd name="connsiteX163" fmla="*/ 1509 w 5133"/>
                  <a:gd name="connsiteY163" fmla="*/ 69 h 1072"/>
                  <a:gd name="connsiteX164" fmla="*/ 1575 w 5133"/>
                  <a:gd name="connsiteY164" fmla="*/ 40 h 1072"/>
                  <a:gd name="connsiteX165" fmla="*/ 1648 w 5133"/>
                  <a:gd name="connsiteY165" fmla="*/ 19 h 1072"/>
                  <a:gd name="connsiteX166" fmla="*/ 1726 w 5133"/>
                  <a:gd name="connsiteY166" fmla="*/ 6 h 1072"/>
                  <a:gd name="connsiteX167" fmla="*/ 1796 w 5133"/>
                  <a:gd name="connsiteY167" fmla="*/ 4 h 1072"/>
                  <a:gd name="connsiteX168" fmla="*/ 1862 w 5133"/>
                  <a:gd name="connsiteY168" fmla="*/ 13 h 1072"/>
                  <a:gd name="connsiteX169" fmla="*/ 1922 w 5133"/>
                  <a:gd name="connsiteY169" fmla="*/ 27 h 1072"/>
                  <a:gd name="connsiteX170" fmla="*/ 1980 w 5133"/>
                  <a:gd name="connsiteY170" fmla="*/ 50 h 1072"/>
                  <a:gd name="connsiteX171" fmla="*/ 2034 w 5133"/>
                  <a:gd name="connsiteY171" fmla="*/ 81 h 1072"/>
                  <a:gd name="connsiteX172" fmla="*/ 2083 w 5133"/>
                  <a:gd name="connsiteY172" fmla="*/ 116 h 1072"/>
                  <a:gd name="connsiteX173" fmla="*/ 2129 w 5133"/>
                  <a:gd name="connsiteY173" fmla="*/ 158 h 1072"/>
                  <a:gd name="connsiteX174" fmla="*/ 2174 w 5133"/>
                  <a:gd name="connsiteY174" fmla="*/ 203 h 1072"/>
                  <a:gd name="connsiteX175" fmla="*/ 2216 w 5133"/>
                  <a:gd name="connsiteY175" fmla="*/ 251 h 1072"/>
                  <a:gd name="connsiteX176" fmla="*/ 2255 w 5133"/>
                  <a:gd name="connsiteY176" fmla="*/ 303 h 1072"/>
                  <a:gd name="connsiteX177" fmla="*/ 2292 w 5133"/>
                  <a:gd name="connsiteY177" fmla="*/ 357 h 1072"/>
                  <a:gd name="connsiteX178" fmla="*/ 2327 w 5133"/>
                  <a:gd name="connsiteY178" fmla="*/ 413 h 1072"/>
                  <a:gd name="connsiteX179" fmla="*/ 2362 w 5133"/>
                  <a:gd name="connsiteY179" fmla="*/ 467 h 1072"/>
                  <a:gd name="connsiteX180" fmla="*/ 2395 w 5133"/>
                  <a:gd name="connsiteY180" fmla="*/ 523 h 1072"/>
                  <a:gd name="connsiteX181" fmla="*/ 2432 w 5133"/>
                  <a:gd name="connsiteY181" fmla="*/ 585 h 1072"/>
                  <a:gd name="connsiteX182" fmla="*/ 2469 w 5133"/>
                  <a:gd name="connsiteY182" fmla="*/ 643 h 1072"/>
                  <a:gd name="connsiteX183" fmla="*/ 2509 w 5133"/>
                  <a:gd name="connsiteY183" fmla="*/ 701 h 1072"/>
                  <a:gd name="connsiteX184" fmla="*/ 2546 w 5133"/>
                  <a:gd name="connsiteY184" fmla="*/ 755 h 1072"/>
                  <a:gd name="connsiteX185" fmla="*/ 2587 w 5133"/>
                  <a:gd name="connsiteY185" fmla="*/ 805 h 1072"/>
                  <a:gd name="connsiteX186" fmla="*/ 2628 w 5133"/>
                  <a:gd name="connsiteY186" fmla="*/ 848 h 1072"/>
                  <a:gd name="connsiteX187" fmla="*/ 2672 w 5133"/>
                  <a:gd name="connsiteY187" fmla="*/ 886 h 1072"/>
                  <a:gd name="connsiteX188" fmla="*/ 2717 w 5133"/>
                  <a:gd name="connsiteY188" fmla="*/ 917 h 1072"/>
                  <a:gd name="connsiteX189" fmla="*/ 2767 w 5133"/>
                  <a:gd name="connsiteY189" fmla="*/ 940 h 1072"/>
                  <a:gd name="connsiteX190" fmla="*/ 2820 w 5133"/>
                  <a:gd name="connsiteY190" fmla="*/ 952 h 1072"/>
                  <a:gd name="connsiteX191" fmla="*/ 2876 w 5133"/>
                  <a:gd name="connsiteY191" fmla="*/ 956 h 1072"/>
                  <a:gd name="connsiteX192" fmla="*/ 2932 w 5133"/>
                  <a:gd name="connsiteY192" fmla="*/ 950 h 1072"/>
                  <a:gd name="connsiteX193" fmla="*/ 2982 w 5133"/>
                  <a:gd name="connsiteY193" fmla="*/ 935 h 1072"/>
                  <a:gd name="connsiteX194" fmla="*/ 3029 w 5133"/>
                  <a:gd name="connsiteY194" fmla="*/ 915 h 1072"/>
                  <a:gd name="connsiteX195" fmla="*/ 3072 w 5133"/>
                  <a:gd name="connsiteY195" fmla="*/ 884 h 1072"/>
                  <a:gd name="connsiteX196" fmla="*/ 3112 w 5133"/>
                  <a:gd name="connsiteY196" fmla="*/ 848 h 1072"/>
                  <a:gd name="connsiteX197" fmla="*/ 3149 w 5133"/>
                  <a:gd name="connsiteY197" fmla="*/ 807 h 1072"/>
                  <a:gd name="connsiteX198" fmla="*/ 3184 w 5133"/>
                  <a:gd name="connsiteY198" fmla="*/ 759 h 1072"/>
                  <a:gd name="connsiteX199" fmla="*/ 3217 w 5133"/>
                  <a:gd name="connsiteY199" fmla="*/ 709 h 1072"/>
                  <a:gd name="connsiteX200" fmla="*/ 3250 w 5133"/>
                  <a:gd name="connsiteY200" fmla="*/ 655 h 1072"/>
                  <a:gd name="connsiteX201" fmla="*/ 3283 w 5133"/>
                  <a:gd name="connsiteY201" fmla="*/ 597 h 1072"/>
                  <a:gd name="connsiteX202" fmla="*/ 3316 w 5133"/>
                  <a:gd name="connsiteY202" fmla="*/ 537 h 1072"/>
                  <a:gd name="connsiteX203" fmla="*/ 3345 w 5133"/>
                  <a:gd name="connsiteY203" fmla="*/ 483 h 1072"/>
                  <a:gd name="connsiteX204" fmla="*/ 3407 w 5133"/>
                  <a:gd name="connsiteY204" fmla="*/ 375 h 1072"/>
                  <a:gd name="connsiteX205" fmla="*/ 3477 w 5133"/>
                  <a:gd name="connsiteY205" fmla="*/ 272 h 1072"/>
                  <a:gd name="connsiteX206" fmla="*/ 3514 w 5133"/>
                  <a:gd name="connsiteY206" fmla="*/ 224 h 1072"/>
                  <a:gd name="connsiteX207" fmla="*/ 3555 w 5133"/>
                  <a:gd name="connsiteY207" fmla="*/ 178 h 1072"/>
                  <a:gd name="connsiteX208" fmla="*/ 3599 w 5133"/>
                  <a:gd name="connsiteY208" fmla="*/ 137 h 1072"/>
                  <a:gd name="connsiteX209" fmla="*/ 3646 w 5133"/>
                  <a:gd name="connsiteY209" fmla="*/ 100 h 1072"/>
                  <a:gd name="connsiteX210" fmla="*/ 3698 w 5133"/>
                  <a:gd name="connsiteY210" fmla="*/ 66 h 1072"/>
                  <a:gd name="connsiteX211" fmla="*/ 3756 w 5133"/>
                  <a:gd name="connsiteY211" fmla="*/ 40 h 1072"/>
                  <a:gd name="connsiteX212" fmla="*/ 3816 w 5133"/>
                  <a:gd name="connsiteY212" fmla="*/ 19 h 1072"/>
                  <a:gd name="connsiteX213" fmla="*/ 3882 w 5133"/>
                  <a:gd name="connsiteY213" fmla="*/ 6 h 1072"/>
                  <a:gd name="connsiteX214" fmla="*/ 3954 w 5133"/>
                  <a:gd name="connsiteY214" fmla="*/ 0 h 1072"/>
                  <a:gd name="connsiteX0" fmla="*/ 3954 w 5133"/>
                  <a:gd name="connsiteY0" fmla="*/ 0 h 1072"/>
                  <a:gd name="connsiteX1" fmla="*/ 4004 w 5133"/>
                  <a:gd name="connsiteY1" fmla="*/ 0 h 1072"/>
                  <a:gd name="connsiteX2" fmla="*/ 4032 w 5133"/>
                  <a:gd name="connsiteY2" fmla="*/ 4 h 1072"/>
                  <a:gd name="connsiteX3" fmla="*/ 4063 w 5133"/>
                  <a:gd name="connsiteY3" fmla="*/ 13 h 1072"/>
                  <a:gd name="connsiteX4" fmla="*/ 4101 w 5133"/>
                  <a:gd name="connsiteY4" fmla="*/ 23 h 1072"/>
                  <a:gd name="connsiteX5" fmla="*/ 4142 w 5133"/>
                  <a:gd name="connsiteY5" fmla="*/ 40 h 1072"/>
                  <a:gd name="connsiteX6" fmla="*/ 4185 w 5133"/>
                  <a:gd name="connsiteY6" fmla="*/ 60 h 1072"/>
                  <a:gd name="connsiteX7" fmla="*/ 4233 w 5133"/>
                  <a:gd name="connsiteY7" fmla="*/ 89 h 1072"/>
                  <a:gd name="connsiteX8" fmla="*/ 4282 w 5133"/>
                  <a:gd name="connsiteY8" fmla="*/ 125 h 1072"/>
                  <a:gd name="connsiteX9" fmla="*/ 4332 w 5133"/>
                  <a:gd name="connsiteY9" fmla="*/ 170 h 1072"/>
                  <a:gd name="connsiteX10" fmla="*/ 4383 w 5133"/>
                  <a:gd name="connsiteY10" fmla="*/ 224 h 1072"/>
                  <a:gd name="connsiteX11" fmla="*/ 4435 w 5133"/>
                  <a:gd name="connsiteY11" fmla="*/ 286 h 1072"/>
                  <a:gd name="connsiteX12" fmla="*/ 4487 w 5133"/>
                  <a:gd name="connsiteY12" fmla="*/ 361 h 1072"/>
                  <a:gd name="connsiteX13" fmla="*/ 4538 w 5133"/>
                  <a:gd name="connsiteY13" fmla="*/ 448 h 1072"/>
                  <a:gd name="connsiteX14" fmla="*/ 4590 w 5133"/>
                  <a:gd name="connsiteY14" fmla="*/ 548 h 1072"/>
                  <a:gd name="connsiteX15" fmla="*/ 4635 w 5133"/>
                  <a:gd name="connsiteY15" fmla="*/ 633 h 1072"/>
                  <a:gd name="connsiteX16" fmla="*/ 4681 w 5133"/>
                  <a:gd name="connsiteY16" fmla="*/ 705 h 1072"/>
                  <a:gd name="connsiteX17" fmla="*/ 4728 w 5133"/>
                  <a:gd name="connsiteY17" fmla="*/ 767 h 1072"/>
                  <a:gd name="connsiteX18" fmla="*/ 4776 w 5133"/>
                  <a:gd name="connsiteY18" fmla="*/ 819 h 1072"/>
                  <a:gd name="connsiteX19" fmla="*/ 4821 w 5133"/>
                  <a:gd name="connsiteY19" fmla="*/ 863 h 1072"/>
                  <a:gd name="connsiteX20" fmla="*/ 4869 w 5133"/>
                  <a:gd name="connsiteY20" fmla="*/ 898 h 1072"/>
                  <a:gd name="connsiteX21" fmla="*/ 4955 w 5133"/>
                  <a:gd name="connsiteY21" fmla="*/ 948 h 1072"/>
                  <a:gd name="connsiteX22" fmla="*/ 5030 w 5133"/>
                  <a:gd name="connsiteY22" fmla="*/ 973 h 1072"/>
                  <a:gd name="connsiteX23" fmla="*/ 5059 w 5133"/>
                  <a:gd name="connsiteY23" fmla="*/ 981 h 1072"/>
                  <a:gd name="connsiteX24" fmla="*/ 5133 w 5133"/>
                  <a:gd name="connsiteY24" fmla="*/ 1072 h 1072"/>
                  <a:gd name="connsiteX25" fmla="*/ 5040 w 5133"/>
                  <a:gd name="connsiteY25" fmla="*/ 1064 h 1072"/>
                  <a:gd name="connsiteX26" fmla="*/ 5003 w 5133"/>
                  <a:gd name="connsiteY26" fmla="*/ 1056 h 1072"/>
                  <a:gd name="connsiteX27" fmla="*/ 4869 w 5133"/>
                  <a:gd name="connsiteY27" fmla="*/ 1002 h 1072"/>
                  <a:gd name="connsiteX28" fmla="*/ 4819 w 5133"/>
                  <a:gd name="connsiteY28" fmla="*/ 971 h 1072"/>
                  <a:gd name="connsiteX29" fmla="*/ 4767 w 5133"/>
                  <a:gd name="connsiteY29" fmla="*/ 931 h 1072"/>
                  <a:gd name="connsiteX30" fmla="*/ 4716 w 5133"/>
                  <a:gd name="connsiteY30" fmla="*/ 881 h 1072"/>
                  <a:gd name="connsiteX31" fmla="*/ 4662 w 5133"/>
                  <a:gd name="connsiteY31" fmla="*/ 823 h 1072"/>
                  <a:gd name="connsiteX32" fmla="*/ 4611 w 5133"/>
                  <a:gd name="connsiteY32" fmla="*/ 755 h 1072"/>
                  <a:gd name="connsiteX33" fmla="*/ 4561 w 5133"/>
                  <a:gd name="connsiteY33" fmla="*/ 676 h 1072"/>
                  <a:gd name="connsiteX34" fmla="*/ 4513 w 5133"/>
                  <a:gd name="connsiteY34" fmla="*/ 583 h 1072"/>
                  <a:gd name="connsiteX35" fmla="*/ 4464 w 5133"/>
                  <a:gd name="connsiteY35" fmla="*/ 487 h 1072"/>
                  <a:gd name="connsiteX36" fmla="*/ 4414 w 5133"/>
                  <a:gd name="connsiteY36" fmla="*/ 404 h 1072"/>
                  <a:gd name="connsiteX37" fmla="*/ 4365 w 5133"/>
                  <a:gd name="connsiteY37" fmla="*/ 336 h 1072"/>
                  <a:gd name="connsiteX38" fmla="*/ 4315 w 5133"/>
                  <a:gd name="connsiteY38" fmla="*/ 276 h 1072"/>
                  <a:gd name="connsiteX39" fmla="*/ 4268 w 5133"/>
                  <a:gd name="connsiteY39" fmla="*/ 228 h 1072"/>
                  <a:gd name="connsiteX40" fmla="*/ 4222 w 5133"/>
                  <a:gd name="connsiteY40" fmla="*/ 189 h 1072"/>
                  <a:gd name="connsiteX41" fmla="*/ 4181 w 5133"/>
                  <a:gd name="connsiteY41" fmla="*/ 158 h 1072"/>
                  <a:gd name="connsiteX42" fmla="*/ 4142 w 5133"/>
                  <a:gd name="connsiteY42" fmla="*/ 135 h 1072"/>
                  <a:gd name="connsiteX43" fmla="*/ 4092 w 5133"/>
                  <a:gd name="connsiteY43" fmla="*/ 112 h 1072"/>
                  <a:gd name="connsiteX44" fmla="*/ 4049 w 5133"/>
                  <a:gd name="connsiteY44" fmla="*/ 98 h 1072"/>
                  <a:gd name="connsiteX45" fmla="*/ 4014 w 5133"/>
                  <a:gd name="connsiteY45" fmla="*/ 89 h 1072"/>
                  <a:gd name="connsiteX46" fmla="*/ 3985 w 5133"/>
                  <a:gd name="connsiteY46" fmla="*/ 87 h 1072"/>
                  <a:gd name="connsiteX47" fmla="*/ 3958 w 5133"/>
                  <a:gd name="connsiteY47" fmla="*/ 87 h 1072"/>
                  <a:gd name="connsiteX48" fmla="*/ 3892 w 5133"/>
                  <a:gd name="connsiteY48" fmla="*/ 93 h 1072"/>
                  <a:gd name="connsiteX49" fmla="*/ 3830 w 5133"/>
                  <a:gd name="connsiteY49" fmla="*/ 106 h 1072"/>
                  <a:gd name="connsiteX50" fmla="*/ 3774 w 5133"/>
                  <a:gd name="connsiteY50" fmla="*/ 127 h 1072"/>
                  <a:gd name="connsiteX51" fmla="*/ 3723 w 5133"/>
                  <a:gd name="connsiteY51" fmla="*/ 154 h 1072"/>
                  <a:gd name="connsiteX52" fmla="*/ 3675 w 5133"/>
                  <a:gd name="connsiteY52" fmla="*/ 187 h 1072"/>
                  <a:gd name="connsiteX53" fmla="*/ 3632 w 5133"/>
                  <a:gd name="connsiteY53" fmla="*/ 224 h 1072"/>
                  <a:gd name="connsiteX54" fmla="*/ 3593 w 5133"/>
                  <a:gd name="connsiteY54" fmla="*/ 268 h 1072"/>
                  <a:gd name="connsiteX55" fmla="*/ 3553 w 5133"/>
                  <a:gd name="connsiteY55" fmla="*/ 313 h 1072"/>
                  <a:gd name="connsiteX56" fmla="*/ 3518 w 5133"/>
                  <a:gd name="connsiteY56" fmla="*/ 363 h 1072"/>
                  <a:gd name="connsiteX57" fmla="*/ 3485 w 5133"/>
                  <a:gd name="connsiteY57" fmla="*/ 415 h 1072"/>
                  <a:gd name="connsiteX58" fmla="*/ 3423 w 5133"/>
                  <a:gd name="connsiteY58" fmla="*/ 523 h 1072"/>
                  <a:gd name="connsiteX59" fmla="*/ 3330 w 5133"/>
                  <a:gd name="connsiteY59" fmla="*/ 691 h 1072"/>
                  <a:gd name="connsiteX60" fmla="*/ 3297 w 5133"/>
                  <a:gd name="connsiteY60" fmla="*/ 747 h 1072"/>
                  <a:gd name="connsiteX61" fmla="*/ 3262 w 5133"/>
                  <a:gd name="connsiteY61" fmla="*/ 799 h 1072"/>
                  <a:gd name="connsiteX62" fmla="*/ 3227 w 5133"/>
                  <a:gd name="connsiteY62" fmla="*/ 848 h 1072"/>
                  <a:gd name="connsiteX63" fmla="*/ 3188 w 5133"/>
                  <a:gd name="connsiteY63" fmla="*/ 894 h 1072"/>
                  <a:gd name="connsiteX64" fmla="*/ 3147 w 5133"/>
                  <a:gd name="connsiteY64" fmla="*/ 935 h 1072"/>
                  <a:gd name="connsiteX65" fmla="*/ 3101 w 5133"/>
                  <a:gd name="connsiteY65" fmla="*/ 971 h 1072"/>
                  <a:gd name="connsiteX66" fmla="*/ 3052 w 5133"/>
                  <a:gd name="connsiteY66" fmla="*/ 1000 h 1072"/>
                  <a:gd name="connsiteX67" fmla="*/ 3000 w 5133"/>
                  <a:gd name="connsiteY67" fmla="*/ 1022 h 1072"/>
                  <a:gd name="connsiteX68" fmla="*/ 2942 w 5133"/>
                  <a:gd name="connsiteY68" fmla="*/ 1037 h 1072"/>
                  <a:gd name="connsiteX69" fmla="*/ 2878 w 5133"/>
                  <a:gd name="connsiteY69" fmla="*/ 1043 h 1072"/>
                  <a:gd name="connsiteX70" fmla="*/ 2870 w 5133"/>
                  <a:gd name="connsiteY70" fmla="*/ 1043 h 1072"/>
                  <a:gd name="connsiteX71" fmla="*/ 2808 w 5133"/>
                  <a:gd name="connsiteY71" fmla="*/ 1039 h 1072"/>
                  <a:gd name="connsiteX72" fmla="*/ 2748 w 5133"/>
                  <a:gd name="connsiteY72" fmla="*/ 1025 h 1072"/>
                  <a:gd name="connsiteX73" fmla="*/ 2695 w 5133"/>
                  <a:gd name="connsiteY73" fmla="*/ 1002 h 1072"/>
                  <a:gd name="connsiteX74" fmla="*/ 2643 w 5133"/>
                  <a:gd name="connsiteY74" fmla="*/ 973 h 1072"/>
                  <a:gd name="connsiteX75" fmla="*/ 2595 w 5133"/>
                  <a:gd name="connsiteY75" fmla="*/ 935 h 1072"/>
                  <a:gd name="connsiteX76" fmla="*/ 2552 w 5133"/>
                  <a:gd name="connsiteY76" fmla="*/ 894 h 1072"/>
                  <a:gd name="connsiteX77" fmla="*/ 2509 w 5133"/>
                  <a:gd name="connsiteY77" fmla="*/ 846 h 1072"/>
                  <a:gd name="connsiteX78" fmla="*/ 2469 w 5133"/>
                  <a:gd name="connsiteY78" fmla="*/ 796 h 1072"/>
                  <a:gd name="connsiteX79" fmla="*/ 2430 w 5133"/>
                  <a:gd name="connsiteY79" fmla="*/ 740 h 1072"/>
                  <a:gd name="connsiteX80" fmla="*/ 2393 w 5133"/>
                  <a:gd name="connsiteY80" fmla="*/ 684 h 1072"/>
                  <a:gd name="connsiteX81" fmla="*/ 2288 w 5133"/>
                  <a:gd name="connsiteY81" fmla="*/ 510 h 1072"/>
                  <a:gd name="connsiteX82" fmla="*/ 2251 w 5133"/>
                  <a:gd name="connsiteY82" fmla="*/ 452 h 1072"/>
                  <a:gd name="connsiteX83" fmla="*/ 2213 w 5133"/>
                  <a:gd name="connsiteY83" fmla="*/ 396 h 1072"/>
                  <a:gd name="connsiteX84" fmla="*/ 2176 w 5133"/>
                  <a:gd name="connsiteY84" fmla="*/ 342 h 1072"/>
                  <a:gd name="connsiteX85" fmla="*/ 2137 w 5133"/>
                  <a:gd name="connsiteY85" fmla="*/ 293 h 1072"/>
                  <a:gd name="connsiteX86" fmla="*/ 2096 w 5133"/>
                  <a:gd name="connsiteY86" fmla="*/ 247 h 1072"/>
                  <a:gd name="connsiteX87" fmla="*/ 2054 w 5133"/>
                  <a:gd name="connsiteY87" fmla="*/ 205 h 1072"/>
                  <a:gd name="connsiteX88" fmla="*/ 2009 w 5133"/>
                  <a:gd name="connsiteY88" fmla="*/ 168 h 1072"/>
                  <a:gd name="connsiteX89" fmla="*/ 1962 w 5133"/>
                  <a:gd name="connsiteY89" fmla="*/ 139 h 1072"/>
                  <a:gd name="connsiteX90" fmla="*/ 1910 w 5133"/>
                  <a:gd name="connsiteY90" fmla="*/ 116 h 1072"/>
                  <a:gd name="connsiteX91" fmla="*/ 1854 w 5133"/>
                  <a:gd name="connsiteY91" fmla="*/ 100 h 1072"/>
                  <a:gd name="connsiteX92" fmla="*/ 1796 w 5133"/>
                  <a:gd name="connsiteY92" fmla="*/ 91 h 1072"/>
                  <a:gd name="connsiteX93" fmla="*/ 1732 w 5133"/>
                  <a:gd name="connsiteY93" fmla="*/ 93 h 1072"/>
                  <a:gd name="connsiteX94" fmla="*/ 1664 w 5133"/>
                  <a:gd name="connsiteY94" fmla="*/ 104 h 1072"/>
                  <a:gd name="connsiteX95" fmla="*/ 1602 w 5133"/>
                  <a:gd name="connsiteY95" fmla="*/ 122 h 1072"/>
                  <a:gd name="connsiteX96" fmla="*/ 1545 w 5133"/>
                  <a:gd name="connsiteY96" fmla="*/ 147 h 1072"/>
                  <a:gd name="connsiteX97" fmla="*/ 1491 w 5133"/>
                  <a:gd name="connsiteY97" fmla="*/ 181 h 1072"/>
                  <a:gd name="connsiteX98" fmla="*/ 1439 w 5133"/>
                  <a:gd name="connsiteY98" fmla="*/ 218 h 1072"/>
                  <a:gd name="connsiteX99" fmla="*/ 1394 w 5133"/>
                  <a:gd name="connsiteY99" fmla="*/ 261 h 1072"/>
                  <a:gd name="connsiteX100" fmla="*/ 1348 w 5133"/>
                  <a:gd name="connsiteY100" fmla="*/ 307 h 1072"/>
                  <a:gd name="connsiteX101" fmla="*/ 1307 w 5133"/>
                  <a:gd name="connsiteY101" fmla="*/ 359 h 1072"/>
                  <a:gd name="connsiteX102" fmla="*/ 1268 w 5133"/>
                  <a:gd name="connsiteY102" fmla="*/ 413 h 1072"/>
                  <a:gd name="connsiteX103" fmla="*/ 1231 w 5133"/>
                  <a:gd name="connsiteY103" fmla="*/ 467 h 1072"/>
                  <a:gd name="connsiteX104" fmla="*/ 1194 w 5133"/>
                  <a:gd name="connsiteY104" fmla="*/ 523 h 1072"/>
                  <a:gd name="connsiteX105" fmla="*/ 1156 w 5133"/>
                  <a:gd name="connsiteY105" fmla="*/ 581 h 1072"/>
                  <a:gd name="connsiteX106" fmla="*/ 1121 w 5133"/>
                  <a:gd name="connsiteY106" fmla="*/ 637 h 1072"/>
                  <a:gd name="connsiteX107" fmla="*/ 1047 w 5133"/>
                  <a:gd name="connsiteY107" fmla="*/ 749 h 1072"/>
                  <a:gd name="connsiteX108" fmla="*/ 1008 w 5133"/>
                  <a:gd name="connsiteY108" fmla="*/ 801 h 1072"/>
                  <a:gd name="connsiteX109" fmla="*/ 966 w 5133"/>
                  <a:gd name="connsiteY109" fmla="*/ 850 h 1072"/>
                  <a:gd name="connsiteX110" fmla="*/ 923 w 5133"/>
                  <a:gd name="connsiteY110" fmla="*/ 896 h 1072"/>
                  <a:gd name="connsiteX111" fmla="*/ 876 w 5133"/>
                  <a:gd name="connsiteY111" fmla="*/ 937 h 1072"/>
                  <a:gd name="connsiteX112" fmla="*/ 826 w 5133"/>
                  <a:gd name="connsiteY112" fmla="*/ 973 h 1072"/>
                  <a:gd name="connsiteX113" fmla="*/ 772 w 5133"/>
                  <a:gd name="connsiteY113" fmla="*/ 1002 h 1072"/>
                  <a:gd name="connsiteX114" fmla="*/ 717 w 5133"/>
                  <a:gd name="connsiteY114" fmla="*/ 1025 h 1072"/>
                  <a:gd name="connsiteX115" fmla="*/ 653 w 5133"/>
                  <a:gd name="connsiteY115" fmla="*/ 1037 h 1072"/>
                  <a:gd name="connsiteX116" fmla="*/ 587 w 5133"/>
                  <a:gd name="connsiteY116" fmla="*/ 1043 h 1072"/>
                  <a:gd name="connsiteX117" fmla="*/ 580 w 5133"/>
                  <a:gd name="connsiteY117" fmla="*/ 1043 h 1072"/>
                  <a:gd name="connsiteX118" fmla="*/ 512 w 5133"/>
                  <a:gd name="connsiteY118" fmla="*/ 1039 h 1072"/>
                  <a:gd name="connsiteX119" fmla="*/ 450 w 5133"/>
                  <a:gd name="connsiteY119" fmla="*/ 1027 h 1072"/>
                  <a:gd name="connsiteX120" fmla="*/ 392 w 5133"/>
                  <a:gd name="connsiteY120" fmla="*/ 1008 h 1072"/>
                  <a:gd name="connsiteX121" fmla="*/ 341 w 5133"/>
                  <a:gd name="connsiteY121" fmla="*/ 983 h 1072"/>
                  <a:gd name="connsiteX122" fmla="*/ 293 w 5133"/>
                  <a:gd name="connsiteY122" fmla="*/ 952 h 1072"/>
                  <a:gd name="connsiteX123" fmla="*/ 248 w 5133"/>
                  <a:gd name="connsiteY123" fmla="*/ 915 h 1072"/>
                  <a:gd name="connsiteX124" fmla="*/ 207 w 5133"/>
                  <a:gd name="connsiteY124" fmla="*/ 873 h 1072"/>
                  <a:gd name="connsiteX125" fmla="*/ 169 w 5133"/>
                  <a:gd name="connsiteY125" fmla="*/ 828 h 1072"/>
                  <a:gd name="connsiteX126" fmla="*/ 132 w 5133"/>
                  <a:gd name="connsiteY126" fmla="*/ 780 h 1072"/>
                  <a:gd name="connsiteX127" fmla="*/ 99 w 5133"/>
                  <a:gd name="connsiteY127" fmla="*/ 728 h 1072"/>
                  <a:gd name="connsiteX128" fmla="*/ 64 w 5133"/>
                  <a:gd name="connsiteY128" fmla="*/ 674 h 1072"/>
                  <a:gd name="connsiteX129" fmla="*/ 33 w 5133"/>
                  <a:gd name="connsiteY129" fmla="*/ 618 h 1072"/>
                  <a:gd name="connsiteX130" fmla="*/ 0 w 5133"/>
                  <a:gd name="connsiteY130" fmla="*/ 560 h 1072"/>
                  <a:gd name="connsiteX131" fmla="*/ 77 w 5133"/>
                  <a:gd name="connsiteY131" fmla="*/ 516 h 1072"/>
                  <a:gd name="connsiteX132" fmla="*/ 110 w 5133"/>
                  <a:gd name="connsiteY132" fmla="*/ 575 h 1072"/>
                  <a:gd name="connsiteX133" fmla="*/ 143 w 5133"/>
                  <a:gd name="connsiteY133" fmla="*/ 631 h 1072"/>
                  <a:gd name="connsiteX134" fmla="*/ 176 w 5133"/>
                  <a:gd name="connsiteY134" fmla="*/ 684 h 1072"/>
                  <a:gd name="connsiteX135" fmla="*/ 209 w 5133"/>
                  <a:gd name="connsiteY135" fmla="*/ 736 h 1072"/>
                  <a:gd name="connsiteX136" fmla="*/ 244 w 5133"/>
                  <a:gd name="connsiteY136" fmla="*/ 782 h 1072"/>
                  <a:gd name="connsiteX137" fmla="*/ 281 w 5133"/>
                  <a:gd name="connsiteY137" fmla="*/ 825 h 1072"/>
                  <a:gd name="connsiteX138" fmla="*/ 322 w 5133"/>
                  <a:gd name="connsiteY138" fmla="*/ 863 h 1072"/>
                  <a:gd name="connsiteX139" fmla="*/ 366 w 5133"/>
                  <a:gd name="connsiteY139" fmla="*/ 894 h 1072"/>
                  <a:gd name="connsiteX140" fmla="*/ 413 w 5133"/>
                  <a:gd name="connsiteY140" fmla="*/ 921 h 1072"/>
                  <a:gd name="connsiteX141" fmla="*/ 463 w 5133"/>
                  <a:gd name="connsiteY141" fmla="*/ 940 h 1072"/>
                  <a:gd name="connsiteX142" fmla="*/ 518 w 5133"/>
                  <a:gd name="connsiteY142" fmla="*/ 952 h 1072"/>
                  <a:gd name="connsiteX143" fmla="*/ 580 w 5133"/>
                  <a:gd name="connsiteY143" fmla="*/ 956 h 1072"/>
                  <a:gd name="connsiteX144" fmla="*/ 587 w 5133"/>
                  <a:gd name="connsiteY144" fmla="*/ 956 h 1072"/>
                  <a:gd name="connsiteX145" fmla="*/ 646 w 5133"/>
                  <a:gd name="connsiteY145" fmla="*/ 950 h 1072"/>
                  <a:gd name="connsiteX146" fmla="*/ 702 w 5133"/>
                  <a:gd name="connsiteY146" fmla="*/ 935 h 1072"/>
                  <a:gd name="connsiteX147" fmla="*/ 756 w 5133"/>
                  <a:gd name="connsiteY147" fmla="*/ 913 h 1072"/>
                  <a:gd name="connsiteX148" fmla="*/ 803 w 5133"/>
                  <a:gd name="connsiteY148" fmla="*/ 884 h 1072"/>
                  <a:gd name="connsiteX149" fmla="*/ 849 w 5133"/>
                  <a:gd name="connsiteY149" fmla="*/ 846 h 1072"/>
                  <a:gd name="connsiteX150" fmla="*/ 892 w 5133"/>
                  <a:gd name="connsiteY150" fmla="*/ 803 h 1072"/>
                  <a:gd name="connsiteX151" fmla="*/ 931 w 5133"/>
                  <a:gd name="connsiteY151" fmla="*/ 755 h 1072"/>
                  <a:gd name="connsiteX152" fmla="*/ 971 w 5133"/>
                  <a:gd name="connsiteY152" fmla="*/ 703 h 1072"/>
                  <a:gd name="connsiteX153" fmla="*/ 1010 w 5133"/>
                  <a:gd name="connsiteY153" fmla="*/ 649 h 1072"/>
                  <a:gd name="connsiteX154" fmla="*/ 1121 w 5133"/>
                  <a:gd name="connsiteY154" fmla="*/ 475 h 1072"/>
                  <a:gd name="connsiteX155" fmla="*/ 1161 w 5133"/>
                  <a:gd name="connsiteY155" fmla="*/ 415 h 1072"/>
                  <a:gd name="connsiteX156" fmla="*/ 1202 w 5133"/>
                  <a:gd name="connsiteY156" fmla="*/ 357 h 1072"/>
                  <a:gd name="connsiteX157" fmla="*/ 1245 w 5133"/>
                  <a:gd name="connsiteY157" fmla="*/ 299 h 1072"/>
                  <a:gd name="connsiteX158" fmla="*/ 1291 w 5133"/>
                  <a:gd name="connsiteY158" fmla="*/ 245 h 1072"/>
                  <a:gd name="connsiteX159" fmla="*/ 1338 w 5133"/>
                  <a:gd name="connsiteY159" fmla="*/ 193 h 1072"/>
                  <a:gd name="connsiteX160" fmla="*/ 1392 w 5133"/>
                  <a:gd name="connsiteY160" fmla="*/ 145 h 1072"/>
                  <a:gd name="connsiteX161" fmla="*/ 1447 w 5133"/>
                  <a:gd name="connsiteY161" fmla="*/ 104 h 1072"/>
                  <a:gd name="connsiteX162" fmla="*/ 1509 w 5133"/>
                  <a:gd name="connsiteY162" fmla="*/ 69 h 1072"/>
                  <a:gd name="connsiteX163" fmla="*/ 1575 w 5133"/>
                  <a:gd name="connsiteY163" fmla="*/ 40 h 1072"/>
                  <a:gd name="connsiteX164" fmla="*/ 1648 w 5133"/>
                  <a:gd name="connsiteY164" fmla="*/ 19 h 1072"/>
                  <a:gd name="connsiteX165" fmla="*/ 1726 w 5133"/>
                  <a:gd name="connsiteY165" fmla="*/ 6 h 1072"/>
                  <a:gd name="connsiteX166" fmla="*/ 1796 w 5133"/>
                  <a:gd name="connsiteY166" fmla="*/ 4 h 1072"/>
                  <a:gd name="connsiteX167" fmla="*/ 1862 w 5133"/>
                  <a:gd name="connsiteY167" fmla="*/ 13 h 1072"/>
                  <a:gd name="connsiteX168" fmla="*/ 1922 w 5133"/>
                  <a:gd name="connsiteY168" fmla="*/ 27 h 1072"/>
                  <a:gd name="connsiteX169" fmla="*/ 1980 w 5133"/>
                  <a:gd name="connsiteY169" fmla="*/ 50 h 1072"/>
                  <a:gd name="connsiteX170" fmla="*/ 2034 w 5133"/>
                  <a:gd name="connsiteY170" fmla="*/ 81 h 1072"/>
                  <a:gd name="connsiteX171" fmla="*/ 2083 w 5133"/>
                  <a:gd name="connsiteY171" fmla="*/ 116 h 1072"/>
                  <a:gd name="connsiteX172" fmla="*/ 2129 w 5133"/>
                  <a:gd name="connsiteY172" fmla="*/ 158 h 1072"/>
                  <a:gd name="connsiteX173" fmla="*/ 2174 w 5133"/>
                  <a:gd name="connsiteY173" fmla="*/ 203 h 1072"/>
                  <a:gd name="connsiteX174" fmla="*/ 2216 w 5133"/>
                  <a:gd name="connsiteY174" fmla="*/ 251 h 1072"/>
                  <a:gd name="connsiteX175" fmla="*/ 2255 w 5133"/>
                  <a:gd name="connsiteY175" fmla="*/ 303 h 1072"/>
                  <a:gd name="connsiteX176" fmla="*/ 2292 w 5133"/>
                  <a:gd name="connsiteY176" fmla="*/ 357 h 1072"/>
                  <a:gd name="connsiteX177" fmla="*/ 2327 w 5133"/>
                  <a:gd name="connsiteY177" fmla="*/ 413 h 1072"/>
                  <a:gd name="connsiteX178" fmla="*/ 2362 w 5133"/>
                  <a:gd name="connsiteY178" fmla="*/ 467 h 1072"/>
                  <a:gd name="connsiteX179" fmla="*/ 2395 w 5133"/>
                  <a:gd name="connsiteY179" fmla="*/ 523 h 1072"/>
                  <a:gd name="connsiteX180" fmla="*/ 2432 w 5133"/>
                  <a:gd name="connsiteY180" fmla="*/ 585 h 1072"/>
                  <a:gd name="connsiteX181" fmla="*/ 2469 w 5133"/>
                  <a:gd name="connsiteY181" fmla="*/ 643 h 1072"/>
                  <a:gd name="connsiteX182" fmla="*/ 2509 w 5133"/>
                  <a:gd name="connsiteY182" fmla="*/ 701 h 1072"/>
                  <a:gd name="connsiteX183" fmla="*/ 2546 w 5133"/>
                  <a:gd name="connsiteY183" fmla="*/ 755 h 1072"/>
                  <a:gd name="connsiteX184" fmla="*/ 2587 w 5133"/>
                  <a:gd name="connsiteY184" fmla="*/ 805 h 1072"/>
                  <a:gd name="connsiteX185" fmla="*/ 2628 w 5133"/>
                  <a:gd name="connsiteY185" fmla="*/ 848 h 1072"/>
                  <a:gd name="connsiteX186" fmla="*/ 2672 w 5133"/>
                  <a:gd name="connsiteY186" fmla="*/ 886 h 1072"/>
                  <a:gd name="connsiteX187" fmla="*/ 2717 w 5133"/>
                  <a:gd name="connsiteY187" fmla="*/ 917 h 1072"/>
                  <a:gd name="connsiteX188" fmla="*/ 2767 w 5133"/>
                  <a:gd name="connsiteY188" fmla="*/ 940 h 1072"/>
                  <a:gd name="connsiteX189" fmla="*/ 2820 w 5133"/>
                  <a:gd name="connsiteY189" fmla="*/ 952 h 1072"/>
                  <a:gd name="connsiteX190" fmla="*/ 2876 w 5133"/>
                  <a:gd name="connsiteY190" fmla="*/ 956 h 1072"/>
                  <a:gd name="connsiteX191" fmla="*/ 2932 w 5133"/>
                  <a:gd name="connsiteY191" fmla="*/ 950 h 1072"/>
                  <a:gd name="connsiteX192" fmla="*/ 2982 w 5133"/>
                  <a:gd name="connsiteY192" fmla="*/ 935 h 1072"/>
                  <a:gd name="connsiteX193" fmla="*/ 3029 w 5133"/>
                  <a:gd name="connsiteY193" fmla="*/ 915 h 1072"/>
                  <a:gd name="connsiteX194" fmla="*/ 3072 w 5133"/>
                  <a:gd name="connsiteY194" fmla="*/ 884 h 1072"/>
                  <a:gd name="connsiteX195" fmla="*/ 3112 w 5133"/>
                  <a:gd name="connsiteY195" fmla="*/ 848 h 1072"/>
                  <a:gd name="connsiteX196" fmla="*/ 3149 w 5133"/>
                  <a:gd name="connsiteY196" fmla="*/ 807 h 1072"/>
                  <a:gd name="connsiteX197" fmla="*/ 3184 w 5133"/>
                  <a:gd name="connsiteY197" fmla="*/ 759 h 1072"/>
                  <a:gd name="connsiteX198" fmla="*/ 3217 w 5133"/>
                  <a:gd name="connsiteY198" fmla="*/ 709 h 1072"/>
                  <a:gd name="connsiteX199" fmla="*/ 3250 w 5133"/>
                  <a:gd name="connsiteY199" fmla="*/ 655 h 1072"/>
                  <a:gd name="connsiteX200" fmla="*/ 3283 w 5133"/>
                  <a:gd name="connsiteY200" fmla="*/ 597 h 1072"/>
                  <a:gd name="connsiteX201" fmla="*/ 3316 w 5133"/>
                  <a:gd name="connsiteY201" fmla="*/ 537 h 1072"/>
                  <a:gd name="connsiteX202" fmla="*/ 3345 w 5133"/>
                  <a:gd name="connsiteY202" fmla="*/ 483 h 1072"/>
                  <a:gd name="connsiteX203" fmla="*/ 3407 w 5133"/>
                  <a:gd name="connsiteY203" fmla="*/ 375 h 1072"/>
                  <a:gd name="connsiteX204" fmla="*/ 3477 w 5133"/>
                  <a:gd name="connsiteY204" fmla="*/ 272 h 1072"/>
                  <a:gd name="connsiteX205" fmla="*/ 3514 w 5133"/>
                  <a:gd name="connsiteY205" fmla="*/ 224 h 1072"/>
                  <a:gd name="connsiteX206" fmla="*/ 3555 w 5133"/>
                  <a:gd name="connsiteY206" fmla="*/ 178 h 1072"/>
                  <a:gd name="connsiteX207" fmla="*/ 3599 w 5133"/>
                  <a:gd name="connsiteY207" fmla="*/ 137 h 1072"/>
                  <a:gd name="connsiteX208" fmla="*/ 3646 w 5133"/>
                  <a:gd name="connsiteY208" fmla="*/ 100 h 1072"/>
                  <a:gd name="connsiteX209" fmla="*/ 3698 w 5133"/>
                  <a:gd name="connsiteY209" fmla="*/ 66 h 1072"/>
                  <a:gd name="connsiteX210" fmla="*/ 3756 w 5133"/>
                  <a:gd name="connsiteY210" fmla="*/ 40 h 1072"/>
                  <a:gd name="connsiteX211" fmla="*/ 3816 w 5133"/>
                  <a:gd name="connsiteY211" fmla="*/ 19 h 1072"/>
                  <a:gd name="connsiteX212" fmla="*/ 3882 w 5133"/>
                  <a:gd name="connsiteY212" fmla="*/ 6 h 1072"/>
                  <a:gd name="connsiteX213" fmla="*/ 3954 w 5133"/>
                  <a:gd name="connsiteY213" fmla="*/ 0 h 1072"/>
                  <a:gd name="connsiteX0" fmla="*/ 3954 w 5133"/>
                  <a:gd name="connsiteY0" fmla="*/ 0 h 1072"/>
                  <a:gd name="connsiteX1" fmla="*/ 4004 w 5133"/>
                  <a:gd name="connsiteY1" fmla="*/ 0 h 1072"/>
                  <a:gd name="connsiteX2" fmla="*/ 4032 w 5133"/>
                  <a:gd name="connsiteY2" fmla="*/ 4 h 1072"/>
                  <a:gd name="connsiteX3" fmla="*/ 4063 w 5133"/>
                  <a:gd name="connsiteY3" fmla="*/ 13 h 1072"/>
                  <a:gd name="connsiteX4" fmla="*/ 4101 w 5133"/>
                  <a:gd name="connsiteY4" fmla="*/ 23 h 1072"/>
                  <a:gd name="connsiteX5" fmla="*/ 4142 w 5133"/>
                  <a:gd name="connsiteY5" fmla="*/ 40 h 1072"/>
                  <a:gd name="connsiteX6" fmla="*/ 4185 w 5133"/>
                  <a:gd name="connsiteY6" fmla="*/ 60 h 1072"/>
                  <a:gd name="connsiteX7" fmla="*/ 4233 w 5133"/>
                  <a:gd name="connsiteY7" fmla="*/ 89 h 1072"/>
                  <a:gd name="connsiteX8" fmla="*/ 4282 w 5133"/>
                  <a:gd name="connsiteY8" fmla="*/ 125 h 1072"/>
                  <a:gd name="connsiteX9" fmla="*/ 4332 w 5133"/>
                  <a:gd name="connsiteY9" fmla="*/ 170 h 1072"/>
                  <a:gd name="connsiteX10" fmla="*/ 4383 w 5133"/>
                  <a:gd name="connsiteY10" fmla="*/ 224 h 1072"/>
                  <a:gd name="connsiteX11" fmla="*/ 4435 w 5133"/>
                  <a:gd name="connsiteY11" fmla="*/ 286 h 1072"/>
                  <a:gd name="connsiteX12" fmla="*/ 4487 w 5133"/>
                  <a:gd name="connsiteY12" fmla="*/ 361 h 1072"/>
                  <a:gd name="connsiteX13" fmla="*/ 4538 w 5133"/>
                  <a:gd name="connsiteY13" fmla="*/ 448 h 1072"/>
                  <a:gd name="connsiteX14" fmla="*/ 4590 w 5133"/>
                  <a:gd name="connsiteY14" fmla="*/ 548 h 1072"/>
                  <a:gd name="connsiteX15" fmla="*/ 4635 w 5133"/>
                  <a:gd name="connsiteY15" fmla="*/ 633 h 1072"/>
                  <a:gd name="connsiteX16" fmla="*/ 4681 w 5133"/>
                  <a:gd name="connsiteY16" fmla="*/ 705 h 1072"/>
                  <a:gd name="connsiteX17" fmla="*/ 4728 w 5133"/>
                  <a:gd name="connsiteY17" fmla="*/ 767 h 1072"/>
                  <a:gd name="connsiteX18" fmla="*/ 4776 w 5133"/>
                  <a:gd name="connsiteY18" fmla="*/ 819 h 1072"/>
                  <a:gd name="connsiteX19" fmla="*/ 4821 w 5133"/>
                  <a:gd name="connsiteY19" fmla="*/ 863 h 1072"/>
                  <a:gd name="connsiteX20" fmla="*/ 4869 w 5133"/>
                  <a:gd name="connsiteY20" fmla="*/ 898 h 1072"/>
                  <a:gd name="connsiteX21" fmla="*/ 4955 w 5133"/>
                  <a:gd name="connsiteY21" fmla="*/ 948 h 1072"/>
                  <a:gd name="connsiteX22" fmla="*/ 5030 w 5133"/>
                  <a:gd name="connsiteY22" fmla="*/ 973 h 1072"/>
                  <a:gd name="connsiteX23" fmla="*/ 5059 w 5133"/>
                  <a:gd name="connsiteY23" fmla="*/ 981 h 1072"/>
                  <a:gd name="connsiteX24" fmla="*/ 5133 w 5133"/>
                  <a:gd name="connsiteY24" fmla="*/ 1072 h 1072"/>
                  <a:gd name="connsiteX25" fmla="*/ 5040 w 5133"/>
                  <a:gd name="connsiteY25" fmla="*/ 1064 h 1072"/>
                  <a:gd name="connsiteX26" fmla="*/ 4869 w 5133"/>
                  <a:gd name="connsiteY26" fmla="*/ 1002 h 1072"/>
                  <a:gd name="connsiteX27" fmla="*/ 4819 w 5133"/>
                  <a:gd name="connsiteY27" fmla="*/ 971 h 1072"/>
                  <a:gd name="connsiteX28" fmla="*/ 4767 w 5133"/>
                  <a:gd name="connsiteY28" fmla="*/ 931 h 1072"/>
                  <a:gd name="connsiteX29" fmla="*/ 4716 w 5133"/>
                  <a:gd name="connsiteY29" fmla="*/ 881 h 1072"/>
                  <a:gd name="connsiteX30" fmla="*/ 4662 w 5133"/>
                  <a:gd name="connsiteY30" fmla="*/ 823 h 1072"/>
                  <a:gd name="connsiteX31" fmla="*/ 4611 w 5133"/>
                  <a:gd name="connsiteY31" fmla="*/ 755 h 1072"/>
                  <a:gd name="connsiteX32" fmla="*/ 4561 w 5133"/>
                  <a:gd name="connsiteY32" fmla="*/ 676 h 1072"/>
                  <a:gd name="connsiteX33" fmla="*/ 4513 w 5133"/>
                  <a:gd name="connsiteY33" fmla="*/ 583 h 1072"/>
                  <a:gd name="connsiteX34" fmla="*/ 4464 w 5133"/>
                  <a:gd name="connsiteY34" fmla="*/ 487 h 1072"/>
                  <a:gd name="connsiteX35" fmla="*/ 4414 w 5133"/>
                  <a:gd name="connsiteY35" fmla="*/ 404 h 1072"/>
                  <a:gd name="connsiteX36" fmla="*/ 4365 w 5133"/>
                  <a:gd name="connsiteY36" fmla="*/ 336 h 1072"/>
                  <a:gd name="connsiteX37" fmla="*/ 4315 w 5133"/>
                  <a:gd name="connsiteY37" fmla="*/ 276 h 1072"/>
                  <a:gd name="connsiteX38" fmla="*/ 4268 w 5133"/>
                  <a:gd name="connsiteY38" fmla="*/ 228 h 1072"/>
                  <a:gd name="connsiteX39" fmla="*/ 4222 w 5133"/>
                  <a:gd name="connsiteY39" fmla="*/ 189 h 1072"/>
                  <a:gd name="connsiteX40" fmla="*/ 4181 w 5133"/>
                  <a:gd name="connsiteY40" fmla="*/ 158 h 1072"/>
                  <a:gd name="connsiteX41" fmla="*/ 4142 w 5133"/>
                  <a:gd name="connsiteY41" fmla="*/ 135 h 1072"/>
                  <a:gd name="connsiteX42" fmla="*/ 4092 w 5133"/>
                  <a:gd name="connsiteY42" fmla="*/ 112 h 1072"/>
                  <a:gd name="connsiteX43" fmla="*/ 4049 w 5133"/>
                  <a:gd name="connsiteY43" fmla="*/ 98 h 1072"/>
                  <a:gd name="connsiteX44" fmla="*/ 4014 w 5133"/>
                  <a:gd name="connsiteY44" fmla="*/ 89 h 1072"/>
                  <a:gd name="connsiteX45" fmla="*/ 3985 w 5133"/>
                  <a:gd name="connsiteY45" fmla="*/ 87 h 1072"/>
                  <a:gd name="connsiteX46" fmla="*/ 3958 w 5133"/>
                  <a:gd name="connsiteY46" fmla="*/ 87 h 1072"/>
                  <a:gd name="connsiteX47" fmla="*/ 3892 w 5133"/>
                  <a:gd name="connsiteY47" fmla="*/ 93 h 1072"/>
                  <a:gd name="connsiteX48" fmla="*/ 3830 w 5133"/>
                  <a:gd name="connsiteY48" fmla="*/ 106 h 1072"/>
                  <a:gd name="connsiteX49" fmla="*/ 3774 w 5133"/>
                  <a:gd name="connsiteY49" fmla="*/ 127 h 1072"/>
                  <a:gd name="connsiteX50" fmla="*/ 3723 w 5133"/>
                  <a:gd name="connsiteY50" fmla="*/ 154 h 1072"/>
                  <a:gd name="connsiteX51" fmla="*/ 3675 w 5133"/>
                  <a:gd name="connsiteY51" fmla="*/ 187 h 1072"/>
                  <a:gd name="connsiteX52" fmla="*/ 3632 w 5133"/>
                  <a:gd name="connsiteY52" fmla="*/ 224 h 1072"/>
                  <a:gd name="connsiteX53" fmla="*/ 3593 w 5133"/>
                  <a:gd name="connsiteY53" fmla="*/ 268 h 1072"/>
                  <a:gd name="connsiteX54" fmla="*/ 3553 w 5133"/>
                  <a:gd name="connsiteY54" fmla="*/ 313 h 1072"/>
                  <a:gd name="connsiteX55" fmla="*/ 3518 w 5133"/>
                  <a:gd name="connsiteY55" fmla="*/ 363 h 1072"/>
                  <a:gd name="connsiteX56" fmla="*/ 3485 w 5133"/>
                  <a:gd name="connsiteY56" fmla="*/ 415 h 1072"/>
                  <a:gd name="connsiteX57" fmla="*/ 3423 w 5133"/>
                  <a:gd name="connsiteY57" fmla="*/ 523 h 1072"/>
                  <a:gd name="connsiteX58" fmla="*/ 3330 w 5133"/>
                  <a:gd name="connsiteY58" fmla="*/ 691 h 1072"/>
                  <a:gd name="connsiteX59" fmla="*/ 3297 w 5133"/>
                  <a:gd name="connsiteY59" fmla="*/ 747 h 1072"/>
                  <a:gd name="connsiteX60" fmla="*/ 3262 w 5133"/>
                  <a:gd name="connsiteY60" fmla="*/ 799 h 1072"/>
                  <a:gd name="connsiteX61" fmla="*/ 3227 w 5133"/>
                  <a:gd name="connsiteY61" fmla="*/ 848 h 1072"/>
                  <a:gd name="connsiteX62" fmla="*/ 3188 w 5133"/>
                  <a:gd name="connsiteY62" fmla="*/ 894 h 1072"/>
                  <a:gd name="connsiteX63" fmla="*/ 3147 w 5133"/>
                  <a:gd name="connsiteY63" fmla="*/ 935 h 1072"/>
                  <a:gd name="connsiteX64" fmla="*/ 3101 w 5133"/>
                  <a:gd name="connsiteY64" fmla="*/ 971 h 1072"/>
                  <a:gd name="connsiteX65" fmla="*/ 3052 w 5133"/>
                  <a:gd name="connsiteY65" fmla="*/ 1000 h 1072"/>
                  <a:gd name="connsiteX66" fmla="*/ 3000 w 5133"/>
                  <a:gd name="connsiteY66" fmla="*/ 1022 h 1072"/>
                  <a:gd name="connsiteX67" fmla="*/ 2942 w 5133"/>
                  <a:gd name="connsiteY67" fmla="*/ 1037 h 1072"/>
                  <a:gd name="connsiteX68" fmla="*/ 2878 w 5133"/>
                  <a:gd name="connsiteY68" fmla="*/ 1043 h 1072"/>
                  <a:gd name="connsiteX69" fmla="*/ 2870 w 5133"/>
                  <a:gd name="connsiteY69" fmla="*/ 1043 h 1072"/>
                  <a:gd name="connsiteX70" fmla="*/ 2808 w 5133"/>
                  <a:gd name="connsiteY70" fmla="*/ 1039 h 1072"/>
                  <a:gd name="connsiteX71" fmla="*/ 2748 w 5133"/>
                  <a:gd name="connsiteY71" fmla="*/ 1025 h 1072"/>
                  <a:gd name="connsiteX72" fmla="*/ 2695 w 5133"/>
                  <a:gd name="connsiteY72" fmla="*/ 1002 h 1072"/>
                  <a:gd name="connsiteX73" fmla="*/ 2643 w 5133"/>
                  <a:gd name="connsiteY73" fmla="*/ 973 h 1072"/>
                  <a:gd name="connsiteX74" fmla="*/ 2595 w 5133"/>
                  <a:gd name="connsiteY74" fmla="*/ 935 h 1072"/>
                  <a:gd name="connsiteX75" fmla="*/ 2552 w 5133"/>
                  <a:gd name="connsiteY75" fmla="*/ 894 h 1072"/>
                  <a:gd name="connsiteX76" fmla="*/ 2509 w 5133"/>
                  <a:gd name="connsiteY76" fmla="*/ 846 h 1072"/>
                  <a:gd name="connsiteX77" fmla="*/ 2469 w 5133"/>
                  <a:gd name="connsiteY77" fmla="*/ 796 h 1072"/>
                  <a:gd name="connsiteX78" fmla="*/ 2430 w 5133"/>
                  <a:gd name="connsiteY78" fmla="*/ 740 h 1072"/>
                  <a:gd name="connsiteX79" fmla="*/ 2393 w 5133"/>
                  <a:gd name="connsiteY79" fmla="*/ 684 h 1072"/>
                  <a:gd name="connsiteX80" fmla="*/ 2288 w 5133"/>
                  <a:gd name="connsiteY80" fmla="*/ 510 h 1072"/>
                  <a:gd name="connsiteX81" fmla="*/ 2251 w 5133"/>
                  <a:gd name="connsiteY81" fmla="*/ 452 h 1072"/>
                  <a:gd name="connsiteX82" fmla="*/ 2213 w 5133"/>
                  <a:gd name="connsiteY82" fmla="*/ 396 h 1072"/>
                  <a:gd name="connsiteX83" fmla="*/ 2176 w 5133"/>
                  <a:gd name="connsiteY83" fmla="*/ 342 h 1072"/>
                  <a:gd name="connsiteX84" fmla="*/ 2137 w 5133"/>
                  <a:gd name="connsiteY84" fmla="*/ 293 h 1072"/>
                  <a:gd name="connsiteX85" fmla="*/ 2096 w 5133"/>
                  <a:gd name="connsiteY85" fmla="*/ 247 h 1072"/>
                  <a:gd name="connsiteX86" fmla="*/ 2054 w 5133"/>
                  <a:gd name="connsiteY86" fmla="*/ 205 h 1072"/>
                  <a:gd name="connsiteX87" fmla="*/ 2009 w 5133"/>
                  <a:gd name="connsiteY87" fmla="*/ 168 h 1072"/>
                  <a:gd name="connsiteX88" fmla="*/ 1962 w 5133"/>
                  <a:gd name="connsiteY88" fmla="*/ 139 h 1072"/>
                  <a:gd name="connsiteX89" fmla="*/ 1910 w 5133"/>
                  <a:gd name="connsiteY89" fmla="*/ 116 h 1072"/>
                  <a:gd name="connsiteX90" fmla="*/ 1854 w 5133"/>
                  <a:gd name="connsiteY90" fmla="*/ 100 h 1072"/>
                  <a:gd name="connsiteX91" fmla="*/ 1796 w 5133"/>
                  <a:gd name="connsiteY91" fmla="*/ 91 h 1072"/>
                  <a:gd name="connsiteX92" fmla="*/ 1732 w 5133"/>
                  <a:gd name="connsiteY92" fmla="*/ 93 h 1072"/>
                  <a:gd name="connsiteX93" fmla="*/ 1664 w 5133"/>
                  <a:gd name="connsiteY93" fmla="*/ 104 h 1072"/>
                  <a:gd name="connsiteX94" fmla="*/ 1602 w 5133"/>
                  <a:gd name="connsiteY94" fmla="*/ 122 h 1072"/>
                  <a:gd name="connsiteX95" fmla="*/ 1545 w 5133"/>
                  <a:gd name="connsiteY95" fmla="*/ 147 h 1072"/>
                  <a:gd name="connsiteX96" fmla="*/ 1491 w 5133"/>
                  <a:gd name="connsiteY96" fmla="*/ 181 h 1072"/>
                  <a:gd name="connsiteX97" fmla="*/ 1439 w 5133"/>
                  <a:gd name="connsiteY97" fmla="*/ 218 h 1072"/>
                  <a:gd name="connsiteX98" fmla="*/ 1394 w 5133"/>
                  <a:gd name="connsiteY98" fmla="*/ 261 h 1072"/>
                  <a:gd name="connsiteX99" fmla="*/ 1348 w 5133"/>
                  <a:gd name="connsiteY99" fmla="*/ 307 h 1072"/>
                  <a:gd name="connsiteX100" fmla="*/ 1307 w 5133"/>
                  <a:gd name="connsiteY100" fmla="*/ 359 h 1072"/>
                  <a:gd name="connsiteX101" fmla="*/ 1268 w 5133"/>
                  <a:gd name="connsiteY101" fmla="*/ 413 h 1072"/>
                  <a:gd name="connsiteX102" fmla="*/ 1231 w 5133"/>
                  <a:gd name="connsiteY102" fmla="*/ 467 h 1072"/>
                  <a:gd name="connsiteX103" fmla="*/ 1194 w 5133"/>
                  <a:gd name="connsiteY103" fmla="*/ 523 h 1072"/>
                  <a:gd name="connsiteX104" fmla="*/ 1156 w 5133"/>
                  <a:gd name="connsiteY104" fmla="*/ 581 h 1072"/>
                  <a:gd name="connsiteX105" fmla="*/ 1121 w 5133"/>
                  <a:gd name="connsiteY105" fmla="*/ 637 h 1072"/>
                  <a:gd name="connsiteX106" fmla="*/ 1047 w 5133"/>
                  <a:gd name="connsiteY106" fmla="*/ 749 h 1072"/>
                  <a:gd name="connsiteX107" fmla="*/ 1008 w 5133"/>
                  <a:gd name="connsiteY107" fmla="*/ 801 h 1072"/>
                  <a:gd name="connsiteX108" fmla="*/ 966 w 5133"/>
                  <a:gd name="connsiteY108" fmla="*/ 850 h 1072"/>
                  <a:gd name="connsiteX109" fmla="*/ 923 w 5133"/>
                  <a:gd name="connsiteY109" fmla="*/ 896 h 1072"/>
                  <a:gd name="connsiteX110" fmla="*/ 876 w 5133"/>
                  <a:gd name="connsiteY110" fmla="*/ 937 h 1072"/>
                  <a:gd name="connsiteX111" fmla="*/ 826 w 5133"/>
                  <a:gd name="connsiteY111" fmla="*/ 973 h 1072"/>
                  <a:gd name="connsiteX112" fmla="*/ 772 w 5133"/>
                  <a:gd name="connsiteY112" fmla="*/ 1002 h 1072"/>
                  <a:gd name="connsiteX113" fmla="*/ 717 w 5133"/>
                  <a:gd name="connsiteY113" fmla="*/ 1025 h 1072"/>
                  <a:gd name="connsiteX114" fmla="*/ 653 w 5133"/>
                  <a:gd name="connsiteY114" fmla="*/ 1037 h 1072"/>
                  <a:gd name="connsiteX115" fmla="*/ 587 w 5133"/>
                  <a:gd name="connsiteY115" fmla="*/ 1043 h 1072"/>
                  <a:gd name="connsiteX116" fmla="*/ 580 w 5133"/>
                  <a:gd name="connsiteY116" fmla="*/ 1043 h 1072"/>
                  <a:gd name="connsiteX117" fmla="*/ 512 w 5133"/>
                  <a:gd name="connsiteY117" fmla="*/ 1039 h 1072"/>
                  <a:gd name="connsiteX118" fmla="*/ 450 w 5133"/>
                  <a:gd name="connsiteY118" fmla="*/ 1027 h 1072"/>
                  <a:gd name="connsiteX119" fmla="*/ 392 w 5133"/>
                  <a:gd name="connsiteY119" fmla="*/ 1008 h 1072"/>
                  <a:gd name="connsiteX120" fmla="*/ 341 w 5133"/>
                  <a:gd name="connsiteY120" fmla="*/ 983 h 1072"/>
                  <a:gd name="connsiteX121" fmla="*/ 293 w 5133"/>
                  <a:gd name="connsiteY121" fmla="*/ 952 h 1072"/>
                  <a:gd name="connsiteX122" fmla="*/ 248 w 5133"/>
                  <a:gd name="connsiteY122" fmla="*/ 915 h 1072"/>
                  <a:gd name="connsiteX123" fmla="*/ 207 w 5133"/>
                  <a:gd name="connsiteY123" fmla="*/ 873 h 1072"/>
                  <a:gd name="connsiteX124" fmla="*/ 169 w 5133"/>
                  <a:gd name="connsiteY124" fmla="*/ 828 h 1072"/>
                  <a:gd name="connsiteX125" fmla="*/ 132 w 5133"/>
                  <a:gd name="connsiteY125" fmla="*/ 780 h 1072"/>
                  <a:gd name="connsiteX126" fmla="*/ 99 w 5133"/>
                  <a:gd name="connsiteY126" fmla="*/ 728 h 1072"/>
                  <a:gd name="connsiteX127" fmla="*/ 64 w 5133"/>
                  <a:gd name="connsiteY127" fmla="*/ 674 h 1072"/>
                  <a:gd name="connsiteX128" fmla="*/ 33 w 5133"/>
                  <a:gd name="connsiteY128" fmla="*/ 618 h 1072"/>
                  <a:gd name="connsiteX129" fmla="*/ 0 w 5133"/>
                  <a:gd name="connsiteY129" fmla="*/ 560 h 1072"/>
                  <a:gd name="connsiteX130" fmla="*/ 77 w 5133"/>
                  <a:gd name="connsiteY130" fmla="*/ 516 h 1072"/>
                  <a:gd name="connsiteX131" fmla="*/ 110 w 5133"/>
                  <a:gd name="connsiteY131" fmla="*/ 575 h 1072"/>
                  <a:gd name="connsiteX132" fmla="*/ 143 w 5133"/>
                  <a:gd name="connsiteY132" fmla="*/ 631 h 1072"/>
                  <a:gd name="connsiteX133" fmla="*/ 176 w 5133"/>
                  <a:gd name="connsiteY133" fmla="*/ 684 h 1072"/>
                  <a:gd name="connsiteX134" fmla="*/ 209 w 5133"/>
                  <a:gd name="connsiteY134" fmla="*/ 736 h 1072"/>
                  <a:gd name="connsiteX135" fmla="*/ 244 w 5133"/>
                  <a:gd name="connsiteY135" fmla="*/ 782 h 1072"/>
                  <a:gd name="connsiteX136" fmla="*/ 281 w 5133"/>
                  <a:gd name="connsiteY136" fmla="*/ 825 h 1072"/>
                  <a:gd name="connsiteX137" fmla="*/ 322 w 5133"/>
                  <a:gd name="connsiteY137" fmla="*/ 863 h 1072"/>
                  <a:gd name="connsiteX138" fmla="*/ 366 w 5133"/>
                  <a:gd name="connsiteY138" fmla="*/ 894 h 1072"/>
                  <a:gd name="connsiteX139" fmla="*/ 413 w 5133"/>
                  <a:gd name="connsiteY139" fmla="*/ 921 h 1072"/>
                  <a:gd name="connsiteX140" fmla="*/ 463 w 5133"/>
                  <a:gd name="connsiteY140" fmla="*/ 940 h 1072"/>
                  <a:gd name="connsiteX141" fmla="*/ 518 w 5133"/>
                  <a:gd name="connsiteY141" fmla="*/ 952 h 1072"/>
                  <a:gd name="connsiteX142" fmla="*/ 580 w 5133"/>
                  <a:gd name="connsiteY142" fmla="*/ 956 h 1072"/>
                  <a:gd name="connsiteX143" fmla="*/ 587 w 5133"/>
                  <a:gd name="connsiteY143" fmla="*/ 956 h 1072"/>
                  <a:gd name="connsiteX144" fmla="*/ 646 w 5133"/>
                  <a:gd name="connsiteY144" fmla="*/ 950 h 1072"/>
                  <a:gd name="connsiteX145" fmla="*/ 702 w 5133"/>
                  <a:gd name="connsiteY145" fmla="*/ 935 h 1072"/>
                  <a:gd name="connsiteX146" fmla="*/ 756 w 5133"/>
                  <a:gd name="connsiteY146" fmla="*/ 913 h 1072"/>
                  <a:gd name="connsiteX147" fmla="*/ 803 w 5133"/>
                  <a:gd name="connsiteY147" fmla="*/ 884 h 1072"/>
                  <a:gd name="connsiteX148" fmla="*/ 849 w 5133"/>
                  <a:gd name="connsiteY148" fmla="*/ 846 h 1072"/>
                  <a:gd name="connsiteX149" fmla="*/ 892 w 5133"/>
                  <a:gd name="connsiteY149" fmla="*/ 803 h 1072"/>
                  <a:gd name="connsiteX150" fmla="*/ 931 w 5133"/>
                  <a:gd name="connsiteY150" fmla="*/ 755 h 1072"/>
                  <a:gd name="connsiteX151" fmla="*/ 971 w 5133"/>
                  <a:gd name="connsiteY151" fmla="*/ 703 h 1072"/>
                  <a:gd name="connsiteX152" fmla="*/ 1010 w 5133"/>
                  <a:gd name="connsiteY152" fmla="*/ 649 h 1072"/>
                  <a:gd name="connsiteX153" fmla="*/ 1121 w 5133"/>
                  <a:gd name="connsiteY153" fmla="*/ 475 h 1072"/>
                  <a:gd name="connsiteX154" fmla="*/ 1161 w 5133"/>
                  <a:gd name="connsiteY154" fmla="*/ 415 h 1072"/>
                  <a:gd name="connsiteX155" fmla="*/ 1202 w 5133"/>
                  <a:gd name="connsiteY155" fmla="*/ 357 h 1072"/>
                  <a:gd name="connsiteX156" fmla="*/ 1245 w 5133"/>
                  <a:gd name="connsiteY156" fmla="*/ 299 h 1072"/>
                  <a:gd name="connsiteX157" fmla="*/ 1291 w 5133"/>
                  <a:gd name="connsiteY157" fmla="*/ 245 h 1072"/>
                  <a:gd name="connsiteX158" fmla="*/ 1338 w 5133"/>
                  <a:gd name="connsiteY158" fmla="*/ 193 h 1072"/>
                  <a:gd name="connsiteX159" fmla="*/ 1392 w 5133"/>
                  <a:gd name="connsiteY159" fmla="*/ 145 h 1072"/>
                  <a:gd name="connsiteX160" fmla="*/ 1447 w 5133"/>
                  <a:gd name="connsiteY160" fmla="*/ 104 h 1072"/>
                  <a:gd name="connsiteX161" fmla="*/ 1509 w 5133"/>
                  <a:gd name="connsiteY161" fmla="*/ 69 h 1072"/>
                  <a:gd name="connsiteX162" fmla="*/ 1575 w 5133"/>
                  <a:gd name="connsiteY162" fmla="*/ 40 h 1072"/>
                  <a:gd name="connsiteX163" fmla="*/ 1648 w 5133"/>
                  <a:gd name="connsiteY163" fmla="*/ 19 h 1072"/>
                  <a:gd name="connsiteX164" fmla="*/ 1726 w 5133"/>
                  <a:gd name="connsiteY164" fmla="*/ 6 h 1072"/>
                  <a:gd name="connsiteX165" fmla="*/ 1796 w 5133"/>
                  <a:gd name="connsiteY165" fmla="*/ 4 h 1072"/>
                  <a:gd name="connsiteX166" fmla="*/ 1862 w 5133"/>
                  <a:gd name="connsiteY166" fmla="*/ 13 h 1072"/>
                  <a:gd name="connsiteX167" fmla="*/ 1922 w 5133"/>
                  <a:gd name="connsiteY167" fmla="*/ 27 h 1072"/>
                  <a:gd name="connsiteX168" fmla="*/ 1980 w 5133"/>
                  <a:gd name="connsiteY168" fmla="*/ 50 h 1072"/>
                  <a:gd name="connsiteX169" fmla="*/ 2034 w 5133"/>
                  <a:gd name="connsiteY169" fmla="*/ 81 h 1072"/>
                  <a:gd name="connsiteX170" fmla="*/ 2083 w 5133"/>
                  <a:gd name="connsiteY170" fmla="*/ 116 h 1072"/>
                  <a:gd name="connsiteX171" fmla="*/ 2129 w 5133"/>
                  <a:gd name="connsiteY171" fmla="*/ 158 h 1072"/>
                  <a:gd name="connsiteX172" fmla="*/ 2174 w 5133"/>
                  <a:gd name="connsiteY172" fmla="*/ 203 h 1072"/>
                  <a:gd name="connsiteX173" fmla="*/ 2216 w 5133"/>
                  <a:gd name="connsiteY173" fmla="*/ 251 h 1072"/>
                  <a:gd name="connsiteX174" fmla="*/ 2255 w 5133"/>
                  <a:gd name="connsiteY174" fmla="*/ 303 h 1072"/>
                  <a:gd name="connsiteX175" fmla="*/ 2292 w 5133"/>
                  <a:gd name="connsiteY175" fmla="*/ 357 h 1072"/>
                  <a:gd name="connsiteX176" fmla="*/ 2327 w 5133"/>
                  <a:gd name="connsiteY176" fmla="*/ 413 h 1072"/>
                  <a:gd name="connsiteX177" fmla="*/ 2362 w 5133"/>
                  <a:gd name="connsiteY177" fmla="*/ 467 h 1072"/>
                  <a:gd name="connsiteX178" fmla="*/ 2395 w 5133"/>
                  <a:gd name="connsiteY178" fmla="*/ 523 h 1072"/>
                  <a:gd name="connsiteX179" fmla="*/ 2432 w 5133"/>
                  <a:gd name="connsiteY179" fmla="*/ 585 h 1072"/>
                  <a:gd name="connsiteX180" fmla="*/ 2469 w 5133"/>
                  <a:gd name="connsiteY180" fmla="*/ 643 h 1072"/>
                  <a:gd name="connsiteX181" fmla="*/ 2509 w 5133"/>
                  <a:gd name="connsiteY181" fmla="*/ 701 h 1072"/>
                  <a:gd name="connsiteX182" fmla="*/ 2546 w 5133"/>
                  <a:gd name="connsiteY182" fmla="*/ 755 h 1072"/>
                  <a:gd name="connsiteX183" fmla="*/ 2587 w 5133"/>
                  <a:gd name="connsiteY183" fmla="*/ 805 h 1072"/>
                  <a:gd name="connsiteX184" fmla="*/ 2628 w 5133"/>
                  <a:gd name="connsiteY184" fmla="*/ 848 h 1072"/>
                  <a:gd name="connsiteX185" fmla="*/ 2672 w 5133"/>
                  <a:gd name="connsiteY185" fmla="*/ 886 h 1072"/>
                  <a:gd name="connsiteX186" fmla="*/ 2717 w 5133"/>
                  <a:gd name="connsiteY186" fmla="*/ 917 h 1072"/>
                  <a:gd name="connsiteX187" fmla="*/ 2767 w 5133"/>
                  <a:gd name="connsiteY187" fmla="*/ 940 h 1072"/>
                  <a:gd name="connsiteX188" fmla="*/ 2820 w 5133"/>
                  <a:gd name="connsiteY188" fmla="*/ 952 h 1072"/>
                  <a:gd name="connsiteX189" fmla="*/ 2876 w 5133"/>
                  <a:gd name="connsiteY189" fmla="*/ 956 h 1072"/>
                  <a:gd name="connsiteX190" fmla="*/ 2932 w 5133"/>
                  <a:gd name="connsiteY190" fmla="*/ 950 h 1072"/>
                  <a:gd name="connsiteX191" fmla="*/ 2982 w 5133"/>
                  <a:gd name="connsiteY191" fmla="*/ 935 h 1072"/>
                  <a:gd name="connsiteX192" fmla="*/ 3029 w 5133"/>
                  <a:gd name="connsiteY192" fmla="*/ 915 h 1072"/>
                  <a:gd name="connsiteX193" fmla="*/ 3072 w 5133"/>
                  <a:gd name="connsiteY193" fmla="*/ 884 h 1072"/>
                  <a:gd name="connsiteX194" fmla="*/ 3112 w 5133"/>
                  <a:gd name="connsiteY194" fmla="*/ 848 h 1072"/>
                  <a:gd name="connsiteX195" fmla="*/ 3149 w 5133"/>
                  <a:gd name="connsiteY195" fmla="*/ 807 h 1072"/>
                  <a:gd name="connsiteX196" fmla="*/ 3184 w 5133"/>
                  <a:gd name="connsiteY196" fmla="*/ 759 h 1072"/>
                  <a:gd name="connsiteX197" fmla="*/ 3217 w 5133"/>
                  <a:gd name="connsiteY197" fmla="*/ 709 h 1072"/>
                  <a:gd name="connsiteX198" fmla="*/ 3250 w 5133"/>
                  <a:gd name="connsiteY198" fmla="*/ 655 h 1072"/>
                  <a:gd name="connsiteX199" fmla="*/ 3283 w 5133"/>
                  <a:gd name="connsiteY199" fmla="*/ 597 h 1072"/>
                  <a:gd name="connsiteX200" fmla="*/ 3316 w 5133"/>
                  <a:gd name="connsiteY200" fmla="*/ 537 h 1072"/>
                  <a:gd name="connsiteX201" fmla="*/ 3345 w 5133"/>
                  <a:gd name="connsiteY201" fmla="*/ 483 h 1072"/>
                  <a:gd name="connsiteX202" fmla="*/ 3407 w 5133"/>
                  <a:gd name="connsiteY202" fmla="*/ 375 h 1072"/>
                  <a:gd name="connsiteX203" fmla="*/ 3477 w 5133"/>
                  <a:gd name="connsiteY203" fmla="*/ 272 h 1072"/>
                  <a:gd name="connsiteX204" fmla="*/ 3514 w 5133"/>
                  <a:gd name="connsiteY204" fmla="*/ 224 h 1072"/>
                  <a:gd name="connsiteX205" fmla="*/ 3555 w 5133"/>
                  <a:gd name="connsiteY205" fmla="*/ 178 h 1072"/>
                  <a:gd name="connsiteX206" fmla="*/ 3599 w 5133"/>
                  <a:gd name="connsiteY206" fmla="*/ 137 h 1072"/>
                  <a:gd name="connsiteX207" fmla="*/ 3646 w 5133"/>
                  <a:gd name="connsiteY207" fmla="*/ 100 h 1072"/>
                  <a:gd name="connsiteX208" fmla="*/ 3698 w 5133"/>
                  <a:gd name="connsiteY208" fmla="*/ 66 h 1072"/>
                  <a:gd name="connsiteX209" fmla="*/ 3756 w 5133"/>
                  <a:gd name="connsiteY209" fmla="*/ 40 h 1072"/>
                  <a:gd name="connsiteX210" fmla="*/ 3816 w 5133"/>
                  <a:gd name="connsiteY210" fmla="*/ 19 h 1072"/>
                  <a:gd name="connsiteX211" fmla="*/ 3882 w 5133"/>
                  <a:gd name="connsiteY211" fmla="*/ 6 h 1072"/>
                  <a:gd name="connsiteX212" fmla="*/ 3954 w 5133"/>
                  <a:gd name="connsiteY212" fmla="*/ 0 h 1072"/>
                  <a:gd name="connsiteX0" fmla="*/ 3954 w 5072"/>
                  <a:gd name="connsiteY0" fmla="*/ 0 h 1064"/>
                  <a:gd name="connsiteX1" fmla="*/ 4004 w 5072"/>
                  <a:gd name="connsiteY1" fmla="*/ 0 h 1064"/>
                  <a:gd name="connsiteX2" fmla="*/ 4032 w 5072"/>
                  <a:gd name="connsiteY2" fmla="*/ 4 h 1064"/>
                  <a:gd name="connsiteX3" fmla="*/ 4063 w 5072"/>
                  <a:gd name="connsiteY3" fmla="*/ 13 h 1064"/>
                  <a:gd name="connsiteX4" fmla="*/ 4101 w 5072"/>
                  <a:gd name="connsiteY4" fmla="*/ 23 h 1064"/>
                  <a:gd name="connsiteX5" fmla="*/ 4142 w 5072"/>
                  <a:gd name="connsiteY5" fmla="*/ 40 h 1064"/>
                  <a:gd name="connsiteX6" fmla="*/ 4185 w 5072"/>
                  <a:gd name="connsiteY6" fmla="*/ 60 h 1064"/>
                  <a:gd name="connsiteX7" fmla="*/ 4233 w 5072"/>
                  <a:gd name="connsiteY7" fmla="*/ 89 h 1064"/>
                  <a:gd name="connsiteX8" fmla="*/ 4282 w 5072"/>
                  <a:gd name="connsiteY8" fmla="*/ 125 h 1064"/>
                  <a:gd name="connsiteX9" fmla="*/ 4332 w 5072"/>
                  <a:gd name="connsiteY9" fmla="*/ 170 h 1064"/>
                  <a:gd name="connsiteX10" fmla="*/ 4383 w 5072"/>
                  <a:gd name="connsiteY10" fmla="*/ 224 h 1064"/>
                  <a:gd name="connsiteX11" fmla="*/ 4435 w 5072"/>
                  <a:gd name="connsiteY11" fmla="*/ 286 h 1064"/>
                  <a:gd name="connsiteX12" fmla="*/ 4487 w 5072"/>
                  <a:gd name="connsiteY12" fmla="*/ 361 h 1064"/>
                  <a:gd name="connsiteX13" fmla="*/ 4538 w 5072"/>
                  <a:gd name="connsiteY13" fmla="*/ 448 h 1064"/>
                  <a:gd name="connsiteX14" fmla="*/ 4590 w 5072"/>
                  <a:gd name="connsiteY14" fmla="*/ 548 h 1064"/>
                  <a:gd name="connsiteX15" fmla="*/ 4635 w 5072"/>
                  <a:gd name="connsiteY15" fmla="*/ 633 h 1064"/>
                  <a:gd name="connsiteX16" fmla="*/ 4681 w 5072"/>
                  <a:gd name="connsiteY16" fmla="*/ 705 h 1064"/>
                  <a:gd name="connsiteX17" fmla="*/ 4728 w 5072"/>
                  <a:gd name="connsiteY17" fmla="*/ 767 h 1064"/>
                  <a:gd name="connsiteX18" fmla="*/ 4776 w 5072"/>
                  <a:gd name="connsiteY18" fmla="*/ 819 h 1064"/>
                  <a:gd name="connsiteX19" fmla="*/ 4821 w 5072"/>
                  <a:gd name="connsiteY19" fmla="*/ 863 h 1064"/>
                  <a:gd name="connsiteX20" fmla="*/ 4869 w 5072"/>
                  <a:gd name="connsiteY20" fmla="*/ 898 h 1064"/>
                  <a:gd name="connsiteX21" fmla="*/ 4955 w 5072"/>
                  <a:gd name="connsiteY21" fmla="*/ 948 h 1064"/>
                  <a:gd name="connsiteX22" fmla="*/ 5030 w 5072"/>
                  <a:gd name="connsiteY22" fmla="*/ 973 h 1064"/>
                  <a:gd name="connsiteX23" fmla="*/ 5059 w 5072"/>
                  <a:gd name="connsiteY23" fmla="*/ 981 h 1064"/>
                  <a:gd name="connsiteX24" fmla="*/ 5040 w 5072"/>
                  <a:gd name="connsiteY24" fmla="*/ 1064 h 1064"/>
                  <a:gd name="connsiteX25" fmla="*/ 4869 w 5072"/>
                  <a:gd name="connsiteY25" fmla="*/ 1002 h 1064"/>
                  <a:gd name="connsiteX26" fmla="*/ 4819 w 5072"/>
                  <a:gd name="connsiteY26" fmla="*/ 971 h 1064"/>
                  <a:gd name="connsiteX27" fmla="*/ 4767 w 5072"/>
                  <a:gd name="connsiteY27" fmla="*/ 931 h 1064"/>
                  <a:gd name="connsiteX28" fmla="*/ 4716 w 5072"/>
                  <a:gd name="connsiteY28" fmla="*/ 881 h 1064"/>
                  <a:gd name="connsiteX29" fmla="*/ 4662 w 5072"/>
                  <a:gd name="connsiteY29" fmla="*/ 823 h 1064"/>
                  <a:gd name="connsiteX30" fmla="*/ 4611 w 5072"/>
                  <a:gd name="connsiteY30" fmla="*/ 755 h 1064"/>
                  <a:gd name="connsiteX31" fmla="*/ 4561 w 5072"/>
                  <a:gd name="connsiteY31" fmla="*/ 676 h 1064"/>
                  <a:gd name="connsiteX32" fmla="*/ 4513 w 5072"/>
                  <a:gd name="connsiteY32" fmla="*/ 583 h 1064"/>
                  <a:gd name="connsiteX33" fmla="*/ 4464 w 5072"/>
                  <a:gd name="connsiteY33" fmla="*/ 487 h 1064"/>
                  <a:gd name="connsiteX34" fmla="*/ 4414 w 5072"/>
                  <a:gd name="connsiteY34" fmla="*/ 404 h 1064"/>
                  <a:gd name="connsiteX35" fmla="*/ 4365 w 5072"/>
                  <a:gd name="connsiteY35" fmla="*/ 336 h 1064"/>
                  <a:gd name="connsiteX36" fmla="*/ 4315 w 5072"/>
                  <a:gd name="connsiteY36" fmla="*/ 276 h 1064"/>
                  <a:gd name="connsiteX37" fmla="*/ 4268 w 5072"/>
                  <a:gd name="connsiteY37" fmla="*/ 228 h 1064"/>
                  <a:gd name="connsiteX38" fmla="*/ 4222 w 5072"/>
                  <a:gd name="connsiteY38" fmla="*/ 189 h 1064"/>
                  <a:gd name="connsiteX39" fmla="*/ 4181 w 5072"/>
                  <a:gd name="connsiteY39" fmla="*/ 158 h 1064"/>
                  <a:gd name="connsiteX40" fmla="*/ 4142 w 5072"/>
                  <a:gd name="connsiteY40" fmla="*/ 135 h 1064"/>
                  <a:gd name="connsiteX41" fmla="*/ 4092 w 5072"/>
                  <a:gd name="connsiteY41" fmla="*/ 112 h 1064"/>
                  <a:gd name="connsiteX42" fmla="*/ 4049 w 5072"/>
                  <a:gd name="connsiteY42" fmla="*/ 98 h 1064"/>
                  <a:gd name="connsiteX43" fmla="*/ 4014 w 5072"/>
                  <a:gd name="connsiteY43" fmla="*/ 89 h 1064"/>
                  <a:gd name="connsiteX44" fmla="*/ 3985 w 5072"/>
                  <a:gd name="connsiteY44" fmla="*/ 87 h 1064"/>
                  <a:gd name="connsiteX45" fmla="*/ 3958 w 5072"/>
                  <a:gd name="connsiteY45" fmla="*/ 87 h 1064"/>
                  <a:gd name="connsiteX46" fmla="*/ 3892 w 5072"/>
                  <a:gd name="connsiteY46" fmla="*/ 93 h 1064"/>
                  <a:gd name="connsiteX47" fmla="*/ 3830 w 5072"/>
                  <a:gd name="connsiteY47" fmla="*/ 106 h 1064"/>
                  <a:gd name="connsiteX48" fmla="*/ 3774 w 5072"/>
                  <a:gd name="connsiteY48" fmla="*/ 127 h 1064"/>
                  <a:gd name="connsiteX49" fmla="*/ 3723 w 5072"/>
                  <a:gd name="connsiteY49" fmla="*/ 154 h 1064"/>
                  <a:gd name="connsiteX50" fmla="*/ 3675 w 5072"/>
                  <a:gd name="connsiteY50" fmla="*/ 187 h 1064"/>
                  <a:gd name="connsiteX51" fmla="*/ 3632 w 5072"/>
                  <a:gd name="connsiteY51" fmla="*/ 224 h 1064"/>
                  <a:gd name="connsiteX52" fmla="*/ 3593 w 5072"/>
                  <a:gd name="connsiteY52" fmla="*/ 268 h 1064"/>
                  <a:gd name="connsiteX53" fmla="*/ 3553 w 5072"/>
                  <a:gd name="connsiteY53" fmla="*/ 313 h 1064"/>
                  <a:gd name="connsiteX54" fmla="*/ 3518 w 5072"/>
                  <a:gd name="connsiteY54" fmla="*/ 363 h 1064"/>
                  <a:gd name="connsiteX55" fmla="*/ 3485 w 5072"/>
                  <a:gd name="connsiteY55" fmla="*/ 415 h 1064"/>
                  <a:gd name="connsiteX56" fmla="*/ 3423 w 5072"/>
                  <a:gd name="connsiteY56" fmla="*/ 523 h 1064"/>
                  <a:gd name="connsiteX57" fmla="*/ 3330 w 5072"/>
                  <a:gd name="connsiteY57" fmla="*/ 691 h 1064"/>
                  <a:gd name="connsiteX58" fmla="*/ 3297 w 5072"/>
                  <a:gd name="connsiteY58" fmla="*/ 747 h 1064"/>
                  <a:gd name="connsiteX59" fmla="*/ 3262 w 5072"/>
                  <a:gd name="connsiteY59" fmla="*/ 799 h 1064"/>
                  <a:gd name="connsiteX60" fmla="*/ 3227 w 5072"/>
                  <a:gd name="connsiteY60" fmla="*/ 848 h 1064"/>
                  <a:gd name="connsiteX61" fmla="*/ 3188 w 5072"/>
                  <a:gd name="connsiteY61" fmla="*/ 894 h 1064"/>
                  <a:gd name="connsiteX62" fmla="*/ 3147 w 5072"/>
                  <a:gd name="connsiteY62" fmla="*/ 935 h 1064"/>
                  <a:gd name="connsiteX63" fmla="*/ 3101 w 5072"/>
                  <a:gd name="connsiteY63" fmla="*/ 971 h 1064"/>
                  <a:gd name="connsiteX64" fmla="*/ 3052 w 5072"/>
                  <a:gd name="connsiteY64" fmla="*/ 1000 h 1064"/>
                  <a:gd name="connsiteX65" fmla="*/ 3000 w 5072"/>
                  <a:gd name="connsiteY65" fmla="*/ 1022 h 1064"/>
                  <a:gd name="connsiteX66" fmla="*/ 2942 w 5072"/>
                  <a:gd name="connsiteY66" fmla="*/ 1037 h 1064"/>
                  <a:gd name="connsiteX67" fmla="*/ 2878 w 5072"/>
                  <a:gd name="connsiteY67" fmla="*/ 1043 h 1064"/>
                  <a:gd name="connsiteX68" fmla="*/ 2870 w 5072"/>
                  <a:gd name="connsiteY68" fmla="*/ 1043 h 1064"/>
                  <a:gd name="connsiteX69" fmla="*/ 2808 w 5072"/>
                  <a:gd name="connsiteY69" fmla="*/ 1039 h 1064"/>
                  <a:gd name="connsiteX70" fmla="*/ 2748 w 5072"/>
                  <a:gd name="connsiteY70" fmla="*/ 1025 h 1064"/>
                  <a:gd name="connsiteX71" fmla="*/ 2695 w 5072"/>
                  <a:gd name="connsiteY71" fmla="*/ 1002 h 1064"/>
                  <a:gd name="connsiteX72" fmla="*/ 2643 w 5072"/>
                  <a:gd name="connsiteY72" fmla="*/ 973 h 1064"/>
                  <a:gd name="connsiteX73" fmla="*/ 2595 w 5072"/>
                  <a:gd name="connsiteY73" fmla="*/ 935 h 1064"/>
                  <a:gd name="connsiteX74" fmla="*/ 2552 w 5072"/>
                  <a:gd name="connsiteY74" fmla="*/ 894 h 1064"/>
                  <a:gd name="connsiteX75" fmla="*/ 2509 w 5072"/>
                  <a:gd name="connsiteY75" fmla="*/ 846 h 1064"/>
                  <a:gd name="connsiteX76" fmla="*/ 2469 w 5072"/>
                  <a:gd name="connsiteY76" fmla="*/ 796 h 1064"/>
                  <a:gd name="connsiteX77" fmla="*/ 2430 w 5072"/>
                  <a:gd name="connsiteY77" fmla="*/ 740 h 1064"/>
                  <a:gd name="connsiteX78" fmla="*/ 2393 w 5072"/>
                  <a:gd name="connsiteY78" fmla="*/ 684 h 1064"/>
                  <a:gd name="connsiteX79" fmla="*/ 2288 w 5072"/>
                  <a:gd name="connsiteY79" fmla="*/ 510 h 1064"/>
                  <a:gd name="connsiteX80" fmla="*/ 2251 w 5072"/>
                  <a:gd name="connsiteY80" fmla="*/ 452 h 1064"/>
                  <a:gd name="connsiteX81" fmla="*/ 2213 w 5072"/>
                  <a:gd name="connsiteY81" fmla="*/ 396 h 1064"/>
                  <a:gd name="connsiteX82" fmla="*/ 2176 w 5072"/>
                  <a:gd name="connsiteY82" fmla="*/ 342 h 1064"/>
                  <a:gd name="connsiteX83" fmla="*/ 2137 w 5072"/>
                  <a:gd name="connsiteY83" fmla="*/ 293 h 1064"/>
                  <a:gd name="connsiteX84" fmla="*/ 2096 w 5072"/>
                  <a:gd name="connsiteY84" fmla="*/ 247 h 1064"/>
                  <a:gd name="connsiteX85" fmla="*/ 2054 w 5072"/>
                  <a:gd name="connsiteY85" fmla="*/ 205 h 1064"/>
                  <a:gd name="connsiteX86" fmla="*/ 2009 w 5072"/>
                  <a:gd name="connsiteY86" fmla="*/ 168 h 1064"/>
                  <a:gd name="connsiteX87" fmla="*/ 1962 w 5072"/>
                  <a:gd name="connsiteY87" fmla="*/ 139 h 1064"/>
                  <a:gd name="connsiteX88" fmla="*/ 1910 w 5072"/>
                  <a:gd name="connsiteY88" fmla="*/ 116 h 1064"/>
                  <a:gd name="connsiteX89" fmla="*/ 1854 w 5072"/>
                  <a:gd name="connsiteY89" fmla="*/ 100 h 1064"/>
                  <a:gd name="connsiteX90" fmla="*/ 1796 w 5072"/>
                  <a:gd name="connsiteY90" fmla="*/ 91 h 1064"/>
                  <a:gd name="connsiteX91" fmla="*/ 1732 w 5072"/>
                  <a:gd name="connsiteY91" fmla="*/ 93 h 1064"/>
                  <a:gd name="connsiteX92" fmla="*/ 1664 w 5072"/>
                  <a:gd name="connsiteY92" fmla="*/ 104 h 1064"/>
                  <a:gd name="connsiteX93" fmla="*/ 1602 w 5072"/>
                  <a:gd name="connsiteY93" fmla="*/ 122 h 1064"/>
                  <a:gd name="connsiteX94" fmla="*/ 1545 w 5072"/>
                  <a:gd name="connsiteY94" fmla="*/ 147 h 1064"/>
                  <a:gd name="connsiteX95" fmla="*/ 1491 w 5072"/>
                  <a:gd name="connsiteY95" fmla="*/ 181 h 1064"/>
                  <a:gd name="connsiteX96" fmla="*/ 1439 w 5072"/>
                  <a:gd name="connsiteY96" fmla="*/ 218 h 1064"/>
                  <a:gd name="connsiteX97" fmla="*/ 1394 w 5072"/>
                  <a:gd name="connsiteY97" fmla="*/ 261 h 1064"/>
                  <a:gd name="connsiteX98" fmla="*/ 1348 w 5072"/>
                  <a:gd name="connsiteY98" fmla="*/ 307 h 1064"/>
                  <a:gd name="connsiteX99" fmla="*/ 1307 w 5072"/>
                  <a:gd name="connsiteY99" fmla="*/ 359 h 1064"/>
                  <a:gd name="connsiteX100" fmla="*/ 1268 w 5072"/>
                  <a:gd name="connsiteY100" fmla="*/ 413 h 1064"/>
                  <a:gd name="connsiteX101" fmla="*/ 1231 w 5072"/>
                  <a:gd name="connsiteY101" fmla="*/ 467 h 1064"/>
                  <a:gd name="connsiteX102" fmla="*/ 1194 w 5072"/>
                  <a:gd name="connsiteY102" fmla="*/ 523 h 1064"/>
                  <a:gd name="connsiteX103" fmla="*/ 1156 w 5072"/>
                  <a:gd name="connsiteY103" fmla="*/ 581 h 1064"/>
                  <a:gd name="connsiteX104" fmla="*/ 1121 w 5072"/>
                  <a:gd name="connsiteY104" fmla="*/ 637 h 1064"/>
                  <a:gd name="connsiteX105" fmla="*/ 1047 w 5072"/>
                  <a:gd name="connsiteY105" fmla="*/ 749 h 1064"/>
                  <a:gd name="connsiteX106" fmla="*/ 1008 w 5072"/>
                  <a:gd name="connsiteY106" fmla="*/ 801 h 1064"/>
                  <a:gd name="connsiteX107" fmla="*/ 966 w 5072"/>
                  <a:gd name="connsiteY107" fmla="*/ 850 h 1064"/>
                  <a:gd name="connsiteX108" fmla="*/ 923 w 5072"/>
                  <a:gd name="connsiteY108" fmla="*/ 896 h 1064"/>
                  <a:gd name="connsiteX109" fmla="*/ 876 w 5072"/>
                  <a:gd name="connsiteY109" fmla="*/ 937 h 1064"/>
                  <a:gd name="connsiteX110" fmla="*/ 826 w 5072"/>
                  <a:gd name="connsiteY110" fmla="*/ 973 h 1064"/>
                  <a:gd name="connsiteX111" fmla="*/ 772 w 5072"/>
                  <a:gd name="connsiteY111" fmla="*/ 1002 h 1064"/>
                  <a:gd name="connsiteX112" fmla="*/ 717 w 5072"/>
                  <a:gd name="connsiteY112" fmla="*/ 1025 h 1064"/>
                  <a:gd name="connsiteX113" fmla="*/ 653 w 5072"/>
                  <a:gd name="connsiteY113" fmla="*/ 1037 h 1064"/>
                  <a:gd name="connsiteX114" fmla="*/ 587 w 5072"/>
                  <a:gd name="connsiteY114" fmla="*/ 1043 h 1064"/>
                  <a:gd name="connsiteX115" fmla="*/ 580 w 5072"/>
                  <a:gd name="connsiteY115" fmla="*/ 1043 h 1064"/>
                  <a:gd name="connsiteX116" fmla="*/ 512 w 5072"/>
                  <a:gd name="connsiteY116" fmla="*/ 1039 h 1064"/>
                  <a:gd name="connsiteX117" fmla="*/ 450 w 5072"/>
                  <a:gd name="connsiteY117" fmla="*/ 1027 h 1064"/>
                  <a:gd name="connsiteX118" fmla="*/ 392 w 5072"/>
                  <a:gd name="connsiteY118" fmla="*/ 1008 h 1064"/>
                  <a:gd name="connsiteX119" fmla="*/ 341 w 5072"/>
                  <a:gd name="connsiteY119" fmla="*/ 983 h 1064"/>
                  <a:gd name="connsiteX120" fmla="*/ 293 w 5072"/>
                  <a:gd name="connsiteY120" fmla="*/ 952 h 1064"/>
                  <a:gd name="connsiteX121" fmla="*/ 248 w 5072"/>
                  <a:gd name="connsiteY121" fmla="*/ 915 h 1064"/>
                  <a:gd name="connsiteX122" fmla="*/ 207 w 5072"/>
                  <a:gd name="connsiteY122" fmla="*/ 873 h 1064"/>
                  <a:gd name="connsiteX123" fmla="*/ 169 w 5072"/>
                  <a:gd name="connsiteY123" fmla="*/ 828 h 1064"/>
                  <a:gd name="connsiteX124" fmla="*/ 132 w 5072"/>
                  <a:gd name="connsiteY124" fmla="*/ 780 h 1064"/>
                  <a:gd name="connsiteX125" fmla="*/ 99 w 5072"/>
                  <a:gd name="connsiteY125" fmla="*/ 728 h 1064"/>
                  <a:gd name="connsiteX126" fmla="*/ 64 w 5072"/>
                  <a:gd name="connsiteY126" fmla="*/ 674 h 1064"/>
                  <a:gd name="connsiteX127" fmla="*/ 33 w 5072"/>
                  <a:gd name="connsiteY127" fmla="*/ 618 h 1064"/>
                  <a:gd name="connsiteX128" fmla="*/ 0 w 5072"/>
                  <a:gd name="connsiteY128" fmla="*/ 560 h 1064"/>
                  <a:gd name="connsiteX129" fmla="*/ 77 w 5072"/>
                  <a:gd name="connsiteY129" fmla="*/ 516 h 1064"/>
                  <a:gd name="connsiteX130" fmla="*/ 110 w 5072"/>
                  <a:gd name="connsiteY130" fmla="*/ 575 h 1064"/>
                  <a:gd name="connsiteX131" fmla="*/ 143 w 5072"/>
                  <a:gd name="connsiteY131" fmla="*/ 631 h 1064"/>
                  <a:gd name="connsiteX132" fmla="*/ 176 w 5072"/>
                  <a:gd name="connsiteY132" fmla="*/ 684 h 1064"/>
                  <a:gd name="connsiteX133" fmla="*/ 209 w 5072"/>
                  <a:gd name="connsiteY133" fmla="*/ 736 h 1064"/>
                  <a:gd name="connsiteX134" fmla="*/ 244 w 5072"/>
                  <a:gd name="connsiteY134" fmla="*/ 782 h 1064"/>
                  <a:gd name="connsiteX135" fmla="*/ 281 w 5072"/>
                  <a:gd name="connsiteY135" fmla="*/ 825 h 1064"/>
                  <a:gd name="connsiteX136" fmla="*/ 322 w 5072"/>
                  <a:gd name="connsiteY136" fmla="*/ 863 h 1064"/>
                  <a:gd name="connsiteX137" fmla="*/ 366 w 5072"/>
                  <a:gd name="connsiteY137" fmla="*/ 894 h 1064"/>
                  <a:gd name="connsiteX138" fmla="*/ 413 w 5072"/>
                  <a:gd name="connsiteY138" fmla="*/ 921 h 1064"/>
                  <a:gd name="connsiteX139" fmla="*/ 463 w 5072"/>
                  <a:gd name="connsiteY139" fmla="*/ 940 h 1064"/>
                  <a:gd name="connsiteX140" fmla="*/ 518 w 5072"/>
                  <a:gd name="connsiteY140" fmla="*/ 952 h 1064"/>
                  <a:gd name="connsiteX141" fmla="*/ 580 w 5072"/>
                  <a:gd name="connsiteY141" fmla="*/ 956 h 1064"/>
                  <a:gd name="connsiteX142" fmla="*/ 587 w 5072"/>
                  <a:gd name="connsiteY142" fmla="*/ 956 h 1064"/>
                  <a:gd name="connsiteX143" fmla="*/ 646 w 5072"/>
                  <a:gd name="connsiteY143" fmla="*/ 950 h 1064"/>
                  <a:gd name="connsiteX144" fmla="*/ 702 w 5072"/>
                  <a:gd name="connsiteY144" fmla="*/ 935 h 1064"/>
                  <a:gd name="connsiteX145" fmla="*/ 756 w 5072"/>
                  <a:gd name="connsiteY145" fmla="*/ 913 h 1064"/>
                  <a:gd name="connsiteX146" fmla="*/ 803 w 5072"/>
                  <a:gd name="connsiteY146" fmla="*/ 884 h 1064"/>
                  <a:gd name="connsiteX147" fmla="*/ 849 w 5072"/>
                  <a:gd name="connsiteY147" fmla="*/ 846 h 1064"/>
                  <a:gd name="connsiteX148" fmla="*/ 892 w 5072"/>
                  <a:gd name="connsiteY148" fmla="*/ 803 h 1064"/>
                  <a:gd name="connsiteX149" fmla="*/ 931 w 5072"/>
                  <a:gd name="connsiteY149" fmla="*/ 755 h 1064"/>
                  <a:gd name="connsiteX150" fmla="*/ 971 w 5072"/>
                  <a:gd name="connsiteY150" fmla="*/ 703 h 1064"/>
                  <a:gd name="connsiteX151" fmla="*/ 1010 w 5072"/>
                  <a:gd name="connsiteY151" fmla="*/ 649 h 1064"/>
                  <a:gd name="connsiteX152" fmla="*/ 1121 w 5072"/>
                  <a:gd name="connsiteY152" fmla="*/ 475 h 1064"/>
                  <a:gd name="connsiteX153" fmla="*/ 1161 w 5072"/>
                  <a:gd name="connsiteY153" fmla="*/ 415 h 1064"/>
                  <a:gd name="connsiteX154" fmla="*/ 1202 w 5072"/>
                  <a:gd name="connsiteY154" fmla="*/ 357 h 1064"/>
                  <a:gd name="connsiteX155" fmla="*/ 1245 w 5072"/>
                  <a:gd name="connsiteY155" fmla="*/ 299 h 1064"/>
                  <a:gd name="connsiteX156" fmla="*/ 1291 w 5072"/>
                  <a:gd name="connsiteY156" fmla="*/ 245 h 1064"/>
                  <a:gd name="connsiteX157" fmla="*/ 1338 w 5072"/>
                  <a:gd name="connsiteY157" fmla="*/ 193 h 1064"/>
                  <a:gd name="connsiteX158" fmla="*/ 1392 w 5072"/>
                  <a:gd name="connsiteY158" fmla="*/ 145 h 1064"/>
                  <a:gd name="connsiteX159" fmla="*/ 1447 w 5072"/>
                  <a:gd name="connsiteY159" fmla="*/ 104 h 1064"/>
                  <a:gd name="connsiteX160" fmla="*/ 1509 w 5072"/>
                  <a:gd name="connsiteY160" fmla="*/ 69 h 1064"/>
                  <a:gd name="connsiteX161" fmla="*/ 1575 w 5072"/>
                  <a:gd name="connsiteY161" fmla="*/ 40 h 1064"/>
                  <a:gd name="connsiteX162" fmla="*/ 1648 w 5072"/>
                  <a:gd name="connsiteY162" fmla="*/ 19 h 1064"/>
                  <a:gd name="connsiteX163" fmla="*/ 1726 w 5072"/>
                  <a:gd name="connsiteY163" fmla="*/ 6 h 1064"/>
                  <a:gd name="connsiteX164" fmla="*/ 1796 w 5072"/>
                  <a:gd name="connsiteY164" fmla="*/ 4 h 1064"/>
                  <a:gd name="connsiteX165" fmla="*/ 1862 w 5072"/>
                  <a:gd name="connsiteY165" fmla="*/ 13 h 1064"/>
                  <a:gd name="connsiteX166" fmla="*/ 1922 w 5072"/>
                  <a:gd name="connsiteY166" fmla="*/ 27 h 1064"/>
                  <a:gd name="connsiteX167" fmla="*/ 1980 w 5072"/>
                  <a:gd name="connsiteY167" fmla="*/ 50 h 1064"/>
                  <a:gd name="connsiteX168" fmla="*/ 2034 w 5072"/>
                  <a:gd name="connsiteY168" fmla="*/ 81 h 1064"/>
                  <a:gd name="connsiteX169" fmla="*/ 2083 w 5072"/>
                  <a:gd name="connsiteY169" fmla="*/ 116 h 1064"/>
                  <a:gd name="connsiteX170" fmla="*/ 2129 w 5072"/>
                  <a:gd name="connsiteY170" fmla="*/ 158 h 1064"/>
                  <a:gd name="connsiteX171" fmla="*/ 2174 w 5072"/>
                  <a:gd name="connsiteY171" fmla="*/ 203 h 1064"/>
                  <a:gd name="connsiteX172" fmla="*/ 2216 w 5072"/>
                  <a:gd name="connsiteY172" fmla="*/ 251 h 1064"/>
                  <a:gd name="connsiteX173" fmla="*/ 2255 w 5072"/>
                  <a:gd name="connsiteY173" fmla="*/ 303 h 1064"/>
                  <a:gd name="connsiteX174" fmla="*/ 2292 w 5072"/>
                  <a:gd name="connsiteY174" fmla="*/ 357 h 1064"/>
                  <a:gd name="connsiteX175" fmla="*/ 2327 w 5072"/>
                  <a:gd name="connsiteY175" fmla="*/ 413 h 1064"/>
                  <a:gd name="connsiteX176" fmla="*/ 2362 w 5072"/>
                  <a:gd name="connsiteY176" fmla="*/ 467 h 1064"/>
                  <a:gd name="connsiteX177" fmla="*/ 2395 w 5072"/>
                  <a:gd name="connsiteY177" fmla="*/ 523 h 1064"/>
                  <a:gd name="connsiteX178" fmla="*/ 2432 w 5072"/>
                  <a:gd name="connsiteY178" fmla="*/ 585 h 1064"/>
                  <a:gd name="connsiteX179" fmla="*/ 2469 w 5072"/>
                  <a:gd name="connsiteY179" fmla="*/ 643 h 1064"/>
                  <a:gd name="connsiteX180" fmla="*/ 2509 w 5072"/>
                  <a:gd name="connsiteY180" fmla="*/ 701 h 1064"/>
                  <a:gd name="connsiteX181" fmla="*/ 2546 w 5072"/>
                  <a:gd name="connsiteY181" fmla="*/ 755 h 1064"/>
                  <a:gd name="connsiteX182" fmla="*/ 2587 w 5072"/>
                  <a:gd name="connsiteY182" fmla="*/ 805 h 1064"/>
                  <a:gd name="connsiteX183" fmla="*/ 2628 w 5072"/>
                  <a:gd name="connsiteY183" fmla="*/ 848 h 1064"/>
                  <a:gd name="connsiteX184" fmla="*/ 2672 w 5072"/>
                  <a:gd name="connsiteY184" fmla="*/ 886 h 1064"/>
                  <a:gd name="connsiteX185" fmla="*/ 2717 w 5072"/>
                  <a:gd name="connsiteY185" fmla="*/ 917 h 1064"/>
                  <a:gd name="connsiteX186" fmla="*/ 2767 w 5072"/>
                  <a:gd name="connsiteY186" fmla="*/ 940 h 1064"/>
                  <a:gd name="connsiteX187" fmla="*/ 2820 w 5072"/>
                  <a:gd name="connsiteY187" fmla="*/ 952 h 1064"/>
                  <a:gd name="connsiteX188" fmla="*/ 2876 w 5072"/>
                  <a:gd name="connsiteY188" fmla="*/ 956 h 1064"/>
                  <a:gd name="connsiteX189" fmla="*/ 2932 w 5072"/>
                  <a:gd name="connsiteY189" fmla="*/ 950 h 1064"/>
                  <a:gd name="connsiteX190" fmla="*/ 2982 w 5072"/>
                  <a:gd name="connsiteY190" fmla="*/ 935 h 1064"/>
                  <a:gd name="connsiteX191" fmla="*/ 3029 w 5072"/>
                  <a:gd name="connsiteY191" fmla="*/ 915 h 1064"/>
                  <a:gd name="connsiteX192" fmla="*/ 3072 w 5072"/>
                  <a:gd name="connsiteY192" fmla="*/ 884 h 1064"/>
                  <a:gd name="connsiteX193" fmla="*/ 3112 w 5072"/>
                  <a:gd name="connsiteY193" fmla="*/ 848 h 1064"/>
                  <a:gd name="connsiteX194" fmla="*/ 3149 w 5072"/>
                  <a:gd name="connsiteY194" fmla="*/ 807 h 1064"/>
                  <a:gd name="connsiteX195" fmla="*/ 3184 w 5072"/>
                  <a:gd name="connsiteY195" fmla="*/ 759 h 1064"/>
                  <a:gd name="connsiteX196" fmla="*/ 3217 w 5072"/>
                  <a:gd name="connsiteY196" fmla="*/ 709 h 1064"/>
                  <a:gd name="connsiteX197" fmla="*/ 3250 w 5072"/>
                  <a:gd name="connsiteY197" fmla="*/ 655 h 1064"/>
                  <a:gd name="connsiteX198" fmla="*/ 3283 w 5072"/>
                  <a:gd name="connsiteY198" fmla="*/ 597 h 1064"/>
                  <a:gd name="connsiteX199" fmla="*/ 3316 w 5072"/>
                  <a:gd name="connsiteY199" fmla="*/ 537 h 1064"/>
                  <a:gd name="connsiteX200" fmla="*/ 3345 w 5072"/>
                  <a:gd name="connsiteY200" fmla="*/ 483 h 1064"/>
                  <a:gd name="connsiteX201" fmla="*/ 3407 w 5072"/>
                  <a:gd name="connsiteY201" fmla="*/ 375 h 1064"/>
                  <a:gd name="connsiteX202" fmla="*/ 3477 w 5072"/>
                  <a:gd name="connsiteY202" fmla="*/ 272 h 1064"/>
                  <a:gd name="connsiteX203" fmla="*/ 3514 w 5072"/>
                  <a:gd name="connsiteY203" fmla="*/ 224 h 1064"/>
                  <a:gd name="connsiteX204" fmla="*/ 3555 w 5072"/>
                  <a:gd name="connsiteY204" fmla="*/ 178 h 1064"/>
                  <a:gd name="connsiteX205" fmla="*/ 3599 w 5072"/>
                  <a:gd name="connsiteY205" fmla="*/ 137 h 1064"/>
                  <a:gd name="connsiteX206" fmla="*/ 3646 w 5072"/>
                  <a:gd name="connsiteY206" fmla="*/ 100 h 1064"/>
                  <a:gd name="connsiteX207" fmla="*/ 3698 w 5072"/>
                  <a:gd name="connsiteY207" fmla="*/ 66 h 1064"/>
                  <a:gd name="connsiteX208" fmla="*/ 3756 w 5072"/>
                  <a:gd name="connsiteY208" fmla="*/ 40 h 1064"/>
                  <a:gd name="connsiteX209" fmla="*/ 3816 w 5072"/>
                  <a:gd name="connsiteY209" fmla="*/ 19 h 1064"/>
                  <a:gd name="connsiteX210" fmla="*/ 3882 w 5072"/>
                  <a:gd name="connsiteY210" fmla="*/ 6 h 1064"/>
                  <a:gd name="connsiteX211" fmla="*/ 3954 w 5072"/>
                  <a:gd name="connsiteY211" fmla="*/ 0 h 1064"/>
                  <a:gd name="connsiteX0" fmla="*/ 3954 w 5059"/>
                  <a:gd name="connsiteY0" fmla="*/ 0 h 1043"/>
                  <a:gd name="connsiteX1" fmla="*/ 4004 w 5059"/>
                  <a:gd name="connsiteY1" fmla="*/ 0 h 1043"/>
                  <a:gd name="connsiteX2" fmla="*/ 4032 w 5059"/>
                  <a:gd name="connsiteY2" fmla="*/ 4 h 1043"/>
                  <a:gd name="connsiteX3" fmla="*/ 4063 w 5059"/>
                  <a:gd name="connsiteY3" fmla="*/ 13 h 1043"/>
                  <a:gd name="connsiteX4" fmla="*/ 4101 w 5059"/>
                  <a:gd name="connsiteY4" fmla="*/ 23 h 1043"/>
                  <a:gd name="connsiteX5" fmla="*/ 4142 w 5059"/>
                  <a:gd name="connsiteY5" fmla="*/ 40 h 1043"/>
                  <a:gd name="connsiteX6" fmla="*/ 4185 w 5059"/>
                  <a:gd name="connsiteY6" fmla="*/ 60 h 1043"/>
                  <a:gd name="connsiteX7" fmla="*/ 4233 w 5059"/>
                  <a:gd name="connsiteY7" fmla="*/ 89 h 1043"/>
                  <a:gd name="connsiteX8" fmla="*/ 4282 w 5059"/>
                  <a:gd name="connsiteY8" fmla="*/ 125 h 1043"/>
                  <a:gd name="connsiteX9" fmla="*/ 4332 w 5059"/>
                  <a:gd name="connsiteY9" fmla="*/ 170 h 1043"/>
                  <a:gd name="connsiteX10" fmla="*/ 4383 w 5059"/>
                  <a:gd name="connsiteY10" fmla="*/ 224 h 1043"/>
                  <a:gd name="connsiteX11" fmla="*/ 4435 w 5059"/>
                  <a:gd name="connsiteY11" fmla="*/ 286 h 1043"/>
                  <a:gd name="connsiteX12" fmla="*/ 4487 w 5059"/>
                  <a:gd name="connsiteY12" fmla="*/ 361 h 1043"/>
                  <a:gd name="connsiteX13" fmla="*/ 4538 w 5059"/>
                  <a:gd name="connsiteY13" fmla="*/ 448 h 1043"/>
                  <a:gd name="connsiteX14" fmla="*/ 4590 w 5059"/>
                  <a:gd name="connsiteY14" fmla="*/ 548 h 1043"/>
                  <a:gd name="connsiteX15" fmla="*/ 4635 w 5059"/>
                  <a:gd name="connsiteY15" fmla="*/ 633 h 1043"/>
                  <a:gd name="connsiteX16" fmla="*/ 4681 w 5059"/>
                  <a:gd name="connsiteY16" fmla="*/ 705 h 1043"/>
                  <a:gd name="connsiteX17" fmla="*/ 4728 w 5059"/>
                  <a:gd name="connsiteY17" fmla="*/ 767 h 1043"/>
                  <a:gd name="connsiteX18" fmla="*/ 4776 w 5059"/>
                  <a:gd name="connsiteY18" fmla="*/ 819 h 1043"/>
                  <a:gd name="connsiteX19" fmla="*/ 4821 w 5059"/>
                  <a:gd name="connsiteY19" fmla="*/ 863 h 1043"/>
                  <a:gd name="connsiteX20" fmla="*/ 4869 w 5059"/>
                  <a:gd name="connsiteY20" fmla="*/ 898 h 1043"/>
                  <a:gd name="connsiteX21" fmla="*/ 4955 w 5059"/>
                  <a:gd name="connsiteY21" fmla="*/ 948 h 1043"/>
                  <a:gd name="connsiteX22" fmla="*/ 5030 w 5059"/>
                  <a:gd name="connsiteY22" fmla="*/ 973 h 1043"/>
                  <a:gd name="connsiteX23" fmla="*/ 5059 w 5059"/>
                  <a:gd name="connsiteY23" fmla="*/ 981 h 1043"/>
                  <a:gd name="connsiteX24" fmla="*/ 4869 w 5059"/>
                  <a:gd name="connsiteY24" fmla="*/ 1002 h 1043"/>
                  <a:gd name="connsiteX25" fmla="*/ 4819 w 5059"/>
                  <a:gd name="connsiteY25" fmla="*/ 971 h 1043"/>
                  <a:gd name="connsiteX26" fmla="*/ 4767 w 5059"/>
                  <a:gd name="connsiteY26" fmla="*/ 931 h 1043"/>
                  <a:gd name="connsiteX27" fmla="*/ 4716 w 5059"/>
                  <a:gd name="connsiteY27" fmla="*/ 881 h 1043"/>
                  <a:gd name="connsiteX28" fmla="*/ 4662 w 5059"/>
                  <a:gd name="connsiteY28" fmla="*/ 823 h 1043"/>
                  <a:gd name="connsiteX29" fmla="*/ 4611 w 5059"/>
                  <a:gd name="connsiteY29" fmla="*/ 755 h 1043"/>
                  <a:gd name="connsiteX30" fmla="*/ 4561 w 5059"/>
                  <a:gd name="connsiteY30" fmla="*/ 676 h 1043"/>
                  <a:gd name="connsiteX31" fmla="*/ 4513 w 5059"/>
                  <a:gd name="connsiteY31" fmla="*/ 583 h 1043"/>
                  <a:gd name="connsiteX32" fmla="*/ 4464 w 5059"/>
                  <a:gd name="connsiteY32" fmla="*/ 487 h 1043"/>
                  <a:gd name="connsiteX33" fmla="*/ 4414 w 5059"/>
                  <a:gd name="connsiteY33" fmla="*/ 404 h 1043"/>
                  <a:gd name="connsiteX34" fmla="*/ 4365 w 5059"/>
                  <a:gd name="connsiteY34" fmla="*/ 336 h 1043"/>
                  <a:gd name="connsiteX35" fmla="*/ 4315 w 5059"/>
                  <a:gd name="connsiteY35" fmla="*/ 276 h 1043"/>
                  <a:gd name="connsiteX36" fmla="*/ 4268 w 5059"/>
                  <a:gd name="connsiteY36" fmla="*/ 228 h 1043"/>
                  <a:gd name="connsiteX37" fmla="*/ 4222 w 5059"/>
                  <a:gd name="connsiteY37" fmla="*/ 189 h 1043"/>
                  <a:gd name="connsiteX38" fmla="*/ 4181 w 5059"/>
                  <a:gd name="connsiteY38" fmla="*/ 158 h 1043"/>
                  <a:gd name="connsiteX39" fmla="*/ 4142 w 5059"/>
                  <a:gd name="connsiteY39" fmla="*/ 135 h 1043"/>
                  <a:gd name="connsiteX40" fmla="*/ 4092 w 5059"/>
                  <a:gd name="connsiteY40" fmla="*/ 112 h 1043"/>
                  <a:gd name="connsiteX41" fmla="*/ 4049 w 5059"/>
                  <a:gd name="connsiteY41" fmla="*/ 98 h 1043"/>
                  <a:gd name="connsiteX42" fmla="*/ 4014 w 5059"/>
                  <a:gd name="connsiteY42" fmla="*/ 89 h 1043"/>
                  <a:gd name="connsiteX43" fmla="*/ 3985 w 5059"/>
                  <a:gd name="connsiteY43" fmla="*/ 87 h 1043"/>
                  <a:gd name="connsiteX44" fmla="*/ 3958 w 5059"/>
                  <a:gd name="connsiteY44" fmla="*/ 87 h 1043"/>
                  <a:gd name="connsiteX45" fmla="*/ 3892 w 5059"/>
                  <a:gd name="connsiteY45" fmla="*/ 93 h 1043"/>
                  <a:gd name="connsiteX46" fmla="*/ 3830 w 5059"/>
                  <a:gd name="connsiteY46" fmla="*/ 106 h 1043"/>
                  <a:gd name="connsiteX47" fmla="*/ 3774 w 5059"/>
                  <a:gd name="connsiteY47" fmla="*/ 127 h 1043"/>
                  <a:gd name="connsiteX48" fmla="*/ 3723 w 5059"/>
                  <a:gd name="connsiteY48" fmla="*/ 154 h 1043"/>
                  <a:gd name="connsiteX49" fmla="*/ 3675 w 5059"/>
                  <a:gd name="connsiteY49" fmla="*/ 187 h 1043"/>
                  <a:gd name="connsiteX50" fmla="*/ 3632 w 5059"/>
                  <a:gd name="connsiteY50" fmla="*/ 224 h 1043"/>
                  <a:gd name="connsiteX51" fmla="*/ 3593 w 5059"/>
                  <a:gd name="connsiteY51" fmla="*/ 268 h 1043"/>
                  <a:gd name="connsiteX52" fmla="*/ 3553 w 5059"/>
                  <a:gd name="connsiteY52" fmla="*/ 313 h 1043"/>
                  <a:gd name="connsiteX53" fmla="*/ 3518 w 5059"/>
                  <a:gd name="connsiteY53" fmla="*/ 363 h 1043"/>
                  <a:gd name="connsiteX54" fmla="*/ 3485 w 5059"/>
                  <a:gd name="connsiteY54" fmla="*/ 415 h 1043"/>
                  <a:gd name="connsiteX55" fmla="*/ 3423 w 5059"/>
                  <a:gd name="connsiteY55" fmla="*/ 523 h 1043"/>
                  <a:gd name="connsiteX56" fmla="*/ 3330 w 5059"/>
                  <a:gd name="connsiteY56" fmla="*/ 691 h 1043"/>
                  <a:gd name="connsiteX57" fmla="*/ 3297 w 5059"/>
                  <a:gd name="connsiteY57" fmla="*/ 747 h 1043"/>
                  <a:gd name="connsiteX58" fmla="*/ 3262 w 5059"/>
                  <a:gd name="connsiteY58" fmla="*/ 799 h 1043"/>
                  <a:gd name="connsiteX59" fmla="*/ 3227 w 5059"/>
                  <a:gd name="connsiteY59" fmla="*/ 848 h 1043"/>
                  <a:gd name="connsiteX60" fmla="*/ 3188 w 5059"/>
                  <a:gd name="connsiteY60" fmla="*/ 894 h 1043"/>
                  <a:gd name="connsiteX61" fmla="*/ 3147 w 5059"/>
                  <a:gd name="connsiteY61" fmla="*/ 935 h 1043"/>
                  <a:gd name="connsiteX62" fmla="*/ 3101 w 5059"/>
                  <a:gd name="connsiteY62" fmla="*/ 971 h 1043"/>
                  <a:gd name="connsiteX63" fmla="*/ 3052 w 5059"/>
                  <a:gd name="connsiteY63" fmla="*/ 1000 h 1043"/>
                  <a:gd name="connsiteX64" fmla="*/ 3000 w 5059"/>
                  <a:gd name="connsiteY64" fmla="*/ 1022 h 1043"/>
                  <a:gd name="connsiteX65" fmla="*/ 2942 w 5059"/>
                  <a:gd name="connsiteY65" fmla="*/ 1037 h 1043"/>
                  <a:gd name="connsiteX66" fmla="*/ 2878 w 5059"/>
                  <a:gd name="connsiteY66" fmla="*/ 1043 h 1043"/>
                  <a:gd name="connsiteX67" fmla="*/ 2870 w 5059"/>
                  <a:gd name="connsiteY67" fmla="*/ 1043 h 1043"/>
                  <a:gd name="connsiteX68" fmla="*/ 2808 w 5059"/>
                  <a:gd name="connsiteY68" fmla="*/ 1039 h 1043"/>
                  <a:gd name="connsiteX69" fmla="*/ 2748 w 5059"/>
                  <a:gd name="connsiteY69" fmla="*/ 1025 h 1043"/>
                  <a:gd name="connsiteX70" fmla="*/ 2695 w 5059"/>
                  <a:gd name="connsiteY70" fmla="*/ 1002 h 1043"/>
                  <a:gd name="connsiteX71" fmla="*/ 2643 w 5059"/>
                  <a:gd name="connsiteY71" fmla="*/ 973 h 1043"/>
                  <a:gd name="connsiteX72" fmla="*/ 2595 w 5059"/>
                  <a:gd name="connsiteY72" fmla="*/ 935 h 1043"/>
                  <a:gd name="connsiteX73" fmla="*/ 2552 w 5059"/>
                  <a:gd name="connsiteY73" fmla="*/ 894 h 1043"/>
                  <a:gd name="connsiteX74" fmla="*/ 2509 w 5059"/>
                  <a:gd name="connsiteY74" fmla="*/ 846 h 1043"/>
                  <a:gd name="connsiteX75" fmla="*/ 2469 w 5059"/>
                  <a:gd name="connsiteY75" fmla="*/ 796 h 1043"/>
                  <a:gd name="connsiteX76" fmla="*/ 2430 w 5059"/>
                  <a:gd name="connsiteY76" fmla="*/ 740 h 1043"/>
                  <a:gd name="connsiteX77" fmla="*/ 2393 w 5059"/>
                  <a:gd name="connsiteY77" fmla="*/ 684 h 1043"/>
                  <a:gd name="connsiteX78" fmla="*/ 2288 w 5059"/>
                  <a:gd name="connsiteY78" fmla="*/ 510 h 1043"/>
                  <a:gd name="connsiteX79" fmla="*/ 2251 w 5059"/>
                  <a:gd name="connsiteY79" fmla="*/ 452 h 1043"/>
                  <a:gd name="connsiteX80" fmla="*/ 2213 w 5059"/>
                  <a:gd name="connsiteY80" fmla="*/ 396 h 1043"/>
                  <a:gd name="connsiteX81" fmla="*/ 2176 w 5059"/>
                  <a:gd name="connsiteY81" fmla="*/ 342 h 1043"/>
                  <a:gd name="connsiteX82" fmla="*/ 2137 w 5059"/>
                  <a:gd name="connsiteY82" fmla="*/ 293 h 1043"/>
                  <a:gd name="connsiteX83" fmla="*/ 2096 w 5059"/>
                  <a:gd name="connsiteY83" fmla="*/ 247 h 1043"/>
                  <a:gd name="connsiteX84" fmla="*/ 2054 w 5059"/>
                  <a:gd name="connsiteY84" fmla="*/ 205 h 1043"/>
                  <a:gd name="connsiteX85" fmla="*/ 2009 w 5059"/>
                  <a:gd name="connsiteY85" fmla="*/ 168 h 1043"/>
                  <a:gd name="connsiteX86" fmla="*/ 1962 w 5059"/>
                  <a:gd name="connsiteY86" fmla="*/ 139 h 1043"/>
                  <a:gd name="connsiteX87" fmla="*/ 1910 w 5059"/>
                  <a:gd name="connsiteY87" fmla="*/ 116 h 1043"/>
                  <a:gd name="connsiteX88" fmla="*/ 1854 w 5059"/>
                  <a:gd name="connsiteY88" fmla="*/ 100 h 1043"/>
                  <a:gd name="connsiteX89" fmla="*/ 1796 w 5059"/>
                  <a:gd name="connsiteY89" fmla="*/ 91 h 1043"/>
                  <a:gd name="connsiteX90" fmla="*/ 1732 w 5059"/>
                  <a:gd name="connsiteY90" fmla="*/ 93 h 1043"/>
                  <a:gd name="connsiteX91" fmla="*/ 1664 w 5059"/>
                  <a:gd name="connsiteY91" fmla="*/ 104 h 1043"/>
                  <a:gd name="connsiteX92" fmla="*/ 1602 w 5059"/>
                  <a:gd name="connsiteY92" fmla="*/ 122 h 1043"/>
                  <a:gd name="connsiteX93" fmla="*/ 1545 w 5059"/>
                  <a:gd name="connsiteY93" fmla="*/ 147 h 1043"/>
                  <a:gd name="connsiteX94" fmla="*/ 1491 w 5059"/>
                  <a:gd name="connsiteY94" fmla="*/ 181 h 1043"/>
                  <a:gd name="connsiteX95" fmla="*/ 1439 w 5059"/>
                  <a:gd name="connsiteY95" fmla="*/ 218 h 1043"/>
                  <a:gd name="connsiteX96" fmla="*/ 1394 w 5059"/>
                  <a:gd name="connsiteY96" fmla="*/ 261 h 1043"/>
                  <a:gd name="connsiteX97" fmla="*/ 1348 w 5059"/>
                  <a:gd name="connsiteY97" fmla="*/ 307 h 1043"/>
                  <a:gd name="connsiteX98" fmla="*/ 1307 w 5059"/>
                  <a:gd name="connsiteY98" fmla="*/ 359 h 1043"/>
                  <a:gd name="connsiteX99" fmla="*/ 1268 w 5059"/>
                  <a:gd name="connsiteY99" fmla="*/ 413 h 1043"/>
                  <a:gd name="connsiteX100" fmla="*/ 1231 w 5059"/>
                  <a:gd name="connsiteY100" fmla="*/ 467 h 1043"/>
                  <a:gd name="connsiteX101" fmla="*/ 1194 w 5059"/>
                  <a:gd name="connsiteY101" fmla="*/ 523 h 1043"/>
                  <a:gd name="connsiteX102" fmla="*/ 1156 w 5059"/>
                  <a:gd name="connsiteY102" fmla="*/ 581 h 1043"/>
                  <a:gd name="connsiteX103" fmla="*/ 1121 w 5059"/>
                  <a:gd name="connsiteY103" fmla="*/ 637 h 1043"/>
                  <a:gd name="connsiteX104" fmla="*/ 1047 w 5059"/>
                  <a:gd name="connsiteY104" fmla="*/ 749 h 1043"/>
                  <a:gd name="connsiteX105" fmla="*/ 1008 w 5059"/>
                  <a:gd name="connsiteY105" fmla="*/ 801 h 1043"/>
                  <a:gd name="connsiteX106" fmla="*/ 966 w 5059"/>
                  <a:gd name="connsiteY106" fmla="*/ 850 h 1043"/>
                  <a:gd name="connsiteX107" fmla="*/ 923 w 5059"/>
                  <a:gd name="connsiteY107" fmla="*/ 896 h 1043"/>
                  <a:gd name="connsiteX108" fmla="*/ 876 w 5059"/>
                  <a:gd name="connsiteY108" fmla="*/ 937 h 1043"/>
                  <a:gd name="connsiteX109" fmla="*/ 826 w 5059"/>
                  <a:gd name="connsiteY109" fmla="*/ 973 h 1043"/>
                  <a:gd name="connsiteX110" fmla="*/ 772 w 5059"/>
                  <a:gd name="connsiteY110" fmla="*/ 1002 h 1043"/>
                  <a:gd name="connsiteX111" fmla="*/ 717 w 5059"/>
                  <a:gd name="connsiteY111" fmla="*/ 1025 h 1043"/>
                  <a:gd name="connsiteX112" fmla="*/ 653 w 5059"/>
                  <a:gd name="connsiteY112" fmla="*/ 1037 h 1043"/>
                  <a:gd name="connsiteX113" fmla="*/ 587 w 5059"/>
                  <a:gd name="connsiteY113" fmla="*/ 1043 h 1043"/>
                  <a:gd name="connsiteX114" fmla="*/ 580 w 5059"/>
                  <a:gd name="connsiteY114" fmla="*/ 1043 h 1043"/>
                  <a:gd name="connsiteX115" fmla="*/ 512 w 5059"/>
                  <a:gd name="connsiteY115" fmla="*/ 1039 h 1043"/>
                  <a:gd name="connsiteX116" fmla="*/ 450 w 5059"/>
                  <a:gd name="connsiteY116" fmla="*/ 1027 h 1043"/>
                  <a:gd name="connsiteX117" fmla="*/ 392 w 5059"/>
                  <a:gd name="connsiteY117" fmla="*/ 1008 h 1043"/>
                  <a:gd name="connsiteX118" fmla="*/ 341 w 5059"/>
                  <a:gd name="connsiteY118" fmla="*/ 983 h 1043"/>
                  <a:gd name="connsiteX119" fmla="*/ 293 w 5059"/>
                  <a:gd name="connsiteY119" fmla="*/ 952 h 1043"/>
                  <a:gd name="connsiteX120" fmla="*/ 248 w 5059"/>
                  <a:gd name="connsiteY120" fmla="*/ 915 h 1043"/>
                  <a:gd name="connsiteX121" fmla="*/ 207 w 5059"/>
                  <a:gd name="connsiteY121" fmla="*/ 873 h 1043"/>
                  <a:gd name="connsiteX122" fmla="*/ 169 w 5059"/>
                  <a:gd name="connsiteY122" fmla="*/ 828 h 1043"/>
                  <a:gd name="connsiteX123" fmla="*/ 132 w 5059"/>
                  <a:gd name="connsiteY123" fmla="*/ 780 h 1043"/>
                  <a:gd name="connsiteX124" fmla="*/ 99 w 5059"/>
                  <a:gd name="connsiteY124" fmla="*/ 728 h 1043"/>
                  <a:gd name="connsiteX125" fmla="*/ 64 w 5059"/>
                  <a:gd name="connsiteY125" fmla="*/ 674 h 1043"/>
                  <a:gd name="connsiteX126" fmla="*/ 33 w 5059"/>
                  <a:gd name="connsiteY126" fmla="*/ 618 h 1043"/>
                  <a:gd name="connsiteX127" fmla="*/ 0 w 5059"/>
                  <a:gd name="connsiteY127" fmla="*/ 560 h 1043"/>
                  <a:gd name="connsiteX128" fmla="*/ 77 w 5059"/>
                  <a:gd name="connsiteY128" fmla="*/ 516 h 1043"/>
                  <a:gd name="connsiteX129" fmla="*/ 110 w 5059"/>
                  <a:gd name="connsiteY129" fmla="*/ 575 h 1043"/>
                  <a:gd name="connsiteX130" fmla="*/ 143 w 5059"/>
                  <a:gd name="connsiteY130" fmla="*/ 631 h 1043"/>
                  <a:gd name="connsiteX131" fmla="*/ 176 w 5059"/>
                  <a:gd name="connsiteY131" fmla="*/ 684 h 1043"/>
                  <a:gd name="connsiteX132" fmla="*/ 209 w 5059"/>
                  <a:gd name="connsiteY132" fmla="*/ 736 h 1043"/>
                  <a:gd name="connsiteX133" fmla="*/ 244 w 5059"/>
                  <a:gd name="connsiteY133" fmla="*/ 782 h 1043"/>
                  <a:gd name="connsiteX134" fmla="*/ 281 w 5059"/>
                  <a:gd name="connsiteY134" fmla="*/ 825 h 1043"/>
                  <a:gd name="connsiteX135" fmla="*/ 322 w 5059"/>
                  <a:gd name="connsiteY135" fmla="*/ 863 h 1043"/>
                  <a:gd name="connsiteX136" fmla="*/ 366 w 5059"/>
                  <a:gd name="connsiteY136" fmla="*/ 894 h 1043"/>
                  <a:gd name="connsiteX137" fmla="*/ 413 w 5059"/>
                  <a:gd name="connsiteY137" fmla="*/ 921 h 1043"/>
                  <a:gd name="connsiteX138" fmla="*/ 463 w 5059"/>
                  <a:gd name="connsiteY138" fmla="*/ 940 h 1043"/>
                  <a:gd name="connsiteX139" fmla="*/ 518 w 5059"/>
                  <a:gd name="connsiteY139" fmla="*/ 952 h 1043"/>
                  <a:gd name="connsiteX140" fmla="*/ 580 w 5059"/>
                  <a:gd name="connsiteY140" fmla="*/ 956 h 1043"/>
                  <a:gd name="connsiteX141" fmla="*/ 587 w 5059"/>
                  <a:gd name="connsiteY141" fmla="*/ 956 h 1043"/>
                  <a:gd name="connsiteX142" fmla="*/ 646 w 5059"/>
                  <a:gd name="connsiteY142" fmla="*/ 950 h 1043"/>
                  <a:gd name="connsiteX143" fmla="*/ 702 w 5059"/>
                  <a:gd name="connsiteY143" fmla="*/ 935 h 1043"/>
                  <a:gd name="connsiteX144" fmla="*/ 756 w 5059"/>
                  <a:gd name="connsiteY144" fmla="*/ 913 h 1043"/>
                  <a:gd name="connsiteX145" fmla="*/ 803 w 5059"/>
                  <a:gd name="connsiteY145" fmla="*/ 884 h 1043"/>
                  <a:gd name="connsiteX146" fmla="*/ 849 w 5059"/>
                  <a:gd name="connsiteY146" fmla="*/ 846 h 1043"/>
                  <a:gd name="connsiteX147" fmla="*/ 892 w 5059"/>
                  <a:gd name="connsiteY147" fmla="*/ 803 h 1043"/>
                  <a:gd name="connsiteX148" fmla="*/ 931 w 5059"/>
                  <a:gd name="connsiteY148" fmla="*/ 755 h 1043"/>
                  <a:gd name="connsiteX149" fmla="*/ 971 w 5059"/>
                  <a:gd name="connsiteY149" fmla="*/ 703 h 1043"/>
                  <a:gd name="connsiteX150" fmla="*/ 1010 w 5059"/>
                  <a:gd name="connsiteY150" fmla="*/ 649 h 1043"/>
                  <a:gd name="connsiteX151" fmla="*/ 1121 w 5059"/>
                  <a:gd name="connsiteY151" fmla="*/ 475 h 1043"/>
                  <a:gd name="connsiteX152" fmla="*/ 1161 w 5059"/>
                  <a:gd name="connsiteY152" fmla="*/ 415 h 1043"/>
                  <a:gd name="connsiteX153" fmla="*/ 1202 w 5059"/>
                  <a:gd name="connsiteY153" fmla="*/ 357 h 1043"/>
                  <a:gd name="connsiteX154" fmla="*/ 1245 w 5059"/>
                  <a:gd name="connsiteY154" fmla="*/ 299 h 1043"/>
                  <a:gd name="connsiteX155" fmla="*/ 1291 w 5059"/>
                  <a:gd name="connsiteY155" fmla="*/ 245 h 1043"/>
                  <a:gd name="connsiteX156" fmla="*/ 1338 w 5059"/>
                  <a:gd name="connsiteY156" fmla="*/ 193 h 1043"/>
                  <a:gd name="connsiteX157" fmla="*/ 1392 w 5059"/>
                  <a:gd name="connsiteY157" fmla="*/ 145 h 1043"/>
                  <a:gd name="connsiteX158" fmla="*/ 1447 w 5059"/>
                  <a:gd name="connsiteY158" fmla="*/ 104 h 1043"/>
                  <a:gd name="connsiteX159" fmla="*/ 1509 w 5059"/>
                  <a:gd name="connsiteY159" fmla="*/ 69 h 1043"/>
                  <a:gd name="connsiteX160" fmla="*/ 1575 w 5059"/>
                  <a:gd name="connsiteY160" fmla="*/ 40 h 1043"/>
                  <a:gd name="connsiteX161" fmla="*/ 1648 w 5059"/>
                  <a:gd name="connsiteY161" fmla="*/ 19 h 1043"/>
                  <a:gd name="connsiteX162" fmla="*/ 1726 w 5059"/>
                  <a:gd name="connsiteY162" fmla="*/ 6 h 1043"/>
                  <a:gd name="connsiteX163" fmla="*/ 1796 w 5059"/>
                  <a:gd name="connsiteY163" fmla="*/ 4 h 1043"/>
                  <a:gd name="connsiteX164" fmla="*/ 1862 w 5059"/>
                  <a:gd name="connsiteY164" fmla="*/ 13 h 1043"/>
                  <a:gd name="connsiteX165" fmla="*/ 1922 w 5059"/>
                  <a:gd name="connsiteY165" fmla="*/ 27 h 1043"/>
                  <a:gd name="connsiteX166" fmla="*/ 1980 w 5059"/>
                  <a:gd name="connsiteY166" fmla="*/ 50 h 1043"/>
                  <a:gd name="connsiteX167" fmla="*/ 2034 w 5059"/>
                  <a:gd name="connsiteY167" fmla="*/ 81 h 1043"/>
                  <a:gd name="connsiteX168" fmla="*/ 2083 w 5059"/>
                  <a:gd name="connsiteY168" fmla="*/ 116 h 1043"/>
                  <a:gd name="connsiteX169" fmla="*/ 2129 w 5059"/>
                  <a:gd name="connsiteY169" fmla="*/ 158 h 1043"/>
                  <a:gd name="connsiteX170" fmla="*/ 2174 w 5059"/>
                  <a:gd name="connsiteY170" fmla="*/ 203 h 1043"/>
                  <a:gd name="connsiteX171" fmla="*/ 2216 w 5059"/>
                  <a:gd name="connsiteY171" fmla="*/ 251 h 1043"/>
                  <a:gd name="connsiteX172" fmla="*/ 2255 w 5059"/>
                  <a:gd name="connsiteY172" fmla="*/ 303 h 1043"/>
                  <a:gd name="connsiteX173" fmla="*/ 2292 w 5059"/>
                  <a:gd name="connsiteY173" fmla="*/ 357 h 1043"/>
                  <a:gd name="connsiteX174" fmla="*/ 2327 w 5059"/>
                  <a:gd name="connsiteY174" fmla="*/ 413 h 1043"/>
                  <a:gd name="connsiteX175" fmla="*/ 2362 w 5059"/>
                  <a:gd name="connsiteY175" fmla="*/ 467 h 1043"/>
                  <a:gd name="connsiteX176" fmla="*/ 2395 w 5059"/>
                  <a:gd name="connsiteY176" fmla="*/ 523 h 1043"/>
                  <a:gd name="connsiteX177" fmla="*/ 2432 w 5059"/>
                  <a:gd name="connsiteY177" fmla="*/ 585 h 1043"/>
                  <a:gd name="connsiteX178" fmla="*/ 2469 w 5059"/>
                  <a:gd name="connsiteY178" fmla="*/ 643 h 1043"/>
                  <a:gd name="connsiteX179" fmla="*/ 2509 w 5059"/>
                  <a:gd name="connsiteY179" fmla="*/ 701 h 1043"/>
                  <a:gd name="connsiteX180" fmla="*/ 2546 w 5059"/>
                  <a:gd name="connsiteY180" fmla="*/ 755 h 1043"/>
                  <a:gd name="connsiteX181" fmla="*/ 2587 w 5059"/>
                  <a:gd name="connsiteY181" fmla="*/ 805 h 1043"/>
                  <a:gd name="connsiteX182" fmla="*/ 2628 w 5059"/>
                  <a:gd name="connsiteY182" fmla="*/ 848 h 1043"/>
                  <a:gd name="connsiteX183" fmla="*/ 2672 w 5059"/>
                  <a:gd name="connsiteY183" fmla="*/ 886 h 1043"/>
                  <a:gd name="connsiteX184" fmla="*/ 2717 w 5059"/>
                  <a:gd name="connsiteY184" fmla="*/ 917 h 1043"/>
                  <a:gd name="connsiteX185" fmla="*/ 2767 w 5059"/>
                  <a:gd name="connsiteY185" fmla="*/ 940 h 1043"/>
                  <a:gd name="connsiteX186" fmla="*/ 2820 w 5059"/>
                  <a:gd name="connsiteY186" fmla="*/ 952 h 1043"/>
                  <a:gd name="connsiteX187" fmla="*/ 2876 w 5059"/>
                  <a:gd name="connsiteY187" fmla="*/ 956 h 1043"/>
                  <a:gd name="connsiteX188" fmla="*/ 2932 w 5059"/>
                  <a:gd name="connsiteY188" fmla="*/ 950 h 1043"/>
                  <a:gd name="connsiteX189" fmla="*/ 2982 w 5059"/>
                  <a:gd name="connsiteY189" fmla="*/ 935 h 1043"/>
                  <a:gd name="connsiteX190" fmla="*/ 3029 w 5059"/>
                  <a:gd name="connsiteY190" fmla="*/ 915 h 1043"/>
                  <a:gd name="connsiteX191" fmla="*/ 3072 w 5059"/>
                  <a:gd name="connsiteY191" fmla="*/ 884 h 1043"/>
                  <a:gd name="connsiteX192" fmla="*/ 3112 w 5059"/>
                  <a:gd name="connsiteY192" fmla="*/ 848 h 1043"/>
                  <a:gd name="connsiteX193" fmla="*/ 3149 w 5059"/>
                  <a:gd name="connsiteY193" fmla="*/ 807 h 1043"/>
                  <a:gd name="connsiteX194" fmla="*/ 3184 w 5059"/>
                  <a:gd name="connsiteY194" fmla="*/ 759 h 1043"/>
                  <a:gd name="connsiteX195" fmla="*/ 3217 w 5059"/>
                  <a:gd name="connsiteY195" fmla="*/ 709 h 1043"/>
                  <a:gd name="connsiteX196" fmla="*/ 3250 w 5059"/>
                  <a:gd name="connsiteY196" fmla="*/ 655 h 1043"/>
                  <a:gd name="connsiteX197" fmla="*/ 3283 w 5059"/>
                  <a:gd name="connsiteY197" fmla="*/ 597 h 1043"/>
                  <a:gd name="connsiteX198" fmla="*/ 3316 w 5059"/>
                  <a:gd name="connsiteY198" fmla="*/ 537 h 1043"/>
                  <a:gd name="connsiteX199" fmla="*/ 3345 w 5059"/>
                  <a:gd name="connsiteY199" fmla="*/ 483 h 1043"/>
                  <a:gd name="connsiteX200" fmla="*/ 3407 w 5059"/>
                  <a:gd name="connsiteY200" fmla="*/ 375 h 1043"/>
                  <a:gd name="connsiteX201" fmla="*/ 3477 w 5059"/>
                  <a:gd name="connsiteY201" fmla="*/ 272 h 1043"/>
                  <a:gd name="connsiteX202" fmla="*/ 3514 w 5059"/>
                  <a:gd name="connsiteY202" fmla="*/ 224 h 1043"/>
                  <a:gd name="connsiteX203" fmla="*/ 3555 w 5059"/>
                  <a:gd name="connsiteY203" fmla="*/ 178 h 1043"/>
                  <a:gd name="connsiteX204" fmla="*/ 3599 w 5059"/>
                  <a:gd name="connsiteY204" fmla="*/ 137 h 1043"/>
                  <a:gd name="connsiteX205" fmla="*/ 3646 w 5059"/>
                  <a:gd name="connsiteY205" fmla="*/ 100 h 1043"/>
                  <a:gd name="connsiteX206" fmla="*/ 3698 w 5059"/>
                  <a:gd name="connsiteY206" fmla="*/ 66 h 1043"/>
                  <a:gd name="connsiteX207" fmla="*/ 3756 w 5059"/>
                  <a:gd name="connsiteY207" fmla="*/ 40 h 1043"/>
                  <a:gd name="connsiteX208" fmla="*/ 3816 w 5059"/>
                  <a:gd name="connsiteY208" fmla="*/ 19 h 1043"/>
                  <a:gd name="connsiteX209" fmla="*/ 3882 w 5059"/>
                  <a:gd name="connsiteY209" fmla="*/ 6 h 1043"/>
                  <a:gd name="connsiteX210" fmla="*/ 3954 w 5059"/>
                  <a:gd name="connsiteY210" fmla="*/ 0 h 1043"/>
                  <a:gd name="connsiteX0" fmla="*/ 3954 w 5059"/>
                  <a:gd name="connsiteY0" fmla="*/ 0 h 1043"/>
                  <a:gd name="connsiteX1" fmla="*/ 4004 w 5059"/>
                  <a:gd name="connsiteY1" fmla="*/ 0 h 1043"/>
                  <a:gd name="connsiteX2" fmla="*/ 4032 w 5059"/>
                  <a:gd name="connsiteY2" fmla="*/ 4 h 1043"/>
                  <a:gd name="connsiteX3" fmla="*/ 4063 w 5059"/>
                  <a:gd name="connsiteY3" fmla="*/ 13 h 1043"/>
                  <a:gd name="connsiteX4" fmla="*/ 4101 w 5059"/>
                  <a:gd name="connsiteY4" fmla="*/ 23 h 1043"/>
                  <a:gd name="connsiteX5" fmla="*/ 4142 w 5059"/>
                  <a:gd name="connsiteY5" fmla="*/ 40 h 1043"/>
                  <a:gd name="connsiteX6" fmla="*/ 4185 w 5059"/>
                  <a:gd name="connsiteY6" fmla="*/ 60 h 1043"/>
                  <a:gd name="connsiteX7" fmla="*/ 4233 w 5059"/>
                  <a:gd name="connsiteY7" fmla="*/ 89 h 1043"/>
                  <a:gd name="connsiteX8" fmla="*/ 4282 w 5059"/>
                  <a:gd name="connsiteY8" fmla="*/ 125 h 1043"/>
                  <a:gd name="connsiteX9" fmla="*/ 4332 w 5059"/>
                  <a:gd name="connsiteY9" fmla="*/ 170 h 1043"/>
                  <a:gd name="connsiteX10" fmla="*/ 4383 w 5059"/>
                  <a:gd name="connsiteY10" fmla="*/ 224 h 1043"/>
                  <a:gd name="connsiteX11" fmla="*/ 4435 w 5059"/>
                  <a:gd name="connsiteY11" fmla="*/ 286 h 1043"/>
                  <a:gd name="connsiteX12" fmla="*/ 4487 w 5059"/>
                  <a:gd name="connsiteY12" fmla="*/ 361 h 1043"/>
                  <a:gd name="connsiteX13" fmla="*/ 4538 w 5059"/>
                  <a:gd name="connsiteY13" fmla="*/ 448 h 1043"/>
                  <a:gd name="connsiteX14" fmla="*/ 4590 w 5059"/>
                  <a:gd name="connsiteY14" fmla="*/ 548 h 1043"/>
                  <a:gd name="connsiteX15" fmla="*/ 4635 w 5059"/>
                  <a:gd name="connsiteY15" fmla="*/ 633 h 1043"/>
                  <a:gd name="connsiteX16" fmla="*/ 4681 w 5059"/>
                  <a:gd name="connsiteY16" fmla="*/ 705 h 1043"/>
                  <a:gd name="connsiteX17" fmla="*/ 4728 w 5059"/>
                  <a:gd name="connsiteY17" fmla="*/ 767 h 1043"/>
                  <a:gd name="connsiteX18" fmla="*/ 4776 w 5059"/>
                  <a:gd name="connsiteY18" fmla="*/ 819 h 1043"/>
                  <a:gd name="connsiteX19" fmla="*/ 4821 w 5059"/>
                  <a:gd name="connsiteY19" fmla="*/ 863 h 1043"/>
                  <a:gd name="connsiteX20" fmla="*/ 4869 w 5059"/>
                  <a:gd name="connsiteY20" fmla="*/ 898 h 1043"/>
                  <a:gd name="connsiteX21" fmla="*/ 4955 w 5059"/>
                  <a:gd name="connsiteY21" fmla="*/ 948 h 1043"/>
                  <a:gd name="connsiteX22" fmla="*/ 5030 w 5059"/>
                  <a:gd name="connsiteY22" fmla="*/ 973 h 1043"/>
                  <a:gd name="connsiteX23" fmla="*/ 5059 w 5059"/>
                  <a:gd name="connsiteY23" fmla="*/ 981 h 1043"/>
                  <a:gd name="connsiteX24" fmla="*/ 4869 w 5059"/>
                  <a:gd name="connsiteY24" fmla="*/ 1002 h 1043"/>
                  <a:gd name="connsiteX25" fmla="*/ 4767 w 5059"/>
                  <a:gd name="connsiteY25" fmla="*/ 931 h 1043"/>
                  <a:gd name="connsiteX26" fmla="*/ 4716 w 5059"/>
                  <a:gd name="connsiteY26" fmla="*/ 881 h 1043"/>
                  <a:gd name="connsiteX27" fmla="*/ 4662 w 5059"/>
                  <a:gd name="connsiteY27" fmla="*/ 823 h 1043"/>
                  <a:gd name="connsiteX28" fmla="*/ 4611 w 5059"/>
                  <a:gd name="connsiteY28" fmla="*/ 755 h 1043"/>
                  <a:gd name="connsiteX29" fmla="*/ 4561 w 5059"/>
                  <a:gd name="connsiteY29" fmla="*/ 676 h 1043"/>
                  <a:gd name="connsiteX30" fmla="*/ 4513 w 5059"/>
                  <a:gd name="connsiteY30" fmla="*/ 583 h 1043"/>
                  <a:gd name="connsiteX31" fmla="*/ 4464 w 5059"/>
                  <a:gd name="connsiteY31" fmla="*/ 487 h 1043"/>
                  <a:gd name="connsiteX32" fmla="*/ 4414 w 5059"/>
                  <a:gd name="connsiteY32" fmla="*/ 404 h 1043"/>
                  <a:gd name="connsiteX33" fmla="*/ 4365 w 5059"/>
                  <a:gd name="connsiteY33" fmla="*/ 336 h 1043"/>
                  <a:gd name="connsiteX34" fmla="*/ 4315 w 5059"/>
                  <a:gd name="connsiteY34" fmla="*/ 276 h 1043"/>
                  <a:gd name="connsiteX35" fmla="*/ 4268 w 5059"/>
                  <a:gd name="connsiteY35" fmla="*/ 228 h 1043"/>
                  <a:gd name="connsiteX36" fmla="*/ 4222 w 5059"/>
                  <a:gd name="connsiteY36" fmla="*/ 189 h 1043"/>
                  <a:gd name="connsiteX37" fmla="*/ 4181 w 5059"/>
                  <a:gd name="connsiteY37" fmla="*/ 158 h 1043"/>
                  <a:gd name="connsiteX38" fmla="*/ 4142 w 5059"/>
                  <a:gd name="connsiteY38" fmla="*/ 135 h 1043"/>
                  <a:gd name="connsiteX39" fmla="*/ 4092 w 5059"/>
                  <a:gd name="connsiteY39" fmla="*/ 112 h 1043"/>
                  <a:gd name="connsiteX40" fmla="*/ 4049 w 5059"/>
                  <a:gd name="connsiteY40" fmla="*/ 98 h 1043"/>
                  <a:gd name="connsiteX41" fmla="*/ 4014 w 5059"/>
                  <a:gd name="connsiteY41" fmla="*/ 89 h 1043"/>
                  <a:gd name="connsiteX42" fmla="*/ 3985 w 5059"/>
                  <a:gd name="connsiteY42" fmla="*/ 87 h 1043"/>
                  <a:gd name="connsiteX43" fmla="*/ 3958 w 5059"/>
                  <a:gd name="connsiteY43" fmla="*/ 87 h 1043"/>
                  <a:gd name="connsiteX44" fmla="*/ 3892 w 5059"/>
                  <a:gd name="connsiteY44" fmla="*/ 93 h 1043"/>
                  <a:gd name="connsiteX45" fmla="*/ 3830 w 5059"/>
                  <a:gd name="connsiteY45" fmla="*/ 106 h 1043"/>
                  <a:gd name="connsiteX46" fmla="*/ 3774 w 5059"/>
                  <a:gd name="connsiteY46" fmla="*/ 127 h 1043"/>
                  <a:gd name="connsiteX47" fmla="*/ 3723 w 5059"/>
                  <a:gd name="connsiteY47" fmla="*/ 154 h 1043"/>
                  <a:gd name="connsiteX48" fmla="*/ 3675 w 5059"/>
                  <a:gd name="connsiteY48" fmla="*/ 187 h 1043"/>
                  <a:gd name="connsiteX49" fmla="*/ 3632 w 5059"/>
                  <a:gd name="connsiteY49" fmla="*/ 224 h 1043"/>
                  <a:gd name="connsiteX50" fmla="*/ 3593 w 5059"/>
                  <a:gd name="connsiteY50" fmla="*/ 268 h 1043"/>
                  <a:gd name="connsiteX51" fmla="*/ 3553 w 5059"/>
                  <a:gd name="connsiteY51" fmla="*/ 313 h 1043"/>
                  <a:gd name="connsiteX52" fmla="*/ 3518 w 5059"/>
                  <a:gd name="connsiteY52" fmla="*/ 363 h 1043"/>
                  <a:gd name="connsiteX53" fmla="*/ 3485 w 5059"/>
                  <a:gd name="connsiteY53" fmla="*/ 415 h 1043"/>
                  <a:gd name="connsiteX54" fmla="*/ 3423 w 5059"/>
                  <a:gd name="connsiteY54" fmla="*/ 523 h 1043"/>
                  <a:gd name="connsiteX55" fmla="*/ 3330 w 5059"/>
                  <a:gd name="connsiteY55" fmla="*/ 691 h 1043"/>
                  <a:gd name="connsiteX56" fmla="*/ 3297 w 5059"/>
                  <a:gd name="connsiteY56" fmla="*/ 747 h 1043"/>
                  <a:gd name="connsiteX57" fmla="*/ 3262 w 5059"/>
                  <a:gd name="connsiteY57" fmla="*/ 799 h 1043"/>
                  <a:gd name="connsiteX58" fmla="*/ 3227 w 5059"/>
                  <a:gd name="connsiteY58" fmla="*/ 848 h 1043"/>
                  <a:gd name="connsiteX59" fmla="*/ 3188 w 5059"/>
                  <a:gd name="connsiteY59" fmla="*/ 894 h 1043"/>
                  <a:gd name="connsiteX60" fmla="*/ 3147 w 5059"/>
                  <a:gd name="connsiteY60" fmla="*/ 935 h 1043"/>
                  <a:gd name="connsiteX61" fmla="*/ 3101 w 5059"/>
                  <a:gd name="connsiteY61" fmla="*/ 971 h 1043"/>
                  <a:gd name="connsiteX62" fmla="*/ 3052 w 5059"/>
                  <a:gd name="connsiteY62" fmla="*/ 1000 h 1043"/>
                  <a:gd name="connsiteX63" fmla="*/ 3000 w 5059"/>
                  <a:gd name="connsiteY63" fmla="*/ 1022 h 1043"/>
                  <a:gd name="connsiteX64" fmla="*/ 2942 w 5059"/>
                  <a:gd name="connsiteY64" fmla="*/ 1037 h 1043"/>
                  <a:gd name="connsiteX65" fmla="*/ 2878 w 5059"/>
                  <a:gd name="connsiteY65" fmla="*/ 1043 h 1043"/>
                  <a:gd name="connsiteX66" fmla="*/ 2870 w 5059"/>
                  <a:gd name="connsiteY66" fmla="*/ 1043 h 1043"/>
                  <a:gd name="connsiteX67" fmla="*/ 2808 w 5059"/>
                  <a:gd name="connsiteY67" fmla="*/ 1039 h 1043"/>
                  <a:gd name="connsiteX68" fmla="*/ 2748 w 5059"/>
                  <a:gd name="connsiteY68" fmla="*/ 1025 h 1043"/>
                  <a:gd name="connsiteX69" fmla="*/ 2695 w 5059"/>
                  <a:gd name="connsiteY69" fmla="*/ 1002 h 1043"/>
                  <a:gd name="connsiteX70" fmla="*/ 2643 w 5059"/>
                  <a:gd name="connsiteY70" fmla="*/ 973 h 1043"/>
                  <a:gd name="connsiteX71" fmla="*/ 2595 w 5059"/>
                  <a:gd name="connsiteY71" fmla="*/ 935 h 1043"/>
                  <a:gd name="connsiteX72" fmla="*/ 2552 w 5059"/>
                  <a:gd name="connsiteY72" fmla="*/ 894 h 1043"/>
                  <a:gd name="connsiteX73" fmla="*/ 2509 w 5059"/>
                  <a:gd name="connsiteY73" fmla="*/ 846 h 1043"/>
                  <a:gd name="connsiteX74" fmla="*/ 2469 w 5059"/>
                  <a:gd name="connsiteY74" fmla="*/ 796 h 1043"/>
                  <a:gd name="connsiteX75" fmla="*/ 2430 w 5059"/>
                  <a:gd name="connsiteY75" fmla="*/ 740 h 1043"/>
                  <a:gd name="connsiteX76" fmla="*/ 2393 w 5059"/>
                  <a:gd name="connsiteY76" fmla="*/ 684 h 1043"/>
                  <a:gd name="connsiteX77" fmla="*/ 2288 w 5059"/>
                  <a:gd name="connsiteY77" fmla="*/ 510 h 1043"/>
                  <a:gd name="connsiteX78" fmla="*/ 2251 w 5059"/>
                  <a:gd name="connsiteY78" fmla="*/ 452 h 1043"/>
                  <a:gd name="connsiteX79" fmla="*/ 2213 w 5059"/>
                  <a:gd name="connsiteY79" fmla="*/ 396 h 1043"/>
                  <a:gd name="connsiteX80" fmla="*/ 2176 w 5059"/>
                  <a:gd name="connsiteY80" fmla="*/ 342 h 1043"/>
                  <a:gd name="connsiteX81" fmla="*/ 2137 w 5059"/>
                  <a:gd name="connsiteY81" fmla="*/ 293 h 1043"/>
                  <a:gd name="connsiteX82" fmla="*/ 2096 w 5059"/>
                  <a:gd name="connsiteY82" fmla="*/ 247 h 1043"/>
                  <a:gd name="connsiteX83" fmla="*/ 2054 w 5059"/>
                  <a:gd name="connsiteY83" fmla="*/ 205 h 1043"/>
                  <a:gd name="connsiteX84" fmla="*/ 2009 w 5059"/>
                  <a:gd name="connsiteY84" fmla="*/ 168 h 1043"/>
                  <a:gd name="connsiteX85" fmla="*/ 1962 w 5059"/>
                  <a:gd name="connsiteY85" fmla="*/ 139 h 1043"/>
                  <a:gd name="connsiteX86" fmla="*/ 1910 w 5059"/>
                  <a:gd name="connsiteY86" fmla="*/ 116 h 1043"/>
                  <a:gd name="connsiteX87" fmla="*/ 1854 w 5059"/>
                  <a:gd name="connsiteY87" fmla="*/ 100 h 1043"/>
                  <a:gd name="connsiteX88" fmla="*/ 1796 w 5059"/>
                  <a:gd name="connsiteY88" fmla="*/ 91 h 1043"/>
                  <a:gd name="connsiteX89" fmla="*/ 1732 w 5059"/>
                  <a:gd name="connsiteY89" fmla="*/ 93 h 1043"/>
                  <a:gd name="connsiteX90" fmla="*/ 1664 w 5059"/>
                  <a:gd name="connsiteY90" fmla="*/ 104 h 1043"/>
                  <a:gd name="connsiteX91" fmla="*/ 1602 w 5059"/>
                  <a:gd name="connsiteY91" fmla="*/ 122 h 1043"/>
                  <a:gd name="connsiteX92" fmla="*/ 1545 w 5059"/>
                  <a:gd name="connsiteY92" fmla="*/ 147 h 1043"/>
                  <a:gd name="connsiteX93" fmla="*/ 1491 w 5059"/>
                  <a:gd name="connsiteY93" fmla="*/ 181 h 1043"/>
                  <a:gd name="connsiteX94" fmla="*/ 1439 w 5059"/>
                  <a:gd name="connsiteY94" fmla="*/ 218 h 1043"/>
                  <a:gd name="connsiteX95" fmla="*/ 1394 w 5059"/>
                  <a:gd name="connsiteY95" fmla="*/ 261 h 1043"/>
                  <a:gd name="connsiteX96" fmla="*/ 1348 w 5059"/>
                  <a:gd name="connsiteY96" fmla="*/ 307 h 1043"/>
                  <a:gd name="connsiteX97" fmla="*/ 1307 w 5059"/>
                  <a:gd name="connsiteY97" fmla="*/ 359 h 1043"/>
                  <a:gd name="connsiteX98" fmla="*/ 1268 w 5059"/>
                  <a:gd name="connsiteY98" fmla="*/ 413 h 1043"/>
                  <a:gd name="connsiteX99" fmla="*/ 1231 w 5059"/>
                  <a:gd name="connsiteY99" fmla="*/ 467 h 1043"/>
                  <a:gd name="connsiteX100" fmla="*/ 1194 w 5059"/>
                  <a:gd name="connsiteY100" fmla="*/ 523 h 1043"/>
                  <a:gd name="connsiteX101" fmla="*/ 1156 w 5059"/>
                  <a:gd name="connsiteY101" fmla="*/ 581 h 1043"/>
                  <a:gd name="connsiteX102" fmla="*/ 1121 w 5059"/>
                  <a:gd name="connsiteY102" fmla="*/ 637 h 1043"/>
                  <a:gd name="connsiteX103" fmla="*/ 1047 w 5059"/>
                  <a:gd name="connsiteY103" fmla="*/ 749 h 1043"/>
                  <a:gd name="connsiteX104" fmla="*/ 1008 w 5059"/>
                  <a:gd name="connsiteY104" fmla="*/ 801 h 1043"/>
                  <a:gd name="connsiteX105" fmla="*/ 966 w 5059"/>
                  <a:gd name="connsiteY105" fmla="*/ 850 h 1043"/>
                  <a:gd name="connsiteX106" fmla="*/ 923 w 5059"/>
                  <a:gd name="connsiteY106" fmla="*/ 896 h 1043"/>
                  <a:gd name="connsiteX107" fmla="*/ 876 w 5059"/>
                  <a:gd name="connsiteY107" fmla="*/ 937 h 1043"/>
                  <a:gd name="connsiteX108" fmla="*/ 826 w 5059"/>
                  <a:gd name="connsiteY108" fmla="*/ 973 h 1043"/>
                  <a:gd name="connsiteX109" fmla="*/ 772 w 5059"/>
                  <a:gd name="connsiteY109" fmla="*/ 1002 h 1043"/>
                  <a:gd name="connsiteX110" fmla="*/ 717 w 5059"/>
                  <a:gd name="connsiteY110" fmla="*/ 1025 h 1043"/>
                  <a:gd name="connsiteX111" fmla="*/ 653 w 5059"/>
                  <a:gd name="connsiteY111" fmla="*/ 1037 h 1043"/>
                  <a:gd name="connsiteX112" fmla="*/ 587 w 5059"/>
                  <a:gd name="connsiteY112" fmla="*/ 1043 h 1043"/>
                  <a:gd name="connsiteX113" fmla="*/ 580 w 5059"/>
                  <a:gd name="connsiteY113" fmla="*/ 1043 h 1043"/>
                  <a:gd name="connsiteX114" fmla="*/ 512 w 5059"/>
                  <a:gd name="connsiteY114" fmla="*/ 1039 h 1043"/>
                  <a:gd name="connsiteX115" fmla="*/ 450 w 5059"/>
                  <a:gd name="connsiteY115" fmla="*/ 1027 h 1043"/>
                  <a:gd name="connsiteX116" fmla="*/ 392 w 5059"/>
                  <a:gd name="connsiteY116" fmla="*/ 1008 h 1043"/>
                  <a:gd name="connsiteX117" fmla="*/ 341 w 5059"/>
                  <a:gd name="connsiteY117" fmla="*/ 983 h 1043"/>
                  <a:gd name="connsiteX118" fmla="*/ 293 w 5059"/>
                  <a:gd name="connsiteY118" fmla="*/ 952 h 1043"/>
                  <a:gd name="connsiteX119" fmla="*/ 248 w 5059"/>
                  <a:gd name="connsiteY119" fmla="*/ 915 h 1043"/>
                  <a:gd name="connsiteX120" fmla="*/ 207 w 5059"/>
                  <a:gd name="connsiteY120" fmla="*/ 873 h 1043"/>
                  <a:gd name="connsiteX121" fmla="*/ 169 w 5059"/>
                  <a:gd name="connsiteY121" fmla="*/ 828 h 1043"/>
                  <a:gd name="connsiteX122" fmla="*/ 132 w 5059"/>
                  <a:gd name="connsiteY122" fmla="*/ 780 h 1043"/>
                  <a:gd name="connsiteX123" fmla="*/ 99 w 5059"/>
                  <a:gd name="connsiteY123" fmla="*/ 728 h 1043"/>
                  <a:gd name="connsiteX124" fmla="*/ 64 w 5059"/>
                  <a:gd name="connsiteY124" fmla="*/ 674 h 1043"/>
                  <a:gd name="connsiteX125" fmla="*/ 33 w 5059"/>
                  <a:gd name="connsiteY125" fmla="*/ 618 h 1043"/>
                  <a:gd name="connsiteX126" fmla="*/ 0 w 5059"/>
                  <a:gd name="connsiteY126" fmla="*/ 560 h 1043"/>
                  <a:gd name="connsiteX127" fmla="*/ 77 w 5059"/>
                  <a:gd name="connsiteY127" fmla="*/ 516 h 1043"/>
                  <a:gd name="connsiteX128" fmla="*/ 110 w 5059"/>
                  <a:gd name="connsiteY128" fmla="*/ 575 h 1043"/>
                  <a:gd name="connsiteX129" fmla="*/ 143 w 5059"/>
                  <a:gd name="connsiteY129" fmla="*/ 631 h 1043"/>
                  <a:gd name="connsiteX130" fmla="*/ 176 w 5059"/>
                  <a:gd name="connsiteY130" fmla="*/ 684 h 1043"/>
                  <a:gd name="connsiteX131" fmla="*/ 209 w 5059"/>
                  <a:gd name="connsiteY131" fmla="*/ 736 h 1043"/>
                  <a:gd name="connsiteX132" fmla="*/ 244 w 5059"/>
                  <a:gd name="connsiteY132" fmla="*/ 782 h 1043"/>
                  <a:gd name="connsiteX133" fmla="*/ 281 w 5059"/>
                  <a:gd name="connsiteY133" fmla="*/ 825 h 1043"/>
                  <a:gd name="connsiteX134" fmla="*/ 322 w 5059"/>
                  <a:gd name="connsiteY134" fmla="*/ 863 h 1043"/>
                  <a:gd name="connsiteX135" fmla="*/ 366 w 5059"/>
                  <a:gd name="connsiteY135" fmla="*/ 894 h 1043"/>
                  <a:gd name="connsiteX136" fmla="*/ 413 w 5059"/>
                  <a:gd name="connsiteY136" fmla="*/ 921 h 1043"/>
                  <a:gd name="connsiteX137" fmla="*/ 463 w 5059"/>
                  <a:gd name="connsiteY137" fmla="*/ 940 h 1043"/>
                  <a:gd name="connsiteX138" fmla="*/ 518 w 5059"/>
                  <a:gd name="connsiteY138" fmla="*/ 952 h 1043"/>
                  <a:gd name="connsiteX139" fmla="*/ 580 w 5059"/>
                  <a:gd name="connsiteY139" fmla="*/ 956 h 1043"/>
                  <a:gd name="connsiteX140" fmla="*/ 587 w 5059"/>
                  <a:gd name="connsiteY140" fmla="*/ 956 h 1043"/>
                  <a:gd name="connsiteX141" fmla="*/ 646 w 5059"/>
                  <a:gd name="connsiteY141" fmla="*/ 950 h 1043"/>
                  <a:gd name="connsiteX142" fmla="*/ 702 w 5059"/>
                  <a:gd name="connsiteY142" fmla="*/ 935 h 1043"/>
                  <a:gd name="connsiteX143" fmla="*/ 756 w 5059"/>
                  <a:gd name="connsiteY143" fmla="*/ 913 h 1043"/>
                  <a:gd name="connsiteX144" fmla="*/ 803 w 5059"/>
                  <a:gd name="connsiteY144" fmla="*/ 884 h 1043"/>
                  <a:gd name="connsiteX145" fmla="*/ 849 w 5059"/>
                  <a:gd name="connsiteY145" fmla="*/ 846 h 1043"/>
                  <a:gd name="connsiteX146" fmla="*/ 892 w 5059"/>
                  <a:gd name="connsiteY146" fmla="*/ 803 h 1043"/>
                  <a:gd name="connsiteX147" fmla="*/ 931 w 5059"/>
                  <a:gd name="connsiteY147" fmla="*/ 755 h 1043"/>
                  <a:gd name="connsiteX148" fmla="*/ 971 w 5059"/>
                  <a:gd name="connsiteY148" fmla="*/ 703 h 1043"/>
                  <a:gd name="connsiteX149" fmla="*/ 1010 w 5059"/>
                  <a:gd name="connsiteY149" fmla="*/ 649 h 1043"/>
                  <a:gd name="connsiteX150" fmla="*/ 1121 w 5059"/>
                  <a:gd name="connsiteY150" fmla="*/ 475 h 1043"/>
                  <a:gd name="connsiteX151" fmla="*/ 1161 w 5059"/>
                  <a:gd name="connsiteY151" fmla="*/ 415 h 1043"/>
                  <a:gd name="connsiteX152" fmla="*/ 1202 w 5059"/>
                  <a:gd name="connsiteY152" fmla="*/ 357 h 1043"/>
                  <a:gd name="connsiteX153" fmla="*/ 1245 w 5059"/>
                  <a:gd name="connsiteY153" fmla="*/ 299 h 1043"/>
                  <a:gd name="connsiteX154" fmla="*/ 1291 w 5059"/>
                  <a:gd name="connsiteY154" fmla="*/ 245 h 1043"/>
                  <a:gd name="connsiteX155" fmla="*/ 1338 w 5059"/>
                  <a:gd name="connsiteY155" fmla="*/ 193 h 1043"/>
                  <a:gd name="connsiteX156" fmla="*/ 1392 w 5059"/>
                  <a:gd name="connsiteY156" fmla="*/ 145 h 1043"/>
                  <a:gd name="connsiteX157" fmla="*/ 1447 w 5059"/>
                  <a:gd name="connsiteY157" fmla="*/ 104 h 1043"/>
                  <a:gd name="connsiteX158" fmla="*/ 1509 w 5059"/>
                  <a:gd name="connsiteY158" fmla="*/ 69 h 1043"/>
                  <a:gd name="connsiteX159" fmla="*/ 1575 w 5059"/>
                  <a:gd name="connsiteY159" fmla="*/ 40 h 1043"/>
                  <a:gd name="connsiteX160" fmla="*/ 1648 w 5059"/>
                  <a:gd name="connsiteY160" fmla="*/ 19 h 1043"/>
                  <a:gd name="connsiteX161" fmla="*/ 1726 w 5059"/>
                  <a:gd name="connsiteY161" fmla="*/ 6 h 1043"/>
                  <a:gd name="connsiteX162" fmla="*/ 1796 w 5059"/>
                  <a:gd name="connsiteY162" fmla="*/ 4 h 1043"/>
                  <a:gd name="connsiteX163" fmla="*/ 1862 w 5059"/>
                  <a:gd name="connsiteY163" fmla="*/ 13 h 1043"/>
                  <a:gd name="connsiteX164" fmla="*/ 1922 w 5059"/>
                  <a:gd name="connsiteY164" fmla="*/ 27 h 1043"/>
                  <a:gd name="connsiteX165" fmla="*/ 1980 w 5059"/>
                  <a:gd name="connsiteY165" fmla="*/ 50 h 1043"/>
                  <a:gd name="connsiteX166" fmla="*/ 2034 w 5059"/>
                  <a:gd name="connsiteY166" fmla="*/ 81 h 1043"/>
                  <a:gd name="connsiteX167" fmla="*/ 2083 w 5059"/>
                  <a:gd name="connsiteY167" fmla="*/ 116 h 1043"/>
                  <a:gd name="connsiteX168" fmla="*/ 2129 w 5059"/>
                  <a:gd name="connsiteY168" fmla="*/ 158 h 1043"/>
                  <a:gd name="connsiteX169" fmla="*/ 2174 w 5059"/>
                  <a:gd name="connsiteY169" fmla="*/ 203 h 1043"/>
                  <a:gd name="connsiteX170" fmla="*/ 2216 w 5059"/>
                  <a:gd name="connsiteY170" fmla="*/ 251 h 1043"/>
                  <a:gd name="connsiteX171" fmla="*/ 2255 w 5059"/>
                  <a:gd name="connsiteY171" fmla="*/ 303 h 1043"/>
                  <a:gd name="connsiteX172" fmla="*/ 2292 w 5059"/>
                  <a:gd name="connsiteY172" fmla="*/ 357 h 1043"/>
                  <a:gd name="connsiteX173" fmla="*/ 2327 w 5059"/>
                  <a:gd name="connsiteY173" fmla="*/ 413 h 1043"/>
                  <a:gd name="connsiteX174" fmla="*/ 2362 w 5059"/>
                  <a:gd name="connsiteY174" fmla="*/ 467 h 1043"/>
                  <a:gd name="connsiteX175" fmla="*/ 2395 w 5059"/>
                  <a:gd name="connsiteY175" fmla="*/ 523 h 1043"/>
                  <a:gd name="connsiteX176" fmla="*/ 2432 w 5059"/>
                  <a:gd name="connsiteY176" fmla="*/ 585 h 1043"/>
                  <a:gd name="connsiteX177" fmla="*/ 2469 w 5059"/>
                  <a:gd name="connsiteY177" fmla="*/ 643 h 1043"/>
                  <a:gd name="connsiteX178" fmla="*/ 2509 w 5059"/>
                  <a:gd name="connsiteY178" fmla="*/ 701 h 1043"/>
                  <a:gd name="connsiteX179" fmla="*/ 2546 w 5059"/>
                  <a:gd name="connsiteY179" fmla="*/ 755 h 1043"/>
                  <a:gd name="connsiteX180" fmla="*/ 2587 w 5059"/>
                  <a:gd name="connsiteY180" fmla="*/ 805 h 1043"/>
                  <a:gd name="connsiteX181" fmla="*/ 2628 w 5059"/>
                  <a:gd name="connsiteY181" fmla="*/ 848 h 1043"/>
                  <a:gd name="connsiteX182" fmla="*/ 2672 w 5059"/>
                  <a:gd name="connsiteY182" fmla="*/ 886 h 1043"/>
                  <a:gd name="connsiteX183" fmla="*/ 2717 w 5059"/>
                  <a:gd name="connsiteY183" fmla="*/ 917 h 1043"/>
                  <a:gd name="connsiteX184" fmla="*/ 2767 w 5059"/>
                  <a:gd name="connsiteY184" fmla="*/ 940 h 1043"/>
                  <a:gd name="connsiteX185" fmla="*/ 2820 w 5059"/>
                  <a:gd name="connsiteY185" fmla="*/ 952 h 1043"/>
                  <a:gd name="connsiteX186" fmla="*/ 2876 w 5059"/>
                  <a:gd name="connsiteY186" fmla="*/ 956 h 1043"/>
                  <a:gd name="connsiteX187" fmla="*/ 2932 w 5059"/>
                  <a:gd name="connsiteY187" fmla="*/ 950 h 1043"/>
                  <a:gd name="connsiteX188" fmla="*/ 2982 w 5059"/>
                  <a:gd name="connsiteY188" fmla="*/ 935 h 1043"/>
                  <a:gd name="connsiteX189" fmla="*/ 3029 w 5059"/>
                  <a:gd name="connsiteY189" fmla="*/ 915 h 1043"/>
                  <a:gd name="connsiteX190" fmla="*/ 3072 w 5059"/>
                  <a:gd name="connsiteY190" fmla="*/ 884 h 1043"/>
                  <a:gd name="connsiteX191" fmla="*/ 3112 w 5059"/>
                  <a:gd name="connsiteY191" fmla="*/ 848 h 1043"/>
                  <a:gd name="connsiteX192" fmla="*/ 3149 w 5059"/>
                  <a:gd name="connsiteY192" fmla="*/ 807 h 1043"/>
                  <a:gd name="connsiteX193" fmla="*/ 3184 w 5059"/>
                  <a:gd name="connsiteY193" fmla="*/ 759 h 1043"/>
                  <a:gd name="connsiteX194" fmla="*/ 3217 w 5059"/>
                  <a:gd name="connsiteY194" fmla="*/ 709 h 1043"/>
                  <a:gd name="connsiteX195" fmla="*/ 3250 w 5059"/>
                  <a:gd name="connsiteY195" fmla="*/ 655 h 1043"/>
                  <a:gd name="connsiteX196" fmla="*/ 3283 w 5059"/>
                  <a:gd name="connsiteY196" fmla="*/ 597 h 1043"/>
                  <a:gd name="connsiteX197" fmla="*/ 3316 w 5059"/>
                  <a:gd name="connsiteY197" fmla="*/ 537 h 1043"/>
                  <a:gd name="connsiteX198" fmla="*/ 3345 w 5059"/>
                  <a:gd name="connsiteY198" fmla="*/ 483 h 1043"/>
                  <a:gd name="connsiteX199" fmla="*/ 3407 w 5059"/>
                  <a:gd name="connsiteY199" fmla="*/ 375 h 1043"/>
                  <a:gd name="connsiteX200" fmla="*/ 3477 w 5059"/>
                  <a:gd name="connsiteY200" fmla="*/ 272 h 1043"/>
                  <a:gd name="connsiteX201" fmla="*/ 3514 w 5059"/>
                  <a:gd name="connsiteY201" fmla="*/ 224 h 1043"/>
                  <a:gd name="connsiteX202" fmla="*/ 3555 w 5059"/>
                  <a:gd name="connsiteY202" fmla="*/ 178 h 1043"/>
                  <a:gd name="connsiteX203" fmla="*/ 3599 w 5059"/>
                  <a:gd name="connsiteY203" fmla="*/ 137 h 1043"/>
                  <a:gd name="connsiteX204" fmla="*/ 3646 w 5059"/>
                  <a:gd name="connsiteY204" fmla="*/ 100 h 1043"/>
                  <a:gd name="connsiteX205" fmla="*/ 3698 w 5059"/>
                  <a:gd name="connsiteY205" fmla="*/ 66 h 1043"/>
                  <a:gd name="connsiteX206" fmla="*/ 3756 w 5059"/>
                  <a:gd name="connsiteY206" fmla="*/ 40 h 1043"/>
                  <a:gd name="connsiteX207" fmla="*/ 3816 w 5059"/>
                  <a:gd name="connsiteY207" fmla="*/ 19 h 1043"/>
                  <a:gd name="connsiteX208" fmla="*/ 3882 w 5059"/>
                  <a:gd name="connsiteY208" fmla="*/ 6 h 1043"/>
                  <a:gd name="connsiteX209" fmla="*/ 3954 w 5059"/>
                  <a:gd name="connsiteY209" fmla="*/ 0 h 1043"/>
                  <a:gd name="connsiteX0" fmla="*/ 3954 w 5059"/>
                  <a:gd name="connsiteY0" fmla="*/ 0 h 1043"/>
                  <a:gd name="connsiteX1" fmla="*/ 4004 w 5059"/>
                  <a:gd name="connsiteY1" fmla="*/ 0 h 1043"/>
                  <a:gd name="connsiteX2" fmla="*/ 4032 w 5059"/>
                  <a:gd name="connsiteY2" fmla="*/ 4 h 1043"/>
                  <a:gd name="connsiteX3" fmla="*/ 4063 w 5059"/>
                  <a:gd name="connsiteY3" fmla="*/ 13 h 1043"/>
                  <a:gd name="connsiteX4" fmla="*/ 4101 w 5059"/>
                  <a:gd name="connsiteY4" fmla="*/ 23 h 1043"/>
                  <a:gd name="connsiteX5" fmla="*/ 4142 w 5059"/>
                  <a:gd name="connsiteY5" fmla="*/ 40 h 1043"/>
                  <a:gd name="connsiteX6" fmla="*/ 4185 w 5059"/>
                  <a:gd name="connsiteY6" fmla="*/ 60 h 1043"/>
                  <a:gd name="connsiteX7" fmla="*/ 4233 w 5059"/>
                  <a:gd name="connsiteY7" fmla="*/ 89 h 1043"/>
                  <a:gd name="connsiteX8" fmla="*/ 4282 w 5059"/>
                  <a:gd name="connsiteY8" fmla="*/ 125 h 1043"/>
                  <a:gd name="connsiteX9" fmla="*/ 4332 w 5059"/>
                  <a:gd name="connsiteY9" fmla="*/ 170 h 1043"/>
                  <a:gd name="connsiteX10" fmla="*/ 4383 w 5059"/>
                  <a:gd name="connsiteY10" fmla="*/ 224 h 1043"/>
                  <a:gd name="connsiteX11" fmla="*/ 4435 w 5059"/>
                  <a:gd name="connsiteY11" fmla="*/ 286 h 1043"/>
                  <a:gd name="connsiteX12" fmla="*/ 4487 w 5059"/>
                  <a:gd name="connsiteY12" fmla="*/ 361 h 1043"/>
                  <a:gd name="connsiteX13" fmla="*/ 4538 w 5059"/>
                  <a:gd name="connsiteY13" fmla="*/ 448 h 1043"/>
                  <a:gd name="connsiteX14" fmla="*/ 4590 w 5059"/>
                  <a:gd name="connsiteY14" fmla="*/ 548 h 1043"/>
                  <a:gd name="connsiteX15" fmla="*/ 4635 w 5059"/>
                  <a:gd name="connsiteY15" fmla="*/ 633 h 1043"/>
                  <a:gd name="connsiteX16" fmla="*/ 4681 w 5059"/>
                  <a:gd name="connsiteY16" fmla="*/ 705 h 1043"/>
                  <a:gd name="connsiteX17" fmla="*/ 4728 w 5059"/>
                  <a:gd name="connsiteY17" fmla="*/ 767 h 1043"/>
                  <a:gd name="connsiteX18" fmla="*/ 4776 w 5059"/>
                  <a:gd name="connsiteY18" fmla="*/ 819 h 1043"/>
                  <a:gd name="connsiteX19" fmla="*/ 4821 w 5059"/>
                  <a:gd name="connsiteY19" fmla="*/ 863 h 1043"/>
                  <a:gd name="connsiteX20" fmla="*/ 4869 w 5059"/>
                  <a:gd name="connsiteY20" fmla="*/ 898 h 1043"/>
                  <a:gd name="connsiteX21" fmla="*/ 4955 w 5059"/>
                  <a:gd name="connsiteY21" fmla="*/ 948 h 1043"/>
                  <a:gd name="connsiteX22" fmla="*/ 5030 w 5059"/>
                  <a:gd name="connsiteY22" fmla="*/ 973 h 1043"/>
                  <a:gd name="connsiteX23" fmla="*/ 5059 w 5059"/>
                  <a:gd name="connsiteY23" fmla="*/ 981 h 1043"/>
                  <a:gd name="connsiteX24" fmla="*/ 4767 w 5059"/>
                  <a:gd name="connsiteY24" fmla="*/ 931 h 1043"/>
                  <a:gd name="connsiteX25" fmla="*/ 4716 w 5059"/>
                  <a:gd name="connsiteY25" fmla="*/ 881 h 1043"/>
                  <a:gd name="connsiteX26" fmla="*/ 4662 w 5059"/>
                  <a:gd name="connsiteY26" fmla="*/ 823 h 1043"/>
                  <a:gd name="connsiteX27" fmla="*/ 4611 w 5059"/>
                  <a:gd name="connsiteY27" fmla="*/ 755 h 1043"/>
                  <a:gd name="connsiteX28" fmla="*/ 4561 w 5059"/>
                  <a:gd name="connsiteY28" fmla="*/ 676 h 1043"/>
                  <a:gd name="connsiteX29" fmla="*/ 4513 w 5059"/>
                  <a:gd name="connsiteY29" fmla="*/ 583 h 1043"/>
                  <a:gd name="connsiteX30" fmla="*/ 4464 w 5059"/>
                  <a:gd name="connsiteY30" fmla="*/ 487 h 1043"/>
                  <a:gd name="connsiteX31" fmla="*/ 4414 w 5059"/>
                  <a:gd name="connsiteY31" fmla="*/ 404 h 1043"/>
                  <a:gd name="connsiteX32" fmla="*/ 4365 w 5059"/>
                  <a:gd name="connsiteY32" fmla="*/ 336 h 1043"/>
                  <a:gd name="connsiteX33" fmla="*/ 4315 w 5059"/>
                  <a:gd name="connsiteY33" fmla="*/ 276 h 1043"/>
                  <a:gd name="connsiteX34" fmla="*/ 4268 w 5059"/>
                  <a:gd name="connsiteY34" fmla="*/ 228 h 1043"/>
                  <a:gd name="connsiteX35" fmla="*/ 4222 w 5059"/>
                  <a:gd name="connsiteY35" fmla="*/ 189 h 1043"/>
                  <a:gd name="connsiteX36" fmla="*/ 4181 w 5059"/>
                  <a:gd name="connsiteY36" fmla="*/ 158 h 1043"/>
                  <a:gd name="connsiteX37" fmla="*/ 4142 w 5059"/>
                  <a:gd name="connsiteY37" fmla="*/ 135 h 1043"/>
                  <a:gd name="connsiteX38" fmla="*/ 4092 w 5059"/>
                  <a:gd name="connsiteY38" fmla="*/ 112 h 1043"/>
                  <a:gd name="connsiteX39" fmla="*/ 4049 w 5059"/>
                  <a:gd name="connsiteY39" fmla="*/ 98 h 1043"/>
                  <a:gd name="connsiteX40" fmla="*/ 4014 w 5059"/>
                  <a:gd name="connsiteY40" fmla="*/ 89 h 1043"/>
                  <a:gd name="connsiteX41" fmla="*/ 3985 w 5059"/>
                  <a:gd name="connsiteY41" fmla="*/ 87 h 1043"/>
                  <a:gd name="connsiteX42" fmla="*/ 3958 w 5059"/>
                  <a:gd name="connsiteY42" fmla="*/ 87 h 1043"/>
                  <a:gd name="connsiteX43" fmla="*/ 3892 w 5059"/>
                  <a:gd name="connsiteY43" fmla="*/ 93 h 1043"/>
                  <a:gd name="connsiteX44" fmla="*/ 3830 w 5059"/>
                  <a:gd name="connsiteY44" fmla="*/ 106 h 1043"/>
                  <a:gd name="connsiteX45" fmla="*/ 3774 w 5059"/>
                  <a:gd name="connsiteY45" fmla="*/ 127 h 1043"/>
                  <a:gd name="connsiteX46" fmla="*/ 3723 w 5059"/>
                  <a:gd name="connsiteY46" fmla="*/ 154 h 1043"/>
                  <a:gd name="connsiteX47" fmla="*/ 3675 w 5059"/>
                  <a:gd name="connsiteY47" fmla="*/ 187 h 1043"/>
                  <a:gd name="connsiteX48" fmla="*/ 3632 w 5059"/>
                  <a:gd name="connsiteY48" fmla="*/ 224 h 1043"/>
                  <a:gd name="connsiteX49" fmla="*/ 3593 w 5059"/>
                  <a:gd name="connsiteY49" fmla="*/ 268 h 1043"/>
                  <a:gd name="connsiteX50" fmla="*/ 3553 w 5059"/>
                  <a:gd name="connsiteY50" fmla="*/ 313 h 1043"/>
                  <a:gd name="connsiteX51" fmla="*/ 3518 w 5059"/>
                  <a:gd name="connsiteY51" fmla="*/ 363 h 1043"/>
                  <a:gd name="connsiteX52" fmla="*/ 3485 w 5059"/>
                  <a:gd name="connsiteY52" fmla="*/ 415 h 1043"/>
                  <a:gd name="connsiteX53" fmla="*/ 3423 w 5059"/>
                  <a:gd name="connsiteY53" fmla="*/ 523 h 1043"/>
                  <a:gd name="connsiteX54" fmla="*/ 3330 w 5059"/>
                  <a:gd name="connsiteY54" fmla="*/ 691 h 1043"/>
                  <a:gd name="connsiteX55" fmla="*/ 3297 w 5059"/>
                  <a:gd name="connsiteY55" fmla="*/ 747 h 1043"/>
                  <a:gd name="connsiteX56" fmla="*/ 3262 w 5059"/>
                  <a:gd name="connsiteY56" fmla="*/ 799 h 1043"/>
                  <a:gd name="connsiteX57" fmla="*/ 3227 w 5059"/>
                  <a:gd name="connsiteY57" fmla="*/ 848 h 1043"/>
                  <a:gd name="connsiteX58" fmla="*/ 3188 w 5059"/>
                  <a:gd name="connsiteY58" fmla="*/ 894 h 1043"/>
                  <a:gd name="connsiteX59" fmla="*/ 3147 w 5059"/>
                  <a:gd name="connsiteY59" fmla="*/ 935 h 1043"/>
                  <a:gd name="connsiteX60" fmla="*/ 3101 w 5059"/>
                  <a:gd name="connsiteY60" fmla="*/ 971 h 1043"/>
                  <a:gd name="connsiteX61" fmla="*/ 3052 w 5059"/>
                  <a:gd name="connsiteY61" fmla="*/ 1000 h 1043"/>
                  <a:gd name="connsiteX62" fmla="*/ 3000 w 5059"/>
                  <a:gd name="connsiteY62" fmla="*/ 1022 h 1043"/>
                  <a:gd name="connsiteX63" fmla="*/ 2942 w 5059"/>
                  <a:gd name="connsiteY63" fmla="*/ 1037 h 1043"/>
                  <a:gd name="connsiteX64" fmla="*/ 2878 w 5059"/>
                  <a:gd name="connsiteY64" fmla="*/ 1043 h 1043"/>
                  <a:gd name="connsiteX65" fmla="*/ 2870 w 5059"/>
                  <a:gd name="connsiteY65" fmla="*/ 1043 h 1043"/>
                  <a:gd name="connsiteX66" fmla="*/ 2808 w 5059"/>
                  <a:gd name="connsiteY66" fmla="*/ 1039 h 1043"/>
                  <a:gd name="connsiteX67" fmla="*/ 2748 w 5059"/>
                  <a:gd name="connsiteY67" fmla="*/ 1025 h 1043"/>
                  <a:gd name="connsiteX68" fmla="*/ 2695 w 5059"/>
                  <a:gd name="connsiteY68" fmla="*/ 1002 h 1043"/>
                  <a:gd name="connsiteX69" fmla="*/ 2643 w 5059"/>
                  <a:gd name="connsiteY69" fmla="*/ 973 h 1043"/>
                  <a:gd name="connsiteX70" fmla="*/ 2595 w 5059"/>
                  <a:gd name="connsiteY70" fmla="*/ 935 h 1043"/>
                  <a:gd name="connsiteX71" fmla="*/ 2552 w 5059"/>
                  <a:gd name="connsiteY71" fmla="*/ 894 h 1043"/>
                  <a:gd name="connsiteX72" fmla="*/ 2509 w 5059"/>
                  <a:gd name="connsiteY72" fmla="*/ 846 h 1043"/>
                  <a:gd name="connsiteX73" fmla="*/ 2469 w 5059"/>
                  <a:gd name="connsiteY73" fmla="*/ 796 h 1043"/>
                  <a:gd name="connsiteX74" fmla="*/ 2430 w 5059"/>
                  <a:gd name="connsiteY74" fmla="*/ 740 h 1043"/>
                  <a:gd name="connsiteX75" fmla="*/ 2393 w 5059"/>
                  <a:gd name="connsiteY75" fmla="*/ 684 h 1043"/>
                  <a:gd name="connsiteX76" fmla="*/ 2288 w 5059"/>
                  <a:gd name="connsiteY76" fmla="*/ 510 h 1043"/>
                  <a:gd name="connsiteX77" fmla="*/ 2251 w 5059"/>
                  <a:gd name="connsiteY77" fmla="*/ 452 h 1043"/>
                  <a:gd name="connsiteX78" fmla="*/ 2213 w 5059"/>
                  <a:gd name="connsiteY78" fmla="*/ 396 h 1043"/>
                  <a:gd name="connsiteX79" fmla="*/ 2176 w 5059"/>
                  <a:gd name="connsiteY79" fmla="*/ 342 h 1043"/>
                  <a:gd name="connsiteX80" fmla="*/ 2137 w 5059"/>
                  <a:gd name="connsiteY80" fmla="*/ 293 h 1043"/>
                  <a:gd name="connsiteX81" fmla="*/ 2096 w 5059"/>
                  <a:gd name="connsiteY81" fmla="*/ 247 h 1043"/>
                  <a:gd name="connsiteX82" fmla="*/ 2054 w 5059"/>
                  <a:gd name="connsiteY82" fmla="*/ 205 h 1043"/>
                  <a:gd name="connsiteX83" fmla="*/ 2009 w 5059"/>
                  <a:gd name="connsiteY83" fmla="*/ 168 h 1043"/>
                  <a:gd name="connsiteX84" fmla="*/ 1962 w 5059"/>
                  <a:gd name="connsiteY84" fmla="*/ 139 h 1043"/>
                  <a:gd name="connsiteX85" fmla="*/ 1910 w 5059"/>
                  <a:gd name="connsiteY85" fmla="*/ 116 h 1043"/>
                  <a:gd name="connsiteX86" fmla="*/ 1854 w 5059"/>
                  <a:gd name="connsiteY86" fmla="*/ 100 h 1043"/>
                  <a:gd name="connsiteX87" fmla="*/ 1796 w 5059"/>
                  <a:gd name="connsiteY87" fmla="*/ 91 h 1043"/>
                  <a:gd name="connsiteX88" fmla="*/ 1732 w 5059"/>
                  <a:gd name="connsiteY88" fmla="*/ 93 h 1043"/>
                  <a:gd name="connsiteX89" fmla="*/ 1664 w 5059"/>
                  <a:gd name="connsiteY89" fmla="*/ 104 h 1043"/>
                  <a:gd name="connsiteX90" fmla="*/ 1602 w 5059"/>
                  <a:gd name="connsiteY90" fmla="*/ 122 h 1043"/>
                  <a:gd name="connsiteX91" fmla="*/ 1545 w 5059"/>
                  <a:gd name="connsiteY91" fmla="*/ 147 h 1043"/>
                  <a:gd name="connsiteX92" fmla="*/ 1491 w 5059"/>
                  <a:gd name="connsiteY92" fmla="*/ 181 h 1043"/>
                  <a:gd name="connsiteX93" fmla="*/ 1439 w 5059"/>
                  <a:gd name="connsiteY93" fmla="*/ 218 h 1043"/>
                  <a:gd name="connsiteX94" fmla="*/ 1394 w 5059"/>
                  <a:gd name="connsiteY94" fmla="*/ 261 h 1043"/>
                  <a:gd name="connsiteX95" fmla="*/ 1348 w 5059"/>
                  <a:gd name="connsiteY95" fmla="*/ 307 h 1043"/>
                  <a:gd name="connsiteX96" fmla="*/ 1307 w 5059"/>
                  <a:gd name="connsiteY96" fmla="*/ 359 h 1043"/>
                  <a:gd name="connsiteX97" fmla="*/ 1268 w 5059"/>
                  <a:gd name="connsiteY97" fmla="*/ 413 h 1043"/>
                  <a:gd name="connsiteX98" fmla="*/ 1231 w 5059"/>
                  <a:gd name="connsiteY98" fmla="*/ 467 h 1043"/>
                  <a:gd name="connsiteX99" fmla="*/ 1194 w 5059"/>
                  <a:gd name="connsiteY99" fmla="*/ 523 h 1043"/>
                  <a:gd name="connsiteX100" fmla="*/ 1156 w 5059"/>
                  <a:gd name="connsiteY100" fmla="*/ 581 h 1043"/>
                  <a:gd name="connsiteX101" fmla="*/ 1121 w 5059"/>
                  <a:gd name="connsiteY101" fmla="*/ 637 h 1043"/>
                  <a:gd name="connsiteX102" fmla="*/ 1047 w 5059"/>
                  <a:gd name="connsiteY102" fmla="*/ 749 h 1043"/>
                  <a:gd name="connsiteX103" fmla="*/ 1008 w 5059"/>
                  <a:gd name="connsiteY103" fmla="*/ 801 h 1043"/>
                  <a:gd name="connsiteX104" fmla="*/ 966 w 5059"/>
                  <a:gd name="connsiteY104" fmla="*/ 850 h 1043"/>
                  <a:gd name="connsiteX105" fmla="*/ 923 w 5059"/>
                  <a:gd name="connsiteY105" fmla="*/ 896 h 1043"/>
                  <a:gd name="connsiteX106" fmla="*/ 876 w 5059"/>
                  <a:gd name="connsiteY106" fmla="*/ 937 h 1043"/>
                  <a:gd name="connsiteX107" fmla="*/ 826 w 5059"/>
                  <a:gd name="connsiteY107" fmla="*/ 973 h 1043"/>
                  <a:gd name="connsiteX108" fmla="*/ 772 w 5059"/>
                  <a:gd name="connsiteY108" fmla="*/ 1002 h 1043"/>
                  <a:gd name="connsiteX109" fmla="*/ 717 w 5059"/>
                  <a:gd name="connsiteY109" fmla="*/ 1025 h 1043"/>
                  <a:gd name="connsiteX110" fmla="*/ 653 w 5059"/>
                  <a:gd name="connsiteY110" fmla="*/ 1037 h 1043"/>
                  <a:gd name="connsiteX111" fmla="*/ 587 w 5059"/>
                  <a:gd name="connsiteY111" fmla="*/ 1043 h 1043"/>
                  <a:gd name="connsiteX112" fmla="*/ 580 w 5059"/>
                  <a:gd name="connsiteY112" fmla="*/ 1043 h 1043"/>
                  <a:gd name="connsiteX113" fmla="*/ 512 w 5059"/>
                  <a:gd name="connsiteY113" fmla="*/ 1039 h 1043"/>
                  <a:gd name="connsiteX114" fmla="*/ 450 w 5059"/>
                  <a:gd name="connsiteY114" fmla="*/ 1027 h 1043"/>
                  <a:gd name="connsiteX115" fmla="*/ 392 w 5059"/>
                  <a:gd name="connsiteY115" fmla="*/ 1008 h 1043"/>
                  <a:gd name="connsiteX116" fmla="*/ 341 w 5059"/>
                  <a:gd name="connsiteY116" fmla="*/ 983 h 1043"/>
                  <a:gd name="connsiteX117" fmla="*/ 293 w 5059"/>
                  <a:gd name="connsiteY117" fmla="*/ 952 h 1043"/>
                  <a:gd name="connsiteX118" fmla="*/ 248 w 5059"/>
                  <a:gd name="connsiteY118" fmla="*/ 915 h 1043"/>
                  <a:gd name="connsiteX119" fmla="*/ 207 w 5059"/>
                  <a:gd name="connsiteY119" fmla="*/ 873 h 1043"/>
                  <a:gd name="connsiteX120" fmla="*/ 169 w 5059"/>
                  <a:gd name="connsiteY120" fmla="*/ 828 h 1043"/>
                  <a:gd name="connsiteX121" fmla="*/ 132 w 5059"/>
                  <a:gd name="connsiteY121" fmla="*/ 780 h 1043"/>
                  <a:gd name="connsiteX122" fmla="*/ 99 w 5059"/>
                  <a:gd name="connsiteY122" fmla="*/ 728 h 1043"/>
                  <a:gd name="connsiteX123" fmla="*/ 64 w 5059"/>
                  <a:gd name="connsiteY123" fmla="*/ 674 h 1043"/>
                  <a:gd name="connsiteX124" fmla="*/ 33 w 5059"/>
                  <a:gd name="connsiteY124" fmla="*/ 618 h 1043"/>
                  <a:gd name="connsiteX125" fmla="*/ 0 w 5059"/>
                  <a:gd name="connsiteY125" fmla="*/ 560 h 1043"/>
                  <a:gd name="connsiteX126" fmla="*/ 77 w 5059"/>
                  <a:gd name="connsiteY126" fmla="*/ 516 h 1043"/>
                  <a:gd name="connsiteX127" fmla="*/ 110 w 5059"/>
                  <a:gd name="connsiteY127" fmla="*/ 575 h 1043"/>
                  <a:gd name="connsiteX128" fmla="*/ 143 w 5059"/>
                  <a:gd name="connsiteY128" fmla="*/ 631 h 1043"/>
                  <a:gd name="connsiteX129" fmla="*/ 176 w 5059"/>
                  <a:gd name="connsiteY129" fmla="*/ 684 h 1043"/>
                  <a:gd name="connsiteX130" fmla="*/ 209 w 5059"/>
                  <a:gd name="connsiteY130" fmla="*/ 736 h 1043"/>
                  <a:gd name="connsiteX131" fmla="*/ 244 w 5059"/>
                  <a:gd name="connsiteY131" fmla="*/ 782 h 1043"/>
                  <a:gd name="connsiteX132" fmla="*/ 281 w 5059"/>
                  <a:gd name="connsiteY132" fmla="*/ 825 h 1043"/>
                  <a:gd name="connsiteX133" fmla="*/ 322 w 5059"/>
                  <a:gd name="connsiteY133" fmla="*/ 863 h 1043"/>
                  <a:gd name="connsiteX134" fmla="*/ 366 w 5059"/>
                  <a:gd name="connsiteY134" fmla="*/ 894 h 1043"/>
                  <a:gd name="connsiteX135" fmla="*/ 413 w 5059"/>
                  <a:gd name="connsiteY135" fmla="*/ 921 h 1043"/>
                  <a:gd name="connsiteX136" fmla="*/ 463 w 5059"/>
                  <a:gd name="connsiteY136" fmla="*/ 940 h 1043"/>
                  <a:gd name="connsiteX137" fmla="*/ 518 w 5059"/>
                  <a:gd name="connsiteY137" fmla="*/ 952 h 1043"/>
                  <a:gd name="connsiteX138" fmla="*/ 580 w 5059"/>
                  <a:gd name="connsiteY138" fmla="*/ 956 h 1043"/>
                  <a:gd name="connsiteX139" fmla="*/ 587 w 5059"/>
                  <a:gd name="connsiteY139" fmla="*/ 956 h 1043"/>
                  <a:gd name="connsiteX140" fmla="*/ 646 w 5059"/>
                  <a:gd name="connsiteY140" fmla="*/ 950 h 1043"/>
                  <a:gd name="connsiteX141" fmla="*/ 702 w 5059"/>
                  <a:gd name="connsiteY141" fmla="*/ 935 h 1043"/>
                  <a:gd name="connsiteX142" fmla="*/ 756 w 5059"/>
                  <a:gd name="connsiteY142" fmla="*/ 913 h 1043"/>
                  <a:gd name="connsiteX143" fmla="*/ 803 w 5059"/>
                  <a:gd name="connsiteY143" fmla="*/ 884 h 1043"/>
                  <a:gd name="connsiteX144" fmla="*/ 849 w 5059"/>
                  <a:gd name="connsiteY144" fmla="*/ 846 h 1043"/>
                  <a:gd name="connsiteX145" fmla="*/ 892 w 5059"/>
                  <a:gd name="connsiteY145" fmla="*/ 803 h 1043"/>
                  <a:gd name="connsiteX146" fmla="*/ 931 w 5059"/>
                  <a:gd name="connsiteY146" fmla="*/ 755 h 1043"/>
                  <a:gd name="connsiteX147" fmla="*/ 971 w 5059"/>
                  <a:gd name="connsiteY147" fmla="*/ 703 h 1043"/>
                  <a:gd name="connsiteX148" fmla="*/ 1010 w 5059"/>
                  <a:gd name="connsiteY148" fmla="*/ 649 h 1043"/>
                  <a:gd name="connsiteX149" fmla="*/ 1121 w 5059"/>
                  <a:gd name="connsiteY149" fmla="*/ 475 h 1043"/>
                  <a:gd name="connsiteX150" fmla="*/ 1161 w 5059"/>
                  <a:gd name="connsiteY150" fmla="*/ 415 h 1043"/>
                  <a:gd name="connsiteX151" fmla="*/ 1202 w 5059"/>
                  <a:gd name="connsiteY151" fmla="*/ 357 h 1043"/>
                  <a:gd name="connsiteX152" fmla="*/ 1245 w 5059"/>
                  <a:gd name="connsiteY152" fmla="*/ 299 h 1043"/>
                  <a:gd name="connsiteX153" fmla="*/ 1291 w 5059"/>
                  <a:gd name="connsiteY153" fmla="*/ 245 h 1043"/>
                  <a:gd name="connsiteX154" fmla="*/ 1338 w 5059"/>
                  <a:gd name="connsiteY154" fmla="*/ 193 h 1043"/>
                  <a:gd name="connsiteX155" fmla="*/ 1392 w 5059"/>
                  <a:gd name="connsiteY155" fmla="*/ 145 h 1043"/>
                  <a:gd name="connsiteX156" fmla="*/ 1447 w 5059"/>
                  <a:gd name="connsiteY156" fmla="*/ 104 h 1043"/>
                  <a:gd name="connsiteX157" fmla="*/ 1509 w 5059"/>
                  <a:gd name="connsiteY157" fmla="*/ 69 h 1043"/>
                  <a:gd name="connsiteX158" fmla="*/ 1575 w 5059"/>
                  <a:gd name="connsiteY158" fmla="*/ 40 h 1043"/>
                  <a:gd name="connsiteX159" fmla="*/ 1648 w 5059"/>
                  <a:gd name="connsiteY159" fmla="*/ 19 h 1043"/>
                  <a:gd name="connsiteX160" fmla="*/ 1726 w 5059"/>
                  <a:gd name="connsiteY160" fmla="*/ 6 h 1043"/>
                  <a:gd name="connsiteX161" fmla="*/ 1796 w 5059"/>
                  <a:gd name="connsiteY161" fmla="*/ 4 h 1043"/>
                  <a:gd name="connsiteX162" fmla="*/ 1862 w 5059"/>
                  <a:gd name="connsiteY162" fmla="*/ 13 h 1043"/>
                  <a:gd name="connsiteX163" fmla="*/ 1922 w 5059"/>
                  <a:gd name="connsiteY163" fmla="*/ 27 h 1043"/>
                  <a:gd name="connsiteX164" fmla="*/ 1980 w 5059"/>
                  <a:gd name="connsiteY164" fmla="*/ 50 h 1043"/>
                  <a:gd name="connsiteX165" fmla="*/ 2034 w 5059"/>
                  <a:gd name="connsiteY165" fmla="*/ 81 h 1043"/>
                  <a:gd name="connsiteX166" fmla="*/ 2083 w 5059"/>
                  <a:gd name="connsiteY166" fmla="*/ 116 h 1043"/>
                  <a:gd name="connsiteX167" fmla="*/ 2129 w 5059"/>
                  <a:gd name="connsiteY167" fmla="*/ 158 h 1043"/>
                  <a:gd name="connsiteX168" fmla="*/ 2174 w 5059"/>
                  <a:gd name="connsiteY168" fmla="*/ 203 h 1043"/>
                  <a:gd name="connsiteX169" fmla="*/ 2216 w 5059"/>
                  <a:gd name="connsiteY169" fmla="*/ 251 h 1043"/>
                  <a:gd name="connsiteX170" fmla="*/ 2255 w 5059"/>
                  <a:gd name="connsiteY170" fmla="*/ 303 h 1043"/>
                  <a:gd name="connsiteX171" fmla="*/ 2292 w 5059"/>
                  <a:gd name="connsiteY171" fmla="*/ 357 h 1043"/>
                  <a:gd name="connsiteX172" fmla="*/ 2327 w 5059"/>
                  <a:gd name="connsiteY172" fmla="*/ 413 h 1043"/>
                  <a:gd name="connsiteX173" fmla="*/ 2362 w 5059"/>
                  <a:gd name="connsiteY173" fmla="*/ 467 h 1043"/>
                  <a:gd name="connsiteX174" fmla="*/ 2395 w 5059"/>
                  <a:gd name="connsiteY174" fmla="*/ 523 h 1043"/>
                  <a:gd name="connsiteX175" fmla="*/ 2432 w 5059"/>
                  <a:gd name="connsiteY175" fmla="*/ 585 h 1043"/>
                  <a:gd name="connsiteX176" fmla="*/ 2469 w 5059"/>
                  <a:gd name="connsiteY176" fmla="*/ 643 h 1043"/>
                  <a:gd name="connsiteX177" fmla="*/ 2509 w 5059"/>
                  <a:gd name="connsiteY177" fmla="*/ 701 h 1043"/>
                  <a:gd name="connsiteX178" fmla="*/ 2546 w 5059"/>
                  <a:gd name="connsiteY178" fmla="*/ 755 h 1043"/>
                  <a:gd name="connsiteX179" fmla="*/ 2587 w 5059"/>
                  <a:gd name="connsiteY179" fmla="*/ 805 h 1043"/>
                  <a:gd name="connsiteX180" fmla="*/ 2628 w 5059"/>
                  <a:gd name="connsiteY180" fmla="*/ 848 h 1043"/>
                  <a:gd name="connsiteX181" fmla="*/ 2672 w 5059"/>
                  <a:gd name="connsiteY181" fmla="*/ 886 h 1043"/>
                  <a:gd name="connsiteX182" fmla="*/ 2717 w 5059"/>
                  <a:gd name="connsiteY182" fmla="*/ 917 h 1043"/>
                  <a:gd name="connsiteX183" fmla="*/ 2767 w 5059"/>
                  <a:gd name="connsiteY183" fmla="*/ 940 h 1043"/>
                  <a:gd name="connsiteX184" fmla="*/ 2820 w 5059"/>
                  <a:gd name="connsiteY184" fmla="*/ 952 h 1043"/>
                  <a:gd name="connsiteX185" fmla="*/ 2876 w 5059"/>
                  <a:gd name="connsiteY185" fmla="*/ 956 h 1043"/>
                  <a:gd name="connsiteX186" fmla="*/ 2932 w 5059"/>
                  <a:gd name="connsiteY186" fmla="*/ 950 h 1043"/>
                  <a:gd name="connsiteX187" fmla="*/ 2982 w 5059"/>
                  <a:gd name="connsiteY187" fmla="*/ 935 h 1043"/>
                  <a:gd name="connsiteX188" fmla="*/ 3029 w 5059"/>
                  <a:gd name="connsiteY188" fmla="*/ 915 h 1043"/>
                  <a:gd name="connsiteX189" fmla="*/ 3072 w 5059"/>
                  <a:gd name="connsiteY189" fmla="*/ 884 h 1043"/>
                  <a:gd name="connsiteX190" fmla="*/ 3112 w 5059"/>
                  <a:gd name="connsiteY190" fmla="*/ 848 h 1043"/>
                  <a:gd name="connsiteX191" fmla="*/ 3149 w 5059"/>
                  <a:gd name="connsiteY191" fmla="*/ 807 h 1043"/>
                  <a:gd name="connsiteX192" fmla="*/ 3184 w 5059"/>
                  <a:gd name="connsiteY192" fmla="*/ 759 h 1043"/>
                  <a:gd name="connsiteX193" fmla="*/ 3217 w 5059"/>
                  <a:gd name="connsiteY193" fmla="*/ 709 h 1043"/>
                  <a:gd name="connsiteX194" fmla="*/ 3250 w 5059"/>
                  <a:gd name="connsiteY194" fmla="*/ 655 h 1043"/>
                  <a:gd name="connsiteX195" fmla="*/ 3283 w 5059"/>
                  <a:gd name="connsiteY195" fmla="*/ 597 h 1043"/>
                  <a:gd name="connsiteX196" fmla="*/ 3316 w 5059"/>
                  <a:gd name="connsiteY196" fmla="*/ 537 h 1043"/>
                  <a:gd name="connsiteX197" fmla="*/ 3345 w 5059"/>
                  <a:gd name="connsiteY197" fmla="*/ 483 h 1043"/>
                  <a:gd name="connsiteX198" fmla="*/ 3407 w 5059"/>
                  <a:gd name="connsiteY198" fmla="*/ 375 h 1043"/>
                  <a:gd name="connsiteX199" fmla="*/ 3477 w 5059"/>
                  <a:gd name="connsiteY199" fmla="*/ 272 h 1043"/>
                  <a:gd name="connsiteX200" fmla="*/ 3514 w 5059"/>
                  <a:gd name="connsiteY200" fmla="*/ 224 h 1043"/>
                  <a:gd name="connsiteX201" fmla="*/ 3555 w 5059"/>
                  <a:gd name="connsiteY201" fmla="*/ 178 h 1043"/>
                  <a:gd name="connsiteX202" fmla="*/ 3599 w 5059"/>
                  <a:gd name="connsiteY202" fmla="*/ 137 h 1043"/>
                  <a:gd name="connsiteX203" fmla="*/ 3646 w 5059"/>
                  <a:gd name="connsiteY203" fmla="*/ 100 h 1043"/>
                  <a:gd name="connsiteX204" fmla="*/ 3698 w 5059"/>
                  <a:gd name="connsiteY204" fmla="*/ 66 h 1043"/>
                  <a:gd name="connsiteX205" fmla="*/ 3756 w 5059"/>
                  <a:gd name="connsiteY205" fmla="*/ 40 h 1043"/>
                  <a:gd name="connsiteX206" fmla="*/ 3816 w 5059"/>
                  <a:gd name="connsiteY206" fmla="*/ 19 h 1043"/>
                  <a:gd name="connsiteX207" fmla="*/ 3882 w 5059"/>
                  <a:gd name="connsiteY207" fmla="*/ 6 h 1043"/>
                  <a:gd name="connsiteX208" fmla="*/ 3954 w 5059"/>
                  <a:gd name="connsiteY208" fmla="*/ 0 h 1043"/>
                  <a:gd name="connsiteX0" fmla="*/ 3954 w 5059"/>
                  <a:gd name="connsiteY0" fmla="*/ 0 h 1043"/>
                  <a:gd name="connsiteX1" fmla="*/ 4004 w 5059"/>
                  <a:gd name="connsiteY1" fmla="*/ 0 h 1043"/>
                  <a:gd name="connsiteX2" fmla="*/ 4032 w 5059"/>
                  <a:gd name="connsiteY2" fmla="*/ 4 h 1043"/>
                  <a:gd name="connsiteX3" fmla="*/ 4063 w 5059"/>
                  <a:gd name="connsiteY3" fmla="*/ 13 h 1043"/>
                  <a:gd name="connsiteX4" fmla="*/ 4101 w 5059"/>
                  <a:gd name="connsiteY4" fmla="*/ 23 h 1043"/>
                  <a:gd name="connsiteX5" fmla="*/ 4142 w 5059"/>
                  <a:gd name="connsiteY5" fmla="*/ 40 h 1043"/>
                  <a:gd name="connsiteX6" fmla="*/ 4185 w 5059"/>
                  <a:gd name="connsiteY6" fmla="*/ 60 h 1043"/>
                  <a:gd name="connsiteX7" fmla="*/ 4233 w 5059"/>
                  <a:gd name="connsiteY7" fmla="*/ 89 h 1043"/>
                  <a:gd name="connsiteX8" fmla="*/ 4282 w 5059"/>
                  <a:gd name="connsiteY8" fmla="*/ 125 h 1043"/>
                  <a:gd name="connsiteX9" fmla="*/ 4332 w 5059"/>
                  <a:gd name="connsiteY9" fmla="*/ 170 h 1043"/>
                  <a:gd name="connsiteX10" fmla="*/ 4383 w 5059"/>
                  <a:gd name="connsiteY10" fmla="*/ 224 h 1043"/>
                  <a:gd name="connsiteX11" fmla="*/ 4435 w 5059"/>
                  <a:gd name="connsiteY11" fmla="*/ 286 h 1043"/>
                  <a:gd name="connsiteX12" fmla="*/ 4487 w 5059"/>
                  <a:gd name="connsiteY12" fmla="*/ 361 h 1043"/>
                  <a:gd name="connsiteX13" fmla="*/ 4538 w 5059"/>
                  <a:gd name="connsiteY13" fmla="*/ 448 h 1043"/>
                  <a:gd name="connsiteX14" fmla="*/ 4590 w 5059"/>
                  <a:gd name="connsiteY14" fmla="*/ 548 h 1043"/>
                  <a:gd name="connsiteX15" fmla="*/ 4635 w 5059"/>
                  <a:gd name="connsiteY15" fmla="*/ 633 h 1043"/>
                  <a:gd name="connsiteX16" fmla="*/ 4681 w 5059"/>
                  <a:gd name="connsiteY16" fmla="*/ 705 h 1043"/>
                  <a:gd name="connsiteX17" fmla="*/ 4728 w 5059"/>
                  <a:gd name="connsiteY17" fmla="*/ 767 h 1043"/>
                  <a:gd name="connsiteX18" fmla="*/ 4776 w 5059"/>
                  <a:gd name="connsiteY18" fmla="*/ 819 h 1043"/>
                  <a:gd name="connsiteX19" fmla="*/ 4821 w 5059"/>
                  <a:gd name="connsiteY19" fmla="*/ 863 h 1043"/>
                  <a:gd name="connsiteX20" fmla="*/ 4869 w 5059"/>
                  <a:gd name="connsiteY20" fmla="*/ 898 h 1043"/>
                  <a:gd name="connsiteX21" fmla="*/ 5030 w 5059"/>
                  <a:gd name="connsiteY21" fmla="*/ 973 h 1043"/>
                  <a:gd name="connsiteX22" fmla="*/ 5059 w 5059"/>
                  <a:gd name="connsiteY22" fmla="*/ 981 h 1043"/>
                  <a:gd name="connsiteX23" fmla="*/ 4767 w 5059"/>
                  <a:gd name="connsiteY23" fmla="*/ 931 h 1043"/>
                  <a:gd name="connsiteX24" fmla="*/ 4716 w 5059"/>
                  <a:gd name="connsiteY24" fmla="*/ 881 h 1043"/>
                  <a:gd name="connsiteX25" fmla="*/ 4662 w 5059"/>
                  <a:gd name="connsiteY25" fmla="*/ 823 h 1043"/>
                  <a:gd name="connsiteX26" fmla="*/ 4611 w 5059"/>
                  <a:gd name="connsiteY26" fmla="*/ 755 h 1043"/>
                  <a:gd name="connsiteX27" fmla="*/ 4561 w 5059"/>
                  <a:gd name="connsiteY27" fmla="*/ 676 h 1043"/>
                  <a:gd name="connsiteX28" fmla="*/ 4513 w 5059"/>
                  <a:gd name="connsiteY28" fmla="*/ 583 h 1043"/>
                  <a:gd name="connsiteX29" fmla="*/ 4464 w 5059"/>
                  <a:gd name="connsiteY29" fmla="*/ 487 h 1043"/>
                  <a:gd name="connsiteX30" fmla="*/ 4414 w 5059"/>
                  <a:gd name="connsiteY30" fmla="*/ 404 h 1043"/>
                  <a:gd name="connsiteX31" fmla="*/ 4365 w 5059"/>
                  <a:gd name="connsiteY31" fmla="*/ 336 h 1043"/>
                  <a:gd name="connsiteX32" fmla="*/ 4315 w 5059"/>
                  <a:gd name="connsiteY32" fmla="*/ 276 h 1043"/>
                  <a:gd name="connsiteX33" fmla="*/ 4268 w 5059"/>
                  <a:gd name="connsiteY33" fmla="*/ 228 h 1043"/>
                  <a:gd name="connsiteX34" fmla="*/ 4222 w 5059"/>
                  <a:gd name="connsiteY34" fmla="*/ 189 h 1043"/>
                  <a:gd name="connsiteX35" fmla="*/ 4181 w 5059"/>
                  <a:gd name="connsiteY35" fmla="*/ 158 h 1043"/>
                  <a:gd name="connsiteX36" fmla="*/ 4142 w 5059"/>
                  <a:gd name="connsiteY36" fmla="*/ 135 h 1043"/>
                  <a:gd name="connsiteX37" fmla="*/ 4092 w 5059"/>
                  <a:gd name="connsiteY37" fmla="*/ 112 h 1043"/>
                  <a:gd name="connsiteX38" fmla="*/ 4049 w 5059"/>
                  <a:gd name="connsiteY38" fmla="*/ 98 h 1043"/>
                  <a:gd name="connsiteX39" fmla="*/ 4014 w 5059"/>
                  <a:gd name="connsiteY39" fmla="*/ 89 h 1043"/>
                  <a:gd name="connsiteX40" fmla="*/ 3985 w 5059"/>
                  <a:gd name="connsiteY40" fmla="*/ 87 h 1043"/>
                  <a:gd name="connsiteX41" fmla="*/ 3958 w 5059"/>
                  <a:gd name="connsiteY41" fmla="*/ 87 h 1043"/>
                  <a:gd name="connsiteX42" fmla="*/ 3892 w 5059"/>
                  <a:gd name="connsiteY42" fmla="*/ 93 h 1043"/>
                  <a:gd name="connsiteX43" fmla="*/ 3830 w 5059"/>
                  <a:gd name="connsiteY43" fmla="*/ 106 h 1043"/>
                  <a:gd name="connsiteX44" fmla="*/ 3774 w 5059"/>
                  <a:gd name="connsiteY44" fmla="*/ 127 h 1043"/>
                  <a:gd name="connsiteX45" fmla="*/ 3723 w 5059"/>
                  <a:gd name="connsiteY45" fmla="*/ 154 h 1043"/>
                  <a:gd name="connsiteX46" fmla="*/ 3675 w 5059"/>
                  <a:gd name="connsiteY46" fmla="*/ 187 h 1043"/>
                  <a:gd name="connsiteX47" fmla="*/ 3632 w 5059"/>
                  <a:gd name="connsiteY47" fmla="*/ 224 h 1043"/>
                  <a:gd name="connsiteX48" fmla="*/ 3593 w 5059"/>
                  <a:gd name="connsiteY48" fmla="*/ 268 h 1043"/>
                  <a:gd name="connsiteX49" fmla="*/ 3553 w 5059"/>
                  <a:gd name="connsiteY49" fmla="*/ 313 h 1043"/>
                  <a:gd name="connsiteX50" fmla="*/ 3518 w 5059"/>
                  <a:gd name="connsiteY50" fmla="*/ 363 h 1043"/>
                  <a:gd name="connsiteX51" fmla="*/ 3485 w 5059"/>
                  <a:gd name="connsiteY51" fmla="*/ 415 h 1043"/>
                  <a:gd name="connsiteX52" fmla="*/ 3423 w 5059"/>
                  <a:gd name="connsiteY52" fmla="*/ 523 h 1043"/>
                  <a:gd name="connsiteX53" fmla="*/ 3330 w 5059"/>
                  <a:gd name="connsiteY53" fmla="*/ 691 h 1043"/>
                  <a:gd name="connsiteX54" fmla="*/ 3297 w 5059"/>
                  <a:gd name="connsiteY54" fmla="*/ 747 h 1043"/>
                  <a:gd name="connsiteX55" fmla="*/ 3262 w 5059"/>
                  <a:gd name="connsiteY55" fmla="*/ 799 h 1043"/>
                  <a:gd name="connsiteX56" fmla="*/ 3227 w 5059"/>
                  <a:gd name="connsiteY56" fmla="*/ 848 h 1043"/>
                  <a:gd name="connsiteX57" fmla="*/ 3188 w 5059"/>
                  <a:gd name="connsiteY57" fmla="*/ 894 h 1043"/>
                  <a:gd name="connsiteX58" fmla="*/ 3147 w 5059"/>
                  <a:gd name="connsiteY58" fmla="*/ 935 h 1043"/>
                  <a:gd name="connsiteX59" fmla="*/ 3101 w 5059"/>
                  <a:gd name="connsiteY59" fmla="*/ 971 h 1043"/>
                  <a:gd name="connsiteX60" fmla="*/ 3052 w 5059"/>
                  <a:gd name="connsiteY60" fmla="*/ 1000 h 1043"/>
                  <a:gd name="connsiteX61" fmla="*/ 3000 w 5059"/>
                  <a:gd name="connsiteY61" fmla="*/ 1022 h 1043"/>
                  <a:gd name="connsiteX62" fmla="*/ 2942 w 5059"/>
                  <a:gd name="connsiteY62" fmla="*/ 1037 h 1043"/>
                  <a:gd name="connsiteX63" fmla="*/ 2878 w 5059"/>
                  <a:gd name="connsiteY63" fmla="*/ 1043 h 1043"/>
                  <a:gd name="connsiteX64" fmla="*/ 2870 w 5059"/>
                  <a:gd name="connsiteY64" fmla="*/ 1043 h 1043"/>
                  <a:gd name="connsiteX65" fmla="*/ 2808 w 5059"/>
                  <a:gd name="connsiteY65" fmla="*/ 1039 h 1043"/>
                  <a:gd name="connsiteX66" fmla="*/ 2748 w 5059"/>
                  <a:gd name="connsiteY66" fmla="*/ 1025 h 1043"/>
                  <a:gd name="connsiteX67" fmla="*/ 2695 w 5059"/>
                  <a:gd name="connsiteY67" fmla="*/ 1002 h 1043"/>
                  <a:gd name="connsiteX68" fmla="*/ 2643 w 5059"/>
                  <a:gd name="connsiteY68" fmla="*/ 973 h 1043"/>
                  <a:gd name="connsiteX69" fmla="*/ 2595 w 5059"/>
                  <a:gd name="connsiteY69" fmla="*/ 935 h 1043"/>
                  <a:gd name="connsiteX70" fmla="*/ 2552 w 5059"/>
                  <a:gd name="connsiteY70" fmla="*/ 894 h 1043"/>
                  <a:gd name="connsiteX71" fmla="*/ 2509 w 5059"/>
                  <a:gd name="connsiteY71" fmla="*/ 846 h 1043"/>
                  <a:gd name="connsiteX72" fmla="*/ 2469 w 5059"/>
                  <a:gd name="connsiteY72" fmla="*/ 796 h 1043"/>
                  <a:gd name="connsiteX73" fmla="*/ 2430 w 5059"/>
                  <a:gd name="connsiteY73" fmla="*/ 740 h 1043"/>
                  <a:gd name="connsiteX74" fmla="*/ 2393 w 5059"/>
                  <a:gd name="connsiteY74" fmla="*/ 684 h 1043"/>
                  <a:gd name="connsiteX75" fmla="*/ 2288 w 5059"/>
                  <a:gd name="connsiteY75" fmla="*/ 510 h 1043"/>
                  <a:gd name="connsiteX76" fmla="*/ 2251 w 5059"/>
                  <a:gd name="connsiteY76" fmla="*/ 452 h 1043"/>
                  <a:gd name="connsiteX77" fmla="*/ 2213 w 5059"/>
                  <a:gd name="connsiteY77" fmla="*/ 396 h 1043"/>
                  <a:gd name="connsiteX78" fmla="*/ 2176 w 5059"/>
                  <a:gd name="connsiteY78" fmla="*/ 342 h 1043"/>
                  <a:gd name="connsiteX79" fmla="*/ 2137 w 5059"/>
                  <a:gd name="connsiteY79" fmla="*/ 293 h 1043"/>
                  <a:gd name="connsiteX80" fmla="*/ 2096 w 5059"/>
                  <a:gd name="connsiteY80" fmla="*/ 247 h 1043"/>
                  <a:gd name="connsiteX81" fmla="*/ 2054 w 5059"/>
                  <a:gd name="connsiteY81" fmla="*/ 205 h 1043"/>
                  <a:gd name="connsiteX82" fmla="*/ 2009 w 5059"/>
                  <a:gd name="connsiteY82" fmla="*/ 168 h 1043"/>
                  <a:gd name="connsiteX83" fmla="*/ 1962 w 5059"/>
                  <a:gd name="connsiteY83" fmla="*/ 139 h 1043"/>
                  <a:gd name="connsiteX84" fmla="*/ 1910 w 5059"/>
                  <a:gd name="connsiteY84" fmla="*/ 116 h 1043"/>
                  <a:gd name="connsiteX85" fmla="*/ 1854 w 5059"/>
                  <a:gd name="connsiteY85" fmla="*/ 100 h 1043"/>
                  <a:gd name="connsiteX86" fmla="*/ 1796 w 5059"/>
                  <a:gd name="connsiteY86" fmla="*/ 91 h 1043"/>
                  <a:gd name="connsiteX87" fmla="*/ 1732 w 5059"/>
                  <a:gd name="connsiteY87" fmla="*/ 93 h 1043"/>
                  <a:gd name="connsiteX88" fmla="*/ 1664 w 5059"/>
                  <a:gd name="connsiteY88" fmla="*/ 104 h 1043"/>
                  <a:gd name="connsiteX89" fmla="*/ 1602 w 5059"/>
                  <a:gd name="connsiteY89" fmla="*/ 122 h 1043"/>
                  <a:gd name="connsiteX90" fmla="*/ 1545 w 5059"/>
                  <a:gd name="connsiteY90" fmla="*/ 147 h 1043"/>
                  <a:gd name="connsiteX91" fmla="*/ 1491 w 5059"/>
                  <a:gd name="connsiteY91" fmla="*/ 181 h 1043"/>
                  <a:gd name="connsiteX92" fmla="*/ 1439 w 5059"/>
                  <a:gd name="connsiteY92" fmla="*/ 218 h 1043"/>
                  <a:gd name="connsiteX93" fmla="*/ 1394 w 5059"/>
                  <a:gd name="connsiteY93" fmla="*/ 261 h 1043"/>
                  <a:gd name="connsiteX94" fmla="*/ 1348 w 5059"/>
                  <a:gd name="connsiteY94" fmla="*/ 307 h 1043"/>
                  <a:gd name="connsiteX95" fmla="*/ 1307 w 5059"/>
                  <a:gd name="connsiteY95" fmla="*/ 359 h 1043"/>
                  <a:gd name="connsiteX96" fmla="*/ 1268 w 5059"/>
                  <a:gd name="connsiteY96" fmla="*/ 413 h 1043"/>
                  <a:gd name="connsiteX97" fmla="*/ 1231 w 5059"/>
                  <a:gd name="connsiteY97" fmla="*/ 467 h 1043"/>
                  <a:gd name="connsiteX98" fmla="*/ 1194 w 5059"/>
                  <a:gd name="connsiteY98" fmla="*/ 523 h 1043"/>
                  <a:gd name="connsiteX99" fmla="*/ 1156 w 5059"/>
                  <a:gd name="connsiteY99" fmla="*/ 581 h 1043"/>
                  <a:gd name="connsiteX100" fmla="*/ 1121 w 5059"/>
                  <a:gd name="connsiteY100" fmla="*/ 637 h 1043"/>
                  <a:gd name="connsiteX101" fmla="*/ 1047 w 5059"/>
                  <a:gd name="connsiteY101" fmla="*/ 749 h 1043"/>
                  <a:gd name="connsiteX102" fmla="*/ 1008 w 5059"/>
                  <a:gd name="connsiteY102" fmla="*/ 801 h 1043"/>
                  <a:gd name="connsiteX103" fmla="*/ 966 w 5059"/>
                  <a:gd name="connsiteY103" fmla="*/ 850 h 1043"/>
                  <a:gd name="connsiteX104" fmla="*/ 923 w 5059"/>
                  <a:gd name="connsiteY104" fmla="*/ 896 h 1043"/>
                  <a:gd name="connsiteX105" fmla="*/ 876 w 5059"/>
                  <a:gd name="connsiteY105" fmla="*/ 937 h 1043"/>
                  <a:gd name="connsiteX106" fmla="*/ 826 w 5059"/>
                  <a:gd name="connsiteY106" fmla="*/ 973 h 1043"/>
                  <a:gd name="connsiteX107" fmla="*/ 772 w 5059"/>
                  <a:gd name="connsiteY107" fmla="*/ 1002 h 1043"/>
                  <a:gd name="connsiteX108" fmla="*/ 717 w 5059"/>
                  <a:gd name="connsiteY108" fmla="*/ 1025 h 1043"/>
                  <a:gd name="connsiteX109" fmla="*/ 653 w 5059"/>
                  <a:gd name="connsiteY109" fmla="*/ 1037 h 1043"/>
                  <a:gd name="connsiteX110" fmla="*/ 587 w 5059"/>
                  <a:gd name="connsiteY110" fmla="*/ 1043 h 1043"/>
                  <a:gd name="connsiteX111" fmla="*/ 580 w 5059"/>
                  <a:gd name="connsiteY111" fmla="*/ 1043 h 1043"/>
                  <a:gd name="connsiteX112" fmla="*/ 512 w 5059"/>
                  <a:gd name="connsiteY112" fmla="*/ 1039 h 1043"/>
                  <a:gd name="connsiteX113" fmla="*/ 450 w 5059"/>
                  <a:gd name="connsiteY113" fmla="*/ 1027 h 1043"/>
                  <a:gd name="connsiteX114" fmla="*/ 392 w 5059"/>
                  <a:gd name="connsiteY114" fmla="*/ 1008 h 1043"/>
                  <a:gd name="connsiteX115" fmla="*/ 341 w 5059"/>
                  <a:gd name="connsiteY115" fmla="*/ 983 h 1043"/>
                  <a:gd name="connsiteX116" fmla="*/ 293 w 5059"/>
                  <a:gd name="connsiteY116" fmla="*/ 952 h 1043"/>
                  <a:gd name="connsiteX117" fmla="*/ 248 w 5059"/>
                  <a:gd name="connsiteY117" fmla="*/ 915 h 1043"/>
                  <a:gd name="connsiteX118" fmla="*/ 207 w 5059"/>
                  <a:gd name="connsiteY118" fmla="*/ 873 h 1043"/>
                  <a:gd name="connsiteX119" fmla="*/ 169 w 5059"/>
                  <a:gd name="connsiteY119" fmla="*/ 828 h 1043"/>
                  <a:gd name="connsiteX120" fmla="*/ 132 w 5059"/>
                  <a:gd name="connsiteY120" fmla="*/ 780 h 1043"/>
                  <a:gd name="connsiteX121" fmla="*/ 99 w 5059"/>
                  <a:gd name="connsiteY121" fmla="*/ 728 h 1043"/>
                  <a:gd name="connsiteX122" fmla="*/ 64 w 5059"/>
                  <a:gd name="connsiteY122" fmla="*/ 674 h 1043"/>
                  <a:gd name="connsiteX123" fmla="*/ 33 w 5059"/>
                  <a:gd name="connsiteY123" fmla="*/ 618 h 1043"/>
                  <a:gd name="connsiteX124" fmla="*/ 0 w 5059"/>
                  <a:gd name="connsiteY124" fmla="*/ 560 h 1043"/>
                  <a:gd name="connsiteX125" fmla="*/ 77 w 5059"/>
                  <a:gd name="connsiteY125" fmla="*/ 516 h 1043"/>
                  <a:gd name="connsiteX126" fmla="*/ 110 w 5059"/>
                  <a:gd name="connsiteY126" fmla="*/ 575 h 1043"/>
                  <a:gd name="connsiteX127" fmla="*/ 143 w 5059"/>
                  <a:gd name="connsiteY127" fmla="*/ 631 h 1043"/>
                  <a:gd name="connsiteX128" fmla="*/ 176 w 5059"/>
                  <a:gd name="connsiteY128" fmla="*/ 684 h 1043"/>
                  <a:gd name="connsiteX129" fmla="*/ 209 w 5059"/>
                  <a:gd name="connsiteY129" fmla="*/ 736 h 1043"/>
                  <a:gd name="connsiteX130" fmla="*/ 244 w 5059"/>
                  <a:gd name="connsiteY130" fmla="*/ 782 h 1043"/>
                  <a:gd name="connsiteX131" fmla="*/ 281 w 5059"/>
                  <a:gd name="connsiteY131" fmla="*/ 825 h 1043"/>
                  <a:gd name="connsiteX132" fmla="*/ 322 w 5059"/>
                  <a:gd name="connsiteY132" fmla="*/ 863 h 1043"/>
                  <a:gd name="connsiteX133" fmla="*/ 366 w 5059"/>
                  <a:gd name="connsiteY133" fmla="*/ 894 h 1043"/>
                  <a:gd name="connsiteX134" fmla="*/ 413 w 5059"/>
                  <a:gd name="connsiteY134" fmla="*/ 921 h 1043"/>
                  <a:gd name="connsiteX135" fmla="*/ 463 w 5059"/>
                  <a:gd name="connsiteY135" fmla="*/ 940 h 1043"/>
                  <a:gd name="connsiteX136" fmla="*/ 518 w 5059"/>
                  <a:gd name="connsiteY136" fmla="*/ 952 h 1043"/>
                  <a:gd name="connsiteX137" fmla="*/ 580 w 5059"/>
                  <a:gd name="connsiteY137" fmla="*/ 956 h 1043"/>
                  <a:gd name="connsiteX138" fmla="*/ 587 w 5059"/>
                  <a:gd name="connsiteY138" fmla="*/ 956 h 1043"/>
                  <a:gd name="connsiteX139" fmla="*/ 646 w 5059"/>
                  <a:gd name="connsiteY139" fmla="*/ 950 h 1043"/>
                  <a:gd name="connsiteX140" fmla="*/ 702 w 5059"/>
                  <a:gd name="connsiteY140" fmla="*/ 935 h 1043"/>
                  <a:gd name="connsiteX141" fmla="*/ 756 w 5059"/>
                  <a:gd name="connsiteY141" fmla="*/ 913 h 1043"/>
                  <a:gd name="connsiteX142" fmla="*/ 803 w 5059"/>
                  <a:gd name="connsiteY142" fmla="*/ 884 h 1043"/>
                  <a:gd name="connsiteX143" fmla="*/ 849 w 5059"/>
                  <a:gd name="connsiteY143" fmla="*/ 846 h 1043"/>
                  <a:gd name="connsiteX144" fmla="*/ 892 w 5059"/>
                  <a:gd name="connsiteY144" fmla="*/ 803 h 1043"/>
                  <a:gd name="connsiteX145" fmla="*/ 931 w 5059"/>
                  <a:gd name="connsiteY145" fmla="*/ 755 h 1043"/>
                  <a:gd name="connsiteX146" fmla="*/ 971 w 5059"/>
                  <a:gd name="connsiteY146" fmla="*/ 703 h 1043"/>
                  <a:gd name="connsiteX147" fmla="*/ 1010 w 5059"/>
                  <a:gd name="connsiteY147" fmla="*/ 649 h 1043"/>
                  <a:gd name="connsiteX148" fmla="*/ 1121 w 5059"/>
                  <a:gd name="connsiteY148" fmla="*/ 475 h 1043"/>
                  <a:gd name="connsiteX149" fmla="*/ 1161 w 5059"/>
                  <a:gd name="connsiteY149" fmla="*/ 415 h 1043"/>
                  <a:gd name="connsiteX150" fmla="*/ 1202 w 5059"/>
                  <a:gd name="connsiteY150" fmla="*/ 357 h 1043"/>
                  <a:gd name="connsiteX151" fmla="*/ 1245 w 5059"/>
                  <a:gd name="connsiteY151" fmla="*/ 299 h 1043"/>
                  <a:gd name="connsiteX152" fmla="*/ 1291 w 5059"/>
                  <a:gd name="connsiteY152" fmla="*/ 245 h 1043"/>
                  <a:gd name="connsiteX153" fmla="*/ 1338 w 5059"/>
                  <a:gd name="connsiteY153" fmla="*/ 193 h 1043"/>
                  <a:gd name="connsiteX154" fmla="*/ 1392 w 5059"/>
                  <a:gd name="connsiteY154" fmla="*/ 145 h 1043"/>
                  <a:gd name="connsiteX155" fmla="*/ 1447 w 5059"/>
                  <a:gd name="connsiteY155" fmla="*/ 104 h 1043"/>
                  <a:gd name="connsiteX156" fmla="*/ 1509 w 5059"/>
                  <a:gd name="connsiteY156" fmla="*/ 69 h 1043"/>
                  <a:gd name="connsiteX157" fmla="*/ 1575 w 5059"/>
                  <a:gd name="connsiteY157" fmla="*/ 40 h 1043"/>
                  <a:gd name="connsiteX158" fmla="*/ 1648 w 5059"/>
                  <a:gd name="connsiteY158" fmla="*/ 19 h 1043"/>
                  <a:gd name="connsiteX159" fmla="*/ 1726 w 5059"/>
                  <a:gd name="connsiteY159" fmla="*/ 6 h 1043"/>
                  <a:gd name="connsiteX160" fmla="*/ 1796 w 5059"/>
                  <a:gd name="connsiteY160" fmla="*/ 4 h 1043"/>
                  <a:gd name="connsiteX161" fmla="*/ 1862 w 5059"/>
                  <a:gd name="connsiteY161" fmla="*/ 13 h 1043"/>
                  <a:gd name="connsiteX162" fmla="*/ 1922 w 5059"/>
                  <a:gd name="connsiteY162" fmla="*/ 27 h 1043"/>
                  <a:gd name="connsiteX163" fmla="*/ 1980 w 5059"/>
                  <a:gd name="connsiteY163" fmla="*/ 50 h 1043"/>
                  <a:gd name="connsiteX164" fmla="*/ 2034 w 5059"/>
                  <a:gd name="connsiteY164" fmla="*/ 81 h 1043"/>
                  <a:gd name="connsiteX165" fmla="*/ 2083 w 5059"/>
                  <a:gd name="connsiteY165" fmla="*/ 116 h 1043"/>
                  <a:gd name="connsiteX166" fmla="*/ 2129 w 5059"/>
                  <a:gd name="connsiteY166" fmla="*/ 158 h 1043"/>
                  <a:gd name="connsiteX167" fmla="*/ 2174 w 5059"/>
                  <a:gd name="connsiteY167" fmla="*/ 203 h 1043"/>
                  <a:gd name="connsiteX168" fmla="*/ 2216 w 5059"/>
                  <a:gd name="connsiteY168" fmla="*/ 251 h 1043"/>
                  <a:gd name="connsiteX169" fmla="*/ 2255 w 5059"/>
                  <a:gd name="connsiteY169" fmla="*/ 303 h 1043"/>
                  <a:gd name="connsiteX170" fmla="*/ 2292 w 5059"/>
                  <a:gd name="connsiteY170" fmla="*/ 357 h 1043"/>
                  <a:gd name="connsiteX171" fmla="*/ 2327 w 5059"/>
                  <a:gd name="connsiteY171" fmla="*/ 413 h 1043"/>
                  <a:gd name="connsiteX172" fmla="*/ 2362 w 5059"/>
                  <a:gd name="connsiteY172" fmla="*/ 467 h 1043"/>
                  <a:gd name="connsiteX173" fmla="*/ 2395 w 5059"/>
                  <a:gd name="connsiteY173" fmla="*/ 523 h 1043"/>
                  <a:gd name="connsiteX174" fmla="*/ 2432 w 5059"/>
                  <a:gd name="connsiteY174" fmla="*/ 585 h 1043"/>
                  <a:gd name="connsiteX175" fmla="*/ 2469 w 5059"/>
                  <a:gd name="connsiteY175" fmla="*/ 643 h 1043"/>
                  <a:gd name="connsiteX176" fmla="*/ 2509 w 5059"/>
                  <a:gd name="connsiteY176" fmla="*/ 701 h 1043"/>
                  <a:gd name="connsiteX177" fmla="*/ 2546 w 5059"/>
                  <a:gd name="connsiteY177" fmla="*/ 755 h 1043"/>
                  <a:gd name="connsiteX178" fmla="*/ 2587 w 5059"/>
                  <a:gd name="connsiteY178" fmla="*/ 805 h 1043"/>
                  <a:gd name="connsiteX179" fmla="*/ 2628 w 5059"/>
                  <a:gd name="connsiteY179" fmla="*/ 848 h 1043"/>
                  <a:gd name="connsiteX180" fmla="*/ 2672 w 5059"/>
                  <a:gd name="connsiteY180" fmla="*/ 886 h 1043"/>
                  <a:gd name="connsiteX181" fmla="*/ 2717 w 5059"/>
                  <a:gd name="connsiteY181" fmla="*/ 917 h 1043"/>
                  <a:gd name="connsiteX182" fmla="*/ 2767 w 5059"/>
                  <a:gd name="connsiteY182" fmla="*/ 940 h 1043"/>
                  <a:gd name="connsiteX183" fmla="*/ 2820 w 5059"/>
                  <a:gd name="connsiteY183" fmla="*/ 952 h 1043"/>
                  <a:gd name="connsiteX184" fmla="*/ 2876 w 5059"/>
                  <a:gd name="connsiteY184" fmla="*/ 956 h 1043"/>
                  <a:gd name="connsiteX185" fmla="*/ 2932 w 5059"/>
                  <a:gd name="connsiteY185" fmla="*/ 950 h 1043"/>
                  <a:gd name="connsiteX186" fmla="*/ 2982 w 5059"/>
                  <a:gd name="connsiteY186" fmla="*/ 935 h 1043"/>
                  <a:gd name="connsiteX187" fmla="*/ 3029 w 5059"/>
                  <a:gd name="connsiteY187" fmla="*/ 915 h 1043"/>
                  <a:gd name="connsiteX188" fmla="*/ 3072 w 5059"/>
                  <a:gd name="connsiteY188" fmla="*/ 884 h 1043"/>
                  <a:gd name="connsiteX189" fmla="*/ 3112 w 5059"/>
                  <a:gd name="connsiteY189" fmla="*/ 848 h 1043"/>
                  <a:gd name="connsiteX190" fmla="*/ 3149 w 5059"/>
                  <a:gd name="connsiteY190" fmla="*/ 807 h 1043"/>
                  <a:gd name="connsiteX191" fmla="*/ 3184 w 5059"/>
                  <a:gd name="connsiteY191" fmla="*/ 759 h 1043"/>
                  <a:gd name="connsiteX192" fmla="*/ 3217 w 5059"/>
                  <a:gd name="connsiteY192" fmla="*/ 709 h 1043"/>
                  <a:gd name="connsiteX193" fmla="*/ 3250 w 5059"/>
                  <a:gd name="connsiteY193" fmla="*/ 655 h 1043"/>
                  <a:gd name="connsiteX194" fmla="*/ 3283 w 5059"/>
                  <a:gd name="connsiteY194" fmla="*/ 597 h 1043"/>
                  <a:gd name="connsiteX195" fmla="*/ 3316 w 5059"/>
                  <a:gd name="connsiteY195" fmla="*/ 537 h 1043"/>
                  <a:gd name="connsiteX196" fmla="*/ 3345 w 5059"/>
                  <a:gd name="connsiteY196" fmla="*/ 483 h 1043"/>
                  <a:gd name="connsiteX197" fmla="*/ 3407 w 5059"/>
                  <a:gd name="connsiteY197" fmla="*/ 375 h 1043"/>
                  <a:gd name="connsiteX198" fmla="*/ 3477 w 5059"/>
                  <a:gd name="connsiteY198" fmla="*/ 272 h 1043"/>
                  <a:gd name="connsiteX199" fmla="*/ 3514 w 5059"/>
                  <a:gd name="connsiteY199" fmla="*/ 224 h 1043"/>
                  <a:gd name="connsiteX200" fmla="*/ 3555 w 5059"/>
                  <a:gd name="connsiteY200" fmla="*/ 178 h 1043"/>
                  <a:gd name="connsiteX201" fmla="*/ 3599 w 5059"/>
                  <a:gd name="connsiteY201" fmla="*/ 137 h 1043"/>
                  <a:gd name="connsiteX202" fmla="*/ 3646 w 5059"/>
                  <a:gd name="connsiteY202" fmla="*/ 100 h 1043"/>
                  <a:gd name="connsiteX203" fmla="*/ 3698 w 5059"/>
                  <a:gd name="connsiteY203" fmla="*/ 66 h 1043"/>
                  <a:gd name="connsiteX204" fmla="*/ 3756 w 5059"/>
                  <a:gd name="connsiteY204" fmla="*/ 40 h 1043"/>
                  <a:gd name="connsiteX205" fmla="*/ 3816 w 5059"/>
                  <a:gd name="connsiteY205" fmla="*/ 19 h 1043"/>
                  <a:gd name="connsiteX206" fmla="*/ 3882 w 5059"/>
                  <a:gd name="connsiteY206" fmla="*/ 6 h 1043"/>
                  <a:gd name="connsiteX207" fmla="*/ 3954 w 5059"/>
                  <a:gd name="connsiteY207" fmla="*/ 0 h 1043"/>
                  <a:gd name="connsiteX0" fmla="*/ 3954 w 5030"/>
                  <a:gd name="connsiteY0" fmla="*/ 0 h 1043"/>
                  <a:gd name="connsiteX1" fmla="*/ 4004 w 5030"/>
                  <a:gd name="connsiteY1" fmla="*/ 0 h 1043"/>
                  <a:gd name="connsiteX2" fmla="*/ 4032 w 5030"/>
                  <a:gd name="connsiteY2" fmla="*/ 4 h 1043"/>
                  <a:gd name="connsiteX3" fmla="*/ 4063 w 5030"/>
                  <a:gd name="connsiteY3" fmla="*/ 13 h 1043"/>
                  <a:gd name="connsiteX4" fmla="*/ 4101 w 5030"/>
                  <a:gd name="connsiteY4" fmla="*/ 23 h 1043"/>
                  <a:gd name="connsiteX5" fmla="*/ 4142 w 5030"/>
                  <a:gd name="connsiteY5" fmla="*/ 40 h 1043"/>
                  <a:gd name="connsiteX6" fmla="*/ 4185 w 5030"/>
                  <a:gd name="connsiteY6" fmla="*/ 60 h 1043"/>
                  <a:gd name="connsiteX7" fmla="*/ 4233 w 5030"/>
                  <a:gd name="connsiteY7" fmla="*/ 89 h 1043"/>
                  <a:gd name="connsiteX8" fmla="*/ 4282 w 5030"/>
                  <a:gd name="connsiteY8" fmla="*/ 125 h 1043"/>
                  <a:gd name="connsiteX9" fmla="*/ 4332 w 5030"/>
                  <a:gd name="connsiteY9" fmla="*/ 170 h 1043"/>
                  <a:gd name="connsiteX10" fmla="*/ 4383 w 5030"/>
                  <a:gd name="connsiteY10" fmla="*/ 224 h 1043"/>
                  <a:gd name="connsiteX11" fmla="*/ 4435 w 5030"/>
                  <a:gd name="connsiteY11" fmla="*/ 286 h 1043"/>
                  <a:gd name="connsiteX12" fmla="*/ 4487 w 5030"/>
                  <a:gd name="connsiteY12" fmla="*/ 361 h 1043"/>
                  <a:gd name="connsiteX13" fmla="*/ 4538 w 5030"/>
                  <a:gd name="connsiteY13" fmla="*/ 448 h 1043"/>
                  <a:gd name="connsiteX14" fmla="*/ 4590 w 5030"/>
                  <a:gd name="connsiteY14" fmla="*/ 548 h 1043"/>
                  <a:gd name="connsiteX15" fmla="*/ 4635 w 5030"/>
                  <a:gd name="connsiteY15" fmla="*/ 633 h 1043"/>
                  <a:gd name="connsiteX16" fmla="*/ 4681 w 5030"/>
                  <a:gd name="connsiteY16" fmla="*/ 705 h 1043"/>
                  <a:gd name="connsiteX17" fmla="*/ 4728 w 5030"/>
                  <a:gd name="connsiteY17" fmla="*/ 767 h 1043"/>
                  <a:gd name="connsiteX18" fmla="*/ 4776 w 5030"/>
                  <a:gd name="connsiteY18" fmla="*/ 819 h 1043"/>
                  <a:gd name="connsiteX19" fmla="*/ 4821 w 5030"/>
                  <a:gd name="connsiteY19" fmla="*/ 863 h 1043"/>
                  <a:gd name="connsiteX20" fmla="*/ 4869 w 5030"/>
                  <a:gd name="connsiteY20" fmla="*/ 898 h 1043"/>
                  <a:gd name="connsiteX21" fmla="*/ 5030 w 5030"/>
                  <a:gd name="connsiteY21" fmla="*/ 973 h 1043"/>
                  <a:gd name="connsiteX22" fmla="*/ 4767 w 5030"/>
                  <a:gd name="connsiteY22" fmla="*/ 931 h 1043"/>
                  <a:gd name="connsiteX23" fmla="*/ 4716 w 5030"/>
                  <a:gd name="connsiteY23" fmla="*/ 881 h 1043"/>
                  <a:gd name="connsiteX24" fmla="*/ 4662 w 5030"/>
                  <a:gd name="connsiteY24" fmla="*/ 823 h 1043"/>
                  <a:gd name="connsiteX25" fmla="*/ 4611 w 5030"/>
                  <a:gd name="connsiteY25" fmla="*/ 755 h 1043"/>
                  <a:gd name="connsiteX26" fmla="*/ 4561 w 5030"/>
                  <a:gd name="connsiteY26" fmla="*/ 676 h 1043"/>
                  <a:gd name="connsiteX27" fmla="*/ 4513 w 5030"/>
                  <a:gd name="connsiteY27" fmla="*/ 583 h 1043"/>
                  <a:gd name="connsiteX28" fmla="*/ 4464 w 5030"/>
                  <a:gd name="connsiteY28" fmla="*/ 487 h 1043"/>
                  <a:gd name="connsiteX29" fmla="*/ 4414 w 5030"/>
                  <a:gd name="connsiteY29" fmla="*/ 404 h 1043"/>
                  <a:gd name="connsiteX30" fmla="*/ 4365 w 5030"/>
                  <a:gd name="connsiteY30" fmla="*/ 336 h 1043"/>
                  <a:gd name="connsiteX31" fmla="*/ 4315 w 5030"/>
                  <a:gd name="connsiteY31" fmla="*/ 276 h 1043"/>
                  <a:gd name="connsiteX32" fmla="*/ 4268 w 5030"/>
                  <a:gd name="connsiteY32" fmla="*/ 228 h 1043"/>
                  <a:gd name="connsiteX33" fmla="*/ 4222 w 5030"/>
                  <a:gd name="connsiteY33" fmla="*/ 189 h 1043"/>
                  <a:gd name="connsiteX34" fmla="*/ 4181 w 5030"/>
                  <a:gd name="connsiteY34" fmla="*/ 158 h 1043"/>
                  <a:gd name="connsiteX35" fmla="*/ 4142 w 5030"/>
                  <a:gd name="connsiteY35" fmla="*/ 135 h 1043"/>
                  <a:gd name="connsiteX36" fmla="*/ 4092 w 5030"/>
                  <a:gd name="connsiteY36" fmla="*/ 112 h 1043"/>
                  <a:gd name="connsiteX37" fmla="*/ 4049 w 5030"/>
                  <a:gd name="connsiteY37" fmla="*/ 98 h 1043"/>
                  <a:gd name="connsiteX38" fmla="*/ 4014 w 5030"/>
                  <a:gd name="connsiteY38" fmla="*/ 89 h 1043"/>
                  <a:gd name="connsiteX39" fmla="*/ 3985 w 5030"/>
                  <a:gd name="connsiteY39" fmla="*/ 87 h 1043"/>
                  <a:gd name="connsiteX40" fmla="*/ 3958 w 5030"/>
                  <a:gd name="connsiteY40" fmla="*/ 87 h 1043"/>
                  <a:gd name="connsiteX41" fmla="*/ 3892 w 5030"/>
                  <a:gd name="connsiteY41" fmla="*/ 93 h 1043"/>
                  <a:gd name="connsiteX42" fmla="*/ 3830 w 5030"/>
                  <a:gd name="connsiteY42" fmla="*/ 106 h 1043"/>
                  <a:gd name="connsiteX43" fmla="*/ 3774 w 5030"/>
                  <a:gd name="connsiteY43" fmla="*/ 127 h 1043"/>
                  <a:gd name="connsiteX44" fmla="*/ 3723 w 5030"/>
                  <a:gd name="connsiteY44" fmla="*/ 154 h 1043"/>
                  <a:gd name="connsiteX45" fmla="*/ 3675 w 5030"/>
                  <a:gd name="connsiteY45" fmla="*/ 187 h 1043"/>
                  <a:gd name="connsiteX46" fmla="*/ 3632 w 5030"/>
                  <a:gd name="connsiteY46" fmla="*/ 224 h 1043"/>
                  <a:gd name="connsiteX47" fmla="*/ 3593 w 5030"/>
                  <a:gd name="connsiteY47" fmla="*/ 268 h 1043"/>
                  <a:gd name="connsiteX48" fmla="*/ 3553 w 5030"/>
                  <a:gd name="connsiteY48" fmla="*/ 313 h 1043"/>
                  <a:gd name="connsiteX49" fmla="*/ 3518 w 5030"/>
                  <a:gd name="connsiteY49" fmla="*/ 363 h 1043"/>
                  <a:gd name="connsiteX50" fmla="*/ 3485 w 5030"/>
                  <a:gd name="connsiteY50" fmla="*/ 415 h 1043"/>
                  <a:gd name="connsiteX51" fmla="*/ 3423 w 5030"/>
                  <a:gd name="connsiteY51" fmla="*/ 523 h 1043"/>
                  <a:gd name="connsiteX52" fmla="*/ 3330 w 5030"/>
                  <a:gd name="connsiteY52" fmla="*/ 691 h 1043"/>
                  <a:gd name="connsiteX53" fmla="*/ 3297 w 5030"/>
                  <a:gd name="connsiteY53" fmla="*/ 747 h 1043"/>
                  <a:gd name="connsiteX54" fmla="*/ 3262 w 5030"/>
                  <a:gd name="connsiteY54" fmla="*/ 799 h 1043"/>
                  <a:gd name="connsiteX55" fmla="*/ 3227 w 5030"/>
                  <a:gd name="connsiteY55" fmla="*/ 848 h 1043"/>
                  <a:gd name="connsiteX56" fmla="*/ 3188 w 5030"/>
                  <a:gd name="connsiteY56" fmla="*/ 894 h 1043"/>
                  <a:gd name="connsiteX57" fmla="*/ 3147 w 5030"/>
                  <a:gd name="connsiteY57" fmla="*/ 935 h 1043"/>
                  <a:gd name="connsiteX58" fmla="*/ 3101 w 5030"/>
                  <a:gd name="connsiteY58" fmla="*/ 971 h 1043"/>
                  <a:gd name="connsiteX59" fmla="*/ 3052 w 5030"/>
                  <a:gd name="connsiteY59" fmla="*/ 1000 h 1043"/>
                  <a:gd name="connsiteX60" fmla="*/ 3000 w 5030"/>
                  <a:gd name="connsiteY60" fmla="*/ 1022 h 1043"/>
                  <a:gd name="connsiteX61" fmla="*/ 2942 w 5030"/>
                  <a:gd name="connsiteY61" fmla="*/ 1037 h 1043"/>
                  <a:gd name="connsiteX62" fmla="*/ 2878 w 5030"/>
                  <a:gd name="connsiteY62" fmla="*/ 1043 h 1043"/>
                  <a:gd name="connsiteX63" fmla="*/ 2870 w 5030"/>
                  <a:gd name="connsiteY63" fmla="*/ 1043 h 1043"/>
                  <a:gd name="connsiteX64" fmla="*/ 2808 w 5030"/>
                  <a:gd name="connsiteY64" fmla="*/ 1039 h 1043"/>
                  <a:gd name="connsiteX65" fmla="*/ 2748 w 5030"/>
                  <a:gd name="connsiteY65" fmla="*/ 1025 h 1043"/>
                  <a:gd name="connsiteX66" fmla="*/ 2695 w 5030"/>
                  <a:gd name="connsiteY66" fmla="*/ 1002 h 1043"/>
                  <a:gd name="connsiteX67" fmla="*/ 2643 w 5030"/>
                  <a:gd name="connsiteY67" fmla="*/ 973 h 1043"/>
                  <a:gd name="connsiteX68" fmla="*/ 2595 w 5030"/>
                  <a:gd name="connsiteY68" fmla="*/ 935 h 1043"/>
                  <a:gd name="connsiteX69" fmla="*/ 2552 w 5030"/>
                  <a:gd name="connsiteY69" fmla="*/ 894 h 1043"/>
                  <a:gd name="connsiteX70" fmla="*/ 2509 w 5030"/>
                  <a:gd name="connsiteY70" fmla="*/ 846 h 1043"/>
                  <a:gd name="connsiteX71" fmla="*/ 2469 w 5030"/>
                  <a:gd name="connsiteY71" fmla="*/ 796 h 1043"/>
                  <a:gd name="connsiteX72" fmla="*/ 2430 w 5030"/>
                  <a:gd name="connsiteY72" fmla="*/ 740 h 1043"/>
                  <a:gd name="connsiteX73" fmla="*/ 2393 w 5030"/>
                  <a:gd name="connsiteY73" fmla="*/ 684 h 1043"/>
                  <a:gd name="connsiteX74" fmla="*/ 2288 w 5030"/>
                  <a:gd name="connsiteY74" fmla="*/ 510 h 1043"/>
                  <a:gd name="connsiteX75" fmla="*/ 2251 w 5030"/>
                  <a:gd name="connsiteY75" fmla="*/ 452 h 1043"/>
                  <a:gd name="connsiteX76" fmla="*/ 2213 w 5030"/>
                  <a:gd name="connsiteY76" fmla="*/ 396 h 1043"/>
                  <a:gd name="connsiteX77" fmla="*/ 2176 w 5030"/>
                  <a:gd name="connsiteY77" fmla="*/ 342 h 1043"/>
                  <a:gd name="connsiteX78" fmla="*/ 2137 w 5030"/>
                  <a:gd name="connsiteY78" fmla="*/ 293 h 1043"/>
                  <a:gd name="connsiteX79" fmla="*/ 2096 w 5030"/>
                  <a:gd name="connsiteY79" fmla="*/ 247 h 1043"/>
                  <a:gd name="connsiteX80" fmla="*/ 2054 w 5030"/>
                  <a:gd name="connsiteY80" fmla="*/ 205 h 1043"/>
                  <a:gd name="connsiteX81" fmla="*/ 2009 w 5030"/>
                  <a:gd name="connsiteY81" fmla="*/ 168 h 1043"/>
                  <a:gd name="connsiteX82" fmla="*/ 1962 w 5030"/>
                  <a:gd name="connsiteY82" fmla="*/ 139 h 1043"/>
                  <a:gd name="connsiteX83" fmla="*/ 1910 w 5030"/>
                  <a:gd name="connsiteY83" fmla="*/ 116 h 1043"/>
                  <a:gd name="connsiteX84" fmla="*/ 1854 w 5030"/>
                  <a:gd name="connsiteY84" fmla="*/ 100 h 1043"/>
                  <a:gd name="connsiteX85" fmla="*/ 1796 w 5030"/>
                  <a:gd name="connsiteY85" fmla="*/ 91 h 1043"/>
                  <a:gd name="connsiteX86" fmla="*/ 1732 w 5030"/>
                  <a:gd name="connsiteY86" fmla="*/ 93 h 1043"/>
                  <a:gd name="connsiteX87" fmla="*/ 1664 w 5030"/>
                  <a:gd name="connsiteY87" fmla="*/ 104 h 1043"/>
                  <a:gd name="connsiteX88" fmla="*/ 1602 w 5030"/>
                  <a:gd name="connsiteY88" fmla="*/ 122 h 1043"/>
                  <a:gd name="connsiteX89" fmla="*/ 1545 w 5030"/>
                  <a:gd name="connsiteY89" fmla="*/ 147 h 1043"/>
                  <a:gd name="connsiteX90" fmla="*/ 1491 w 5030"/>
                  <a:gd name="connsiteY90" fmla="*/ 181 h 1043"/>
                  <a:gd name="connsiteX91" fmla="*/ 1439 w 5030"/>
                  <a:gd name="connsiteY91" fmla="*/ 218 h 1043"/>
                  <a:gd name="connsiteX92" fmla="*/ 1394 w 5030"/>
                  <a:gd name="connsiteY92" fmla="*/ 261 h 1043"/>
                  <a:gd name="connsiteX93" fmla="*/ 1348 w 5030"/>
                  <a:gd name="connsiteY93" fmla="*/ 307 h 1043"/>
                  <a:gd name="connsiteX94" fmla="*/ 1307 w 5030"/>
                  <a:gd name="connsiteY94" fmla="*/ 359 h 1043"/>
                  <a:gd name="connsiteX95" fmla="*/ 1268 w 5030"/>
                  <a:gd name="connsiteY95" fmla="*/ 413 h 1043"/>
                  <a:gd name="connsiteX96" fmla="*/ 1231 w 5030"/>
                  <a:gd name="connsiteY96" fmla="*/ 467 h 1043"/>
                  <a:gd name="connsiteX97" fmla="*/ 1194 w 5030"/>
                  <a:gd name="connsiteY97" fmla="*/ 523 h 1043"/>
                  <a:gd name="connsiteX98" fmla="*/ 1156 w 5030"/>
                  <a:gd name="connsiteY98" fmla="*/ 581 h 1043"/>
                  <a:gd name="connsiteX99" fmla="*/ 1121 w 5030"/>
                  <a:gd name="connsiteY99" fmla="*/ 637 h 1043"/>
                  <a:gd name="connsiteX100" fmla="*/ 1047 w 5030"/>
                  <a:gd name="connsiteY100" fmla="*/ 749 h 1043"/>
                  <a:gd name="connsiteX101" fmla="*/ 1008 w 5030"/>
                  <a:gd name="connsiteY101" fmla="*/ 801 h 1043"/>
                  <a:gd name="connsiteX102" fmla="*/ 966 w 5030"/>
                  <a:gd name="connsiteY102" fmla="*/ 850 h 1043"/>
                  <a:gd name="connsiteX103" fmla="*/ 923 w 5030"/>
                  <a:gd name="connsiteY103" fmla="*/ 896 h 1043"/>
                  <a:gd name="connsiteX104" fmla="*/ 876 w 5030"/>
                  <a:gd name="connsiteY104" fmla="*/ 937 h 1043"/>
                  <a:gd name="connsiteX105" fmla="*/ 826 w 5030"/>
                  <a:gd name="connsiteY105" fmla="*/ 973 h 1043"/>
                  <a:gd name="connsiteX106" fmla="*/ 772 w 5030"/>
                  <a:gd name="connsiteY106" fmla="*/ 1002 h 1043"/>
                  <a:gd name="connsiteX107" fmla="*/ 717 w 5030"/>
                  <a:gd name="connsiteY107" fmla="*/ 1025 h 1043"/>
                  <a:gd name="connsiteX108" fmla="*/ 653 w 5030"/>
                  <a:gd name="connsiteY108" fmla="*/ 1037 h 1043"/>
                  <a:gd name="connsiteX109" fmla="*/ 587 w 5030"/>
                  <a:gd name="connsiteY109" fmla="*/ 1043 h 1043"/>
                  <a:gd name="connsiteX110" fmla="*/ 580 w 5030"/>
                  <a:gd name="connsiteY110" fmla="*/ 1043 h 1043"/>
                  <a:gd name="connsiteX111" fmla="*/ 512 w 5030"/>
                  <a:gd name="connsiteY111" fmla="*/ 1039 h 1043"/>
                  <a:gd name="connsiteX112" fmla="*/ 450 w 5030"/>
                  <a:gd name="connsiteY112" fmla="*/ 1027 h 1043"/>
                  <a:gd name="connsiteX113" fmla="*/ 392 w 5030"/>
                  <a:gd name="connsiteY113" fmla="*/ 1008 h 1043"/>
                  <a:gd name="connsiteX114" fmla="*/ 341 w 5030"/>
                  <a:gd name="connsiteY114" fmla="*/ 983 h 1043"/>
                  <a:gd name="connsiteX115" fmla="*/ 293 w 5030"/>
                  <a:gd name="connsiteY115" fmla="*/ 952 h 1043"/>
                  <a:gd name="connsiteX116" fmla="*/ 248 w 5030"/>
                  <a:gd name="connsiteY116" fmla="*/ 915 h 1043"/>
                  <a:gd name="connsiteX117" fmla="*/ 207 w 5030"/>
                  <a:gd name="connsiteY117" fmla="*/ 873 h 1043"/>
                  <a:gd name="connsiteX118" fmla="*/ 169 w 5030"/>
                  <a:gd name="connsiteY118" fmla="*/ 828 h 1043"/>
                  <a:gd name="connsiteX119" fmla="*/ 132 w 5030"/>
                  <a:gd name="connsiteY119" fmla="*/ 780 h 1043"/>
                  <a:gd name="connsiteX120" fmla="*/ 99 w 5030"/>
                  <a:gd name="connsiteY120" fmla="*/ 728 h 1043"/>
                  <a:gd name="connsiteX121" fmla="*/ 64 w 5030"/>
                  <a:gd name="connsiteY121" fmla="*/ 674 h 1043"/>
                  <a:gd name="connsiteX122" fmla="*/ 33 w 5030"/>
                  <a:gd name="connsiteY122" fmla="*/ 618 h 1043"/>
                  <a:gd name="connsiteX123" fmla="*/ 0 w 5030"/>
                  <a:gd name="connsiteY123" fmla="*/ 560 h 1043"/>
                  <a:gd name="connsiteX124" fmla="*/ 77 w 5030"/>
                  <a:gd name="connsiteY124" fmla="*/ 516 h 1043"/>
                  <a:gd name="connsiteX125" fmla="*/ 110 w 5030"/>
                  <a:gd name="connsiteY125" fmla="*/ 575 h 1043"/>
                  <a:gd name="connsiteX126" fmla="*/ 143 w 5030"/>
                  <a:gd name="connsiteY126" fmla="*/ 631 h 1043"/>
                  <a:gd name="connsiteX127" fmla="*/ 176 w 5030"/>
                  <a:gd name="connsiteY127" fmla="*/ 684 h 1043"/>
                  <a:gd name="connsiteX128" fmla="*/ 209 w 5030"/>
                  <a:gd name="connsiteY128" fmla="*/ 736 h 1043"/>
                  <a:gd name="connsiteX129" fmla="*/ 244 w 5030"/>
                  <a:gd name="connsiteY129" fmla="*/ 782 h 1043"/>
                  <a:gd name="connsiteX130" fmla="*/ 281 w 5030"/>
                  <a:gd name="connsiteY130" fmla="*/ 825 h 1043"/>
                  <a:gd name="connsiteX131" fmla="*/ 322 w 5030"/>
                  <a:gd name="connsiteY131" fmla="*/ 863 h 1043"/>
                  <a:gd name="connsiteX132" fmla="*/ 366 w 5030"/>
                  <a:gd name="connsiteY132" fmla="*/ 894 h 1043"/>
                  <a:gd name="connsiteX133" fmla="*/ 413 w 5030"/>
                  <a:gd name="connsiteY133" fmla="*/ 921 h 1043"/>
                  <a:gd name="connsiteX134" fmla="*/ 463 w 5030"/>
                  <a:gd name="connsiteY134" fmla="*/ 940 h 1043"/>
                  <a:gd name="connsiteX135" fmla="*/ 518 w 5030"/>
                  <a:gd name="connsiteY135" fmla="*/ 952 h 1043"/>
                  <a:gd name="connsiteX136" fmla="*/ 580 w 5030"/>
                  <a:gd name="connsiteY136" fmla="*/ 956 h 1043"/>
                  <a:gd name="connsiteX137" fmla="*/ 587 w 5030"/>
                  <a:gd name="connsiteY137" fmla="*/ 956 h 1043"/>
                  <a:gd name="connsiteX138" fmla="*/ 646 w 5030"/>
                  <a:gd name="connsiteY138" fmla="*/ 950 h 1043"/>
                  <a:gd name="connsiteX139" fmla="*/ 702 w 5030"/>
                  <a:gd name="connsiteY139" fmla="*/ 935 h 1043"/>
                  <a:gd name="connsiteX140" fmla="*/ 756 w 5030"/>
                  <a:gd name="connsiteY140" fmla="*/ 913 h 1043"/>
                  <a:gd name="connsiteX141" fmla="*/ 803 w 5030"/>
                  <a:gd name="connsiteY141" fmla="*/ 884 h 1043"/>
                  <a:gd name="connsiteX142" fmla="*/ 849 w 5030"/>
                  <a:gd name="connsiteY142" fmla="*/ 846 h 1043"/>
                  <a:gd name="connsiteX143" fmla="*/ 892 w 5030"/>
                  <a:gd name="connsiteY143" fmla="*/ 803 h 1043"/>
                  <a:gd name="connsiteX144" fmla="*/ 931 w 5030"/>
                  <a:gd name="connsiteY144" fmla="*/ 755 h 1043"/>
                  <a:gd name="connsiteX145" fmla="*/ 971 w 5030"/>
                  <a:gd name="connsiteY145" fmla="*/ 703 h 1043"/>
                  <a:gd name="connsiteX146" fmla="*/ 1010 w 5030"/>
                  <a:gd name="connsiteY146" fmla="*/ 649 h 1043"/>
                  <a:gd name="connsiteX147" fmla="*/ 1121 w 5030"/>
                  <a:gd name="connsiteY147" fmla="*/ 475 h 1043"/>
                  <a:gd name="connsiteX148" fmla="*/ 1161 w 5030"/>
                  <a:gd name="connsiteY148" fmla="*/ 415 h 1043"/>
                  <a:gd name="connsiteX149" fmla="*/ 1202 w 5030"/>
                  <a:gd name="connsiteY149" fmla="*/ 357 h 1043"/>
                  <a:gd name="connsiteX150" fmla="*/ 1245 w 5030"/>
                  <a:gd name="connsiteY150" fmla="*/ 299 h 1043"/>
                  <a:gd name="connsiteX151" fmla="*/ 1291 w 5030"/>
                  <a:gd name="connsiteY151" fmla="*/ 245 h 1043"/>
                  <a:gd name="connsiteX152" fmla="*/ 1338 w 5030"/>
                  <a:gd name="connsiteY152" fmla="*/ 193 h 1043"/>
                  <a:gd name="connsiteX153" fmla="*/ 1392 w 5030"/>
                  <a:gd name="connsiteY153" fmla="*/ 145 h 1043"/>
                  <a:gd name="connsiteX154" fmla="*/ 1447 w 5030"/>
                  <a:gd name="connsiteY154" fmla="*/ 104 h 1043"/>
                  <a:gd name="connsiteX155" fmla="*/ 1509 w 5030"/>
                  <a:gd name="connsiteY155" fmla="*/ 69 h 1043"/>
                  <a:gd name="connsiteX156" fmla="*/ 1575 w 5030"/>
                  <a:gd name="connsiteY156" fmla="*/ 40 h 1043"/>
                  <a:gd name="connsiteX157" fmla="*/ 1648 w 5030"/>
                  <a:gd name="connsiteY157" fmla="*/ 19 h 1043"/>
                  <a:gd name="connsiteX158" fmla="*/ 1726 w 5030"/>
                  <a:gd name="connsiteY158" fmla="*/ 6 h 1043"/>
                  <a:gd name="connsiteX159" fmla="*/ 1796 w 5030"/>
                  <a:gd name="connsiteY159" fmla="*/ 4 h 1043"/>
                  <a:gd name="connsiteX160" fmla="*/ 1862 w 5030"/>
                  <a:gd name="connsiteY160" fmla="*/ 13 h 1043"/>
                  <a:gd name="connsiteX161" fmla="*/ 1922 w 5030"/>
                  <a:gd name="connsiteY161" fmla="*/ 27 h 1043"/>
                  <a:gd name="connsiteX162" fmla="*/ 1980 w 5030"/>
                  <a:gd name="connsiteY162" fmla="*/ 50 h 1043"/>
                  <a:gd name="connsiteX163" fmla="*/ 2034 w 5030"/>
                  <a:gd name="connsiteY163" fmla="*/ 81 h 1043"/>
                  <a:gd name="connsiteX164" fmla="*/ 2083 w 5030"/>
                  <a:gd name="connsiteY164" fmla="*/ 116 h 1043"/>
                  <a:gd name="connsiteX165" fmla="*/ 2129 w 5030"/>
                  <a:gd name="connsiteY165" fmla="*/ 158 h 1043"/>
                  <a:gd name="connsiteX166" fmla="*/ 2174 w 5030"/>
                  <a:gd name="connsiteY166" fmla="*/ 203 h 1043"/>
                  <a:gd name="connsiteX167" fmla="*/ 2216 w 5030"/>
                  <a:gd name="connsiteY167" fmla="*/ 251 h 1043"/>
                  <a:gd name="connsiteX168" fmla="*/ 2255 w 5030"/>
                  <a:gd name="connsiteY168" fmla="*/ 303 h 1043"/>
                  <a:gd name="connsiteX169" fmla="*/ 2292 w 5030"/>
                  <a:gd name="connsiteY169" fmla="*/ 357 h 1043"/>
                  <a:gd name="connsiteX170" fmla="*/ 2327 w 5030"/>
                  <a:gd name="connsiteY170" fmla="*/ 413 h 1043"/>
                  <a:gd name="connsiteX171" fmla="*/ 2362 w 5030"/>
                  <a:gd name="connsiteY171" fmla="*/ 467 h 1043"/>
                  <a:gd name="connsiteX172" fmla="*/ 2395 w 5030"/>
                  <a:gd name="connsiteY172" fmla="*/ 523 h 1043"/>
                  <a:gd name="connsiteX173" fmla="*/ 2432 w 5030"/>
                  <a:gd name="connsiteY173" fmla="*/ 585 h 1043"/>
                  <a:gd name="connsiteX174" fmla="*/ 2469 w 5030"/>
                  <a:gd name="connsiteY174" fmla="*/ 643 h 1043"/>
                  <a:gd name="connsiteX175" fmla="*/ 2509 w 5030"/>
                  <a:gd name="connsiteY175" fmla="*/ 701 h 1043"/>
                  <a:gd name="connsiteX176" fmla="*/ 2546 w 5030"/>
                  <a:gd name="connsiteY176" fmla="*/ 755 h 1043"/>
                  <a:gd name="connsiteX177" fmla="*/ 2587 w 5030"/>
                  <a:gd name="connsiteY177" fmla="*/ 805 h 1043"/>
                  <a:gd name="connsiteX178" fmla="*/ 2628 w 5030"/>
                  <a:gd name="connsiteY178" fmla="*/ 848 h 1043"/>
                  <a:gd name="connsiteX179" fmla="*/ 2672 w 5030"/>
                  <a:gd name="connsiteY179" fmla="*/ 886 h 1043"/>
                  <a:gd name="connsiteX180" fmla="*/ 2717 w 5030"/>
                  <a:gd name="connsiteY180" fmla="*/ 917 h 1043"/>
                  <a:gd name="connsiteX181" fmla="*/ 2767 w 5030"/>
                  <a:gd name="connsiteY181" fmla="*/ 940 h 1043"/>
                  <a:gd name="connsiteX182" fmla="*/ 2820 w 5030"/>
                  <a:gd name="connsiteY182" fmla="*/ 952 h 1043"/>
                  <a:gd name="connsiteX183" fmla="*/ 2876 w 5030"/>
                  <a:gd name="connsiteY183" fmla="*/ 956 h 1043"/>
                  <a:gd name="connsiteX184" fmla="*/ 2932 w 5030"/>
                  <a:gd name="connsiteY184" fmla="*/ 950 h 1043"/>
                  <a:gd name="connsiteX185" fmla="*/ 2982 w 5030"/>
                  <a:gd name="connsiteY185" fmla="*/ 935 h 1043"/>
                  <a:gd name="connsiteX186" fmla="*/ 3029 w 5030"/>
                  <a:gd name="connsiteY186" fmla="*/ 915 h 1043"/>
                  <a:gd name="connsiteX187" fmla="*/ 3072 w 5030"/>
                  <a:gd name="connsiteY187" fmla="*/ 884 h 1043"/>
                  <a:gd name="connsiteX188" fmla="*/ 3112 w 5030"/>
                  <a:gd name="connsiteY188" fmla="*/ 848 h 1043"/>
                  <a:gd name="connsiteX189" fmla="*/ 3149 w 5030"/>
                  <a:gd name="connsiteY189" fmla="*/ 807 h 1043"/>
                  <a:gd name="connsiteX190" fmla="*/ 3184 w 5030"/>
                  <a:gd name="connsiteY190" fmla="*/ 759 h 1043"/>
                  <a:gd name="connsiteX191" fmla="*/ 3217 w 5030"/>
                  <a:gd name="connsiteY191" fmla="*/ 709 h 1043"/>
                  <a:gd name="connsiteX192" fmla="*/ 3250 w 5030"/>
                  <a:gd name="connsiteY192" fmla="*/ 655 h 1043"/>
                  <a:gd name="connsiteX193" fmla="*/ 3283 w 5030"/>
                  <a:gd name="connsiteY193" fmla="*/ 597 h 1043"/>
                  <a:gd name="connsiteX194" fmla="*/ 3316 w 5030"/>
                  <a:gd name="connsiteY194" fmla="*/ 537 h 1043"/>
                  <a:gd name="connsiteX195" fmla="*/ 3345 w 5030"/>
                  <a:gd name="connsiteY195" fmla="*/ 483 h 1043"/>
                  <a:gd name="connsiteX196" fmla="*/ 3407 w 5030"/>
                  <a:gd name="connsiteY196" fmla="*/ 375 h 1043"/>
                  <a:gd name="connsiteX197" fmla="*/ 3477 w 5030"/>
                  <a:gd name="connsiteY197" fmla="*/ 272 h 1043"/>
                  <a:gd name="connsiteX198" fmla="*/ 3514 w 5030"/>
                  <a:gd name="connsiteY198" fmla="*/ 224 h 1043"/>
                  <a:gd name="connsiteX199" fmla="*/ 3555 w 5030"/>
                  <a:gd name="connsiteY199" fmla="*/ 178 h 1043"/>
                  <a:gd name="connsiteX200" fmla="*/ 3599 w 5030"/>
                  <a:gd name="connsiteY200" fmla="*/ 137 h 1043"/>
                  <a:gd name="connsiteX201" fmla="*/ 3646 w 5030"/>
                  <a:gd name="connsiteY201" fmla="*/ 100 h 1043"/>
                  <a:gd name="connsiteX202" fmla="*/ 3698 w 5030"/>
                  <a:gd name="connsiteY202" fmla="*/ 66 h 1043"/>
                  <a:gd name="connsiteX203" fmla="*/ 3756 w 5030"/>
                  <a:gd name="connsiteY203" fmla="*/ 40 h 1043"/>
                  <a:gd name="connsiteX204" fmla="*/ 3816 w 5030"/>
                  <a:gd name="connsiteY204" fmla="*/ 19 h 1043"/>
                  <a:gd name="connsiteX205" fmla="*/ 3882 w 5030"/>
                  <a:gd name="connsiteY205" fmla="*/ 6 h 1043"/>
                  <a:gd name="connsiteX206" fmla="*/ 3954 w 5030"/>
                  <a:gd name="connsiteY206" fmla="*/ 0 h 1043"/>
                  <a:gd name="connsiteX0" fmla="*/ 3954 w 4869"/>
                  <a:gd name="connsiteY0" fmla="*/ 0 h 1043"/>
                  <a:gd name="connsiteX1" fmla="*/ 4004 w 4869"/>
                  <a:gd name="connsiteY1" fmla="*/ 0 h 1043"/>
                  <a:gd name="connsiteX2" fmla="*/ 4032 w 4869"/>
                  <a:gd name="connsiteY2" fmla="*/ 4 h 1043"/>
                  <a:gd name="connsiteX3" fmla="*/ 4063 w 4869"/>
                  <a:gd name="connsiteY3" fmla="*/ 13 h 1043"/>
                  <a:gd name="connsiteX4" fmla="*/ 4101 w 4869"/>
                  <a:gd name="connsiteY4" fmla="*/ 23 h 1043"/>
                  <a:gd name="connsiteX5" fmla="*/ 4142 w 4869"/>
                  <a:gd name="connsiteY5" fmla="*/ 40 h 1043"/>
                  <a:gd name="connsiteX6" fmla="*/ 4185 w 4869"/>
                  <a:gd name="connsiteY6" fmla="*/ 60 h 1043"/>
                  <a:gd name="connsiteX7" fmla="*/ 4233 w 4869"/>
                  <a:gd name="connsiteY7" fmla="*/ 89 h 1043"/>
                  <a:gd name="connsiteX8" fmla="*/ 4282 w 4869"/>
                  <a:gd name="connsiteY8" fmla="*/ 125 h 1043"/>
                  <a:gd name="connsiteX9" fmla="*/ 4332 w 4869"/>
                  <a:gd name="connsiteY9" fmla="*/ 170 h 1043"/>
                  <a:gd name="connsiteX10" fmla="*/ 4383 w 4869"/>
                  <a:gd name="connsiteY10" fmla="*/ 224 h 1043"/>
                  <a:gd name="connsiteX11" fmla="*/ 4435 w 4869"/>
                  <a:gd name="connsiteY11" fmla="*/ 286 h 1043"/>
                  <a:gd name="connsiteX12" fmla="*/ 4487 w 4869"/>
                  <a:gd name="connsiteY12" fmla="*/ 361 h 1043"/>
                  <a:gd name="connsiteX13" fmla="*/ 4538 w 4869"/>
                  <a:gd name="connsiteY13" fmla="*/ 448 h 1043"/>
                  <a:gd name="connsiteX14" fmla="*/ 4590 w 4869"/>
                  <a:gd name="connsiteY14" fmla="*/ 548 h 1043"/>
                  <a:gd name="connsiteX15" fmla="*/ 4635 w 4869"/>
                  <a:gd name="connsiteY15" fmla="*/ 633 h 1043"/>
                  <a:gd name="connsiteX16" fmla="*/ 4681 w 4869"/>
                  <a:gd name="connsiteY16" fmla="*/ 705 h 1043"/>
                  <a:gd name="connsiteX17" fmla="*/ 4728 w 4869"/>
                  <a:gd name="connsiteY17" fmla="*/ 767 h 1043"/>
                  <a:gd name="connsiteX18" fmla="*/ 4776 w 4869"/>
                  <a:gd name="connsiteY18" fmla="*/ 819 h 1043"/>
                  <a:gd name="connsiteX19" fmla="*/ 4821 w 4869"/>
                  <a:gd name="connsiteY19" fmla="*/ 863 h 1043"/>
                  <a:gd name="connsiteX20" fmla="*/ 4869 w 4869"/>
                  <a:gd name="connsiteY20" fmla="*/ 898 h 1043"/>
                  <a:gd name="connsiteX21" fmla="*/ 4767 w 4869"/>
                  <a:gd name="connsiteY21" fmla="*/ 931 h 1043"/>
                  <a:gd name="connsiteX22" fmla="*/ 4716 w 4869"/>
                  <a:gd name="connsiteY22" fmla="*/ 881 h 1043"/>
                  <a:gd name="connsiteX23" fmla="*/ 4662 w 4869"/>
                  <a:gd name="connsiteY23" fmla="*/ 823 h 1043"/>
                  <a:gd name="connsiteX24" fmla="*/ 4611 w 4869"/>
                  <a:gd name="connsiteY24" fmla="*/ 755 h 1043"/>
                  <a:gd name="connsiteX25" fmla="*/ 4561 w 4869"/>
                  <a:gd name="connsiteY25" fmla="*/ 676 h 1043"/>
                  <a:gd name="connsiteX26" fmla="*/ 4513 w 4869"/>
                  <a:gd name="connsiteY26" fmla="*/ 583 h 1043"/>
                  <a:gd name="connsiteX27" fmla="*/ 4464 w 4869"/>
                  <a:gd name="connsiteY27" fmla="*/ 487 h 1043"/>
                  <a:gd name="connsiteX28" fmla="*/ 4414 w 4869"/>
                  <a:gd name="connsiteY28" fmla="*/ 404 h 1043"/>
                  <a:gd name="connsiteX29" fmla="*/ 4365 w 4869"/>
                  <a:gd name="connsiteY29" fmla="*/ 336 h 1043"/>
                  <a:gd name="connsiteX30" fmla="*/ 4315 w 4869"/>
                  <a:gd name="connsiteY30" fmla="*/ 276 h 1043"/>
                  <a:gd name="connsiteX31" fmla="*/ 4268 w 4869"/>
                  <a:gd name="connsiteY31" fmla="*/ 228 h 1043"/>
                  <a:gd name="connsiteX32" fmla="*/ 4222 w 4869"/>
                  <a:gd name="connsiteY32" fmla="*/ 189 h 1043"/>
                  <a:gd name="connsiteX33" fmla="*/ 4181 w 4869"/>
                  <a:gd name="connsiteY33" fmla="*/ 158 h 1043"/>
                  <a:gd name="connsiteX34" fmla="*/ 4142 w 4869"/>
                  <a:gd name="connsiteY34" fmla="*/ 135 h 1043"/>
                  <a:gd name="connsiteX35" fmla="*/ 4092 w 4869"/>
                  <a:gd name="connsiteY35" fmla="*/ 112 h 1043"/>
                  <a:gd name="connsiteX36" fmla="*/ 4049 w 4869"/>
                  <a:gd name="connsiteY36" fmla="*/ 98 h 1043"/>
                  <a:gd name="connsiteX37" fmla="*/ 4014 w 4869"/>
                  <a:gd name="connsiteY37" fmla="*/ 89 h 1043"/>
                  <a:gd name="connsiteX38" fmla="*/ 3985 w 4869"/>
                  <a:gd name="connsiteY38" fmla="*/ 87 h 1043"/>
                  <a:gd name="connsiteX39" fmla="*/ 3958 w 4869"/>
                  <a:gd name="connsiteY39" fmla="*/ 87 h 1043"/>
                  <a:gd name="connsiteX40" fmla="*/ 3892 w 4869"/>
                  <a:gd name="connsiteY40" fmla="*/ 93 h 1043"/>
                  <a:gd name="connsiteX41" fmla="*/ 3830 w 4869"/>
                  <a:gd name="connsiteY41" fmla="*/ 106 h 1043"/>
                  <a:gd name="connsiteX42" fmla="*/ 3774 w 4869"/>
                  <a:gd name="connsiteY42" fmla="*/ 127 h 1043"/>
                  <a:gd name="connsiteX43" fmla="*/ 3723 w 4869"/>
                  <a:gd name="connsiteY43" fmla="*/ 154 h 1043"/>
                  <a:gd name="connsiteX44" fmla="*/ 3675 w 4869"/>
                  <a:gd name="connsiteY44" fmla="*/ 187 h 1043"/>
                  <a:gd name="connsiteX45" fmla="*/ 3632 w 4869"/>
                  <a:gd name="connsiteY45" fmla="*/ 224 h 1043"/>
                  <a:gd name="connsiteX46" fmla="*/ 3593 w 4869"/>
                  <a:gd name="connsiteY46" fmla="*/ 268 h 1043"/>
                  <a:gd name="connsiteX47" fmla="*/ 3553 w 4869"/>
                  <a:gd name="connsiteY47" fmla="*/ 313 h 1043"/>
                  <a:gd name="connsiteX48" fmla="*/ 3518 w 4869"/>
                  <a:gd name="connsiteY48" fmla="*/ 363 h 1043"/>
                  <a:gd name="connsiteX49" fmla="*/ 3485 w 4869"/>
                  <a:gd name="connsiteY49" fmla="*/ 415 h 1043"/>
                  <a:gd name="connsiteX50" fmla="*/ 3423 w 4869"/>
                  <a:gd name="connsiteY50" fmla="*/ 523 h 1043"/>
                  <a:gd name="connsiteX51" fmla="*/ 3330 w 4869"/>
                  <a:gd name="connsiteY51" fmla="*/ 691 h 1043"/>
                  <a:gd name="connsiteX52" fmla="*/ 3297 w 4869"/>
                  <a:gd name="connsiteY52" fmla="*/ 747 h 1043"/>
                  <a:gd name="connsiteX53" fmla="*/ 3262 w 4869"/>
                  <a:gd name="connsiteY53" fmla="*/ 799 h 1043"/>
                  <a:gd name="connsiteX54" fmla="*/ 3227 w 4869"/>
                  <a:gd name="connsiteY54" fmla="*/ 848 h 1043"/>
                  <a:gd name="connsiteX55" fmla="*/ 3188 w 4869"/>
                  <a:gd name="connsiteY55" fmla="*/ 894 h 1043"/>
                  <a:gd name="connsiteX56" fmla="*/ 3147 w 4869"/>
                  <a:gd name="connsiteY56" fmla="*/ 935 h 1043"/>
                  <a:gd name="connsiteX57" fmla="*/ 3101 w 4869"/>
                  <a:gd name="connsiteY57" fmla="*/ 971 h 1043"/>
                  <a:gd name="connsiteX58" fmla="*/ 3052 w 4869"/>
                  <a:gd name="connsiteY58" fmla="*/ 1000 h 1043"/>
                  <a:gd name="connsiteX59" fmla="*/ 3000 w 4869"/>
                  <a:gd name="connsiteY59" fmla="*/ 1022 h 1043"/>
                  <a:gd name="connsiteX60" fmla="*/ 2942 w 4869"/>
                  <a:gd name="connsiteY60" fmla="*/ 1037 h 1043"/>
                  <a:gd name="connsiteX61" fmla="*/ 2878 w 4869"/>
                  <a:gd name="connsiteY61" fmla="*/ 1043 h 1043"/>
                  <a:gd name="connsiteX62" fmla="*/ 2870 w 4869"/>
                  <a:gd name="connsiteY62" fmla="*/ 1043 h 1043"/>
                  <a:gd name="connsiteX63" fmla="*/ 2808 w 4869"/>
                  <a:gd name="connsiteY63" fmla="*/ 1039 h 1043"/>
                  <a:gd name="connsiteX64" fmla="*/ 2748 w 4869"/>
                  <a:gd name="connsiteY64" fmla="*/ 1025 h 1043"/>
                  <a:gd name="connsiteX65" fmla="*/ 2695 w 4869"/>
                  <a:gd name="connsiteY65" fmla="*/ 1002 h 1043"/>
                  <a:gd name="connsiteX66" fmla="*/ 2643 w 4869"/>
                  <a:gd name="connsiteY66" fmla="*/ 973 h 1043"/>
                  <a:gd name="connsiteX67" fmla="*/ 2595 w 4869"/>
                  <a:gd name="connsiteY67" fmla="*/ 935 h 1043"/>
                  <a:gd name="connsiteX68" fmla="*/ 2552 w 4869"/>
                  <a:gd name="connsiteY68" fmla="*/ 894 h 1043"/>
                  <a:gd name="connsiteX69" fmla="*/ 2509 w 4869"/>
                  <a:gd name="connsiteY69" fmla="*/ 846 h 1043"/>
                  <a:gd name="connsiteX70" fmla="*/ 2469 w 4869"/>
                  <a:gd name="connsiteY70" fmla="*/ 796 h 1043"/>
                  <a:gd name="connsiteX71" fmla="*/ 2430 w 4869"/>
                  <a:gd name="connsiteY71" fmla="*/ 740 h 1043"/>
                  <a:gd name="connsiteX72" fmla="*/ 2393 w 4869"/>
                  <a:gd name="connsiteY72" fmla="*/ 684 h 1043"/>
                  <a:gd name="connsiteX73" fmla="*/ 2288 w 4869"/>
                  <a:gd name="connsiteY73" fmla="*/ 510 h 1043"/>
                  <a:gd name="connsiteX74" fmla="*/ 2251 w 4869"/>
                  <a:gd name="connsiteY74" fmla="*/ 452 h 1043"/>
                  <a:gd name="connsiteX75" fmla="*/ 2213 w 4869"/>
                  <a:gd name="connsiteY75" fmla="*/ 396 h 1043"/>
                  <a:gd name="connsiteX76" fmla="*/ 2176 w 4869"/>
                  <a:gd name="connsiteY76" fmla="*/ 342 h 1043"/>
                  <a:gd name="connsiteX77" fmla="*/ 2137 w 4869"/>
                  <a:gd name="connsiteY77" fmla="*/ 293 h 1043"/>
                  <a:gd name="connsiteX78" fmla="*/ 2096 w 4869"/>
                  <a:gd name="connsiteY78" fmla="*/ 247 h 1043"/>
                  <a:gd name="connsiteX79" fmla="*/ 2054 w 4869"/>
                  <a:gd name="connsiteY79" fmla="*/ 205 h 1043"/>
                  <a:gd name="connsiteX80" fmla="*/ 2009 w 4869"/>
                  <a:gd name="connsiteY80" fmla="*/ 168 h 1043"/>
                  <a:gd name="connsiteX81" fmla="*/ 1962 w 4869"/>
                  <a:gd name="connsiteY81" fmla="*/ 139 h 1043"/>
                  <a:gd name="connsiteX82" fmla="*/ 1910 w 4869"/>
                  <a:gd name="connsiteY82" fmla="*/ 116 h 1043"/>
                  <a:gd name="connsiteX83" fmla="*/ 1854 w 4869"/>
                  <a:gd name="connsiteY83" fmla="*/ 100 h 1043"/>
                  <a:gd name="connsiteX84" fmla="*/ 1796 w 4869"/>
                  <a:gd name="connsiteY84" fmla="*/ 91 h 1043"/>
                  <a:gd name="connsiteX85" fmla="*/ 1732 w 4869"/>
                  <a:gd name="connsiteY85" fmla="*/ 93 h 1043"/>
                  <a:gd name="connsiteX86" fmla="*/ 1664 w 4869"/>
                  <a:gd name="connsiteY86" fmla="*/ 104 h 1043"/>
                  <a:gd name="connsiteX87" fmla="*/ 1602 w 4869"/>
                  <a:gd name="connsiteY87" fmla="*/ 122 h 1043"/>
                  <a:gd name="connsiteX88" fmla="*/ 1545 w 4869"/>
                  <a:gd name="connsiteY88" fmla="*/ 147 h 1043"/>
                  <a:gd name="connsiteX89" fmla="*/ 1491 w 4869"/>
                  <a:gd name="connsiteY89" fmla="*/ 181 h 1043"/>
                  <a:gd name="connsiteX90" fmla="*/ 1439 w 4869"/>
                  <a:gd name="connsiteY90" fmla="*/ 218 h 1043"/>
                  <a:gd name="connsiteX91" fmla="*/ 1394 w 4869"/>
                  <a:gd name="connsiteY91" fmla="*/ 261 h 1043"/>
                  <a:gd name="connsiteX92" fmla="*/ 1348 w 4869"/>
                  <a:gd name="connsiteY92" fmla="*/ 307 h 1043"/>
                  <a:gd name="connsiteX93" fmla="*/ 1307 w 4869"/>
                  <a:gd name="connsiteY93" fmla="*/ 359 h 1043"/>
                  <a:gd name="connsiteX94" fmla="*/ 1268 w 4869"/>
                  <a:gd name="connsiteY94" fmla="*/ 413 h 1043"/>
                  <a:gd name="connsiteX95" fmla="*/ 1231 w 4869"/>
                  <a:gd name="connsiteY95" fmla="*/ 467 h 1043"/>
                  <a:gd name="connsiteX96" fmla="*/ 1194 w 4869"/>
                  <a:gd name="connsiteY96" fmla="*/ 523 h 1043"/>
                  <a:gd name="connsiteX97" fmla="*/ 1156 w 4869"/>
                  <a:gd name="connsiteY97" fmla="*/ 581 h 1043"/>
                  <a:gd name="connsiteX98" fmla="*/ 1121 w 4869"/>
                  <a:gd name="connsiteY98" fmla="*/ 637 h 1043"/>
                  <a:gd name="connsiteX99" fmla="*/ 1047 w 4869"/>
                  <a:gd name="connsiteY99" fmla="*/ 749 h 1043"/>
                  <a:gd name="connsiteX100" fmla="*/ 1008 w 4869"/>
                  <a:gd name="connsiteY100" fmla="*/ 801 h 1043"/>
                  <a:gd name="connsiteX101" fmla="*/ 966 w 4869"/>
                  <a:gd name="connsiteY101" fmla="*/ 850 h 1043"/>
                  <a:gd name="connsiteX102" fmla="*/ 923 w 4869"/>
                  <a:gd name="connsiteY102" fmla="*/ 896 h 1043"/>
                  <a:gd name="connsiteX103" fmla="*/ 876 w 4869"/>
                  <a:gd name="connsiteY103" fmla="*/ 937 h 1043"/>
                  <a:gd name="connsiteX104" fmla="*/ 826 w 4869"/>
                  <a:gd name="connsiteY104" fmla="*/ 973 h 1043"/>
                  <a:gd name="connsiteX105" fmla="*/ 772 w 4869"/>
                  <a:gd name="connsiteY105" fmla="*/ 1002 h 1043"/>
                  <a:gd name="connsiteX106" fmla="*/ 717 w 4869"/>
                  <a:gd name="connsiteY106" fmla="*/ 1025 h 1043"/>
                  <a:gd name="connsiteX107" fmla="*/ 653 w 4869"/>
                  <a:gd name="connsiteY107" fmla="*/ 1037 h 1043"/>
                  <a:gd name="connsiteX108" fmla="*/ 587 w 4869"/>
                  <a:gd name="connsiteY108" fmla="*/ 1043 h 1043"/>
                  <a:gd name="connsiteX109" fmla="*/ 580 w 4869"/>
                  <a:gd name="connsiteY109" fmla="*/ 1043 h 1043"/>
                  <a:gd name="connsiteX110" fmla="*/ 512 w 4869"/>
                  <a:gd name="connsiteY110" fmla="*/ 1039 h 1043"/>
                  <a:gd name="connsiteX111" fmla="*/ 450 w 4869"/>
                  <a:gd name="connsiteY111" fmla="*/ 1027 h 1043"/>
                  <a:gd name="connsiteX112" fmla="*/ 392 w 4869"/>
                  <a:gd name="connsiteY112" fmla="*/ 1008 h 1043"/>
                  <a:gd name="connsiteX113" fmla="*/ 341 w 4869"/>
                  <a:gd name="connsiteY113" fmla="*/ 983 h 1043"/>
                  <a:gd name="connsiteX114" fmla="*/ 293 w 4869"/>
                  <a:gd name="connsiteY114" fmla="*/ 952 h 1043"/>
                  <a:gd name="connsiteX115" fmla="*/ 248 w 4869"/>
                  <a:gd name="connsiteY115" fmla="*/ 915 h 1043"/>
                  <a:gd name="connsiteX116" fmla="*/ 207 w 4869"/>
                  <a:gd name="connsiteY116" fmla="*/ 873 h 1043"/>
                  <a:gd name="connsiteX117" fmla="*/ 169 w 4869"/>
                  <a:gd name="connsiteY117" fmla="*/ 828 h 1043"/>
                  <a:gd name="connsiteX118" fmla="*/ 132 w 4869"/>
                  <a:gd name="connsiteY118" fmla="*/ 780 h 1043"/>
                  <a:gd name="connsiteX119" fmla="*/ 99 w 4869"/>
                  <a:gd name="connsiteY119" fmla="*/ 728 h 1043"/>
                  <a:gd name="connsiteX120" fmla="*/ 64 w 4869"/>
                  <a:gd name="connsiteY120" fmla="*/ 674 h 1043"/>
                  <a:gd name="connsiteX121" fmla="*/ 33 w 4869"/>
                  <a:gd name="connsiteY121" fmla="*/ 618 h 1043"/>
                  <a:gd name="connsiteX122" fmla="*/ 0 w 4869"/>
                  <a:gd name="connsiteY122" fmla="*/ 560 h 1043"/>
                  <a:gd name="connsiteX123" fmla="*/ 77 w 4869"/>
                  <a:gd name="connsiteY123" fmla="*/ 516 h 1043"/>
                  <a:gd name="connsiteX124" fmla="*/ 110 w 4869"/>
                  <a:gd name="connsiteY124" fmla="*/ 575 h 1043"/>
                  <a:gd name="connsiteX125" fmla="*/ 143 w 4869"/>
                  <a:gd name="connsiteY125" fmla="*/ 631 h 1043"/>
                  <a:gd name="connsiteX126" fmla="*/ 176 w 4869"/>
                  <a:gd name="connsiteY126" fmla="*/ 684 h 1043"/>
                  <a:gd name="connsiteX127" fmla="*/ 209 w 4869"/>
                  <a:gd name="connsiteY127" fmla="*/ 736 h 1043"/>
                  <a:gd name="connsiteX128" fmla="*/ 244 w 4869"/>
                  <a:gd name="connsiteY128" fmla="*/ 782 h 1043"/>
                  <a:gd name="connsiteX129" fmla="*/ 281 w 4869"/>
                  <a:gd name="connsiteY129" fmla="*/ 825 h 1043"/>
                  <a:gd name="connsiteX130" fmla="*/ 322 w 4869"/>
                  <a:gd name="connsiteY130" fmla="*/ 863 h 1043"/>
                  <a:gd name="connsiteX131" fmla="*/ 366 w 4869"/>
                  <a:gd name="connsiteY131" fmla="*/ 894 h 1043"/>
                  <a:gd name="connsiteX132" fmla="*/ 413 w 4869"/>
                  <a:gd name="connsiteY132" fmla="*/ 921 h 1043"/>
                  <a:gd name="connsiteX133" fmla="*/ 463 w 4869"/>
                  <a:gd name="connsiteY133" fmla="*/ 940 h 1043"/>
                  <a:gd name="connsiteX134" fmla="*/ 518 w 4869"/>
                  <a:gd name="connsiteY134" fmla="*/ 952 h 1043"/>
                  <a:gd name="connsiteX135" fmla="*/ 580 w 4869"/>
                  <a:gd name="connsiteY135" fmla="*/ 956 h 1043"/>
                  <a:gd name="connsiteX136" fmla="*/ 587 w 4869"/>
                  <a:gd name="connsiteY136" fmla="*/ 956 h 1043"/>
                  <a:gd name="connsiteX137" fmla="*/ 646 w 4869"/>
                  <a:gd name="connsiteY137" fmla="*/ 950 h 1043"/>
                  <a:gd name="connsiteX138" fmla="*/ 702 w 4869"/>
                  <a:gd name="connsiteY138" fmla="*/ 935 h 1043"/>
                  <a:gd name="connsiteX139" fmla="*/ 756 w 4869"/>
                  <a:gd name="connsiteY139" fmla="*/ 913 h 1043"/>
                  <a:gd name="connsiteX140" fmla="*/ 803 w 4869"/>
                  <a:gd name="connsiteY140" fmla="*/ 884 h 1043"/>
                  <a:gd name="connsiteX141" fmla="*/ 849 w 4869"/>
                  <a:gd name="connsiteY141" fmla="*/ 846 h 1043"/>
                  <a:gd name="connsiteX142" fmla="*/ 892 w 4869"/>
                  <a:gd name="connsiteY142" fmla="*/ 803 h 1043"/>
                  <a:gd name="connsiteX143" fmla="*/ 931 w 4869"/>
                  <a:gd name="connsiteY143" fmla="*/ 755 h 1043"/>
                  <a:gd name="connsiteX144" fmla="*/ 971 w 4869"/>
                  <a:gd name="connsiteY144" fmla="*/ 703 h 1043"/>
                  <a:gd name="connsiteX145" fmla="*/ 1010 w 4869"/>
                  <a:gd name="connsiteY145" fmla="*/ 649 h 1043"/>
                  <a:gd name="connsiteX146" fmla="*/ 1121 w 4869"/>
                  <a:gd name="connsiteY146" fmla="*/ 475 h 1043"/>
                  <a:gd name="connsiteX147" fmla="*/ 1161 w 4869"/>
                  <a:gd name="connsiteY147" fmla="*/ 415 h 1043"/>
                  <a:gd name="connsiteX148" fmla="*/ 1202 w 4869"/>
                  <a:gd name="connsiteY148" fmla="*/ 357 h 1043"/>
                  <a:gd name="connsiteX149" fmla="*/ 1245 w 4869"/>
                  <a:gd name="connsiteY149" fmla="*/ 299 h 1043"/>
                  <a:gd name="connsiteX150" fmla="*/ 1291 w 4869"/>
                  <a:gd name="connsiteY150" fmla="*/ 245 h 1043"/>
                  <a:gd name="connsiteX151" fmla="*/ 1338 w 4869"/>
                  <a:gd name="connsiteY151" fmla="*/ 193 h 1043"/>
                  <a:gd name="connsiteX152" fmla="*/ 1392 w 4869"/>
                  <a:gd name="connsiteY152" fmla="*/ 145 h 1043"/>
                  <a:gd name="connsiteX153" fmla="*/ 1447 w 4869"/>
                  <a:gd name="connsiteY153" fmla="*/ 104 h 1043"/>
                  <a:gd name="connsiteX154" fmla="*/ 1509 w 4869"/>
                  <a:gd name="connsiteY154" fmla="*/ 69 h 1043"/>
                  <a:gd name="connsiteX155" fmla="*/ 1575 w 4869"/>
                  <a:gd name="connsiteY155" fmla="*/ 40 h 1043"/>
                  <a:gd name="connsiteX156" fmla="*/ 1648 w 4869"/>
                  <a:gd name="connsiteY156" fmla="*/ 19 h 1043"/>
                  <a:gd name="connsiteX157" fmla="*/ 1726 w 4869"/>
                  <a:gd name="connsiteY157" fmla="*/ 6 h 1043"/>
                  <a:gd name="connsiteX158" fmla="*/ 1796 w 4869"/>
                  <a:gd name="connsiteY158" fmla="*/ 4 h 1043"/>
                  <a:gd name="connsiteX159" fmla="*/ 1862 w 4869"/>
                  <a:gd name="connsiteY159" fmla="*/ 13 h 1043"/>
                  <a:gd name="connsiteX160" fmla="*/ 1922 w 4869"/>
                  <a:gd name="connsiteY160" fmla="*/ 27 h 1043"/>
                  <a:gd name="connsiteX161" fmla="*/ 1980 w 4869"/>
                  <a:gd name="connsiteY161" fmla="*/ 50 h 1043"/>
                  <a:gd name="connsiteX162" fmla="*/ 2034 w 4869"/>
                  <a:gd name="connsiteY162" fmla="*/ 81 h 1043"/>
                  <a:gd name="connsiteX163" fmla="*/ 2083 w 4869"/>
                  <a:gd name="connsiteY163" fmla="*/ 116 h 1043"/>
                  <a:gd name="connsiteX164" fmla="*/ 2129 w 4869"/>
                  <a:gd name="connsiteY164" fmla="*/ 158 h 1043"/>
                  <a:gd name="connsiteX165" fmla="*/ 2174 w 4869"/>
                  <a:gd name="connsiteY165" fmla="*/ 203 h 1043"/>
                  <a:gd name="connsiteX166" fmla="*/ 2216 w 4869"/>
                  <a:gd name="connsiteY166" fmla="*/ 251 h 1043"/>
                  <a:gd name="connsiteX167" fmla="*/ 2255 w 4869"/>
                  <a:gd name="connsiteY167" fmla="*/ 303 h 1043"/>
                  <a:gd name="connsiteX168" fmla="*/ 2292 w 4869"/>
                  <a:gd name="connsiteY168" fmla="*/ 357 h 1043"/>
                  <a:gd name="connsiteX169" fmla="*/ 2327 w 4869"/>
                  <a:gd name="connsiteY169" fmla="*/ 413 h 1043"/>
                  <a:gd name="connsiteX170" fmla="*/ 2362 w 4869"/>
                  <a:gd name="connsiteY170" fmla="*/ 467 h 1043"/>
                  <a:gd name="connsiteX171" fmla="*/ 2395 w 4869"/>
                  <a:gd name="connsiteY171" fmla="*/ 523 h 1043"/>
                  <a:gd name="connsiteX172" fmla="*/ 2432 w 4869"/>
                  <a:gd name="connsiteY172" fmla="*/ 585 h 1043"/>
                  <a:gd name="connsiteX173" fmla="*/ 2469 w 4869"/>
                  <a:gd name="connsiteY173" fmla="*/ 643 h 1043"/>
                  <a:gd name="connsiteX174" fmla="*/ 2509 w 4869"/>
                  <a:gd name="connsiteY174" fmla="*/ 701 h 1043"/>
                  <a:gd name="connsiteX175" fmla="*/ 2546 w 4869"/>
                  <a:gd name="connsiteY175" fmla="*/ 755 h 1043"/>
                  <a:gd name="connsiteX176" fmla="*/ 2587 w 4869"/>
                  <a:gd name="connsiteY176" fmla="*/ 805 h 1043"/>
                  <a:gd name="connsiteX177" fmla="*/ 2628 w 4869"/>
                  <a:gd name="connsiteY177" fmla="*/ 848 h 1043"/>
                  <a:gd name="connsiteX178" fmla="*/ 2672 w 4869"/>
                  <a:gd name="connsiteY178" fmla="*/ 886 h 1043"/>
                  <a:gd name="connsiteX179" fmla="*/ 2717 w 4869"/>
                  <a:gd name="connsiteY179" fmla="*/ 917 h 1043"/>
                  <a:gd name="connsiteX180" fmla="*/ 2767 w 4869"/>
                  <a:gd name="connsiteY180" fmla="*/ 940 h 1043"/>
                  <a:gd name="connsiteX181" fmla="*/ 2820 w 4869"/>
                  <a:gd name="connsiteY181" fmla="*/ 952 h 1043"/>
                  <a:gd name="connsiteX182" fmla="*/ 2876 w 4869"/>
                  <a:gd name="connsiteY182" fmla="*/ 956 h 1043"/>
                  <a:gd name="connsiteX183" fmla="*/ 2932 w 4869"/>
                  <a:gd name="connsiteY183" fmla="*/ 950 h 1043"/>
                  <a:gd name="connsiteX184" fmla="*/ 2982 w 4869"/>
                  <a:gd name="connsiteY184" fmla="*/ 935 h 1043"/>
                  <a:gd name="connsiteX185" fmla="*/ 3029 w 4869"/>
                  <a:gd name="connsiteY185" fmla="*/ 915 h 1043"/>
                  <a:gd name="connsiteX186" fmla="*/ 3072 w 4869"/>
                  <a:gd name="connsiteY186" fmla="*/ 884 h 1043"/>
                  <a:gd name="connsiteX187" fmla="*/ 3112 w 4869"/>
                  <a:gd name="connsiteY187" fmla="*/ 848 h 1043"/>
                  <a:gd name="connsiteX188" fmla="*/ 3149 w 4869"/>
                  <a:gd name="connsiteY188" fmla="*/ 807 h 1043"/>
                  <a:gd name="connsiteX189" fmla="*/ 3184 w 4869"/>
                  <a:gd name="connsiteY189" fmla="*/ 759 h 1043"/>
                  <a:gd name="connsiteX190" fmla="*/ 3217 w 4869"/>
                  <a:gd name="connsiteY190" fmla="*/ 709 h 1043"/>
                  <a:gd name="connsiteX191" fmla="*/ 3250 w 4869"/>
                  <a:gd name="connsiteY191" fmla="*/ 655 h 1043"/>
                  <a:gd name="connsiteX192" fmla="*/ 3283 w 4869"/>
                  <a:gd name="connsiteY192" fmla="*/ 597 h 1043"/>
                  <a:gd name="connsiteX193" fmla="*/ 3316 w 4869"/>
                  <a:gd name="connsiteY193" fmla="*/ 537 h 1043"/>
                  <a:gd name="connsiteX194" fmla="*/ 3345 w 4869"/>
                  <a:gd name="connsiteY194" fmla="*/ 483 h 1043"/>
                  <a:gd name="connsiteX195" fmla="*/ 3407 w 4869"/>
                  <a:gd name="connsiteY195" fmla="*/ 375 h 1043"/>
                  <a:gd name="connsiteX196" fmla="*/ 3477 w 4869"/>
                  <a:gd name="connsiteY196" fmla="*/ 272 h 1043"/>
                  <a:gd name="connsiteX197" fmla="*/ 3514 w 4869"/>
                  <a:gd name="connsiteY197" fmla="*/ 224 h 1043"/>
                  <a:gd name="connsiteX198" fmla="*/ 3555 w 4869"/>
                  <a:gd name="connsiteY198" fmla="*/ 178 h 1043"/>
                  <a:gd name="connsiteX199" fmla="*/ 3599 w 4869"/>
                  <a:gd name="connsiteY199" fmla="*/ 137 h 1043"/>
                  <a:gd name="connsiteX200" fmla="*/ 3646 w 4869"/>
                  <a:gd name="connsiteY200" fmla="*/ 100 h 1043"/>
                  <a:gd name="connsiteX201" fmla="*/ 3698 w 4869"/>
                  <a:gd name="connsiteY201" fmla="*/ 66 h 1043"/>
                  <a:gd name="connsiteX202" fmla="*/ 3756 w 4869"/>
                  <a:gd name="connsiteY202" fmla="*/ 40 h 1043"/>
                  <a:gd name="connsiteX203" fmla="*/ 3816 w 4869"/>
                  <a:gd name="connsiteY203" fmla="*/ 19 h 1043"/>
                  <a:gd name="connsiteX204" fmla="*/ 3882 w 4869"/>
                  <a:gd name="connsiteY204" fmla="*/ 6 h 1043"/>
                  <a:gd name="connsiteX205" fmla="*/ 3954 w 4869"/>
                  <a:gd name="connsiteY205" fmla="*/ 0 h 1043"/>
                  <a:gd name="connsiteX0" fmla="*/ 3954 w 4821"/>
                  <a:gd name="connsiteY0" fmla="*/ 0 h 1043"/>
                  <a:gd name="connsiteX1" fmla="*/ 4004 w 4821"/>
                  <a:gd name="connsiteY1" fmla="*/ 0 h 1043"/>
                  <a:gd name="connsiteX2" fmla="*/ 4032 w 4821"/>
                  <a:gd name="connsiteY2" fmla="*/ 4 h 1043"/>
                  <a:gd name="connsiteX3" fmla="*/ 4063 w 4821"/>
                  <a:gd name="connsiteY3" fmla="*/ 13 h 1043"/>
                  <a:gd name="connsiteX4" fmla="*/ 4101 w 4821"/>
                  <a:gd name="connsiteY4" fmla="*/ 23 h 1043"/>
                  <a:gd name="connsiteX5" fmla="*/ 4142 w 4821"/>
                  <a:gd name="connsiteY5" fmla="*/ 40 h 1043"/>
                  <a:gd name="connsiteX6" fmla="*/ 4185 w 4821"/>
                  <a:gd name="connsiteY6" fmla="*/ 60 h 1043"/>
                  <a:gd name="connsiteX7" fmla="*/ 4233 w 4821"/>
                  <a:gd name="connsiteY7" fmla="*/ 89 h 1043"/>
                  <a:gd name="connsiteX8" fmla="*/ 4282 w 4821"/>
                  <a:gd name="connsiteY8" fmla="*/ 125 h 1043"/>
                  <a:gd name="connsiteX9" fmla="*/ 4332 w 4821"/>
                  <a:gd name="connsiteY9" fmla="*/ 170 h 1043"/>
                  <a:gd name="connsiteX10" fmla="*/ 4383 w 4821"/>
                  <a:gd name="connsiteY10" fmla="*/ 224 h 1043"/>
                  <a:gd name="connsiteX11" fmla="*/ 4435 w 4821"/>
                  <a:gd name="connsiteY11" fmla="*/ 286 h 1043"/>
                  <a:gd name="connsiteX12" fmla="*/ 4487 w 4821"/>
                  <a:gd name="connsiteY12" fmla="*/ 361 h 1043"/>
                  <a:gd name="connsiteX13" fmla="*/ 4538 w 4821"/>
                  <a:gd name="connsiteY13" fmla="*/ 448 h 1043"/>
                  <a:gd name="connsiteX14" fmla="*/ 4590 w 4821"/>
                  <a:gd name="connsiteY14" fmla="*/ 548 h 1043"/>
                  <a:gd name="connsiteX15" fmla="*/ 4635 w 4821"/>
                  <a:gd name="connsiteY15" fmla="*/ 633 h 1043"/>
                  <a:gd name="connsiteX16" fmla="*/ 4681 w 4821"/>
                  <a:gd name="connsiteY16" fmla="*/ 705 h 1043"/>
                  <a:gd name="connsiteX17" fmla="*/ 4728 w 4821"/>
                  <a:gd name="connsiteY17" fmla="*/ 767 h 1043"/>
                  <a:gd name="connsiteX18" fmla="*/ 4776 w 4821"/>
                  <a:gd name="connsiteY18" fmla="*/ 819 h 1043"/>
                  <a:gd name="connsiteX19" fmla="*/ 4821 w 4821"/>
                  <a:gd name="connsiteY19" fmla="*/ 863 h 1043"/>
                  <a:gd name="connsiteX20" fmla="*/ 4767 w 4821"/>
                  <a:gd name="connsiteY20" fmla="*/ 931 h 1043"/>
                  <a:gd name="connsiteX21" fmla="*/ 4716 w 4821"/>
                  <a:gd name="connsiteY21" fmla="*/ 881 h 1043"/>
                  <a:gd name="connsiteX22" fmla="*/ 4662 w 4821"/>
                  <a:gd name="connsiteY22" fmla="*/ 823 h 1043"/>
                  <a:gd name="connsiteX23" fmla="*/ 4611 w 4821"/>
                  <a:gd name="connsiteY23" fmla="*/ 755 h 1043"/>
                  <a:gd name="connsiteX24" fmla="*/ 4561 w 4821"/>
                  <a:gd name="connsiteY24" fmla="*/ 676 h 1043"/>
                  <a:gd name="connsiteX25" fmla="*/ 4513 w 4821"/>
                  <a:gd name="connsiteY25" fmla="*/ 583 h 1043"/>
                  <a:gd name="connsiteX26" fmla="*/ 4464 w 4821"/>
                  <a:gd name="connsiteY26" fmla="*/ 487 h 1043"/>
                  <a:gd name="connsiteX27" fmla="*/ 4414 w 4821"/>
                  <a:gd name="connsiteY27" fmla="*/ 404 h 1043"/>
                  <a:gd name="connsiteX28" fmla="*/ 4365 w 4821"/>
                  <a:gd name="connsiteY28" fmla="*/ 336 h 1043"/>
                  <a:gd name="connsiteX29" fmla="*/ 4315 w 4821"/>
                  <a:gd name="connsiteY29" fmla="*/ 276 h 1043"/>
                  <a:gd name="connsiteX30" fmla="*/ 4268 w 4821"/>
                  <a:gd name="connsiteY30" fmla="*/ 228 h 1043"/>
                  <a:gd name="connsiteX31" fmla="*/ 4222 w 4821"/>
                  <a:gd name="connsiteY31" fmla="*/ 189 h 1043"/>
                  <a:gd name="connsiteX32" fmla="*/ 4181 w 4821"/>
                  <a:gd name="connsiteY32" fmla="*/ 158 h 1043"/>
                  <a:gd name="connsiteX33" fmla="*/ 4142 w 4821"/>
                  <a:gd name="connsiteY33" fmla="*/ 135 h 1043"/>
                  <a:gd name="connsiteX34" fmla="*/ 4092 w 4821"/>
                  <a:gd name="connsiteY34" fmla="*/ 112 h 1043"/>
                  <a:gd name="connsiteX35" fmla="*/ 4049 w 4821"/>
                  <a:gd name="connsiteY35" fmla="*/ 98 h 1043"/>
                  <a:gd name="connsiteX36" fmla="*/ 4014 w 4821"/>
                  <a:gd name="connsiteY36" fmla="*/ 89 h 1043"/>
                  <a:gd name="connsiteX37" fmla="*/ 3985 w 4821"/>
                  <a:gd name="connsiteY37" fmla="*/ 87 h 1043"/>
                  <a:gd name="connsiteX38" fmla="*/ 3958 w 4821"/>
                  <a:gd name="connsiteY38" fmla="*/ 87 h 1043"/>
                  <a:gd name="connsiteX39" fmla="*/ 3892 w 4821"/>
                  <a:gd name="connsiteY39" fmla="*/ 93 h 1043"/>
                  <a:gd name="connsiteX40" fmla="*/ 3830 w 4821"/>
                  <a:gd name="connsiteY40" fmla="*/ 106 h 1043"/>
                  <a:gd name="connsiteX41" fmla="*/ 3774 w 4821"/>
                  <a:gd name="connsiteY41" fmla="*/ 127 h 1043"/>
                  <a:gd name="connsiteX42" fmla="*/ 3723 w 4821"/>
                  <a:gd name="connsiteY42" fmla="*/ 154 h 1043"/>
                  <a:gd name="connsiteX43" fmla="*/ 3675 w 4821"/>
                  <a:gd name="connsiteY43" fmla="*/ 187 h 1043"/>
                  <a:gd name="connsiteX44" fmla="*/ 3632 w 4821"/>
                  <a:gd name="connsiteY44" fmla="*/ 224 h 1043"/>
                  <a:gd name="connsiteX45" fmla="*/ 3593 w 4821"/>
                  <a:gd name="connsiteY45" fmla="*/ 268 h 1043"/>
                  <a:gd name="connsiteX46" fmla="*/ 3553 w 4821"/>
                  <a:gd name="connsiteY46" fmla="*/ 313 h 1043"/>
                  <a:gd name="connsiteX47" fmla="*/ 3518 w 4821"/>
                  <a:gd name="connsiteY47" fmla="*/ 363 h 1043"/>
                  <a:gd name="connsiteX48" fmla="*/ 3485 w 4821"/>
                  <a:gd name="connsiteY48" fmla="*/ 415 h 1043"/>
                  <a:gd name="connsiteX49" fmla="*/ 3423 w 4821"/>
                  <a:gd name="connsiteY49" fmla="*/ 523 h 1043"/>
                  <a:gd name="connsiteX50" fmla="*/ 3330 w 4821"/>
                  <a:gd name="connsiteY50" fmla="*/ 691 h 1043"/>
                  <a:gd name="connsiteX51" fmla="*/ 3297 w 4821"/>
                  <a:gd name="connsiteY51" fmla="*/ 747 h 1043"/>
                  <a:gd name="connsiteX52" fmla="*/ 3262 w 4821"/>
                  <a:gd name="connsiteY52" fmla="*/ 799 h 1043"/>
                  <a:gd name="connsiteX53" fmla="*/ 3227 w 4821"/>
                  <a:gd name="connsiteY53" fmla="*/ 848 h 1043"/>
                  <a:gd name="connsiteX54" fmla="*/ 3188 w 4821"/>
                  <a:gd name="connsiteY54" fmla="*/ 894 h 1043"/>
                  <a:gd name="connsiteX55" fmla="*/ 3147 w 4821"/>
                  <a:gd name="connsiteY55" fmla="*/ 935 h 1043"/>
                  <a:gd name="connsiteX56" fmla="*/ 3101 w 4821"/>
                  <a:gd name="connsiteY56" fmla="*/ 971 h 1043"/>
                  <a:gd name="connsiteX57" fmla="*/ 3052 w 4821"/>
                  <a:gd name="connsiteY57" fmla="*/ 1000 h 1043"/>
                  <a:gd name="connsiteX58" fmla="*/ 3000 w 4821"/>
                  <a:gd name="connsiteY58" fmla="*/ 1022 h 1043"/>
                  <a:gd name="connsiteX59" fmla="*/ 2942 w 4821"/>
                  <a:gd name="connsiteY59" fmla="*/ 1037 h 1043"/>
                  <a:gd name="connsiteX60" fmla="*/ 2878 w 4821"/>
                  <a:gd name="connsiteY60" fmla="*/ 1043 h 1043"/>
                  <a:gd name="connsiteX61" fmla="*/ 2870 w 4821"/>
                  <a:gd name="connsiteY61" fmla="*/ 1043 h 1043"/>
                  <a:gd name="connsiteX62" fmla="*/ 2808 w 4821"/>
                  <a:gd name="connsiteY62" fmla="*/ 1039 h 1043"/>
                  <a:gd name="connsiteX63" fmla="*/ 2748 w 4821"/>
                  <a:gd name="connsiteY63" fmla="*/ 1025 h 1043"/>
                  <a:gd name="connsiteX64" fmla="*/ 2695 w 4821"/>
                  <a:gd name="connsiteY64" fmla="*/ 1002 h 1043"/>
                  <a:gd name="connsiteX65" fmla="*/ 2643 w 4821"/>
                  <a:gd name="connsiteY65" fmla="*/ 973 h 1043"/>
                  <a:gd name="connsiteX66" fmla="*/ 2595 w 4821"/>
                  <a:gd name="connsiteY66" fmla="*/ 935 h 1043"/>
                  <a:gd name="connsiteX67" fmla="*/ 2552 w 4821"/>
                  <a:gd name="connsiteY67" fmla="*/ 894 h 1043"/>
                  <a:gd name="connsiteX68" fmla="*/ 2509 w 4821"/>
                  <a:gd name="connsiteY68" fmla="*/ 846 h 1043"/>
                  <a:gd name="connsiteX69" fmla="*/ 2469 w 4821"/>
                  <a:gd name="connsiteY69" fmla="*/ 796 h 1043"/>
                  <a:gd name="connsiteX70" fmla="*/ 2430 w 4821"/>
                  <a:gd name="connsiteY70" fmla="*/ 740 h 1043"/>
                  <a:gd name="connsiteX71" fmla="*/ 2393 w 4821"/>
                  <a:gd name="connsiteY71" fmla="*/ 684 h 1043"/>
                  <a:gd name="connsiteX72" fmla="*/ 2288 w 4821"/>
                  <a:gd name="connsiteY72" fmla="*/ 510 h 1043"/>
                  <a:gd name="connsiteX73" fmla="*/ 2251 w 4821"/>
                  <a:gd name="connsiteY73" fmla="*/ 452 h 1043"/>
                  <a:gd name="connsiteX74" fmla="*/ 2213 w 4821"/>
                  <a:gd name="connsiteY74" fmla="*/ 396 h 1043"/>
                  <a:gd name="connsiteX75" fmla="*/ 2176 w 4821"/>
                  <a:gd name="connsiteY75" fmla="*/ 342 h 1043"/>
                  <a:gd name="connsiteX76" fmla="*/ 2137 w 4821"/>
                  <a:gd name="connsiteY76" fmla="*/ 293 h 1043"/>
                  <a:gd name="connsiteX77" fmla="*/ 2096 w 4821"/>
                  <a:gd name="connsiteY77" fmla="*/ 247 h 1043"/>
                  <a:gd name="connsiteX78" fmla="*/ 2054 w 4821"/>
                  <a:gd name="connsiteY78" fmla="*/ 205 h 1043"/>
                  <a:gd name="connsiteX79" fmla="*/ 2009 w 4821"/>
                  <a:gd name="connsiteY79" fmla="*/ 168 h 1043"/>
                  <a:gd name="connsiteX80" fmla="*/ 1962 w 4821"/>
                  <a:gd name="connsiteY80" fmla="*/ 139 h 1043"/>
                  <a:gd name="connsiteX81" fmla="*/ 1910 w 4821"/>
                  <a:gd name="connsiteY81" fmla="*/ 116 h 1043"/>
                  <a:gd name="connsiteX82" fmla="*/ 1854 w 4821"/>
                  <a:gd name="connsiteY82" fmla="*/ 100 h 1043"/>
                  <a:gd name="connsiteX83" fmla="*/ 1796 w 4821"/>
                  <a:gd name="connsiteY83" fmla="*/ 91 h 1043"/>
                  <a:gd name="connsiteX84" fmla="*/ 1732 w 4821"/>
                  <a:gd name="connsiteY84" fmla="*/ 93 h 1043"/>
                  <a:gd name="connsiteX85" fmla="*/ 1664 w 4821"/>
                  <a:gd name="connsiteY85" fmla="*/ 104 h 1043"/>
                  <a:gd name="connsiteX86" fmla="*/ 1602 w 4821"/>
                  <a:gd name="connsiteY86" fmla="*/ 122 h 1043"/>
                  <a:gd name="connsiteX87" fmla="*/ 1545 w 4821"/>
                  <a:gd name="connsiteY87" fmla="*/ 147 h 1043"/>
                  <a:gd name="connsiteX88" fmla="*/ 1491 w 4821"/>
                  <a:gd name="connsiteY88" fmla="*/ 181 h 1043"/>
                  <a:gd name="connsiteX89" fmla="*/ 1439 w 4821"/>
                  <a:gd name="connsiteY89" fmla="*/ 218 h 1043"/>
                  <a:gd name="connsiteX90" fmla="*/ 1394 w 4821"/>
                  <a:gd name="connsiteY90" fmla="*/ 261 h 1043"/>
                  <a:gd name="connsiteX91" fmla="*/ 1348 w 4821"/>
                  <a:gd name="connsiteY91" fmla="*/ 307 h 1043"/>
                  <a:gd name="connsiteX92" fmla="*/ 1307 w 4821"/>
                  <a:gd name="connsiteY92" fmla="*/ 359 h 1043"/>
                  <a:gd name="connsiteX93" fmla="*/ 1268 w 4821"/>
                  <a:gd name="connsiteY93" fmla="*/ 413 h 1043"/>
                  <a:gd name="connsiteX94" fmla="*/ 1231 w 4821"/>
                  <a:gd name="connsiteY94" fmla="*/ 467 h 1043"/>
                  <a:gd name="connsiteX95" fmla="*/ 1194 w 4821"/>
                  <a:gd name="connsiteY95" fmla="*/ 523 h 1043"/>
                  <a:gd name="connsiteX96" fmla="*/ 1156 w 4821"/>
                  <a:gd name="connsiteY96" fmla="*/ 581 h 1043"/>
                  <a:gd name="connsiteX97" fmla="*/ 1121 w 4821"/>
                  <a:gd name="connsiteY97" fmla="*/ 637 h 1043"/>
                  <a:gd name="connsiteX98" fmla="*/ 1047 w 4821"/>
                  <a:gd name="connsiteY98" fmla="*/ 749 h 1043"/>
                  <a:gd name="connsiteX99" fmla="*/ 1008 w 4821"/>
                  <a:gd name="connsiteY99" fmla="*/ 801 h 1043"/>
                  <a:gd name="connsiteX100" fmla="*/ 966 w 4821"/>
                  <a:gd name="connsiteY100" fmla="*/ 850 h 1043"/>
                  <a:gd name="connsiteX101" fmla="*/ 923 w 4821"/>
                  <a:gd name="connsiteY101" fmla="*/ 896 h 1043"/>
                  <a:gd name="connsiteX102" fmla="*/ 876 w 4821"/>
                  <a:gd name="connsiteY102" fmla="*/ 937 h 1043"/>
                  <a:gd name="connsiteX103" fmla="*/ 826 w 4821"/>
                  <a:gd name="connsiteY103" fmla="*/ 973 h 1043"/>
                  <a:gd name="connsiteX104" fmla="*/ 772 w 4821"/>
                  <a:gd name="connsiteY104" fmla="*/ 1002 h 1043"/>
                  <a:gd name="connsiteX105" fmla="*/ 717 w 4821"/>
                  <a:gd name="connsiteY105" fmla="*/ 1025 h 1043"/>
                  <a:gd name="connsiteX106" fmla="*/ 653 w 4821"/>
                  <a:gd name="connsiteY106" fmla="*/ 1037 h 1043"/>
                  <a:gd name="connsiteX107" fmla="*/ 587 w 4821"/>
                  <a:gd name="connsiteY107" fmla="*/ 1043 h 1043"/>
                  <a:gd name="connsiteX108" fmla="*/ 580 w 4821"/>
                  <a:gd name="connsiteY108" fmla="*/ 1043 h 1043"/>
                  <a:gd name="connsiteX109" fmla="*/ 512 w 4821"/>
                  <a:gd name="connsiteY109" fmla="*/ 1039 h 1043"/>
                  <a:gd name="connsiteX110" fmla="*/ 450 w 4821"/>
                  <a:gd name="connsiteY110" fmla="*/ 1027 h 1043"/>
                  <a:gd name="connsiteX111" fmla="*/ 392 w 4821"/>
                  <a:gd name="connsiteY111" fmla="*/ 1008 h 1043"/>
                  <a:gd name="connsiteX112" fmla="*/ 341 w 4821"/>
                  <a:gd name="connsiteY112" fmla="*/ 983 h 1043"/>
                  <a:gd name="connsiteX113" fmla="*/ 293 w 4821"/>
                  <a:gd name="connsiteY113" fmla="*/ 952 h 1043"/>
                  <a:gd name="connsiteX114" fmla="*/ 248 w 4821"/>
                  <a:gd name="connsiteY114" fmla="*/ 915 h 1043"/>
                  <a:gd name="connsiteX115" fmla="*/ 207 w 4821"/>
                  <a:gd name="connsiteY115" fmla="*/ 873 h 1043"/>
                  <a:gd name="connsiteX116" fmla="*/ 169 w 4821"/>
                  <a:gd name="connsiteY116" fmla="*/ 828 h 1043"/>
                  <a:gd name="connsiteX117" fmla="*/ 132 w 4821"/>
                  <a:gd name="connsiteY117" fmla="*/ 780 h 1043"/>
                  <a:gd name="connsiteX118" fmla="*/ 99 w 4821"/>
                  <a:gd name="connsiteY118" fmla="*/ 728 h 1043"/>
                  <a:gd name="connsiteX119" fmla="*/ 64 w 4821"/>
                  <a:gd name="connsiteY119" fmla="*/ 674 h 1043"/>
                  <a:gd name="connsiteX120" fmla="*/ 33 w 4821"/>
                  <a:gd name="connsiteY120" fmla="*/ 618 h 1043"/>
                  <a:gd name="connsiteX121" fmla="*/ 0 w 4821"/>
                  <a:gd name="connsiteY121" fmla="*/ 560 h 1043"/>
                  <a:gd name="connsiteX122" fmla="*/ 77 w 4821"/>
                  <a:gd name="connsiteY122" fmla="*/ 516 h 1043"/>
                  <a:gd name="connsiteX123" fmla="*/ 110 w 4821"/>
                  <a:gd name="connsiteY123" fmla="*/ 575 h 1043"/>
                  <a:gd name="connsiteX124" fmla="*/ 143 w 4821"/>
                  <a:gd name="connsiteY124" fmla="*/ 631 h 1043"/>
                  <a:gd name="connsiteX125" fmla="*/ 176 w 4821"/>
                  <a:gd name="connsiteY125" fmla="*/ 684 h 1043"/>
                  <a:gd name="connsiteX126" fmla="*/ 209 w 4821"/>
                  <a:gd name="connsiteY126" fmla="*/ 736 h 1043"/>
                  <a:gd name="connsiteX127" fmla="*/ 244 w 4821"/>
                  <a:gd name="connsiteY127" fmla="*/ 782 h 1043"/>
                  <a:gd name="connsiteX128" fmla="*/ 281 w 4821"/>
                  <a:gd name="connsiteY128" fmla="*/ 825 h 1043"/>
                  <a:gd name="connsiteX129" fmla="*/ 322 w 4821"/>
                  <a:gd name="connsiteY129" fmla="*/ 863 h 1043"/>
                  <a:gd name="connsiteX130" fmla="*/ 366 w 4821"/>
                  <a:gd name="connsiteY130" fmla="*/ 894 h 1043"/>
                  <a:gd name="connsiteX131" fmla="*/ 413 w 4821"/>
                  <a:gd name="connsiteY131" fmla="*/ 921 h 1043"/>
                  <a:gd name="connsiteX132" fmla="*/ 463 w 4821"/>
                  <a:gd name="connsiteY132" fmla="*/ 940 h 1043"/>
                  <a:gd name="connsiteX133" fmla="*/ 518 w 4821"/>
                  <a:gd name="connsiteY133" fmla="*/ 952 h 1043"/>
                  <a:gd name="connsiteX134" fmla="*/ 580 w 4821"/>
                  <a:gd name="connsiteY134" fmla="*/ 956 h 1043"/>
                  <a:gd name="connsiteX135" fmla="*/ 587 w 4821"/>
                  <a:gd name="connsiteY135" fmla="*/ 956 h 1043"/>
                  <a:gd name="connsiteX136" fmla="*/ 646 w 4821"/>
                  <a:gd name="connsiteY136" fmla="*/ 950 h 1043"/>
                  <a:gd name="connsiteX137" fmla="*/ 702 w 4821"/>
                  <a:gd name="connsiteY137" fmla="*/ 935 h 1043"/>
                  <a:gd name="connsiteX138" fmla="*/ 756 w 4821"/>
                  <a:gd name="connsiteY138" fmla="*/ 913 h 1043"/>
                  <a:gd name="connsiteX139" fmla="*/ 803 w 4821"/>
                  <a:gd name="connsiteY139" fmla="*/ 884 h 1043"/>
                  <a:gd name="connsiteX140" fmla="*/ 849 w 4821"/>
                  <a:gd name="connsiteY140" fmla="*/ 846 h 1043"/>
                  <a:gd name="connsiteX141" fmla="*/ 892 w 4821"/>
                  <a:gd name="connsiteY141" fmla="*/ 803 h 1043"/>
                  <a:gd name="connsiteX142" fmla="*/ 931 w 4821"/>
                  <a:gd name="connsiteY142" fmla="*/ 755 h 1043"/>
                  <a:gd name="connsiteX143" fmla="*/ 971 w 4821"/>
                  <a:gd name="connsiteY143" fmla="*/ 703 h 1043"/>
                  <a:gd name="connsiteX144" fmla="*/ 1010 w 4821"/>
                  <a:gd name="connsiteY144" fmla="*/ 649 h 1043"/>
                  <a:gd name="connsiteX145" fmla="*/ 1121 w 4821"/>
                  <a:gd name="connsiteY145" fmla="*/ 475 h 1043"/>
                  <a:gd name="connsiteX146" fmla="*/ 1161 w 4821"/>
                  <a:gd name="connsiteY146" fmla="*/ 415 h 1043"/>
                  <a:gd name="connsiteX147" fmla="*/ 1202 w 4821"/>
                  <a:gd name="connsiteY147" fmla="*/ 357 h 1043"/>
                  <a:gd name="connsiteX148" fmla="*/ 1245 w 4821"/>
                  <a:gd name="connsiteY148" fmla="*/ 299 h 1043"/>
                  <a:gd name="connsiteX149" fmla="*/ 1291 w 4821"/>
                  <a:gd name="connsiteY149" fmla="*/ 245 h 1043"/>
                  <a:gd name="connsiteX150" fmla="*/ 1338 w 4821"/>
                  <a:gd name="connsiteY150" fmla="*/ 193 h 1043"/>
                  <a:gd name="connsiteX151" fmla="*/ 1392 w 4821"/>
                  <a:gd name="connsiteY151" fmla="*/ 145 h 1043"/>
                  <a:gd name="connsiteX152" fmla="*/ 1447 w 4821"/>
                  <a:gd name="connsiteY152" fmla="*/ 104 h 1043"/>
                  <a:gd name="connsiteX153" fmla="*/ 1509 w 4821"/>
                  <a:gd name="connsiteY153" fmla="*/ 69 h 1043"/>
                  <a:gd name="connsiteX154" fmla="*/ 1575 w 4821"/>
                  <a:gd name="connsiteY154" fmla="*/ 40 h 1043"/>
                  <a:gd name="connsiteX155" fmla="*/ 1648 w 4821"/>
                  <a:gd name="connsiteY155" fmla="*/ 19 h 1043"/>
                  <a:gd name="connsiteX156" fmla="*/ 1726 w 4821"/>
                  <a:gd name="connsiteY156" fmla="*/ 6 h 1043"/>
                  <a:gd name="connsiteX157" fmla="*/ 1796 w 4821"/>
                  <a:gd name="connsiteY157" fmla="*/ 4 h 1043"/>
                  <a:gd name="connsiteX158" fmla="*/ 1862 w 4821"/>
                  <a:gd name="connsiteY158" fmla="*/ 13 h 1043"/>
                  <a:gd name="connsiteX159" fmla="*/ 1922 w 4821"/>
                  <a:gd name="connsiteY159" fmla="*/ 27 h 1043"/>
                  <a:gd name="connsiteX160" fmla="*/ 1980 w 4821"/>
                  <a:gd name="connsiteY160" fmla="*/ 50 h 1043"/>
                  <a:gd name="connsiteX161" fmla="*/ 2034 w 4821"/>
                  <a:gd name="connsiteY161" fmla="*/ 81 h 1043"/>
                  <a:gd name="connsiteX162" fmla="*/ 2083 w 4821"/>
                  <a:gd name="connsiteY162" fmla="*/ 116 h 1043"/>
                  <a:gd name="connsiteX163" fmla="*/ 2129 w 4821"/>
                  <a:gd name="connsiteY163" fmla="*/ 158 h 1043"/>
                  <a:gd name="connsiteX164" fmla="*/ 2174 w 4821"/>
                  <a:gd name="connsiteY164" fmla="*/ 203 h 1043"/>
                  <a:gd name="connsiteX165" fmla="*/ 2216 w 4821"/>
                  <a:gd name="connsiteY165" fmla="*/ 251 h 1043"/>
                  <a:gd name="connsiteX166" fmla="*/ 2255 w 4821"/>
                  <a:gd name="connsiteY166" fmla="*/ 303 h 1043"/>
                  <a:gd name="connsiteX167" fmla="*/ 2292 w 4821"/>
                  <a:gd name="connsiteY167" fmla="*/ 357 h 1043"/>
                  <a:gd name="connsiteX168" fmla="*/ 2327 w 4821"/>
                  <a:gd name="connsiteY168" fmla="*/ 413 h 1043"/>
                  <a:gd name="connsiteX169" fmla="*/ 2362 w 4821"/>
                  <a:gd name="connsiteY169" fmla="*/ 467 h 1043"/>
                  <a:gd name="connsiteX170" fmla="*/ 2395 w 4821"/>
                  <a:gd name="connsiteY170" fmla="*/ 523 h 1043"/>
                  <a:gd name="connsiteX171" fmla="*/ 2432 w 4821"/>
                  <a:gd name="connsiteY171" fmla="*/ 585 h 1043"/>
                  <a:gd name="connsiteX172" fmla="*/ 2469 w 4821"/>
                  <a:gd name="connsiteY172" fmla="*/ 643 h 1043"/>
                  <a:gd name="connsiteX173" fmla="*/ 2509 w 4821"/>
                  <a:gd name="connsiteY173" fmla="*/ 701 h 1043"/>
                  <a:gd name="connsiteX174" fmla="*/ 2546 w 4821"/>
                  <a:gd name="connsiteY174" fmla="*/ 755 h 1043"/>
                  <a:gd name="connsiteX175" fmla="*/ 2587 w 4821"/>
                  <a:gd name="connsiteY175" fmla="*/ 805 h 1043"/>
                  <a:gd name="connsiteX176" fmla="*/ 2628 w 4821"/>
                  <a:gd name="connsiteY176" fmla="*/ 848 h 1043"/>
                  <a:gd name="connsiteX177" fmla="*/ 2672 w 4821"/>
                  <a:gd name="connsiteY177" fmla="*/ 886 h 1043"/>
                  <a:gd name="connsiteX178" fmla="*/ 2717 w 4821"/>
                  <a:gd name="connsiteY178" fmla="*/ 917 h 1043"/>
                  <a:gd name="connsiteX179" fmla="*/ 2767 w 4821"/>
                  <a:gd name="connsiteY179" fmla="*/ 940 h 1043"/>
                  <a:gd name="connsiteX180" fmla="*/ 2820 w 4821"/>
                  <a:gd name="connsiteY180" fmla="*/ 952 h 1043"/>
                  <a:gd name="connsiteX181" fmla="*/ 2876 w 4821"/>
                  <a:gd name="connsiteY181" fmla="*/ 956 h 1043"/>
                  <a:gd name="connsiteX182" fmla="*/ 2932 w 4821"/>
                  <a:gd name="connsiteY182" fmla="*/ 950 h 1043"/>
                  <a:gd name="connsiteX183" fmla="*/ 2982 w 4821"/>
                  <a:gd name="connsiteY183" fmla="*/ 935 h 1043"/>
                  <a:gd name="connsiteX184" fmla="*/ 3029 w 4821"/>
                  <a:gd name="connsiteY184" fmla="*/ 915 h 1043"/>
                  <a:gd name="connsiteX185" fmla="*/ 3072 w 4821"/>
                  <a:gd name="connsiteY185" fmla="*/ 884 h 1043"/>
                  <a:gd name="connsiteX186" fmla="*/ 3112 w 4821"/>
                  <a:gd name="connsiteY186" fmla="*/ 848 h 1043"/>
                  <a:gd name="connsiteX187" fmla="*/ 3149 w 4821"/>
                  <a:gd name="connsiteY187" fmla="*/ 807 h 1043"/>
                  <a:gd name="connsiteX188" fmla="*/ 3184 w 4821"/>
                  <a:gd name="connsiteY188" fmla="*/ 759 h 1043"/>
                  <a:gd name="connsiteX189" fmla="*/ 3217 w 4821"/>
                  <a:gd name="connsiteY189" fmla="*/ 709 h 1043"/>
                  <a:gd name="connsiteX190" fmla="*/ 3250 w 4821"/>
                  <a:gd name="connsiteY190" fmla="*/ 655 h 1043"/>
                  <a:gd name="connsiteX191" fmla="*/ 3283 w 4821"/>
                  <a:gd name="connsiteY191" fmla="*/ 597 h 1043"/>
                  <a:gd name="connsiteX192" fmla="*/ 3316 w 4821"/>
                  <a:gd name="connsiteY192" fmla="*/ 537 h 1043"/>
                  <a:gd name="connsiteX193" fmla="*/ 3345 w 4821"/>
                  <a:gd name="connsiteY193" fmla="*/ 483 h 1043"/>
                  <a:gd name="connsiteX194" fmla="*/ 3407 w 4821"/>
                  <a:gd name="connsiteY194" fmla="*/ 375 h 1043"/>
                  <a:gd name="connsiteX195" fmla="*/ 3477 w 4821"/>
                  <a:gd name="connsiteY195" fmla="*/ 272 h 1043"/>
                  <a:gd name="connsiteX196" fmla="*/ 3514 w 4821"/>
                  <a:gd name="connsiteY196" fmla="*/ 224 h 1043"/>
                  <a:gd name="connsiteX197" fmla="*/ 3555 w 4821"/>
                  <a:gd name="connsiteY197" fmla="*/ 178 h 1043"/>
                  <a:gd name="connsiteX198" fmla="*/ 3599 w 4821"/>
                  <a:gd name="connsiteY198" fmla="*/ 137 h 1043"/>
                  <a:gd name="connsiteX199" fmla="*/ 3646 w 4821"/>
                  <a:gd name="connsiteY199" fmla="*/ 100 h 1043"/>
                  <a:gd name="connsiteX200" fmla="*/ 3698 w 4821"/>
                  <a:gd name="connsiteY200" fmla="*/ 66 h 1043"/>
                  <a:gd name="connsiteX201" fmla="*/ 3756 w 4821"/>
                  <a:gd name="connsiteY201" fmla="*/ 40 h 1043"/>
                  <a:gd name="connsiteX202" fmla="*/ 3816 w 4821"/>
                  <a:gd name="connsiteY202" fmla="*/ 19 h 1043"/>
                  <a:gd name="connsiteX203" fmla="*/ 3882 w 4821"/>
                  <a:gd name="connsiteY203" fmla="*/ 6 h 1043"/>
                  <a:gd name="connsiteX204" fmla="*/ 3954 w 4821"/>
                  <a:gd name="connsiteY204" fmla="*/ 0 h 1043"/>
                  <a:gd name="connsiteX0" fmla="*/ 3954 w 4783"/>
                  <a:gd name="connsiteY0" fmla="*/ 0 h 1043"/>
                  <a:gd name="connsiteX1" fmla="*/ 4004 w 4783"/>
                  <a:gd name="connsiteY1" fmla="*/ 0 h 1043"/>
                  <a:gd name="connsiteX2" fmla="*/ 4032 w 4783"/>
                  <a:gd name="connsiteY2" fmla="*/ 4 h 1043"/>
                  <a:gd name="connsiteX3" fmla="*/ 4063 w 4783"/>
                  <a:gd name="connsiteY3" fmla="*/ 13 h 1043"/>
                  <a:gd name="connsiteX4" fmla="*/ 4101 w 4783"/>
                  <a:gd name="connsiteY4" fmla="*/ 23 h 1043"/>
                  <a:gd name="connsiteX5" fmla="*/ 4142 w 4783"/>
                  <a:gd name="connsiteY5" fmla="*/ 40 h 1043"/>
                  <a:gd name="connsiteX6" fmla="*/ 4185 w 4783"/>
                  <a:gd name="connsiteY6" fmla="*/ 60 h 1043"/>
                  <a:gd name="connsiteX7" fmla="*/ 4233 w 4783"/>
                  <a:gd name="connsiteY7" fmla="*/ 89 h 1043"/>
                  <a:gd name="connsiteX8" fmla="*/ 4282 w 4783"/>
                  <a:gd name="connsiteY8" fmla="*/ 125 h 1043"/>
                  <a:gd name="connsiteX9" fmla="*/ 4332 w 4783"/>
                  <a:gd name="connsiteY9" fmla="*/ 170 h 1043"/>
                  <a:gd name="connsiteX10" fmla="*/ 4383 w 4783"/>
                  <a:gd name="connsiteY10" fmla="*/ 224 h 1043"/>
                  <a:gd name="connsiteX11" fmla="*/ 4435 w 4783"/>
                  <a:gd name="connsiteY11" fmla="*/ 286 h 1043"/>
                  <a:gd name="connsiteX12" fmla="*/ 4487 w 4783"/>
                  <a:gd name="connsiteY12" fmla="*/ 361 h 1043"/>
                  <a:gd name="connsiteX13" fmla="*/ 4538 w 4783"/>
                  <a:gd name="connsiteY13" fmla="*/ 448 h 1043"/>
                  <a:gd name="connsiteX14" fmla="*/ 4590 w 4783"/>
                  <a:gd name="connsiteY14" fmla="*/ 548 h 1043"/>
                  <a:gd name="connsiteX15" fmla="*/ 4635 w 4783"/>
                  <a:gd name="connsiteY15" fmla="*/ 633 h 1043"/>
                  <a:gd name="connsiteX16" fmla="*/ 4681 w 4783"/>
                  <a:gd name="connsiteY16" fmla="*/ 705 h 1043"/>
                  <a:gd name="connsiteX17" fmla="*/ 4728 w 4783"/>
                  <a:gd name="connsiteY17" fmla="*/ 767 h 1043"/>
                  <a:gd name="connsiteX18" fmla="*/ 4776 w 4783"/>
                  <a:gd name="connsiteY18" fmla="*/ 819 h 1043"/>
                  <a:gd name="connsiteX19" fmla="*/ 4767 w 4783"/>
                  <a:gd name="connsiteY19" fmla="*/ 931 h 1043"/>
                  <a:gd name="connsiteX20" fmla="*/ 4716 w 4783"/>
                  <a:gd name="connsiteY20" fmla="*/ 881 h 1043"/>
                  <a:gd name="connsiteX21" fmla="*/ 4662 w 4783"/>
                  <a:gd name="connsiteY21" fmla="*/ 823 h 1043"/>
                  <a:gd name="connsiteX22" fmla="*/ 4611 w 4783"/>
                  <a:gd name="connsiteY22" fmla="*/ 755 h 1043"/>
                  <a:gd name="connsiteX23" fmla="*/ 4561 w 4783"/>
                  <a:gd name="connsiteY23" fmla="*/ 676 h 1043"/>
                  <a:gd name="connsiteX24" fmla="*/ 4513 w 4783"/>
                  <a:gd name="connsiteY24" fmla="*/ 583 h 1043"/>
                  <a:gd name="connsiteX25" fmla="*/ 4464 w 4783"/>
                  <a:gd name="connsiteY25" fmla="*/ 487 h 1043"/>
                  <a:gd name="connsiteX26" fmla="*/ 4414 w 4783"/>
                  <a:gd name="connsiteY26" fmla="*/ 404 h 1043"/>
                  <a:gd name="connsiteX27" fmla="*/ 4365 w 4783"/>
                  <a:gd name="connsiteY27" fmla="*/ 336 h 1043"/>
                  <a:gd name="connsiteX28" fmla="*/ 4315 w 4783"/>
                  <a:gd name="connsiteY28" fmla="*/ 276 h 1043"/>
                  <a:gd name="connsiteX29" fmla="*/ 4268 w 4783"/>
                  <a:gd name="connsiteY29" fmla="*/ 228 h 1043"/>
                  <a:gd name="connsiteX30" fmla="*/ 4222 w 4783"/>
                  <a:gd name="connsiteY30" fmla="*/ 189 h 1043"/>
                  <a:gd name="connsiteX31" fmla="*/ 4181 w 4783"/>
                  <a:gd name="connsiteY31" fmla="*/ 158 h 1043"/>
                  <a:gd name="connsiteX32" fmla="*/ 4142 w 4783"/>
                  <a:gd name="connsiteY32" fmla="*/ 135 h 1043"/>
                  <a:gd name="connsiteX33" fmla="*/ 4092 w 4783"/>
                  <a:gd name="connsiteY33" fmla="*/ 112 h 1043"/>
                  <a:gd name="connsiteX34" fmla="*/ 4049 w 4783"/>
                  <a:gd name="connsiteY34" fmla="*/ 98 h 1043"/>
                  <a:gd name="connsiteX35" fmla="*/ 4014 w 4783"/>
                  <a:gd name="connsiteY35" fmla="*/ 89 h 1043"/>
                  <a:gd name="connsiteX36" fmla="*/ 3985 w 4783"/>
                  <a:gd name="connsiteY36" fmla="*/ 87 h 1043"/>
                  <a:gd name="connsiteX37" fmla="*/ 3958 w 4783"/>
                  <a:gd name="connsiteY37" fmla="*/ 87 h 1043"/>
                  <a:gd name="connsiteX38" fmla="*/ 3892 w 4783"/>
                  <a:gd name="connsiteY38" fmla="*/ 93 h 1043"/>
                  <a:gd name="connsiteX39" fmla="*/ 3830 w 4783"/>
                  <a:gd name="connsiteY39" fmla="*/ 106 h 1043"/>
                  <a:gd name="connsiteX40" fmla="*/ 3774 w 4783"/>
                  <a:gd name="connsiteY40" fmla="*/ 127 h 1043"/>
                  <a:gd name="connsiteX41" fmla="*/ 3723 w 4783"/>
                  <a:gd name="connsiteY41" fmla="*/ 154 h 1043"/>
                  <a:gd name="connsiteX42" fmla="*/ 3675 w 4783"/>
                  <a:gd name="connsiteY42" fmla="*/ 187 h 1043"/>
                  <a:gd name="connsiteX43" fmla="*/ 3632 w 4783"/>
                  <a:gd name="connsiteY43" fmla="*/ 224 h 1043"/>
                  <a:gd name="connsiteX44" fmla="*/ 3593 w 4783"/>
                  <a:gd name="connsiteY44" fmla="*/ 268 h 1043"/>
                  <a:gd name="connsiteX45" fmla="*/ 3553 w 4783"/>
                  <a:gd name="connsiteY45" fmla="*/ 313 h 1043"/>
                  <a:gd name="connsiteX46" fmla="*/ 3518 w 4783"/>
                  <a:gd name="connsiteY46" fmla="*/ 363 h 1043"/>
                  <a:gd name="connsiteX47" fmla="*/ 3485 w 4783"/>
                  <a:gd name="connsiteY47" fmla="*/ 415 h 1043"/>
                  <a:gd name="connsiteX48" fmla="*/ 3423 w 4783"/>
                  <a:gd name="connsiteY48" fmla="*/ 523 h 1043"/>
                  <a:gd name="connsiteX49" fmla="*/ 3330 w 4783"/>
                  <a:gd name="connsiteY49" fmla="*/ 691 h 1043"/>
                  <a:gd name="connsiteX50" fmla="*/ 3297 w 4783"/>
                  <a:gd name="connsiteY50" fmla="*/ 747 h 1043"/>
                  <a:gd name="connsiteX51" fmla="*/ 3262 w 4783"/>
                  <a:gd name="connsiteY51" fmla="*/ 799 h 1043"/>
                  <a:gd name="connsiteX52" fmla="*/ 3227 w 4783"/>
                  <a:gd name="connsiteY52" fmla="*/ 848 h 1043"/>
                  <a:gd name="connsiteX53" fmla="*/ 3188 w 4783"/>
                  <a:gd name="connsiteY53" fmla="*/ 894 h 1043"/>
                  <a:gd name="connsiteX54" fmla="*/ 3147 w 4783"/>
                  <a:gd name="connsiteY54" fmla="*/ 935 h 1043"/>
                  <a:gd name="connsiteX55" fmla="*/ 3101 w 4783"/>
                  <a:gd name="connsiteY55" fmla="*/ 971 h 1043"/>
                  <a:gd name="connsiteX56" fmla="*/ 3052 w 4783"/>
                  <a:gd name="connsiteY56" fmla="*/ 1000 h 1043"/>
                  <a:gd name="connsiteX57" fmla="*/ 3000 w 4783"/>
                  <a:gd name="connsiteY57" fmla="*/ 1022 h 1043"/>
                  <a:gd name="connsiteX58" fmla="*/ 2942 w 4783"/>
                  <a:gd name="connsiteY58" fmla="*/ 1037 h 1043"/>
                  <a:gd name="connsiteX59" fmla="*/ 2878 w 4783"/>
                  <a:gd name="connsiteY59" fmla="*/ 1043 h 1043"/>
                  <a:gd name="connsiteX60" fmla="*/ 2870 w 4783"/>
                  <a:gd name="connsiteY60" fmla="*/ 1043 h 1043"/>
                  <a:gd name="connsiteX61" fmla="*/ 2808 w 4783"/>
                  <a:gd name="connsiteY61" fmla="*/ 1039 h 1043"/>
                  <a:gd name="connsiteX62" fmla="*/ 2748 w 4783"/>
                  <a:gd name="connsiteY62" fmla="*/ 1025 h 1043"/>
                  <a:gd name="connsiteX63" fmla="*/ 2695 w 4783"/>
                  <a:gd name="connsiteY63" fmla="*/ 1002 h 1043"/>
                  <a:gd name="connsiteX64" fmla="*/ 2643 w 4783"/>
                  <a:gd name="connsiteY64" fmla="*/ 973 h 1043"/>
                  <a:gd name="connsiteX65" fmla="*/ 2595 w 4783"/>
                  <a:gd name="connsiteY65" fmla="*/ 935 h 1043"/>
                  <a:gd name="connsiteX66" fmla="*/ 2552 w 4783"/>
                  <a:gd name="connsiteY66" fmla="*/ 894 h 1043"/>
                  <a:gd name="connsiteX67" fmla="*/ 2509 w 4783"/>
                  <a:gd name="connsiteY67" fmla="*/ 846 h 1043"/>
                  <a:gd name="connsiteX68" fmla="*/ 2469 w 4783"/>
                  <a:gd name="connsiteY68" fmla="*/ 796 h 1043"/>
                  <a:gd name="connsiteX69" fmla="*/ 2430 w 4783"/>
                  <a:gd name="connsiteY69" fmla="*/ 740 h 1043"/>
                  <a:gd name="connsiteX70" fmla="*/ 2393 w 4783"/>
                  <a:gd name="connsiteY70" fmla="*/ 684 h 1043"/>
                  <a:gd name="connsiteX71" fmla="*/ 2288 w 4783"/>
                  <a:gd name="connsiteY71" fmla="*/ 510 h 1043"/>
                  <a:gd name="connsiteX72" fmla="*/ 2251 w 4783"/>
                  <a:gd name="connsiteY72" fmla="*/ 452 h 1043"/>
                  <a:gd name="connsiteX73" fmla="*/ 2213 w 4783"/>
                  <a:gd name="connsiteY73" fmla="*/ 396 h 1043"/>
                  <a:gd name="connsiteX74" fmla="*/ 2176 w 4783"/>
                  <a:gd name="connsiteY74" fmla="*/ 342 h 1043"/>
                  <a:gd name="connsiteX75" fmla="*/ 2137 w 4783"/>
                  <a:gd name="connsiteY75" fmla="*/ 293 h 1043"/>
                  <a:gd name="connsiteX76" fmla="*/ 2096 w 4783"/>
                  <a:gd name="connsiteY76" fmla="*/ 247 h 1043"/>
                  <a:gd name="connsiteX77" fmla="*/ 2054 w 4783"/>
                  <a:gd name="connsiteY77" fmla="*/ 205 h 1043"/>
                  <a:gd name="connsiteX78" fmla="*/ 2009 w 4783"/>
                  <a:gd name="connsiteY78" fmla="*/ 168 h 1043"/>
                  <a:gd name="connsiteX79" fmla="*/ 1962 w 4783"/>
                  <a:gd name="connsiteY79" fmla="*/ 139 h 1043"/>
                  <a:gd name="connsiteX80" fmla="*/ 1910 w 4783"/>
                  <a:gd name="connsiteY80" fmla="*/ 116 h 1043"/>
                  <a:gd name="connsiteX81" fmla="*/ 1854 w 4783"/>
                  <a:gd name="connsiteY81" fmla="*/ 100 h 1043"/>
                  <a:gd name="connsiteX82" fmla="*/ 1796 w 4783"/>
                  <a:gd name="connsiteY82" fmla="*/ 91 h 1043"/>
                  <a:gd name="connsiteX83" fmla="*/ 1732 w 4783"/>
                  <a:gd name="connsiteY83" fmla="*/ 93 h 1043"/>
                  <a:gd name="connsiteX84" fmla="*/ 1664 w 4783"/>
                  <a:gd name="connsiteY84" fmla="*/ 104 h 1043"/>
                  <a:gd name="connsiteX85" fmla="*/ 1602 w 4783"/>
                  <a:gd name="connsiteY85" fmla="*/ 122 h 1043"/>
                  <a:gd name="connsiteX86" fmla="*/ 1545 w 4783"/>
                  <a:gd name="connsiteY86" fmla="*/ 147 h 1043"/>
                  <a:gd name="connsiteX87" fmla="*/ 1491 w 4783"/>
                  <a:gd name="connsiteY87" fmla="*/ 181 h 1043"/>
                  <a:gd name="connsiteX88" fmla="*/ 1439 w 4783"/>
                  <a:gd name="connsiteY88" fmla="*/ 218 h 1043"/>
                  <a:gd name="connsiteX89" fmla="*/ 1394 w 4783"/>
                  <a:gd name="connsiteY89" fmla="*/ 261 h 1043"/>
                  <a:gd name="connsiteX90" fmla="*/ 1348 w 4783"/>
                  <a:gd name="connsiteY90" fmla="*/ 307 h 1043"/>
                  <a:gd name="connsiteX91" fmla="*/ 1307 w 4783"/>
                  <a:gd name="connsiteY91" fmla="*/ 359 h 1043"/>
                  <a:gd name="connsiteX92" fmla="*/ 1268 w 4783"/>
                  <a:gd name="connsiteY92" fmla="*/ 413 h 1043"/>
                  <a:gd name="connsiteX93" fmla="*/ 1231 w 4783"/>
                  <a:gd name="connsiteY93" fmla="*/ 467 h 1043"/>
                  <a:gd name="connsiteX94" fmla="*/ 1194 w 4783"/>
                  <a:gd name="connsiteY94" fmla="*/ 523 h 1043"/>
                  <a:gd name="connsiteX95" fmla="*/ 1156 w 4783"/>
                  <a:gd name="connsiteY95" fmla="*/ 581 h 1043"/>
                  <a:gd name="connsiteX96" fmla="*/ 1121 w 4783"/>
                  <a:gd name="connsiteY96" fmla="*/ 637 h 1043"/>
                  <a:gd name="connsiteX97" fmla="*/ 1047 w 4783"/>
                  <a:gd name="connsiteY97" fmla="*/ 749 h 1043"/>
                  <a:gd name="connsiteX98" fmla="*/ 1008 w 4783"/>
                  <a:gd name="connsiteY98" fmla="*/ 801 h 1043"/>
                  <a:gd name="connsiteX99" fmla="*/ 966 w 4783"/>
                  <a:gd name="connsiteY99" fmla="*/ 850 h 1043"/>
                  <a:gd name="connsiteX100" fmla="*/ 923 w 4783"/>
                  <a:gd name="connsiteY100" fmla="*/ 896 h 1043"/>
                  <a:gd name="connsiteX101" fmla="*/ 876 w 4783"/>
                  <a:gd name="connsiteY101" fmla="*/ 937 h 1043"/>
                  <a:gd name="connsiteX102" fmla="*/ 826 w 4783"/>
                  <a:gd name="connsiteY102" fmla="*/ 973 h 1043"/>
                  <a:gd name="connsiteX103" fmla="*/ 772 w 4783"/>
                  <a:gd name="connsiteY103" fmla="*/ 1002 h 1043"/>
                  <a:gd name="connsiteX104" fmla="*/ 717 w 4783"/>
                  <a:gd name="connsiteY104" fmla="*/ 1025 h 1043"/>
                  <a:gd name="connsiteX105" fmla="*/ 653 w 4783"/>
                  <a:gd name="connsiteY105" fmla="*/ 1037 h 1043"/>
                  <a:gd name="connsiteX106" fmla="*/ 587 w 4783"/>
                  <a:gd name="connsiteY106" fmla="*/ 1043 h 1043"/>
                  <a:gd name="connsiteX107" fmla="*/ 580 w 4783"/>
                  <a:gd name="connsiteY107" fmla="*/ 1043 h 1043"/>
                  <a:gd name="connsiteX108" fmla="*/ 512 w 4783"/>
                  <a:gd name="connsiteY108" fmla="*/ 1039 h 1043"/>
                  <a:gd name="connsiteX109" fmla="*/ 450 w 4783"/>
                  <a:gd name="connsiteY109" fmla="*/ 1027 h 1043"/>
                  <a:gd name="connsiteX110" fmla="*/ 392 w 4783"/>
                  <a:gd name="connsiteY110" fmla="*/ 1008 h 1043"/>
                  <a:gd name="connsiteX111" fmla="*/ 341 w 4783"/>
                  <a:gd name="connsiteY111" fmla="*/ 983 h 1043"/>
                  <a:gd name="connsiteX112" fmla="*/ 293 w 4783"/>
                  <a:gd name="connsiteY112" fmla="*/ 952 h 1043"/>
                  <a:gd name="connsiteX113" fmla="*/ 248 w 4783"/>
                  <a:gd name="connsiteY113" fmla="*/ 915 h 1043"/>
                  <a:gd name="connsiteX114" fmla="*/ 207 w 4783"/>
                  <a:gd name="connsiteY114" fmla="*/ 873 h 1043"/>
                  <a:gd name="connsiteX115" fmla="*/ 169 w 4783"/>
                  <a:gd name="connsiteY115" fmla="*/ 828 h 1043"/>
                  <a:gd name="connsiteX116" fmla="*/ 132 w 4783"/>
                  <a:gd name="connsiteY116" fmla="*/ 780 h 1043"/>
                  <a:gd name="connsiteX117" fmla="*/ 99 w 4783"/>
                  <a:gd name="connsiteY117" fmla="*/ 728 h 1043"/>
                  <a:gd name="connsiteX118" fmla="*/ 64 w 4783"/>
                  <a:gd name="connsiteY118" fmla="*/ 674 h 1043"/>
                  <a:gd name="connsiteX119" fmla="*/ 33 w 4783"/>
                  <a:gd name="connsiteY119" fmla="*/ 618 h 1043"/>
                  <a:gd name="connsiteX120" fmla="*/ 0 w 4783"/>
                  <a:gd name="connsiteY120" fmla="*/ 560 h 1043"/>
                  <a:gd name="connsiteX121" fmla="*/ 77 w 4783"/>
                  <a:gd name="connsiteY121" fmla="*/ 516 h 1043"/>
                  <a:gd name="connsiteX122" fmla="*/ 110 w 4783"/>
                  <a:gd name="connsiteY122" fmla="*/ 575 h 1043"/>
                  <a:gd name="connsiteX123" fmla="*/ 143 w 4783"/>
                  <a:gd name="connsiteY123" fmla="*/ 631 h 1043"/>
                  <a:gd name="connsiteX124" fmla="*/ 176 w 4783"/>
                  <a:gd name="connsiteY124" fmla="*/ 684 h 1043"/>
                  <a:gd name="connsiteX125" fmla="*/ 209 w 4783"/>
                  <a:gd name="connsiteY125" fmla="*/ 736 h 1043"/>
                  <a:gd name="connsiteX126" fmla="*/ 244 w 4783"/>
                  <a:gd name="connsiteY126" fmla="*/ 782 h 1043"/>
                  <a:gd name="connsiteX127" fmla="*/ 281 w 4783"/>
                  <a:gd name="connsiteY127" fmla="*/ 825 h 1043"/>
                  <a:gd name="connsiteX128" fmla="*/ 322 w 4783"/>
                  <a:gd name="connsiteY128" fmla="*/ 863 h 1043"/>
                  <a:gd name="connsiteX129" fmla="*/ 366 w 4783"/>
                  <a:gd name="connsiteY129" fmla="*/ 894 h 1043"/>
                  <a:gd name="connsiteX130" fmla="*/ 413 w 4783"/>
                  <a:gd name="connsiteY130" fmla="*/ 921 h 1043"/>
                  <a:gd name="connsiteX131" fmla="*/ 463 w 4783"/>
                  <a:gd name="connsiteY131" fmla="*/ 940 h 1043"/>
                  <a:gd name="connsiteX132" fmla="*/ 518 w 4783"/>
                  <a:gd name="connsiteY132" fmla="*/ 952 h 1043"/>
                  <a:gd name="connsiteX133" fmla="*/ 580 w 4783"/>
                  <a:gd name="connsiteY133" fmla="*/ 956 h 1043"/>
                  <a:gd name="connsiteX134" fmla="*/ 587 w 4783"/>
                  <a:gd name="connsiteY134" fmla="*/ 956 h 1043"/>
                  <a:gd name="connsiteX135" fmla="*/ 646 w 4783"/>
                  <a:gd name="connsiteY135" fmla="*/ 950 h 1043"/>
                  <a:gd name="connsiteX136" fmla="*/ 702 w 4783"/>
                  <a:gd name="connsiteY136" fmla="*/ 935 h 1043"/>
                  <a:gd name="connsiteX137" fmla="*/ 756 w 4783"/>
                  <a:gd name="connsiteY137" fmla="*/ 913 h 1043"/>
                  <a:gd name="connsiteX138" fmla="*/ 803 w 4783"/>
                  <a:gd name="connsiteY138" fmla="*/ 884 h 1043"/>
                  <a:gd name="connsiteX139" fmla="*/ 849 w 4783"/>
                  <a:gd name="connsiteY139" fmla="*/ 846 h 1043"/>
                  <a:gd name="connsiteX140" fmla="*/ 892 w 4783"/>
                  <a:gd name="connsiteY140" fmla="*/ 803 h 1043"/>
                  <a:gd name="connsiteX141" fmla="*/ 931 w 4783"/>
                  <a:gd name="connsiteY141" fmla="*/ 755 h 1043"/>
                  <a:gd name="connsiteX142" fmla="*/ 971 w 4783"/>
                  <a:gd name="connsiteY142" fmla="*/ 703 h 1043"/>
                  <a:gd name="connsiteX143" fmla="*/ 1010 w 4783"/>
                  <a:gd name="connsiteY143" fmla="*/ 649 h 1043"/>
                  <a:gd name="connsiteX144" fmla="*/ 1121 w 4783"/>
                  <a:gd name="connsiteY144" fmla="*/ 475 h 1043"/>
                  <a:gd name="connsiteX145" fmla="*/ 1161 w 4783"/>
                  <a:gd name="connsiteY145" fmla="*/ 415 h 1043"/>
                  <a:gd name="connsiteX146" fmla="*/ 1202 w 4783"/>
                  <a:gd name="connsiteY146" fmla="*/ 357 h 1043"/>
                  <a:gd name="connsiteX147" fmla="*/ 1245 w 4783"/>
                  <a:gd name="connsiteY147" fmla="*/ 299 h 1043"/>
                  <a:gd name="connsiteX148" fmla="*/ 1291 w 4783"/>
                  <a:gd name="connsiteY148" fmla="*/ 245 h 1043"/>
                  <a:gd name="connsiteX149" fmla="*/ 1338 w 4783"/>
                  <a:gd name="connsiteY149" fmla="*/ 193 h 1043"/>
                  <a:gd name="connsiteX150" fmla="*/ 1392 w 4783"/>
                  <a:gd name="connsiteY150" fmla="*/ 145 h 1043"/>
                  <a:gd name="connsiteX151" fmla="*/ 1447 w 4783"/>
                  <a:gd name="connsiteY151" fmla="*/ 104 h 1043"/>
                  <a:gd name="connsiteX152" fmla="*/ 1509 w 4783"/>
                  <a:gd name="connsiteY152" fmla="*/ 69 h 1043"/>
                  <a:gd name="connsiteX153" fmla="*/ 1575 w 4783"/>
                  <a:gd name="connsiteY153" fmla="*/ 40 h 1043"/>
                  <a:gd name="connsiteX154" fmla="*/ 1648 w 4783"/>
                  <a:gd name="connsiteY154" fmla="*/ 19 h 1043"/>
                  <a:gd name="connsiteX155" fmla="*/ 1726 w 4783"/>
                  <a:gd name="connsiteY155" fmla="*/ 6 h 1043"/>
                  <a:gd name="connsiteX156" fmla="*/ 1796 w 4783"/>
                  <a:gd name="connsiteY156" fmla="*/ 4 h 1043"/>
                  <a:gd name="connsiteX157" fmla="*/ 1862 w 4783"/>
                  <a:gd name="connsiteY157" fmla="*/ 13 h 1043"/>
                  <a:gd name="connsiteX158" fmla="*/ 1922 w 4783"/>
                  <a:gd name="connsiteY158" fmla="*/ 27 h 1043"/>
                  <a:gd name="connsiteX159" fmla="*/ 1980 w 4783"/>
                  <a:gd name="connsiteY159" fmla="*/ 50 h 1043"/>
                  <a:gd name="connsiteX160" fmla="*/ 2034 w 4783"/>
                  <a:gd name="connsiteY160" fmla="*/ 81 h 1043"/>
                  <a:gd name="connsiteX161" fmla="*/ 2083 w 4783"/>
                  <a:gd name="connsiteY161" fmla="*/ 116 h 1043"/>
                  <a:gd name="connsiteX162" fmla="*/ 2129 w 4783"/>
                  <a:gd name="connsiteY162" fmla="*/ 158 h 1043"/>
                  <a:gd name="connsiteX163" fmla="*/ 2174 w 4783"/>
                  <a:gd name="connsiteY163" fmla="*/ 203 h 1043"/>
                  <a:gd name="connsiteX164" fmla="*/ 2216 w 4783"/>
                  <a:gd name="connsiteY164" fmla="*/ 251 h 1043"/>
                  <a:gd name="connsiteX165" fmla="*/ 2255 w 4783"/>
                  <a:gd name="connsiteY165" fmla="*/ 303 h 1043"/>
                  <a:gd name="connsiteX166" fmla="*/ 2292 w 4783"/>
                  <a:gd name="connsiteY166" fmla="*/ 357 h 1043"/>
                  <a:gd name="connsiteX167" fmla="*/ 2327 w 4783"/>
                  <a:gd name="connsiteY167" fmla="*/ 413 h 1043"/>
                  <a:gd name="connsiteX168" fmla="*/ 2362 w 4783"/>
                  <a:gd name="connsiteY168" fmla="*/ 467 h 1043"/>
                  <a:gd name="connsiteX169" fmla="*/ 2395 w 4783"/>
                  <a:gd name="connsiteY169" fmla="*/ 523 h 1043"/>
                  <a:gd name="connsiteX170" fmla="*/ 2432 w 4783"/>
                  <a:gd name="connsiteY170" fmla="*/ 585 h 1043"/>
                  <a:gd name="connsiteX171" fmla="*/ 2469 w 4783"/>
                  <a:gd name="connsiteY171" fmla="*/ 643 h 1043"/>
                  <a:gd name="connsiteX172" fmla="*/ 2509 w 4783"/>
                  <a:gd name="connsiteY172" fmla="*/ 701 h 1043"/>
                  <a:gd name="connsiteX173" fmla="*/ 2546 w 4783"/>
                  <a:gd name="connsiteY173" fmla="*/ 755 h 1043"/>
                  <a:gd name="connsiteX174" fmla="*/ 2587 w 4783"/>
                  <a:gd name="connsiteY174" fmla="*/ 805 h 1043"/>
                  <a:gd name="connsiteX175" fmla="*/ 2628 w 4783"/>
                  <a:gd name="connsiteY175" fmla="*/ 848 h 1043"/>
                  <a:gd name="connsiteX176" fmla="*/ 2672 w 4783"/>
                  <a:gd name="connsiteY176" fmla="*/ 886 h 1043"/>
                  <a:gd name="connsiteX177" fmla="*/ 2717 w 4783"/>
                  <a:gd name="connsiteY177" fmla="*/ 917 h 1043"/>
                  <a:gd name="connsiteX178" fmla="*/ 2767 w 4783"/>
                  <a:gd name="connsiteY178" fmla="*/ 940 h 1043"/>
                  <a:gd name="connsiteX179" fmla="*/ 2820 w 4783"/>
                  <a:gd name="connsiteY179" fmla="*/ 952 h 1043"/>
                  <a:gd name="connsiteX180" fmla="*/ 2876 w 4783"/>
                  <a:gd name="connsiteY180" fmla="*/ 956 h 1043"/>
                  <a:gd name="connsiteX181" fmla="*/ 2932 w 4783"/>
                  <a:gd name="connsiteY181" fmla="*/ 950 h 1043"/>
                  <a:gd name="connsiteX182" fmla="*/ 2982 w 4783"/>
                  <a:gd name="connsiteY182" fmla="*/ 935 h 1043"/>
                  <a:gd name="connsiteX183" fmla="*/ 3029 w 4783"/>
                  <a:gd name="connsiteY183" fmla="*/ 915 h 1043"/>
                  <a:gd name="connsiteX184" fmla="*/ 3072 w 4783"/>
                  <a:gd name="connsiteY184" fmla="*/ 884 h 1043"/>
                  <a:gd name="connsiteX185" fmla="*/ 3112 w 4783"/>
                  <a:gd name="connsiteY185" fmla="*/ 848 h 1043"/>
                  <a:gd name="connsiteX186" fmla="*/ 3149 w 4783"/>
                  <a:gd name="connsiteY186" fmla="*/ 807 h 1043"/>
                  <a:gd name="connsiteX187" fmla="*/ 3184 w 4783"/>
                  <a:gd name="connsiteY187" fmla="*/ 759 h 1043"/>
                  <a:gd name="connsiteX188" fmla="*/ 3217 w 4783"/>
                  <a:gd name="connsiteY188" fmla="*/ 709 h 1043"/>
                  <a:gd name="connsiteX189" fmla="*/ 3250 w 4783"/>
                  <a:gd name="connsiteY189" fmla="*/ 655 h 1043"/>
                  <a:gd name="connsiteX190" fmla="*/ 3283 w 4783"/>
                  <a:gd name="connsiteY190" fmla="*/ 597 h 1043"/>
                  <a:gd name="connsiteX191" fmla="*/ 3316 w 4783"/>
                  <a:gd name="connsiteY191" fmla="*/ 537 h 1043"/>
                  <a:gd name="connsiteX192" fmla="*/ 3345 w 4783"/>
                  <a:gd name="connsiteY192" fmla="*/ 483 h 1043"/>
                  <a:gd name="connsiteX193" fmla="*/ 3407 w 4783"/>
                  <a:gd name="connsiteY193" fmla="*/ 375 h 1043"/>
                  <a:gd name="connsiteX194" fmla="*/ 3477 w 4783"/>
                  <a:gd name="connsiteY194" fmla="*/ 272 h 1043"/>
                  <a:gd name="connsiteX195" fmla="*/ 3514 w 4783"/>
                  <a:gd name="connsiteY195" fmla="*/ 224 h 1043"/>
                  <a:gd name="connsiteX196" fmla="*/ 3555 w 4783"/>
                  <a:gd name="connsiteY196" fmla="*/ 178 h 1043"/>
                  <a:gd name="connsiteX197" fmla="*/ 3599 w 4783"/>
                  <a:gd name="connsiteY197" fmla="*/ 137 h 1043"/>
                  <a:gd name="connsiteX198" fmla="*/ 3646 w 4783"/>
                  <a:gd name="connsiteY198" fmla="*/ 100 h 1043"/>
                  <a:gd name="connsiteX199" fmla="*/ 3698 w 4783"/>
                  <a:gd name="connsiteY199" fmla="*/ 66 h 1043"/>
                  <a:gd name="connsiteX200" fmla="*/ 3756 w 4783"/>
                  <a:gd name="connsiteY200" fmla="*/ 40 h 1043"/>
                  <a:gd name="connsiteX201" fmla="*/ 3816 w 4783"/>
                  <a:gd name="connsiteY201" fmla="*/ 19 h 1043"/>
                  <a:gd name="connsiteX202" fmla="*/ 3882 w 4783"/>
                  <a:gd name="connsiteY202" fmla="*/ 6 h 1043"/>
                  <a:gd name="connsiteX203" fmla="*/ 3954 w 4783"/>
                  <a:gd name="connsiteY203" fmla="*/ 0 h 1043"/>
                  <a:gd name="connsiteX0" fmla="*/ 3954 w 4783"/>
                  <a:gd name="connsiteY0" fmla="*/ 0 h 1043"/>
                  <a:gd name="connsiteX1" fmla="*/ 4004 w 4783"/>
                  <a:gd name="connsiteY1" fmla="*/ 0 h 1043"/>
                  <a:gd name="connsiteX2" fmla="*/ 4032 w 4783"/>
                  <a:gd name="connsiteY2" fmla="*/ 4 h 1043"/>
                  <a:gd name="connsiteX3" fmla="*/ 4063 w 4783"/>
                  <a:gd name="connsiteY3" fmla="*/ 13 h 1043"/>
                  <a:gd name="connsiteX4" fmla="*/ 4101 w 4783"/>
                  <a:gd name="connsiteY4" fmla="*/ 23 h 1043"/>
                  <a:gd name="connsiteX5" fmla="*/ 4142 w 4783"/>
                  <a:gd name="connsiteY5" fmla="*/ 40 h 1043"/>
                  <a:gd name="connsiteX6" fmla="*/ 4185 w 4783"/>
                  <a:gd name="connsiteY6" fmla="*/ 60 h 1043"/>
                  <a:gd name="connsiteX7" fmla="*/ 4233 w 4783"/>
                  <a:gd name="connsiteY7" fmla="*/ 89 h 1043"/>
                  <a:gd name="connsiteX8" fmla="*/ 4282 w 4783"/>
                  <a:gd name="connsiteY8" fmla="*/ 125 h 1043"/>
                  <a:gd name="connsiteX9" fmla="*/ 4332 w 4783"/>
                  <a:gd name="connsiteY9" fmla="*/ 170 h 1043"/>
                  <a:gd name="connsiteX10" fmla="*/ 4383 w 4783"/>
                  <a:gd name="connsiteY10" fmla="*/ 224 h 1043"/>
                  <a:gd name="connsiteX11" fmla="*/ 4435 w 4783"/>
                  <a:gd name="connsiteY11" fmla="*/ 286 h 1043"/>
                  <a:gd name="connsiteX12" fmla="*/ 4487 w 4783"/>
                  <a:gd name="connsiteY12" fmla="*/ 361 h 1043"/>
                  <a:gd name="connsiteX13" fmla="*/ 4538 w 4783"/>
                  <a:gd name="connsiteY13" fmla="*/ 448 h 1043"/>
                  <a:gd name="connsiteX14" fmla="*/ 4590 w 4783"/>
                  <a:gd name="connsiteY14" fmla="*/ 548 h 1043"/>
                  <a:gd name="connsiteX15" fmla="*/ 4635 w 4783"/>
                  <a:gd name="connsiteY15" fmla="*/ 633 h 1043"/>
                  <a:gd name="connsiteX16" fmla="*/ 4681 w 4783"/>
                  <a:gd name="connsiteY16" fmla="*/ 705 h 1043"/>
                  <a:gd name="connsiteX17" fmla="*/ 4776 w 4783"/>
                  <a:gd name="connsiteY17" fmla="*/ 819 h 1043"/>
                  <a:gd name="connsiteX18" fmla="*/ 4767 w 4783"/>
                  <a:gd name="connsiteY18" fmla="*/ 931 h 1043"/>
                  <a:gd name="connsiteX19" fmla="*/ 4716 w 4783"/>
                  <a:gd name="connsiteY19" fmla="*/ 881 h 1043"/>
                  <a:gd name="connsiteX20" fmla="*/ 4662 w 4783"/>
                  <a:gd name="connsiteY20" fmla="*/ 823 h 1043"/>
                  <a:gd name="connsiteX21" fmla="*/ 4611 w 4783"/>
                  <a:gd name="connsiteY21" fmla="*/ 755 h 1043"/>
                  <a:gd name="connsiteX22" fmla="*/ 4561 w 4783"/>
                  <a:gd name="connsiteY22" fmla="*/ 676 h 1043"/>
                  <a:gd name="connsiteX23" fmla="*/ 4513 w 4783"/>
                  <a:gd name="connsiteY23" fmla="*/ 583 h 1043"/>
                  <a:gd name="connsiteX24" fmla="*/ 4464 w 4783"/>
                  <a:gd name="connsiteY24" fmla="*/ 487 h 1043"/>
                  <a:gd name="connsiteX25" fmla="*/ 4414 w 4783"/>
                  <a:gd name="connsiteY25" fmla="*/ 404 h 1043"/>
                  <a:gd name="connsiteX26" fmla="*/ 4365 w 4783"/>
                  <a:gd name="connsiteY26" fmla="*/ 336 h 1043"/>
                  <a:gd name="connsiteX27" fmla="*/ 4315 w 4783"/>
                  <a:gd name="connsiteY27" fmla="*/ 276 h 1043"/>
                  <a:gd name="connsiteX28" fmla="*/ 4268 w 4783"/>
                  <a:gd name="connsiteY28" fmla="*/ 228 h 1043"/>
                  <a:gd name="connsiteX29" fmla="*/ 4222 w 4783"/>
                  <a:gd name="connsiteY29" fmla="*/ 189 h 1043"/>
                  <a:gd name="connsiteX30" fmla="*/ 4181 w 4783"/>
                  <a:gd name="connsiteY30" fmla="*/ 158 h 1043"/>
                  <a:gd name="connsiteX31" fmla="*/ 4142 w 4783"/>
                  <a:gd name="connsiteY31" fmla="*/ 135 h 1043"/>
                  <a:gd name="connsiteX32" fmla="*/ 4092 w 4783"/>
                  <a:gd name="connsiteY32" fmla="*/ 112 h 1043"/>
                  <a:gd name="connsiteX33" fmla="*/ 4049 w 4783"/>
                  <a:gd name="connsiteY33" fmla="*/ 98 h 1043"/>
                  <a:gd name="connsiteX34" fmla="*/ 4014 w 4783"/>
                  <a:gd name="connsiteY34" fmla="*/ 89 h 1043"/>
                  <a:gd name="connsiteX35" fmla="*/ 3985 w 4783"/>
                  <a:gd name="connsiteY35" fmla="*/ 87 h 1043"/>
                  <a:gd name="connsiteX36" fmla="*/ 3958 w 4783"/>
                  <a:gd name="connsiteY36" fmla="*/ 87 h 1043"/>
                  <a:gd name="connsiteX37" fmla="*/ 3892 w 4783"/>
                  <a:gd name="connsiteY37" fmla="*/ 93 h 1043"/>
                  <a:gd name="connsiteX38" fmla="*/ 3830 w 4783"/>
                  <a:gd name="connsiteY38" fmla="*/ 106 h 1043"/>
                  <a:gd name="connsiteX39" fmla="*/ 3774 w 4783"/>
                  <a:gd name="connsiteY39" fmla="*/ 127 h 1043"/>
                  <a:gd name="connsiteX40" fmla="*/ 3723 w 4783"/>
                  <a:gd name="connsiteY40" fmla="*/ 154 h 1043"/>
                  <a:gd name="connsiteX41" fmla="*/ 3675 w 4783"/>
                  <a:gd name="connsiteY41" fmla="*/ 187 h 1043"/>
                  <a:gd name="connsiteX42" fmla="*/ 3632 w 4783"/>
                  <a:gd name="connsiteY42" fmla="*/ 224 h 1043"/>
                  <a:gd name="connsiteX43" fmla="*/ 3593 w 4783"/>
                  <a:gd name="connsiteY43" fmla="*/ 268 h 1043"/>
                  <a:gd name="connsiteX44" fmla="*/ 3553 w 4783"/>
                  <a:gd name="connsiteY44" fmla="*/ 313 h 1043"/>
                  <a:gd name="connsiteX45" fmla="*/ 3518 w 4783"/>
                  <a:gd name="connsiteY45" fmla="*/ 363 h 1043"/>
                  <a:gd name="connsiteX46" fmla="*/ 3485 w 4783"/>
                  <a:gd name="connsiteY46" fmla="*/ 415 h 1043"/>
                  <a:gd name="connsiteX47" fmla="*/ 3423 w 4783"/>
                  <a:gd name="connsiteY47" fmla="*/ 523 h 1043"/>
                  <a:gd name="connsiteX48" fmla="*/ 3330 w 4783"/>
                  <a:gd name="connsiteY48" fmla="*/ 691 h 1043"/>
                  <a:gd name="connsiteX49" fmla="*/ 3297 w 4783"/>
                  <a:gd name="connsiteY49" fmla="*/ 747 h 1043"/>
                  <a:gd name="connsiteX50" fmla="*/ 3262 w 4783"/>
                  <a:gd name="connsiteY50" fmla="*/ 799 h 1043"/>
                  <a:gd name="connsiteX51" fmla="*/ 3227 w 4783"/>
                  <a:gd name="connsiteY51" fmla="*/ 848 h 1043"/>
                  <a:gd name="connsiteX52" fmla="*/ 3188 w 4783"/>
                  <a:gd name="connsiteY52" fmla="*/ 894 h 1043"/>
                  <a:gd name="connsiteX53" fmla="*/ 3147 w 4783"/>
                  <a:gd name="connsiteY53" fmla="*/ 935 h 1043"/>
                  <a:gd name="connsiteX54" fmla="*/ 3101 w 4783"/>
                  <a:gd name="connsiteY54" fmla="*/ 971 h 1043"/>
                  <a:gd name="connsiteX55" fmla="*/ 3052 w 4783"/>
                  <a:gd name="connsiteY55" fmla="*/ 1000 h 1043"/>
                  <a:gd name="connsiteX56" fmla="*/ 3000 w 4783"/>
                  <a:gd name="connsiteY56" fmla="*/ 1022 h 1043"/>
                  <a:gd name="connsiteX57" fmla="*/ 2942 w 4783"/>
                  <a:gd name="connsiteY57" fmla="*/ 1037 h 1043"/>
                  <a:gd name="connsiteX58" fmla="*/ 2878 w 4783"/>
                  <a:gd name="connsiteY58" fmla="*/ 1043 h 1043"/>
                  <a:gd name="connsiteX59" fmla="*/ 2870 w 4783"/>
                  <a:gd name="connsiteY59" fmla="*/ 1043 h 1043"/>
                  <a:gd name="connsiteX60" fmla="*/ 2808 w 4783"/>
                  <a:gd name="connsiteY60" fmla="*/ 1039 h 1043"/>
                  <a:gd name="connsiteX61" fmla="*/ 2748 w 4783"/>
                  <a:gd name="connsiteY61" fmla="*/ 1025 h 1043"/>
                  <a:gd name="connsiteX62" fmla="*/ 2695 w 4783"/>
                  <a:gd name="connsiteY62" fmla="*/ 1002 h 1043"/>
                  <a:gd name="connsiteX63" fmla="*/ 2643 w 4783"/>
                  <a:gd name="connsiteY63" fmla="*/ 973 h 1043"/>
                  <a:gd name="connsiteX64" fmla="*/ 2595 w 4783"/>
                  <a:gd name="connsiteY64" fmla="*/ 935 h 1043"/>
                  <a:gd name="connsiteX65" fmla="*/ 2552 w 4783"/>
                  <a:gd name="connsiteY65" fmla="*/ 894 h 1043"/>
                  <a:gd name="connsiteX66" fmla="*/ 2509 w 4783"/>
                  <a:gd name="connsiteY66" fmla="*/ 846 h 1043"/>
                  <a:gd name="connsiteX67" fmla="*/ 2469 w 4783"/>
                  <a:gd name="connsiteY67" fmla="*/ 796 h 1043"/>
                  <a:gd name="connsiteX68" fmla="*/ 2430 w 4783"/>
                  <a:gd name="connsiteY68" fmla="*/ 740 h 1043"/>
                  <a:gd name="connsiteX69" fmla="*/ 2393 w 4783"/>
                  <a:gd name="connsiteY69" fmla="*/ 684 h 1043"/>
                  <a:gd name="connsiteX70" fmla="*/ 2288 w 4783"/>
                  <a:gd name="connsiteY70" fmla="*/ 510 h 1043"/>
                  <a:gd name="connsiteX71" fmla="*/ 2251 w 4783"/>
                  <a:gd name="connsiteY71" fmla="*/ 452 h 1043"/>
                  <a:gd name="connsiteX72" fmla="*/ 2213 w 4783"/>
                  <a:gd name="connsiteY72" fmla="*/ 396 h 1043"/>
                  <a:gd name="connsiteX73" fmla="*/ 2176 w 4783"/>
                  <a:gd name="connsiteY73" fmla="*/ 342 h 1043"/>
                  <a:gd name="connsiteX74" fmla="*/ 2137 w 4783"/>
                  <a:gd name="connsiteY74" fmla="*/ 293 h 1043"/>
                  <a:gd name="connsiteX75" fmla="*/ 2096 w 4783"/>
                  <a:gd name="connsiteY75" fmla="*/ 247 h 1043"/>
                  <a:gd name="connsiteX76" fmla="*/ 2054 w 4783"/>
                  <a:gd name="connsiteY76" fmla="*/ 205 h 1043"/>
                  <a:gd name="connsiteX77" fmla="*/ 2009 w 4783"/>
                  <a:gd name="connsiteY77" fmla="*/ 168 h 1043"/>
                  <a:gd name="connsiteX78" fmla="*/ 1962 w 4783"/>
                  <a:gd name="connsiteY78" fmla="*/ 139 h 1043"/>
                  <a:gd name="connsiteX79" fmla="*/ 1910 w 4783"/>
                  <a:gd name="connsiteY79" fmla="*/ 116 h 1043"/>
                  <a:gd name="connsiteX80" fmla="*/ 1854 w 4783"/>
                  <a:gd name="connsiteY80" fmla="*/ 100 h 1043"/>
                  <a:gd name="connsiteX81" fmla="*/ 1796 w 4783"/>
                  <a:gd name="connsiteY81" fmla="*/ 91 h 1043"/>
                  <a:gd name="connsiteX82" fmla="*/ 1732 w 4783"/>
                  <a:gd name="connsiteY82" fmla="*/ 93 h 1043"/>
                  <a:gd name="connsiteX83" fmla="*/ 1664 w 4783"/>
                  <a:gd name="connsiteY83" fmla="*/ 104 h 1043"/>
                  <a:gd name="connsiteX84" fmla="*/ 1602 w 4783"/>
                  <a:gd name="connsiteY84" fmla="*/ 122 h 1043"/>
                  <a:gd name="connsiteX85" fmla="*/ 1545 w 4783"/>
                  <a:gd name="connsiteY85" fmla="*/ 147 h 1043"/>
                  <a:gd name="connsiteX86" fmla="*/ 1491 w 4783"/>
                  <a:gd name="connsiteY86" fmla="*/ 181 h 1043"/>
                  <a:gd name="connsiteX87" fmla="*/ 1439 w 4783"/>
                  <a:gd name="connsiteY87" fmla="*/ 218 h 1043"/>
                  <a:gd name="connsiteX88" fmla="*/ 1394 w 4783"/>
                  <a:gd name="connsiteY88" fmla="*/ 261 h 1043"/>
                  <a:gd name="connsiteX89" fmla="*/ 1348 w 4783"/>
                  <a:gd name="connsiteY89" fmla="*/ 307 h 1043"/>
                  <a:gd name="connsiteX90" fmla="*/ 1307 w 4783"/>
                  <a:gd name="connsiteY90" fmla="*/ 359 h 1043"/>
                  <a:gd name="connsiteX91" fmla="*/ 1268 w 4783"/>
                  <a:gd name="connsiteY91" fmla="*/ 413 h 1043"/>
                  <a:gd name="connsiteX92" fmla="*/ 1231 w 4783"/>
                  <a:gd name="connsiteY92" fmla="*/ 467 h 1043"/>
                  <a:gd name="connsiteX93" fmla="*/ 1194 w 4783"/>
                  <a:gd name="connsiteY93" fmla="*/ 523 h 1043"/>
                  <a:gd name="connsiteX94" fmla="*/ 1156 w 4783"/>
                  <a:gd name="connsiteY94" fmla="*/ 581 h 1043"/>
                  <a:gd name="connsiteX95" fmla="*/ 1121 w 4783"/>
                  <a:gd name="connsiteY95" fmla="*/ 637 h 1043"/>
                  <a:gd name="connsiteX96" fmla="*/ 1047 w 4783"/>
                  <a:gd name="connsiteY96" fmla="*/ 749 h 1043"/>
                  <a:gd name="connsiteX97" fmla="*/ 1008 w 4783"/>
                  <a:gd name="connsiteY97" fmla="*/ 801 h 1043"/>
                  <a:gd name="connsiteX98" fmla="*/ 966 w 4783"/>
                  <a:gd name="connsiteY98" fmla="*/ 850 h 1043"/>
                  <a:gd name="connsiteX99" fmla="*/ 923 w 4783"/>
                  <a:gd name="connsiteY99" fmla="*/ 896 h 1043"/>
                  <a:gd name="connsiteX100" fmla="*/ 876 w 4783"/>
                  <a:gd name="connsiteY100" fmla="*/ 937 h 1043"/>
                  <a:gd name="connsiteX101" fmla="*/ 826 w 4783"/>
                  <a:gd name="connsiteY101" fmla="*/ 973 h 1043"/>
                  <a:gd name="connsiteX102" fmla="*/ 772 w 4783"/>
                  <a:gd name="connsiteY102" fmla="*/ 1002 h 1043"/>
                  <a:gd name="connsiteX103" fmla="*/ 717 w 4783"/>
                  <a:gd name="connsiteY103" fmla="*/ 1025 h 1043"/>
                  <a:gd name="connsiteX104" fmla="*/ 653 w 4783"/>
                  <a:gd name="connsiteY104" fmla="*/ 1037 h 1043"/>
                  <a:gd name="connsiteX105" fmla="*/ 587 w 4783"/>
                  <a:gd name="connsiteY105" fmla="*/ 1043 h 1043"/>
                  <a:gd name="connsiteX106" fmla="*/ 580 w 4783"/>
                  <a:gd name="connsiteY106" fmla="*/ 1043 h 1043"/>
                  <a:gd name="connsiteX107" fmla="*/ 512 w 4783"/>
                  <a:gd name="connsiteY107" fmla="*/ 1039 h 1043"/>
                  <a:gd name="connsiteX108" fmla="*/ 450 w 4783"/>
                  <a:gd name="connsiteY108" fmla="*/ 1027 h 1043"/>
                  <a:gd name="connsiteX109" fmla="*/ 392 w 4783"/>
                  <a:gd name="connsiteY109" fmla="*/ 1008 h 1043"/>
                  <a:gd name="connsiteX110" fmla="*/ 341 w 4783"/>
                  <a:gd name="connsiteY110" fmla="*/ 983 h 1043"/>
                  <a:gd name="connsiteX111" fmla="*/ 293 w 4783"/>
                  <a:gd name="connsiteY111" fmla="*/ 952 h 1043"/>
                  <a:gd name="connsiteX112" fmla="*/ 248 w 4783"/>
                  <a:gd name="connsiteY112" fmla="*/ 915 h 1043"/>
                  <a:gd name="connsiteX113" fmla="*/ 207 w 4783"/>
                  <a:gd name="connsiteY113" fmla="*/ 873 h 1043"/>
                  <a:gd name="connsiteX114" fmla="*/ 169 w 4783"/>
                  <a:gd name="connsiteY114" fmla="*/ 828 h 1043"/>
                  <a:gd name="connsiteX115" fmla="*/ 132 w 4783"/>
                  <a:gd name="connsiteY115" fmla="*/ 780 h 1043"/>
                  <a:gd name="connsiteX116" fmla="*/ 99 w 4783"/>
                  <a:gd name="connsiteY116" fmla="*/ 728 h 1043"/>
                  <a:gd name="connsiteX117" fmla="*/ 64 w 4783"/>
                  <a:gd name="connsiteY117" fmla="*/ 674 h 1043"/>
                  <a:gd name="connsiteX118" fmla="*/ 33 w 4783"/>
                  <a:gd name="connsiteY118" fmla="*/ 618 h 1043"/>
                  <a:gd name="connsiteX119" fmla="*/ 0 w 4783"/>
                  <a:gd name="connsiteY119" fmla="*/ 560 h 1043"/>
                  <a:gd name="connsiteX120" fmla="*/ 77 w 4783"/>
                  <a:gd name="connsiteY120" fmla="*/ 516 h 1043"/>
                  <a:gd name="connsiteX121" fmla="*/ 110 w 4783"/>
                  <a:gd name="connsiteY121" fmla="*/ 575 h 1043"/>
                  <a:gd name="connsiteX122" fmla="*/ 143 w 4783"/>
                  <a:gd name="connsiteY122" fmla="*/ 631 h 1043"/>
                  <a:gd name="connsiteX123" fmla="*/ 176 w 4783"/>
                  <a:gd name="connsiteY123" fmla="*/ 684 h 1043"/>
                  <a:gd name="connsiteX124" fmla="*/ 209 w 4783"/>
                  <a:gd name="connsiteY124" fmla="*/ 736 h 1043"/>
                  <a:gd name="connsiteX125" fmla="*/ 244 w 4783"/>
                  <a:gd name="connsiteY125" fmla="*/ 782 h 1043"/>
                  <a:gd name="connsiteX126" fmla="*/ 281 w 4783"/>
                  <a:gd name="connsiteY126" fmla="*/ 825 h 1043"/>
                  <a:gd name="connsiteX127" fmla="*/ 322 w 4783"/>
                  <a:gd name="connsiteY127" fmla="*/ 863 h 1043"/>
                  <a:gd name="connsiteX128" fmla="*/ 366 w 4783"/>
                  <a:gd name="connsiteY128" fmla="*/ 894 h 1043"/>
                  <a:gd name="connsiteX129" fmla="*/ 413 w 4783"/>
                  <a:gd name="connsiteY129" fmla="*/ 921 h 1043"/>
                  <a:gd name="connsiteX130" fmla="*/ 463 w 4783"/>
                  <a:gd name="connsiteY130" fmla="*/ 940 h 1043"/>
                  <a:gd name="connsiteX131" fmla="*/ 518 w 4783"/>
                  <a:gd name="connsiteY131" fmla="*/ 952 h 1043"/>
                  <a:gd name="connsiteX132" fmla="*/ 580 w 4783"/>
                  <a:gd name="connsiteY132" fmla="*/ 956 h 1043"/>
                  <a:gd name="connsiteX133" fmla="*/ 587 w 4783"/>
                  <a:gd name="connsiteY133" fmla="*/ 956 h 1043"/>
                  <a:gd name="connsiteX134" fmla="*/ 646 w 4783"/>
                  <a:gd name="connsiteY134" fmla="*/ 950 h 1043"/>
                  <a:gd name="connsiteX135" fmla="*/ 702 w 4783"/>
                  <a:gd name="connsiteY135" fmla="*/ 935 h 1043"/>
                  <a:gd name="connsiteX136" fmla="*/ 756 w 4783"/>
                  <a:gd name="connsiteY136" fmla="*/ 913 h 1043"/>
                  <a:gd name="connsiteX137" fmla="*/ 803 w 4783"/>
                  <a:gd name="connsiteY137" fmla="*/ 884 h 1043"/>
                  <a:gd name="connsiteX138" fmla="*/ 849 w 4783"/>
                  <a:gd name="connsiteY138" fmla="*/ 846 h 1043"/>
                  <a:gd name="connsiteX139" fmla="*/ 892 w 4783"/>
                  <a:gd name="connsiteY139" fmla="*/ 803 h 1043"/>
                  <a:gd name="connsiteX140" fmla="*/ 931 w 4783"/>
                  <a:gd name="connsiteY140" fmla="*/ 755 h 1043"/>
                  <a:gd name="connsiteX141" fmla="*/ 971 w 4783"/>
                  <a:gd name="connsiteY141" fmla="*/ 703 h 1043"/>
                  <a:gd name="connsiteX142" fmla="*/ 1010 w 4783"/>
                  <a:gd name="connsiteY142" fmla="*/ 649 h 1043"/>
                  <a:gd name="connsiteX143" fmla="*/ 1121 w 4783"/>
                  <a:gd name="connsiteY143" fmla="*/ 475 h 1043"/>
                  <a:gd name="connsiteX144" fmla="*/ 1161 w 4783"/>
                  <a:gd name="connsiteY144" fmla="*/ 415 h 1043"/>
                  <a:gd name="connsiteX145" fmla="*/ 1202 w 4783"/>
                  <a:gd name="connsiteY145" fmla="*/ 357 h 1043"/>
                  <a:gd name="connsiteX146" fmla="*/ 1245 w 4783"/>
                  <a:gd name="connsiteY146" fmla="*/ 299 h 1043"/>
                  <a:gd name="connsiteX147" fmla="*/ 1291 w 4783"/>
                  <a:gd name="connsiteY147" fmla="*/ 245 h 1043"/>
                  <a:gd name="connsiteX148" fmla="*/ 1338 w 4783"/>
                  <a:gd name="connsiteY148" fmla="*/ 193 h 1043"/>
                  <a:gd name="connsiteX149" fmla="*/ 1392 w 4783"/>
                  <a:gd name="connsiteY149" fmla="*/ 145 h 1043"/>
                  <a:gd name="connsiteX150" fmla="*/ 1447 w 4783"/>
                  <a:gd name="connsiteY150" fmla="*/ 104 h 1043"/>
                  <a:gd name="connsiteX151" fmla="*/ 1509 w 4783"/>
                  <a:gd name="connsiteY151" fmla="*/ 69 h 1043"/>
                  <a:gd name="connsiteX152" fmla="*/ 1575 w 4783"/>
                  <a:gd name="connsiteY152" fmla="*/ 40 h 1043"/>
                  <a:gd name="connsiteX153" fmla="*/ 1648 w 4783"/>
                  <a:gd name="connsiteY153" fmla="*/ 19 h 1043"/>
                  <a:gd name="connsiteX154" fmla="*/ 1726 w 4783"/>
                  <a:gd name="connsiteY154" fmla="*/ 6 h 1043"/>
                  <a:gd name="connsiteX155" fmla="*/ 1796 w 4783"/>
                  <a:gd name="connsiteY155" fmla="*/ 4 h 1043"/>
                  <a:gd name="connsiteX156" fmla="*/ 1862 w 4783"/>
                  <a:gd name="connsiteY156" fmla="*/ 13 h 1043"/>
                  <a:gd name="connsiteX157" fmla="*/ 1922 w 4783"/>
                  <a:gd name="connsiteY157" fmla="*/ 27 h 1043"/>
                  <a:gd name="connsiteX158" fmla="*/ 1980 w 4783"/>
                  <a:gd name="connsiteY158" fmla="*/ 50 h 1043"/>
                  <a:gd name="connsiteX159" fmla="*/ 2034 w 4783"/>
                  <a:gd name="connsiteY159" fmla="*/ 81 h 1043"/>
                  <a:gd name="connsiteX160" fmla="*/ 2083 w 4783"/>
                  <a:gd name="connsiteY160" fmla="*/ 116 h 1043"/>
                  <a:gd name="connsiteX161" fmla="*/ 2129 w 4783"/>
                  <a:gd name="connsiteY161" fmla="*/ 158 h 1043"/>
                  <a:gd name="connsiteX162" fmla="*/ 2174 w 4783"/>
                  <a:gd name="connsiteY162" fmla="*/ 203 h 1043"/>
                  <a:gd name="connsiteX163" fmla="*/ 2216 w 4783"/>
                  <a:gd name="connsiteY163" fmla="*/ 251 h 1043"/>
                  <a:gd name="connsiteX164" fmla="*/ 2255 w 4783"/>
                  <a:gd name="connsiteY164" fmla="*/ 303 h 1043"/>
                  <a:gd name="connsiteX165" fmla="*/ 2292 w 4783"/>
                  <a:gd name="connsiteY165" fmla="*/ 357 h 1043"/>
                  <a:gd name="connsiteX166" fmla="*/ 2327 w 4783"/>
                  <a:gd name="connsiteY166" fmla="*/ 413 h 1043"/>
                  <a:gd name="connsiteX167" fmla="*/ 2362 w 4783"/>
                  <a:gd name="connsiteY167" fmla="*/ 467 h 1043"/>
                  <a:gd name="connsiteX168" fmla="*/ 2395 w 4783"/>
                  <a:gd name="connsiteY168" fmla="*/ 523 h 1043"/>
                  <a:gd name="connsiteX169" fmla="*/ 2432 w 4783"/>
                  <a:gd name="connsiteY169" fmla="*/ 585 h 1043"/>
                  <a:gd name="connsiteX170" fmla="*/ 2469 w 4783"/>
                  <a:gd name="connsiteY170" fmla="*/ 643 h 1043"/>
                  <a:gd name="connsiteX171" fmla="*/ 2509 w 4783"/>
                  <a:gd name="connsiteY171" fmla="*/ 701 h 1043"/>
                  <a:gd name="connsiteX172" fmla="*/ 2546 w 4783"/>
                  <a:gd name="connsiteY172" fmla="*/ 755 h 1043"/>
                  <a:gd name="connsiteX173" fmla="*/ 2587 w 4783"/>
                  <a:gd name="connsiteY173" fmla="*/ 805 h 1043"/>
                  <a:gd name="connsiteX174" fmla="*/ 2628 w 4783"/>
                  <a:gd name="connsiteY174" fmla="*/ 848 h 1043"/>
                  <a:gd name="connsiteX175" fmla="*/ 2672 w 4783"/>
                  <a:gd name="connsiteY175" fmla="*/ 886 h 1043"/>
                  <a:gd name="connsiteX176" fmla="*/ 2717 w 4783"/>
                  <a:gd name="connsiteY176" fmla="*/ 917 h 1043"/>
                  <a:gd name="connsiteX177" fmla="*/ 2767 w 4783"/>
                  <a:gd name="connsiteY177" fmla="*/ 940 h 1043"/>
                  <a:gd name="connsiteX178" fmla="*/ 2820 w 4783"/>
                  <a:gd name="connsiteY178" fmla="*/ 952 h 1043"/>
                  <a:gd name="connsiteX179" fmla="*/ 2876 w 4783"/>
                  <a:gd name="connsiteY179" fmla="*/ 956 h 1043"/>
                  <a:gd name="connsiteX180" fmla="*/ 2932 w 4783"/>
                  <a:gd name="connsiteY180" fmla="*/ 950 h 1043"/>
                  <a:gd name="connsiteX181" fmla="*/ 2982 w 4783"/>
                  <a:gd name="connsiteY181" fmla="*/ 935 h 1043"/>
                  <a:gd name="connsiteX182" fmla="*/ 3029 w 4783"/>
                  <a:gd name="connsiteY182" fmla="*/ 915 h 1043"/>
                  <a:gd name="connsiteX183" fmla="*/ 3072 w 4783"/>
                  <a:gd name="connsiteY183" fmla="*/ 884 h 1043"/>
                  <a:gd name="connsiteX184" fmla="*/ 3112 w 4783"/>
                  <a:gd name="connsiteY184" fmla="*/ 848 h 1043"/>
                  <a:gd name="connsiteX185" fmla="*/ 3149 w 4783"/>
                  <a:gd name="connsiteY185" fmla="*/ 807 h 1043"/>
                  <a:gd name="connsiteX186" fmla="*/ 3184 w 4783"/>
                  <a:gd name="connsiteY186" fmla="*/ 759 h 1043"/>
                  <a:gd name="connsiteX187" fmla="*/ 3217 w 4783"/>
                  <a:gd name="connsiteY187" fmla="*/ 709 h 1043"/>
                  <a:gd name="connsiteX188" fmla="*/ 3250 w 4783"/>
                  <a:gd name="connsiteY188" fmla="*/ 655 h 1043"/>
                  <a:gd name="connsiteX189" fmla="*/ 3283 w 4783"/>
                  <a:gd name="connsiteY189" fmla="*/ 597 h 1043"/>
                  <a:gd name="connsiteX190" fmla="*/ 3316 w 4783"/>
                  <a:gd name="connsiteY190" fmla="*/ 537 h 1043"/>
                  <a:gd name="connsiteX191" fmla="*/ 3345 w 4783"/>
                  <a:gd name="connsiteY191" fmla="*/ 483 h 1043"/>
                  <a:gd name="connsiteX192" fmla="*/ 3407 w 4783"/>
                  <a:gd name="connsiteY192" fmla="*/ 375 h 1043"/>
                  <a:gd name="connsiteX193" fmla="*/ 3477 w 4783"/>
                  <a:gd name="connsiteY193" fmla="*/ 272 h 1043"/>
                  <a:gd name="connsiteX194" fmla="*/ 3514 w 4783"/>
                  <a:gd name="connsiteY194" fmla="*/ 224 h 1043"/>
                  <a:gd name="connsiteX195" fmla="*/ 3555 w 4783"/>
                  <a:gd name="connsiteY195" fmla="*/ 178 h 1043"/>
                  <a:gd name="connsiteX196" fmla="*/ 3599 w 4783"/>
                  <a:gd name="connsiteY196" fmla="*/ 137 h 1043"/>
                  <a:gd name="connsiteX197" fmla="*/ 3646 w 4783"/>
                  <a:gd name="connsiteY197" fmla="*/ 100 h 1043"/>
                  <a:gd name="connsiteX198" fmla="*/ 3698 w 4783"/>
                  <a:gd name="connsiteY198" fmla="*/ 66 h 1043"/>
                  <a:gd name="connsiteX199" fmla="*/ 3756 w 4783"/>
                  <a:gd name="connsiteY199" fmla="*/ 40 h 1043"/>
                  <a:gd name="connsiteX200" fmla="*/ 3816 w 4783"/>
                  <a:gd name="connsiteY200" fmla="*/ 19 h 1043"/>
                  <a:gd name="connsiteX201" fmla="*/ 3882 w 4783"/>
                  <a:gd name="connsiteY201" fmla="*/ 6 h 1043"/>
                  <a:gd name="connsiteX202" fmla="*/ 3954 w 4783"/>
                  <a:gd name="connsiteY202" fmla="*/ 0 h 1043"/>
                  <a:gd name="connsiteX0" fmla="*/ 3954 w 4767"/>
                  <a:gd name="connsiteY0" fmla="*/ 0 h 1043"/>
                  <a:gd name="connsiteX1" fmla="*/ 4004 w 4767"/>
                  <a:gd name="connsiteY1" fmla="*/ 0 h 1043"/>
                  <a:gd name="connsiteX2" fmla="*/ 4032 w 4767"/>
                  <a:gd name="connsiteY2" fmla="*/ 4 h 1043"/>
                  <a:gd name="connsiteX3" fmla="*/ 4063 w 4767"/>
                  <a:gd name="connsiteY3" fmla="*/ 13 h 1043"/>
                  <a:gd name="connsiteX4" fmla="*/ 4101 w 4767"/>
                  <a:gd name="connsiteY4" fmla="*/ 23 h 1043"/>
                  <a:gd name="connsiteX5" fmla="*/ 4142 w 4767"/>
                  <a:gd name="connsiteY5" fmla="*/ 40 h 1043"/>
                  <a:gd name="connsiteX6" fmla="*/ 4185 w 4767"/>
                  <a:gd name="connsiteY6" fmla="*/ 60 h 1043"/>
                  <a:gd name="connsiteX7" fmla="*/ 4233 w 4767"/>
                  <a:gd name="connsiteY7" fmla="*/ 89 h 1043"/>
                  <a:gd name="connsiteX8" fmla="*/ 4282 w 4767"/>
                  <a:gd name="connsiteY8" fmla="*/ 125 h 1043"/>
                  <a:gd name="connsiteX9" fmla="*/ 4332 w 4767"/>
                  <a:gd name="connsiteY9" fmla="*/ 170 h 1043"/>
                  <a:gd name="connsiteX10" fmla="*/ 4383 w 4767"/>
                  <a:gd name="connsiteY10" fmla="*/ 224 h 1043"/>
                  <a:gd name="connsiteX11" fmla="*/ 4435 w 4767"/>
                  <a:gd name="connsiteY11" fmla="*/ 286 h 1043"/>
                  <a:gd name="connsiteX12" fmla="*/ 4487 w 4767"/>
                  <a:gd name="connsiteY12" fmla="*/ 361 h 1043"/>
                  <a:gd name="connsiteX13" fmla="*/ 4538 w 4767"/>
                  <a:gd name="connsiteY13" fmla="*/ 448 h 1043"/>
                  <a:gd name="connsiteX14" fmla="*/ 4590 w 4767"/>
                  <a:gd name="connsiteY14" fmla="*/ 548 h 1043"/>
                  <a:gd name="connsiteX15" fmla="*/ 4635 w 4767"/>
                  <a:gd name="connsiteY15" fmla="*/ 633 h 1043"/>
                  <a:gd name="connsiteX16" fmla="*/ 4681 w 4767"/>
                  <a:gd name="connsiteY16" fmla="*/ 705 h 1043"/>
                  <a:gd name="connsiteX17" fmla="*/ 4767 w 4767"/>
                  <a:gd name="connsiteY17" fmla="*/ 931 h 1043"/>
                  <a:gd name="connsiteX18" fmla="*/ 4716 w 4767"/>
                  <a:gd name="connsiteY18" fmla="*/ 881 h 1043"/>
                  <a:gd name="connsiteX19" fmla="*/ 4662 w 4767"/>
                  <a:gd name="connsiteY19" fmla="*/ 823 h 1043"/>
                  <a:gd name="connsiteX20" fmla="*/ 4611 w 4767"/>
                  <a:gd name="connsiteY20" fmla="*/ 755 h 1043"/>
                  <a:gd name="connsiteX21" fmla="*/ 4561 w 4767"/>
                  <a:gd name="connsiteY21" fmla="*/ 676 h 1043"/>
                  <a:gd name="connsiteX22" fmla="*/ 4513 w 4767"/>
                  <a:gd name="connsiteY22" fmla="*/ 583 h 1043"/>
                  <a:gd name="connsiteX23" fmla="*/ 4464 w 4767"/>
                  <a:gd name="connsiteY23" fmla="*/ 487 h 1043"/>
                  <a:gd name="connsiteX24" fmla="*/ 4414 w 4767"/>
                  <a:gd name="connsiteY24" fmla="*/ 404 h 1043"/>
                  <a:gd name="connsiteX25" fmla="*/ 4365 w 4767"/>
                  <a:gd name="connsiteY25" fmla="*/ 336 h 1043"/>
                  <a:gd name="connsiteX26" fmla="*/ 4315 w 4767"/>
                  <a:gd name="connsiteY26" fmla="*/ 276 h 1043"/>
                  <a:gd name="connsiteX27" fmla="*/ 4268 w 4767"/>
                  <a:gd name="connsiteY27" fmla="*/ 228 h 1043"/>
                  <a:gd name="connsiteX28" fmla="*/ 4222 w 4767"/>
                  <a:gd name="connsiteY28" fmla="*/ 189 h 1043"/>
                  <a:gd name="connsiteX29" fmla="*/ 4181 w 4767"/>
                  <a:gd name="connsiteY29" fmla="*/ 158 h 1043"/>
                  <a:gd name="connsiteX30" fmla="*/ 4142 w 4767"/>
                  <a:gd name="connsiteY30" fmla="*/ 135 h 1043"/>
                  <a:gd name="connsiteX31" fmla="*/ 4092 w 4767"/>
                  <a:gd name="connsiteY31" fmla="*/ 112 h 1043"/>
                  <a:gd name="connsiteX32" fmla="*/ 4049 w 4767"/>
                  <a:gd name="connsiteY32" fmla="*/ 98 h 1043"/>
                  <a:gd name="connsiteX33" fmla="*/ 4014 w 4767"/>
                  <a:gd name="connsiteY33" fmla="*/ 89 h 1043"/>
                  <a:gd name="connsiteX34" fmla="*/ 3985 w 4767"/>
                  <a:gd name="connsiteY34" fmla="*/ 87 h 1043"/>
                  <a:gd name="connsiteX35" fmla="*/ 3958 w 4767"/>
                  <a:gd name="connsiteY35" fmla="*/ 87 h 1043"/>
                  <a:gd name="connsiteX36" fmla="*/ 3892 w 4767"/>
                  <a:gd name="connsiteY36" fmla="*/ 93 h 1043"/>
                  <a:gd name="connsiteX37" fmla="*/ 3830 w 4767"/>
                  <a:gd name="connsiteY37" fmla="*/ 106 h 1043"/>
                  <a:gd name="connsiteX38" fmla="*/ 3774 w 4767"/>
                  <a:gd name="connsiteY38" fmla="*/ 127 h 1043"/>
                  <a:gd name="connsiteX39" fmla="*/ 3723 w 4767"/>
                  <a:gd name="connsiteY39" fmla="*/ 154 h 1043"/>
                  <a:gd name="connsiteX40" fmla="*/ 3675 w 4767"/>
                  <a:gd name="connsiteY40" fmla="*/ 187 h 1043"/>
                  <a:gd name="connsiteX41" fmla="*/ 3632 w 4767"/>
                  <a:gd name="connsiteY41" fmla="*/ 224 h 1043"/>
                  <a:gd name="connsiteX42" fmla="*/ 3593 w 4767"/>
                  <a:gd name="connsiteY42" fmla="*/ 268 h 1043"/>
                  <a:gd name="connsiteX43" fmla="*/ 3553 w 4767"/>
                  <a:gd name="connsiteY43" fmla="*/ 313 h 1043"/>
                  <a:gd name="connsiteX44" fmla="*/ 3518 w 4767"/>
                  <a:gd name="connsiteY44" fmla="*/ 363 h 1043"/>
                  <a:gd name="connsiteX45" fmla="*/ 3485 w 4767"/>
                  <a:gd name="connsiteY45" fmla="*/ 415 h 1043"/>
                  <a:gd name="connsiteX46" fmla="*/ 3423 w 4767"/>
                  <a:gd name="connsiteY46" fmla="*/ 523 h 1043"/>
                  <a:gd name="connsiteX47" fmla="*/ 3330 w 4767"/>
                  <a:gd name="connsiteY47" fmla="*/ 691 h 1043"/>
                  <a:gd name="connsiteX48" fmla="*/ 3297 w 4767"/>
                  <a:gd name="connsiteY48" fmla="*/ 747 h 1043"/>
                  <a:gd name="connsiteX49" fmla="*/ 3262 w 4767"/>
                  <a:gd name="connsiteY49" fmla="*/ 799 h 1043"/>
                  <a:gd name="connsiteX50" fmla="*/ 3227 w 4767"/>
                  <a:gd name="connsiteY50" fmla="*/ 848 h 1043"/>
                  <a:gd name="connsiteX51" fmla="*/ 3188 w 4767"/>
                  <a:gd name="connsiteY51" fmla="*/ 894 h 1043"/>
                  <a:gd name="connsiteX52" fmla="*/ 3147 w 4767"/>
                  <a:gd name="connsiteY52" fmla="*/ 935 h 1043"/>
                  <a:gd name="connsiteX53" fmla="*/ 3101 w 4767"/>
                  <a:gd name="connsiteY53" fmla="*/ 971 h 1043"/>
                  <a:gd name="connsiteX54" fmla="*/ 3052 w 4767"/>
                  <a:gd name="connsiteY54" fmla="*/ 1000 h 1043"/>
                  <a:gd name="connsiteX55" fmla="*/ 3000 w 4767"/>
                  <a:gd name="connsiteY55" fmla="*/ 1022 h 1043"/>
                  <a:gd name="connsiteX56" fmla="*/ 2942 w 4767"/>
                  <a:gd name="connsiteY56" fmla="*/ 1037 h 1043"/>
                  <a:gd name="connsiteX57" fmla="*/ 2878 w 4767"/>
                  <a:gd name="connsiteY57" fmla="*/ 1043 h 1043"/>
                  <a:gd name="connsiteX58" fmla="*/ 2870 w 4767"/>
                  <a:gd name="connsiteY58" fmla="*/ 1043 h 1043"/>
                  <a:gd name="connsiteX59" fmla="*/ 2808 w 4767"/>
                  <a:gd name="connsiteY59" fmla="*/ 1039 h 1043"/>
                  <a:gd name="connsiteX60" fmla="*/ 2748 w 4767"/>
                  <a:gd name="connsiteY60" fmla="*/ 1025 h 1043"/>
                  <a:gd name="connsiteX61" fmla="*/ 2695 w 4767"/>
                  <a:gd name="connsiteY61" fmla="*/ 1002 h 1043"/>
                  <a:gd name="connsiteX62" fmla="*/ 2643 w 4767"/>
                  <a:gd name="connsiteY62" fmla="*/ 973 h 1043"/>
                  <a:gd name="connsiteX63" fmla="*/ 2595 w 4767"/>
                  <a:gd name="connsiteY63" fmla="*/ 935 h 1043"/>
                  <a:gd name="connsiteX64" fmla="*/ 2552 w 4767"/>
                  <a:gd name="connsiteY64" fmla="*/ 894 h 1043"/>
                  <a:gd name="connsiteX65" fmla="*/ 2509 w 4767"/>
                  <a:gd name="connsiteY65" fmla="*/ 846 h 1043"/>
                  <a:gd name="connsiteX66" fmla="*/ 2469 w 4767"/>
                  <a:gd name="connsiteY66" fmla="*/ 796 h 1043"/>
                  <a:gd name="connsiteX67" fmla="*/ 2430 w 4767"/>
                  <a:gd name="connsiteY67" fmla="*/ 740 h 1043"/>
                  <a:gd name="connsiteX68" fmla="*/ 2393 w 4767"/>
                  <a:gd name="connsiteY68" fmla="*/ 684 h 1043"/>
                  <a:gd name="connsiteX69" fmla="*/ 2288 w 4767"/>
                  <a:gd name="connsiteY69" fmla="*/ 510 h 1043"/>
                  <a:gd name="connsiteX70" fmla="*/ 2251 w 4767"/>
                  <a:gd name="connsiteY70" fmla="*/ 452 h 1043"/>
                  <a:gd name="connsiteX71" fmla="*/ 2213 w 4767"/>
                  <a:gd name="connsiteY71" fmla="*/ 396 h 1043"/>
                  <a:gd name="connsiteX72" fmla="*/ 2176 w 4767"/>
                  <a:gd name="connsiteY72" fmla="*/ 342 h 1043"/>
                  <a:gd name="connsiteX73" fmla="*/ 2137 w 4767"/>
                  <a:gd name="connsiteY73" fmla="*/ 293 h 1043"/>
                  <a:gd name="connsiteX74" fmla="*/ 2096 w 4767"/>
                  <a:gd name="connsiteY74" fmla="*/ 247 h 1043"/>
                  <a:gd name="connsiteX75" fmla="*/ 2054 w 4767"/>
                  <a:gd name="connsiteY75" fmla="*/ 205 h 1043"/>
                  <a:gd name="connsiteX76" fmla="*/ 2009 w 4767"/>
                  <a:gd name="connsiteY76" fmla="*/ 168 h 1043"/>
                  <a:gd name="connsiteX77" fmla="*/ 1962 w 4767"/>
                  <a:gd name="connsiteY77" fmla="*/ 139 h 1043"/>
                  <a:gd name="connsiteX78" fmla="*/ 1910 w 4767"/>
                  <a:gd name="connsiteY78" fmla="*/ 116 h 1043"/>
                  <a:gd name="connsiteX79" fmla="*/ 1854 w 4767"/>
                  <a:gd name="connsiteY79" fmla="*/ 100 h 1043"/>
                  <a:gd name="connsiteX80" fmla="*/ 1796 w 4767"/>
                  <a:gd name="connsiteY80" fmla="*/ 91 h 1043"/>
                  <a:gd name="connsiteX81" fmla="*/ 1732 w 4767"/>
                  <a:gd name="connsiteY81" fmla="*/ 93 h 1043"/>
                  <a:gd name="connsiteX82" fmla="*/ 1664 w 4767"/>
                  <a:gd name="connsiteY82" fmla="*/ 104 h 1043"/>
                  <a:gd name="connsiteX83" fmla="*/ 1602 w 4767"/>
                  <a:gd name="connsiteY83" fmla="*/ 122 h 1043"/>
                  <a:gd name="connsiteX84" fmla="*/ 1545 w 4767"/>
                  <a:gd name="connsiteY84" fmla="*/ 147 h 1043"/>
                  <a:gd name="connsiteX85" fmla="*/ 1491 w 4767"/>
                  <a:gd name="connsiteY85" fmla="*/ 181 h 1043"/>
                  <a:gd name="connsiteX86" fmla="*/ 1439 w 4767"/>
                  <a:gd name="connsiteY86" fmla="*/ 218 h 1043"/>
                  <a:gd name="connsiteX87" fmla="*/ 1394 w 4767"/>
                  <a:gd name="connsiteY87" fmla="*/ 261 h 1043"/>
                  <a:gd name="connsiteX88" fmla="*/ 1348 w 4767"/>
                  <a:gd name="connsiteY88" fmla="*/ 307 h 1043"/>
                  <a:gd name="connsiteX89" fmla="*/ 1307 w 4767"/>
                  <a:gd name="connsiteY89" fmla="*/ 359 h 1043"/>
                  <a:gd name="connsiteX90" fmla="*/ 1268 w 4767"/>
                  <a:gd name="connsiteY90" fmla="*/ 413 h 1043"/>
                  <a:gd name="connsiteX91" fmla="*/ 1231 w 4767"/>
                  <a:gd name="connsiteY91" fmla="*/ 467 h 1043"/>
                  <a:gd name="connsiteX92" fmla="*/ 1194 w 4767"/>
                  <a:gd name="connsiteY92" fmla="*/ 523 h 1043"/>
                  <a:gd name="connsiteX93" fmla="*/ 1156 w 4767"/>
                  <a:gd name="connsiteY93" fmla="*/ 581 h 1043"/>
                  <a:gd name="connsiteX94" fmla="*/ 1121 w 4767"/>
                  <a:gd name="connsiteY94" fmla="*/ 637 h 1043"/>
                  <a:gd name="connsiteX95" fmla="*/ 1047 w 4767"/>
                  <a:gd name="connsiteY95" fmla="*/ 749 h 1043"/>
                  <a:gd name="connsiteX96" fmla="*/ 1008 w 4767"/>
                  <a:gd name="connsiteY96" fmla="*/ 801 h 1043"/>
                  <a:gd name="connsiteX97" fmla="*/ 966 w 4767"/>
                  <a:gd name="connsiteY97" fmla="*/ 850 h 1043"/>
                  <a:gd name="connsiteX98" fmla="*/ 923 w 4767"/>
                  <a:gd name="connsiteY98" fmla="*/ 896 h 1043"/>
                  <a:gd name="connsiteX99" fmla="*/ 876 w 4767"/>
                  <a:gd name="connsiteY99" fmla="*/ 937 h 1043"/>
                  <a:gd name="connsiteX100" fmla="*/ 826 w 4767"/>
                  <a:gd name="connsiteY100" fmla="*/ 973 h 1043"/>
                  <a:gd name="connsiteX101" fmla="*/ 772 w 4767"/>
                  <a:gd name="connsiteY101" fmla="*/ 1002 h 1043"/>
                  <a:gd name="connsiteX102" fmla="*/ 717 w 4767"/>
                  <a:gd name="connsiteY102" fmla="*/ 1025 h 1043"/>
                  <a:gd name="connsiteX103" fmla="*/ 653 w 4767"/>
                  <a:gd name="connsiteY103" fmla="*/ 1037 h 1043"/>
                  <a:gd name="connsiteX104" fmla="*/ 587 w 4767"/>
                  <a:gd name="connsiteY104" fmla="*/ 1043 h 1043"/>
                  <a:gd name="connsiteX105" fmla="*/ 580 w 4767"/>
                  <a:gd name="connsiteY105" fmla="*/ 1043 h 1043"/>
                  <a:gd name="connsiteX106" fmla="*/ 512 w 4767"/>
                  <a:gd name="connsiteY106" fmla="*/ 1039 h 1043"/>
                  <a:gd name="connsiteX107" fmla="*/ 450 w 4767"/>
                  <a:gd name="connsiteY107" fmla="*/ 1027 h 1043"/>
                  <a:gd name="connsiteX108" fmla="*/ 392 w 4767"/>
                  <a:gd name="connsiteY108" fmla="*/ 1008 h 1043"/>
                  <a:gd name="connsiteX109" fmla="*/ 341 w 4767"/>
                  <a:gd name="connsiteY109" fmla="*/ 983 h 1043"/>
                  <a:gd name="connsiteX110" fmla="*/ 293 w 4767"/>
                  <a:gd name="connsiteY110" fmla="*/ 952 h 1043"/>
                  <a:gd name="connsiteX111" fmla="*/ 248 w 4767"/>
                  <a:gd name="connsiteY111" fmla="*/ 915 h 1043"/>
                  <a:gd name="connsiteX112" fmla="*/ 207 w 4767"/>
                  <a:gd name="connsiteY112" fmla="*/ 873 h 1043"/>
                  <a:gd name="connsiteX113" fmla="*/ 169 w 4767"/>
                  <a:gd name="connsiteY113" fmla="*/ 828 h 1043"/>
                  <a:gd name="connsiteX114" fmla="*/ 132 w 4767"/>
                  <a:gd name="connsiteY114" fmla="*/ 780 h 1043"/>
                  <a:gd name="connsiteX115" fmla="*/ 99 w 4767"/>
                  <a:gd name="connsiteY115" fmla="*/ 728 h 1043"/>
                  <a:gd name="connsiteX116" fmla="*/ 64 w 4767"/>
                  <a:gd name="connsiteY116" fmla="*/ 674 h 1043"/>
                  <a:gd name="connsiteX117" fmla="*/ 33 w 4767"/>
                  <a:gd name="connsiteY117" fmla="*/ 618 h 1043"/>
                  <a:gd name="connsiteX118" fmla="*/ 0 w 4767"/>
                  <a:gd name="connsiteY118" fmla="*/ 560 h 1043"/>
                  <a:gd name="connsiteX119" fmla="*/ 77 w 4767"/>
                  <a:gd name="connsiteY119" fmla="*/ 516 h 1043"/>
                  <a:gd name="connsiteX120" fmla="*/ 110 w 4767"/>
                  <a:gd name="connsiteY120" fmla="*/ 575 h 1043"/>
                  <a:gd name="connsiteX121" fmla="*/ 143 w 4767"/>
                  <a:gd name="connsiteY121" fmla="*/ 631 h 1043"/>
                  <a:gd name="connsiteX122" fmla="*/ 176 w 4767"/>
                  <a:gd name="connsiteY122" fmla="*/ 684 h 1043"/>
                  <a:gd name="connsiteX123" fmla="*/ 209 w 4767"/>
                  <a:gd name="connsiteY123" fmla="*/ 736 h 1043"/>
                  <a:gd name="connsiteX124" fmla="*/ 244 w 4767"/>
                  <a:gd name="connsiteY124" fmla="*/ 782 h 1043"/>
                  <a:gd name="connsiteX125" fmla="*/ 281 w 4767"/>
                  <a:gd name="connsiteY125" fmla="*/ 825 h 1043"/>
                  <a:gd name="connsiteX126" fmla="*/ 322 w 4767"/>
                  <a:gd name="connsiteY126" fmla="*/ 863 h 1043"/>
                  <a:gd name="connsiteX127" fmla="*/ 366 w 4767"/>
                  <a:gd name="connsiteY127" fmla="*/ 894 h 1043"/>
                  <a:gd name="connsiteX128" fmla="*/ 413 w 4767"/>
                  <a:gd name="connsiteY128" fmla="*/ 921 h 1043"/>
                  <a:gd name="connsiteX129" fmla="*/ 463 w 4767"/>
                  <a:gd name="connsiteY129" fmla="*/ 940 h 1043"/>
                  <a:gd name="connsiteX130" fmla="*/ 518 w 4767"/>
                  <a:gd name="connsiteY130" fmla="*/ 952 h 1043"/>
                  <a:gd name="connsiteX131" fmla="*/ 580 w 4767"/>
                  <a:gd name="connsiteY131" fmla="*/ 956 h 1043"/>
                  <a:gd name="connsiteX132" fmla="*/ 587 w 4767"/>
                  <a:gd name="connsiteY132" fmla="*/ 956 h 1043"/>
                  <a:gd name="connsiteX133" fmla="*/ 646 w 4767"/>
                  <a:gd name="connsiteY133" fmla="*/ 950 h 1043"/>
                  <a:gd name="connsiteX134" fmla="*/ 702 w 4767"/>
                  <a:gd name="connsiteY134" fmla="*/ 935 h 1043"/>
                  <a:gd name="connsiteX135" fmla="*/ 756 w 4767"/>
                  <a:gd name="connsiteY135" fmla="*/ 913 h 1043"/>
                  <a:gd name="connsiteX136" fmla="*/ 803 w 4767"/>
                  <a:gd name="connsiteY136" fmla="*/ 884 h 1043"/>
                  <a:gd name="connsiteX137" fmla="*/ 849 w 4767"/>
                  <a:gd name="connsiteY137" fmla="*/ 846 h 1043"/>
                  <a:gd name="connsiteX138" fmla="*/ 892 w 4767"/>
                  <a:gd name="connsiteY138" fmla="*/ 803 h 1043"/>
                  <a:gd name="connsiteX139" fmla="*/ 931 w 4767"/>
                  <a:gd name="connsiteY139" fmla="*/ 755 h 1043"/>
                  <a:gd name="connsiteX140" fmla="*/ 971 w 4767"/>
                  <a:gd name="connsiteY140" fmla="*/ 703 h 1043"/>
                  <a:gd name="connsiteX141" fmla="*/ 1010 w 4767"/>
                  <a:gd name="connsiteY141" fmla="*/ 649 h 1043"/>
                  <a:gd name="connsiteX142" fmla="*/ 1121 w 4767"/>
                  <a:gd name="connsiteY142" fmla="*/ 475 h 1043"/>
                  <a:gd name="connsiteX143" fmla="*/ 1161 w 4767"/>
                  <a:gd name="connsiteY143" fmla="*/ 415 h 1043"/>
                  <a:gd name="connsiteX144" fmla="*/ 1202 w 4767"/>
                  <a:gd name="connsiteY144" fmla="*/ 357 h 1043"/>
                  <a:gd name="connsiteX145" fmla="*/ 1245 w 4767"/>
                  <a:gd name="connsiteY145" fmla="*/ 299 h 1043"/>
                  <a:gd name="connsiteX146" fmla="*/ 1291 w 4767"/>
                  <a:gd name="connsiteY146" fmla="*/ 245 h 1043"/>
                  <a:gd name="connsiteX147" fmla="*/ 1338 w 4767"/>
                  <a:gd name="connsiteY147" fmla="*/ 193 h 1043"/>
                  <a:gd name="connsiteX148" fmla="*/ 1392 w 4767"/>
                  <a:gd name="connsiteY148" fmla="*/ 145 h 1043"/>
                  <a:gd name="connsiteX149" fmla="*/ 1447 w 4767"/>
                  <a:gd name="connsiteY149" fmla="*/ 104 h 1043"/>
                  <a:gd name="connsiteX150" fmla="*/ 1509 w 4767"/>
                  <a:gd name="connsiteY150" fmla="*/ 69 h 1043"/>
                  <a:gd name="connsiteX151" fmla="*/ 1575 w 4767"/>
                  <a:gd name="connsiteY151" fmla="*/ 40 h 1043"/>
                  <a:gd name="connsiteX152" fmla="*/ 1648 w 4767"/>
                  <a:gd name="connsiteY152" fmla="*/ 19 h 1043"/>
                  <a:gd name="connsiteX153" fmla="*/ 1726 w 4767"/>
                  <a:gd name="connsiteY153" fmla="*/ 6 h 1043"/>
                  <a:gd name="connsiteX154" fmla="*/ 1796 w 4767"/>
                  <a:gd name="connsiteY154" fmla="*/ 4 h 1043"/>
                  <a:gd name="connsiteX155" fmla="*/ 1862 w 4767"/>
                  <a:gd name="connsiteY155" fmla="*/ 13 h 1043"/>
                  <a:gd name="connsiteX156" fmla="*/ 1922 w 4767"/>
                  <a:gd name="connsiteY156" fmla="*/ 27 h 1043"/>
                  <a:gd name="connsiteX157" fmla="*/ 1980 w 4767"/>
                  <a:gd name="connsiteY157" fmla="*/ 50 h 1043"/>
                  <a:gd name="connsiteX158" fmla="*/ 2034 w 4767"/>
                  <a:gd name="connsiteY158" fmla="*/ 81 h 1043"/>
                  <a:gd name="connsiteX159" fmla="*/ 2083 w 4767"/>
                  <a:gd name="connsiteY159" fmla="*/ 116 h 1043"/>
                  <a:gd name="connsiteX160" fmla="*/ 2129 w 4767"/>
                  <a:gd name="connsiteY160" fmla="*/ 158 h 1043"/>
                  <a:gd name="connsiteX161" fmla="*/ 2174 w 4767"/>
                  <a:gd name="connsiteY161" fmla="*/ 203 h 1043"/>
                  <a:gd name="connsiteX162" fmla="*/ 2216 w 4767"/>
                  <a:gd name="connsiteY162" fmla="*/ 251 h 1043"/>
                  <a:gd name="connsiteX163" fmla="*/ 2255 w 4767"/>
                  <a:gd name="connsiteY163" fmla="*/ 303 h 1043"/>
                  <a:gd name="connsiteX164" fmla="*/ 2292 w 4767"/>
                  <a:gd name="connsiteY164" fmla="*/ 357 h 1043"/>
                  <a:gd name="connsiteX165" fmla="*/ 2327 w 4767"/>
                  <a:gd name="connsiteY165" fmla="*/ 413 h 1043"/>
                  <a:gd name="connsiteX166" fmla="*/ 2362 w 4767"/>
                  <a:gd name="connsiteY166" fmla="*/ 467 h 1043"/>
                  <a:gd name="connsiteX167" fmla="*/ 2395 w 4767"/>
                  <a:gd name="connsiteY167" fmla="*/ 523 h 1043"/>
                  <a:gd name="connsiteX168" fmla="*/ 2432 w 4767"/>
                  <a:gd name="connsiteY168" fmla="*/ 585 h 1043"/>
                  <a:gd name="connsiteX169" fmla="*/ 2469 w 4767"/>
                  <a:gd name="connsiteY169" fmla="*/ 643 h 1043"/>
                  <a:gd name="connsiteX170" fmla="*/ 2509 w 4767"/>
                  <a:gd name="connsiteY170" fmla="*/ 701 h 1043"/>
                  <a:gd name="connsiteX171" fmla="*/ 2546 w 4767"/>
                  <a:gd name="connsiteY171" fmla="*/ 755 h 1043"/>
                  <a:gd name="connsiteX172" fmla="*/ 2587 w 4767"/>
                  <a:gd name="connsiteY172" fmla="*/ 805 h 1043"/>
                  <a:gd name="connsiteX173" fmla="*/ 2628 w 4767"/>
                  <a:gd name="connsiteY173" fmla="*/ 848 h 1043"/>
                  <a:gd name="connsiteX174" fmla="*/ 2672 w 4767"/>
                  <a:gd name="connsiteY174" fmla="*/ 886 h 1043"/>
                  <a:gd name="connsiteX175" fmla="*/ 2717 w 4767"/>
                  <a:gd name="connsiteY175" fmla="*/ 917 h 1043"/>
                  <a:gd name="connsiteX176" fmla="*/ 2767 w 4767"/>
                  <a:gd name="connsiteY176" fmla="*/ 940 h 1043"/>
                  <a:gd name="connsiteX177" fmla="*/ 2820 w 4767"/>
                  <a:gd name="connsiteY177" fmla="*/ 952 h 1043"/>
                  <a:gd name="connsiteX178" fmla="*/ 2876 w 4767"/>
                  <a:gd name="connsiteY178" fmla="*/ 956 h 1043"/>
                  <a:gd name="connsiteX179" fmla="*/ 2932 w 4767"/>
                  <a:gd name="connsiteY179" fmla="*/ 950 h 1043"/>
                  <a:gd name="connsiteX180" fmla="*/ 2982 w 4767"/>
                  <a:gd name="connsiteY180" fmla="*/ 935 h 1043"/>
                  <a:gd name="connsiteX181" fmla="*/ 3029 w 4767"/>
                  <a:gd name="connsiteY181" fmla="*/ 915 h 1043"/>
                  <a:gd name="connsiteX182" fmla="*/ 3072 w 4767"/>
                  <a:gd name="connsiteY182" fmla="*/ 884 h 1043"/>
                  <a:gd name="connsiteX183" fmla="*/ 3112 w 4767"/>
                  <a:gd name="connsiteY183" fmla="*/ 848 h 1043"/>
                  <a:gd name="connsiteX184" fmla="*/ 3149 w 4767"/>
                  <a:gd name="connsiteY184" fmla="*/ 807 h 1043"/>
                  <a:gd name="connsiteX185" fmla="*/ 3184 w 4767"/>
                  <a:gd name="connsiteY185" fmla="*/ 759 h 1043"/>
                  <a:gd name="connsiteX186" fmla="*/ 3217 w 4767"/>
                  <a:gd name="connsiteY186" fmla="*/ 709 h 1043"/>
                  <a:gd name="connsiteX187" fmla="*/ 3250 w 4767"/>
                  <a:gd name="connsiteY187" fmla="*/ 655 h 1043"/>
                  <a:gd name="connsiteX188" fmla="*/ 3283 w 4767"/>
                  <a:gd name="connsiteY188" fmla="*/ 597 h 1043"/>
                  <a:gd name="connsiteX189" fmla="*/ 3316 w 4767"/>
                  <a:gd name="connsiteY189" fmla="*/ 537 h 1043"/>
                  <a:gd name="connsiteX190" fmla="*/ 3345 w 4767"/>
                  <a:gd name="connsiteY190" fmla="*/ 483 h 1043"/>
                  <a:gd name="connsiteX191" fmla="*/ 3407 w 4767"/>
                  <a:gd name="connsiteY191" fmla="*/ 375 h 1043"/>
                  <a:gd name="connsiteX192" fmla="*/ 3477 w 4767"/>
                  <a:gd name="connsiteY192" fmla="*/ 272 h 1043"/>
                  <a:gd name="connsiteX193" fmla="*/ 3514 w 4767"/>
                  <a:gd name="connsiteY193" fmla="*/ 224 h 1043"/>
                  <a:gd name="connsiteX194" fmla="*/ 3555 w 4767"/>
                  <a:gd name="connsiteY194" fmla="*/ 178 h 1043"/>
                  <a:gd name="connsiteX195" fmla="*/ 3599 w 4767"/>
                  <a:gd name="connsiteY195" fmla="*/ 137 h 1043"/>
                  <a:gd name="connsiteX196" fmla="*/ 3646 w 4767"/>
                  <a:gd name="connsiteY196" fmla="*/ 100 h 1043"/>
                  <a:gd name="connsiteX197" fmla="*/ 3698 w 4767"/>
                  <a:gd name="connsiteY197" fmla="*/ 66 h 1043"/>
                  <a:gd name="connsiteX198" fmla="*/ 3756 w 4767"/>
                  <a:gd name="connsiteY198" fmla="*/ 40 h 1043"/>
                  <a:gd name="connsiteX199" fmla="*/ 3816 w 4767"/>
                  <a:gd name="connsiteY199" fmla="*/ 19 h 1043"/>
                  <a:gd name="connsiteX200" fmla="*/ 3882 w 4767"/>
                  <a:gd name="connsiteY200" fmla="*/ 6 h 1043"/>
                  <a:gd name="connsiteX201" fmla="*/ 3954 w 4767"/>
                  <a:gd name="connsiteY201" fmla="*/ 0 h 1043"/>
                  <a:gd name="connsiteX0" fmla="*/ 3954 w 4719"/>
                  <a:gd name="connsiteY0" fmla="*/ 0 h 1043"/>
                  <a:gd name="connsiteX1" fmla="*/ 4004 w 4719"/>
                  <a:gd name="connsiteY1" fmla="*/ 0 h 1043"/>
                  <a:gd name="connsiteX2" fmla="*/ 4032 w 4719"/>
                  <a:gd name="connsiteY2" fmla="*/ 4 h 1043"/>
                  <a:gd name="connsiteX3" fmla="*/ 4063 w 4719"/>
                  <a:gd name="connsiteY3" fmla="*/ 13 h 1043"/>
                  <a:gd name="connsiteX4" fmla="*/ 4101 w 4719"/>
                  <a:gd name="connsiteY4" fmla="*/ 23 h 1043"/>
                  <a:gd name="connsiteX5" fmla="*/ 4142 w 4719"/>
                  <a:gd name="connsiteY5" fmla="*/ 40 h 1043"/>
                  <a:gd name="connsiteX6" fmla="*/ 4185 w 4719"/>
                  <a:gd name="connsiteY6" fmla="*/ 60 h 1043"/>
                  <a:gd name="connsiteX7" fmla="*/ 4233 w 4719"/>
                  <a:gd name="connsiteY7" fmla="*/ 89 h 1043"/>
                  <a:gd name="connsiteX8" fmla="*/ 4282 w 4719"/>
                  <a:gd name="connsiteY8" fmla="*/ 125 h 1043"/>
                  <a:gd name="connsiteX9" fmla="*/ 4332 w 4719"/>
                  <a:gd name="connsiteY9" fmla="*/ 170 h 1043"/>
                  <a:gd name="connsiteX10" fmla="*/ 4383 w 4719"/>
                  <a:gd name="connsiteY10" fmla="*/ 224 h 1043"/>
                  <a:gd name="connsiteX11" fmla="*/ 4435 w 4719"/>
                  <a:gd name="connsiteY11" fmla="*/ 286 h 1043"/>
                  <a:gd name="connsiteX12" fmla="*/ 4487 w 4719"/>
                  <a:gd name="connsiteY12" fmla="*/ 361 h 1043"/>
                  <a:gd name="connsiteX13" fmla="*/ 4538 w 4719"/>
                  <a:gd name="connsiteY13" fmla="*/ 448 h 1043"/>
                  <a:gd name="connsiteX14" fmla="*/ 4590 w 4719"/>
                  <a:gd name="connsiteY14" fmla="*/ 548 h 1043"/>
                  <a:gd name="connsiteX15" fmla="*/ 4635 w 4719"/>
                  <a:gd name="connsiteY15" fmla="*/ 633 h 1043"/>
                  <a:gd name="connsiteX16" fmla="*/ 4681 w 4719"/>
                  <a:gd name="connsiteY16" fmla="*/ 705 h 1043"/>
                  <a:gd name="connsiteX17" fmla="*/ 4716 w 4719"/>
                  <a:gd name="connsiteY17" fmla="*/ 881 h 1043"/>
                  <a:gd name="connsiteX18" fmla="*/ 4662 w 4719"/>
                  <a:gd name="connsiteY18" fmla="*/ 823 h 1043"/>
                  <a:gd name="connsiteX19" fmla="*/ 4611 w 4719"/>
                  <a:gd name="connsiteY19" fmla="*/ 755 h 1043"/>
                  <a:gd name="connsiteX20" fmla="*/ 4561 w 4719"/>
                  <a:gd name="connsiteY20" fmla="*/ 676 h 1043"/>
                  <a:gd name="connsiteX21" fmla="*/ 4513 w 4719"/>
                  <a:gd name="connsiteY21" fmla="*/ 583 h 1043"/>
                  <a:gd name="connsiteX22" fmla="*/ 4464 w 4719"/>
                  <a:gd name="connsiteY22" fmla="*/ 487 h 1043"/>
                  <a:gd name="connsiteX23" fmla="*/ 4414 w 4719"/>
                  <a:gd name="connsiteY23" fmla="*/ 404 h 1043"/>
                  <a:gd name="connsiteX24" fmla="*/ 4365 w 4719"/>
                  <a:gd name="connsiteY24" fmla="*/ 336 h 1043"/>
                  <a:gd name="connsiteX25" fmla="*/ 4315 w 4719"/>
                  <a:gd name="connsiteY25" fmla="*/ 276 h 1043"/>
                  <a:gd name="connsiteX26" fmla="*/ 4268 w 4719"/>
                  <a:gd name="connsiteY26" fmla="*/ 228 h 1043"/>
                  <a:gd name="connsiteX27" fmla="*/ 4222 w 4719"/>
                  <a:gd name="connsiteY27" fmla="*/ 189 h 1043"/>
                  <a:gd name="connsiteX28" fmla="*/ 4181 w 4719"/>
                  <a:gd name="connsiteY28" fmla="*/ 158 h 1043"/>
                  <a:gd name="connsiteX29" fmla="*/ 4142 w 4719"/>
                  <a:gd name="connsiteY29" fmla="*/ 135 h 1043"/>
                  <a:gd name="connsiteX30" fmla="*/ 4092 w 4719"/>
                  <a:gd name="connsiteY30" fmla="*/ 112 h 1043"/>
                  <a:gd name="connsiteX31" fmla="*/ 4049 w 4719"/>
                  <a:gd name="connsiteY31" fmla="*/ 98 h 1043"/>
                  <a:gd name="connsiteX32" fmla="*/ 4014 w 4719"/>
                  <a:gd name="connsiteY32" fmla="*/ 89 h 1043"/>
                  <a:gd name="connsiteX33" fmla="*/ 3985 w 4719"/>
                  <a:gd name="connsiteY33" fmla="*/ 87 h 1043"/>
                  <a:gd name="connsiteX34" fmla="*/ 3958 w 4719"/>
                  <a:gd name="connsiteY34" fmla="*/ 87 h 1043"/>
                  <a:gd name="connsiteX35" fmla="*/ 3892 w 4719"/>
                  <a:gd name="connsiteY35" fmla="*/ 93 h 1043"/>
                  <a:gd name="connsiteX36" fmla="*/ 3830 w 4719"/>
                  <a:gd name="connsiteY36" fmla="*/ 106 h 1043"/>
                  <a:gd name="connsiteX37" fmla="*/ 3774 w 4719"/>
                  <a:gd name="connsiteY37" fmla="*/ 127 h 1043"/>
                  <a:gd name="connsiteX38" fmla="*/ 3723 w 4719"/>
                  <a:gd name="connsiteY38" fmla="*/ 154 h 1043"/>
                  <a:gd name="connsiteX39" fmla="*/ 3675 w 4719"/>
                  <a:gd name="connsiteY39" fmla="*/ 187 h 1043"/>
                  <a:gd name="connsiteX40" fmla="*/ 3632 w 4719"/>
                  <a:gd name="connsiteY40" fmla="*/ 224 h 1043"/>
                  <a:gd name="connsiteX41" fmla="*/ 3593 w 4719"/>
                  <a:gd name="connsiteY41" fmla="*/ 268 h 1043"/>
                  <a:gd name="connsiteX42" fmla="*/ 3553 w 4719"/>
                  <a:gd name="connsiteY42" fmla="*/ 313 h 1043"/>
                  <a:gd name="connsiteX43" fmla="*/ 3518 w 4719"/>
                  <a:gd name="connsiteY43" fmla="*/ 363 h 1043"/>
                  <a:gd name="connsiteX44" fmla="*/ 3485 w 4719"/>
                  <a:gd name="connsiteY44" fmla="*/ 415 h 1043"/>
                  <a:gd name="connsiteX45" fmla="*/ 3423 w 4719"/>
                  <a:gd name="connsiteY45" fmla="*/ 523 h 1043"/>
                  <a:gd name="connsiteX46" fmla="*/ 3330 w 4719"/>
                  <a:gd name="connsiteY46" fmla="*/ 691 h 1043"/>
                  <a:gd name="connsiteX47" fmla="*/ 3297 w 4719"/>
                  <a:gd name="connsiteY47" fmla="*/ 747 h 1043"/>
                  <a:gd name="connsiteX48" fmla="*/ 3262 w 4719"/>
                  <a:gd name="connsiteY48" fmla="*/ 799 h 1043"/>
                  <a:gd name="connsiteX49" fmla="*/ 3227 w 4719"/>
                  <a:gd name="connsiteY49" fmla="*/ 848 h 1043"/>
                  <a:gd name="connsiteX50" fmla="*/ 3188 w 4719"/>
                  <a:gd name="connsiteY50" fmla="*/ 894 h 1043"/>
                  <a:gd name="connsiteX51" fmla="*/ 3147 w 4719"/>
                  <a:gd name="connsiteY51" fmla="*/ 935 h 1043"/>
                  <a:gd name="connsiteX52" fmla="*/ 3101 w 4719"/>
                  <a:gd name="connsiteY52" fmla="*/ 971 h 1043"/>
                  <a:gd name="connsiteX53" fmla="*/ 3052 w 4719"/>
                  <a:gd name="connsiteY53" fmla="*/ 1000 h 1043"/>
                  <a:gd name="connsiteX54" fmla="*/ 3000 w 4719"/>
                  <a:gd name="connsiteY54" fmla="*/ 1022 h 1043"/>
                  <a:gd name="connsiteX55" fmla="*/ 2942 w 4719"/>
                  <a:gd name="connsiteY55" fmla="*/ 1037 h 1043"/>
                  <a:gd name="connsiteX56" fmla="*/ 2878 w 4719"/>
                  <a:gd name="connsiteY56" fmla="*/ 1043 h 1043"/>
                  <a:gd name="connsiteX57" fmla="*/ 2870 w 4719"/>
                  <a:gd name="connsiteY57" fmla="*/ 1043 h 1043"/>
                  <a:gd name="connsiteX58" fmla="*/ 2808 w 4719"/>
                  <a:gd name="connsiteY58" fmla="*/ 1039 h 1043"/>
                  <a:gd name="connsiteX59" fmla="*/ 2748 w 4719"/>
                  <a:gd name="connsiteY59" fmla="*/ 1025 h 1043"/>
                  <a:gd name="connsiteX60" fmla="*/ 2695 w 4719"/>
                  <a:gd name="connsiteY60" fmla="*/ 1002 h 1043"/>
                  <a:gd name="connsiteX61" fmla="*/ 2643 w 4719"/>
                  <a:gd name="connsiteY61" fmla="*/ 973 h 1043"/>
                  <a:gd name="connsiteX62" fmla="*/ 2595 w 4719"/>
                  <a:gd name="connsiteY62" fmla="*/ 935 h 1043"/>
                  <a:gd name="connsiteX63" fmla="*/ 2552 w 4719"/>
                  <a:gd name="connsiteY63" fmla="*/ 894 h 1043"/>
                  <a:gd name="connsiteX64" fmla="*/ 2509 w 4719"/>
                  <a:gd name="connsiteY64" fmla="*/ 846 h 1043"/>
                  <a:gd name="connsiteX65" fmla="*/ 2469 w 4719"/>
                  <a:gd name="connsiteY65" fmla="*/ 796 h 1043"/>
                  <a:gd name="connsiteX66" fmla="*/ 2430 w 4719"/>
                  <a:gd name="connsiteY66" fmla="*/ 740 h 1043"/>
                  <a:gd name="connsiteX67" fmla="*/ 2393 w 4719"/>
                  <a:gd name="connsiteY67" fmla="*/ 684 h 1043"/>
                  <a:gd name="connsiteX68" fmla="*/ 2288 w 4719"/>
                  <a:gd name="connsiteY68" fmla="*/ 510 h 1043"/>
                  <a:gd name="connsiteX69" fmla="*/ 2251 w 4719"/>
                  <a:gd name="connsiteY69" fmla="*/ 452 h 1043"/>
                  <a:gd name="connsiteX70" fmla="*/ 2213 w 4719"/>
                  <a:gd name="connsiteY70" fmla="*/ 396 h 1043"/>
                  <a:gd name="connsiteX71" fmla="*/ 2176 w 4719"/>
                  <a:gd name="connsiteY71" fmla="*/ 342 h 1043"/>
                  <a:gd name="connsiteX72" fmla="*/ 2137 w 4719"/>
                  <a:gd name="connsiteY72" fmla="*/ 293 h 1043"/>
                  <a:gd name="connsiteX73" fmla="*/ 2096 w 4719"/>
                  <a:gd name="connsiteY73" fmla="*/ 247 h 1043"/>
                  <a:gd name="connsiteX74" fmla="*/ 2054 w 4719"/>
                  <a:gd name="connsiteY74" fmla="*/ 205 h 1043"/>
                  <a:gd name="connsiteX75" fmla="*/ 2009 w 4719"/>
                  <a:gd name="connsiteY75" fmla="*/ 168 h 1043"/>
                  <a:gd name="connsiteX76" fmla="*/ 1962 w 4719"/>
                  <a:gd name="connsiteY76" fmla="*/ 139 h 1043"/>
                  <a:gd name="connsiteX77" fmla="*/ 1910 w 4719"/>
                  <a:gd name="connsiteY77" fmla="*/ 116 h 1043"/>
                  <a:gd name="connsiteX78" fmla="*/ 1854 w 4719"/>
                  <a:gd name="connsiteY78" fmla="*/ 100 h 1043"/>
                  <a:gd name="connsiteX79" fmla="*/ 1796 w 4719"/>
                  <a:gd name="connsiteY79" fmla="*/ 91 h 1043"/>
                  <a:gd name="connsiteX80" fmla="*/ 1732 w 4719"/>
                  <a:gd name="connsiteY80" fmla="*/ 93 h 1043"/>
                  <a:gd name="connsiteX81" fmla="*/ 1664 w 4719"/>
                  <a:gd name="connsiteY81" fmla="*/ 104 h 1043"/>
                  <a:gd name="connsiteX82" fmla="*/ 1602 w 4719"/>
                  <a:gd name="connsiteY82" fmla="*/ 122 h 1043"/>
                  <a:gd name="connsiteX83" fmla="*/ 1545 w 4719"/>
                  <a:gd name="connsiteY83" fmla="*/ 147 h 1043"/>
                  <a:gd name="connsiteX84" fmla="*/ 1491 w 4719"/>
                  <a:gd name="connsiteY84" fmla="*/ 181 h 1043"/>
                  <a:gd name="connsiteX85" fmla="*/ 1439 w 4719"/>
                  <a:gd name="connsiteY85" fmla="*/ 218 h 1043"/>
                  <a:gd name="connsiteX86" fmla="*/ 1394 w 4719"/>
                  <a:gd name="connsiteY86" fmla="*/ 261 h 1043"/>
                  <a:gd name="connsiteX87" fmla="*/ 1348 w 4719"/>
                  <a:gd name="connsiteY87" fmla="*/ 307 h 1043"/>
                  <a:gd name="connsiteX88" fmla="*/ 1307 w 4719"/>
                  <a:gd name="connsiteY88" fmla="*/ 359 h 1043"/>
                  <a:gd name="connsiteX89" fmla="*/ 1268 w 4719"/>
                  <a:gd name="connsiteY89" fmla="*/ 413 h 1043"/>
                  <a:gd name="connsiteX90" fmla="*/ 1231 w 4719"/>
                  <a:gd name="connsiteY90" fmla="*/ 467 h 1043"/>
                  <a:gd name="connsiteX91" fmla="*/ 1194 w 4719"/>
                  <a:gd name="connsiteY91" fmla="*/ 523 h 1043"/>
                  <a:gd name="connsiteX92" fmla="*/ 1156 w 4719"/>
                  <a:gd name="connsiteY92" fmla="*/ 581 h 1043"/>
                  <a:gd name="connsiteX93" fmla="*/ 1121 w 4719"/>
                  <a:gd name="connsiteY93" fmla="*/ 637 h 1043"/>
                  <a:gd name="connsiteX94" fmla="*/ 1047 w 4719"/>
                  <a:gd name="connsiteY94" fmla="*/ 749 h 1043"/>
                  <a:gd name="connsiteX95" fmla="*/ 1008 w 4719"/>
                  <a:gd name="connsiteY95" fmla="*/ 801 h 1043"/>
                  <a:gd name="connsiteX96" fmla="*/ 966 w 4719"/>
                  <a:gd name="connsiteY96" fmla="*/ 850 h 1043"/>
                  <a:gd name="connsiteX97" fmla="*/ 923 w 4719"/>
                  <a:gd name="connsiteY97" fmla="*/ 896 h 1043"/>
                  <a:gd name="connsiteX98" fmla="*/ 876 w 4719"/>
                  <a:gd name="connsiteY98" fmla="*/ 937 h 1043"/>
                  <a:gd name="connsiteX99" fmla="*/ 826 w 4719"/>
                  <a:gd name="connsiteY99" fmla="*/ 973 h 1043"/>
                  <a:gd name="connsiteX100" fmla="*/ 772 w 4719"/>
                  <a:gd name="connsiteY100" fmla="*/ 1002 h 1043"/>
                  <a:gd name="connsiteX101" fmla="*/ 717 w 4719"/>
                  <a:gd name="connsiteY101" fmla="*/ 1025 h 1043"/>
                  <a:gd name="connsiteX102" fmla="*/ 653 w 4719"/>
                  <a:gd name="connsiteY102" fmla="*/ 1037 h 1043"/>
                  <a:gd name="connsiteX103" fmla="*/ 587 w 4719"/>
                  <a:gd name="connsiteY103" fmla="*/ 1043 h 1043"/>
                  <a:gd name="connsiteX104" fmla="*/ 580 w 4719"/>
                  <a:gd name="connsiteY104" fmla="*/ 1043 h 1043"/>
                  <a:gd name="connsiteX105" fmla="*/ 512 w 4719"/>
                  <a:gd name="connsiteY105" fmla="*/ 1039 h 1043"/>
                  <a:gd name="connsiteX106" fmla="*/ 450 w 4719"/>
                  <a:gd name="connsiteY106" fmla="*/ 1027 h 1043"/>
                  <a:gd name="connsiteX107" fmla="*/ 392 w 4719"/>
                  <a:gd name="connsiteY107" fmla="*/ 1008 h 1043"/>
                  <a:gd name="connsiteX108" fmla="*/ 341 w 4719"/>
                  <a:gd name="connsiteY108" fmla="*/ 983 h 1043"/>
                  <a:gd name="connsiteX109" fmla="*/ 293 w 4719"/>
                  <a:gd name="connsiteY109" fmla="*/ 952 h 1043"/>
                  <a:gd name="connsiteX110" fmla="*/ 248 w 4719"/>
                  <a:gd name="connsiteY110" fmla="*/ 915 h 1043"/>
                  <a:gd name="connsiteX111" fmla="*/ 207 w 4719"/>
                  <a:gd name="connsiteY111" fmla="*/ 873 h 1043"/>
                  <a:gd name="connsiteX112" fmla="*/ 169 w 4719"/>
                  <a:gd name="connsiteY112" fmla="*/ 828 h 1043"/>
                  <a:gd name="connsiteX113" fmla="*/ 132 w 4719"/>
                  <a:gd name="connsiteY113" fmla="*/ 780 h 1043"/>
                  <a:gd name="connsiteX114" fmla="*/ 99 w 4719"/>
                  <a:gd name="connsiteY114" fmla="*/ 728 h 1043"/>
                  <a:gd name="connsiteX115" fmla="*/ 64 w 4719"/>
                  <a:gd name="connsiteY115" fmla="*/ 674 h 1043"/>
                  <a:gd name="connsiteX116" fmla="*/ 33 w 4719"/>
                  <a:gd name="connsiteY116" fmla="*/ 618 h 1043"/>
                  <a:gd name="connsiteX117" fmla="*/ 0 w 4719"/>
                  <a:gd name="connsiteY117" fmla="*/ 560 h 1043"/>
                  <a:gd name="connsiteX118" fmla="*/ 77 w 4719"/>
                  <a:gd name="connsiteY118" fmla="*/ 516 h 1043"/>
                  <a:gd name="connsiteX119" fmla="*/ 110 w 4719"/>
                  <a:gd name="connsiteY119" fmla="*/ 575 h 1043"/>
                  <a:gd name="connsiteX120" fmla="*/ 143 w 4719"/>
                  <a:gd name="connsiteY120" fmla="*/ 631 h 1043"/>
                  <a:gd name="connsiteX121" fmla="*/ 176 w 4719"/>
                  <a:gd name="connsiteY121" fmla="*/ 684 h 1043"/>
                  <a:gd name="connsiteX122" fmla="*/ 209 w 4719"/>
                  <a:gd name="connsiteY122" fmla="*/ 736 h 1043"/>
                  <a:gd name="connsiteX123" fmla="*/ 244 w 4719"/>
                  <a:gd name="connsiteY123" fmla="*/ 782 h 1043"/>
                  <a:gd name="connsiteX124" fmla="*/ 281 w 4719"/>
                  <a:gd name="connsiteY124" fmla="*/ 825 h 1043"/>
                  <a:gd name="connsiteX125" fmla="*/ 322 w 4719"/>
                  <a:gd name="connsiteY125" fmla="*/ 863 h 1043"/>
                  <a:gd name="connsiteX126" fmla="*/ 366 w 4719"/>
                  <a:gd name="connsiteY126" fmla="*/ 894 h 1043"/>
                  <a:gd name="connsiteX127" fmla="*/ 413 w 4719"/>
                  <a:gd name="connsiteY127" fmla="*/ 921 h 1043"/>
                  <a:gd name="connsiteX128" fmla="*/ 463 w 4719"/>
                  <a:gd name="connsiteY128" fmla="*/ 940 h 1043"/>
                  <a:gd name="connsiteX129" fmla="*/ 518 w 4719"/>
                  <a:gd name="connsiteY129" fmla="*/ 952 h 1043"/>
                  <a:gd name="connsiteX130" fmla="*/ 580 w 4719"/>
                  <a:gd name="connsiteY130" fmla="*/ 956 h 1043"/>
                  <a:gd name="connsiteX131" fmla="*/ 587 w 4719"/>
                  <a:gd name="connsiteY131" fmla="*/ 956 h 1043"/>
                  <a:gd name="connsiteX132" fmla="*/ 646 w 4719"/>
                  <a:gd name="connsiteY132" fmla="*/ 950 h 1043"/>
                  <a:gd name="connsiteX133" fmla="*/ 702 w 4719"/>
                  <a:gd name="connsiteY133" fmla="*/ 935 h 1043"/>
                  <a:gd name="connsiteX134" fmla="*/ 756 w 4719"/>
                  <a:gd name="connsiteY134" fmla="*/ 913 h 1043"/>
                  <a:gd name="connsiteX135" fmla="*/ 803 w 4719"/>
                  <a:gd name="connsiteY135" fmla="*/ 884 h 1043"/>
                  <a:gd name="connsiteX136" fmla="*/ 849 w 4719"/>
                  <a:gd name="connsiteY136" fmla="*/ 846 h 1043"/>
                  <a:gd name="connsiteX137" fmla="*/ 892 w 4719"/>
                  <a:gd name="connsiteY137" fmla="*/ 803 h 1043"/>
                  <a:gd name="connsiteX138" fmla="*/ 931 w 4719"/>
                  <a:gd name="connsiteY138" fmla="*/ 755 h 1043"/>
                  <a:gd name="connsiteX139" fmla="*/ 971 w 4719"/>
                  <a:gd name="connsiteY139" fmla="*/ 703 h 1043"/>
                  <a:gd name="connsiteX140" fmla="*/ 1010 w 4719"/>
                  <a:gd name="connsiteY140" fmla="*/ 649 h 1043"/>
                  <a:gd name="connsiteX141" fmla="*/ 1121 w 4719"/>
                  <a:gd name="connsiteY141" fmla="*/ 475 h 1043"/>
                  <a:gd name="connsiteX142" fmla="*/ 1161 w 4719"/>
                  <a:gd name="connsiteY142" fmla="*/ 415 h 1043"/>
                  <a:gd name="connsiteX143" fmla="*/ 1202 w 4719"/>
                  <a:gd name="connsiteY143" fmla="*/ 357 h 1043"/>
                  <a:gd name="connsiteX144" fmla="*/ 1245 w 4719"/>
                  <a:gd name="connsiteY144" fmla="*/ 299 h 1043"/>
                  <a:gd name="connsiteX145" fmla="*/ 1291 w 4719"/>
                  <a:gd name="connsiteY145" fmla="*/ 245 h 1043"/>
                  <a:gd name="connsiteX146" fmla="*/ 1338 w 4719"/>
                  <a:gd name="connsiteY146" fmla="*/ 193 h 1043"/>
                  <a:gd name="connsiteX147" fmla="*/ 1392 w 4719"/>
                  <a:gd name="connsiteY147" fmla="*/ 145 h 1043"/>
                  <a:gd name="connsiteX148" fmla="*/ 1447 w 4719"/>
                  <a:gd name="connsiteY148" fmla="*/ 104 h 1043"/>
                  <a:gd name="connsiteX149" fmla="*/ 1509 w 4719"/>
                  <a:gd name="connsiteY149" fmla="*/ 69 h 1043"/>
                  <a:gd name="connsiteX150" fmla="*/ 1575 w 4719"/>
                  <a:gd name="connsiteY150" fmla="*/ 40 h 1043"/>
                  <a:gd name="connsiteX151" fmla="*/ 1648 w 4719"/>
                  <a:gd name="connsiteY151" fmla="*/ 19 h 1043"/>
                  <a:gd name="connsiteX152" fmla="*/ 1726 w 4719"/>
                  <a:gd name="connsiteY152" fmla="*/ 6 h 1043"/>
                  <a:gd name="connsiteX153" fmla="*/ 1796 w 4719"/>
                  <a:gd name="connsiteY153" fmla="*/ 4 h 1043"/>
                  <a:gd name="connsiteX154" fmla="*/ 1862 w 4719"/>
                  <a:gd name="connsiteY154" fmla="*/ 13 h 1043"/>
                  <a:gd name="connsiteX155" fmla="*/ 1922 w 4719"/>
                  <a:gd name="connsiteY155" fmla="*/ 27 h 1043"/>
                  <a:gd name="connsiteX156" fmla="*/ 1980 w 4719"/>
                  <a:gd name="connsiteY156" fmla="*/ 50 h 1043"/>
                  <a:gd name="connsiteX157" fmla="*/ 2034 w 4719"/>
                  <a:gd name="connsiteY157" fmla="*/ 81 h 1043"/>
                  <a:gd name="connsiteX158" fmla="*/ 2083 w 4719"/>
                  <a:gd name="connsiteY158" fmla="*/ 116 h 1043"/>
                  <a:gd name="connsiteX159" fmla="*/ 2129 w 4719"/>
                  <a:gd name="connsiteY159" fmla="*/ 158 h 1043"/>
                  <a:gd name="connsiteX160" fmla="*/ 2174 w 4719"/>
                  <a:gd name="connsiteY160" fmla="*/ 203 h 1043"/>
                  <a:gd name="connsiteX161" fmla="*/ 2216 w 4719"/>
                  <a:gd name="connsiteY161" fmla="*/ 251 h 1043"/>
                  <a:gd name="connsiteX162" fmla="*/ 2255 w 4719"/>
                  <a:gd name="connsiteY162" fmla="*/ 303 h 1043"/>
                  <a:gd name="connsiteX163" fmla="*/ 2292 w 4719"/>
                  <a:gd name="connsiteY163" fmla="*/ 357 h 1043"/>
                  <a:gd name="connsiteX164" fmla="*/ 2327 w 4719"/>
                  <a:gd name="connsiteY164" fmla="*/ 413 h 1043"/>
                  <a:gd name="connsiteX165" fmla="*/ 2362 w 4719"/>
                  <a:gd name="connsiteY165" fmla="*/ 467 h 1043"/>
                  <a:gd name="connsiteX166" fmla="*/ 2395 w 4719"/>
                  <a:gd name="connsiteY166" fmla="*/ 523 h 1043"/>
                  <a:gd name="connsiteX167" fmla="*/ 2432 w 4719"/>
                  <a:gd name="connsiteY167" fmla="*/ 585 h 1043"/>
                  <a:gd name="connsiteX168" fmla="*/ 2469 w 4719"/>
                  <a:gd name="connsiteY168" fmla="*/ 643 h 1043"/>
                  <a:gd name="connsiteX169" fmla="*/ 2509 w 4719"/>
                  <a:gd name="connsiteY169" fmla="*/ 701 h 1043"/>
                  <a:gd name="connsiteX170" fmla="*/ 2546 w 4719"/>
                  <a:gd name="connsiteY170" fmla="*/ 755 h 1043"/>
                  <a:gd name="connsiteX171" fmla="*/ 2587 w 4719"/>
                  <a:gd name="connsiteY171" fmla="*/ 805 h 1043"/>
                  <a:gd name="connsiteX172" fmla="*/ 2628 w 4719"/>
                  <a:gd name="connsiteY172" fmla="*/ 848 h 1043"/>
                  <a:gd name="connsiteX173" fmla="*/ 2672 w 4719"/>
                  <a:gd name="connsiteY173" fmla="*/ 886 h 1043"/>
                  <a:gd name="connsiteX174" fmla="*/ 2717 w 4719"/>
                  <a:gd name="connsiteY174" fmla="*/ 917 h 1043"/>
                  <a:gd name="connsiteX175" fmla="*/ 2767 w 4719"/>
                  <a:gd name="connsiteY175" fmla="*/ 940 h 1043"/>
                  <a:gd name="connsiteX176" fmla="*/ 2820 w 4719"/>
                  <a:gd name="connsiteY176" fmla="*/ 952 h 1043"/>
                  <a:gd name="connsiteX177" fmla="*/ 2876 w 4719"/>
                  <a:gd name="connsiteY177" fmla="*/ 956 h 1043"/>
                  <a:gd name="connsiteX178" fmla="*/ 2932 w 4719"/>
                  <a:gd name="connsiteY178" fmla="*/ 950 h 1043"/>
                  <a:gd name="connsiteX179" fmla="*/ 2982 w 4719"/>
                  <a:gd name="connsiteY179" fmla="*/ 935 h 1043"/>
                  <a:gd name="connsiteX180" fmla="*/ 3029 w 4719"/>
                  <a:gd name="connsiteY180" fmla="*/ 915 h 1043"/>
                  <a:gd name="connsiteX181" fmla="*/ 3072 w 4719"/>
                  <a:gd name="connsiteY181" fmla="*/ 884 h 1043"/>
                  <a:gd name="connsiteX182" fmla="*/ 3112 w 4719"/>
                  <a:gd name="connsiteY182" fmla="*/ 848 h 1043"/>
                  <a:gd name="connsiteX183" fmla="*/ 3149 w 4719"/>
                  <a:gd name="connsiteY183" fmla="*/ 807 h 1043"/>
                  <a:gd name="connsiteX184" fmla="*/ 3184 w 4719"/>
                  <a:gd name="connsiteY184" fmla="*/ 759 h 1043"/>
                  <a:gd name="connsiteX185" fmla="*/ 3217 w 4719"/>
                  <a:gd name="connsiteY185" fmla="*/ 709 h 1043"/>
                  <a:gd name="connsiteX186" fmla="*/ 3250 w 4719"/>
                  <a:gd name="connsiteY186" fmla="*/ 655 h 1043"/>
                  <a:gd name="connsiteX187" fmla="*/ 3283 w 4719"/>
                  <a:gd name="connsiteY187" fmla="*/ 597 h 1043"/>
                  <a:gd name="connsiteX188" fmla="*/ 3316 w 4719"/>
                  <a:gd name="connsiteY188" fmla="*/ 537 h 1043"/>
                  <a:gd name="connsiteX189" fmla="*/ 3345 w 4719"/>
                  <a:gd name="connsiteY189" fmla="*/ 483 h 1043"/>
                  <a:gd name="connsiteX190" fmla="*/ 3407 w 4719"/>
                  <a:gd name="connsiteY190" fmla="*/ 375 h 1043"/>
                  <a:gd name="connsiteX191" fmla="*/ 3477 w 4719"/>
                  <a:gd name="connsiteY191" fmla="*/ 272 h 1043"/>
                  <a:gd name="connsiteX192" fmla="*/ 3514 w 4719"/>
                  <a:gd name="connsiteY192" fmla="*/ 224 h 1043"/>
                  <a:gd name="connsiteX193" fmla="*/ 3555 w 4719"/>
                  <a:gd name="connsiteY193" fmla="*/ 178 h 1043"/>
                  <a:gd name="connsiteX194" fmla="*/ 3599 w 4719"/>
                  <a:gd name="connsiteY194" fmla="*/ 137 h 1043"/>
                  <a:gd name="connsiteX195" fmla="*/ 3646 w 4719"/>
                  <a:gd name="connsiteY195" fmla="*/ 100 h 1043"/>
                  <a:gd name="connsiteX196" fmla="*/ 3698 w 4719"/>
                  <a:gd name="connsiteY196" fmla="*/ 66 h 1043"/>
                  <a:gd name="connsiteX197" fmla="*/ 3756 w 4719"/>
                  <a:gd name="connsiteY197" fmla="*/ 40 h 1043"/>
                  <a:gd name="connsiteX198" fmla="*/ 3816 w 4719"/>
                  <a:gd name="connsiteY198" fmla="*/ 19 h 1043"/>
                  <a:gd name="connsiteX199" fmla="*/ 3882 w 4719"/>
                  <a:gd name="connsiteY199" fmla="*/ 6 h 1043"/>
                  <a:gd name="connsiteX200" fmla="*/ 3954 w 4719"/>
                  <a:gd name="connsiteY200" fmla="*/ 0 h 1043"/>
                  <a:gd name="connsiteX0" fmla="*/ 3954 w 4686"/>
                  <a:gd name="connsiteY0" fmla="*/ 0 h 1043"/>
                  <a:gd name="connsiteX1" fmla="*/ 4004 w 4686"/>
                  <a:gd name="connsiteY1" fmla="*/ 0 h 1043"/>
                  <a:gd name="connsiteX2" fmla="*/ 4032 w 4686"/>
                  <a:gd name="connsiteY2" fmla="*/ 4 h 1043"/>
                  <a:gd name="connsiteX3" fmla="*/ 4063 w 4686"/>
                  <a:gd name="connsiteY3" fmla="*/ 13 h 1043"/>
                  <a:gd name="connsiteX4" fmla="*/ 4101 w 4686"/>
                  <a:gd name="connsiteY4" fmla="*/ 23 h 1043"/>
                  <a:gd name="connsiteX5" fmla="*/ 4142 w 4686"/>
                  <a:gd name="connsiteY5" fmla="*/ 40 h 1043"/>
                  <a:gd name="connsiteX6" fmla="*/ 4185 w 4686"/>
                  <a:gd name="connsiteY6" fmla="*/ 60 h 1043"/>
                  <a:gd name="connsiteX7" fmla="*/ 4233 w 4686"/>
                  <a:gd name="connsiteY7" fmla="*/ 89 h 1043"/>
                  <a:gd name="connsiteX8" fmla="*/ 4282 w 4686"/>
                  <a:gd name="connsiteY8" fmla="*/ 125 h 1043"/>
                  <a:gd name="connsiteX9" fmla="*/ 4332 w 4686"/>
                  <a:gd name="connsiteY9" fmla="*/ 170 h 1043"/>
                  <a:gd name="connsiteX10" fmla="*/ 4383 w 4686"/>
                  <a:gd name="connsiteY10" fmla="*/ 224 h 1043"/>
                  <a:gd name="connsiteX11" fmla="*/ 4435 w 4686"/>
                  <a:gd name="connsiteY11" fmla="*/ 286 h 1043"/>
                  <a:gd name="connsiteX12" fmla="*/ 4487 w 4686"/>
                  <a:gd name="connsiteY12" fmla="*/ 361 h 1043"/>
                  <a:gd name="connsiteX13" fmla="*/ 4538 w 4686"/>
                  <a:gd name="connsiteY13" fmla="*/ 448 h 1043"/>
                  <a:gd name="connsiteX14" fmla="*/ 4590 w 4686"/>
                  <a:gd name="connsiteY14" fmla="*/ 548 h 1043"/>
                  <a:gd name="connsiteX15" fmla="*/ 4635 w 4686"/>
                  <a:gd name="connsiteY15" fmla="*/ 633 h 1043"/>
                  <a:gd name="connsiteX16" fmla="*/ 4681 w 4686"/>
                  <a:gd name="connsiteY16" fmla="*/ 705 h 1043"/>
                  <a:gd name="connsiteX17" fmla="*/ 4662 w 4686"/>
                  <a:gd name="connsiteY17" fmla="*/ 823 h 1043"/>
                  <a:gd name="connsiteX18" fmla="*/ 4611 w 4686"/>
                  <a:gd name="connsiteY18" fmla="*/ 755 h 1043"/>
                  <a:gd name="connsiteX19" fmla="*/ 4561 w 4686"/>
                  <a:gd name="connsiteY19" fmla="*/ 676 h 1043"/>
                  <a:gd name="connsiteX20" fmla="*/ 4513 w 4686"/>
                  <a:gd name="connsiteY20" fmla="*/ 583 h 1043"/>
                  <a:gd name="connsiteX21" fmla="*/ 4464 w 4686"/>
                  <a:gd name="connsiteY21" fmla="*/ 487 h 1043"/>
                  <a:gd name="connsiteX22" fmla="*/ 4414 w 4686"/>
                  <a:gd name="connsiteY22" fmla="*/ 404 h 1043"/>
                  <a:gd name="connsiteX23" fmla="*/ 4365 w 4686"/>
                  <a:gd name="connsiteY23" fmla="*/ 336 h 1043"/>
                  <a:gd name="connsiteX24" fmla="*/ 4315 w 4686"/>
                  <a:gd name="connsiteY24" fmla="*/ 276 h 1043"/>
                  <a:gd name="connsiteX25" fmla="*/ 4268 w 4686"/>
                  <a:gd name="connsiteY25" fmla="*/ 228 h 1043"/>
                  <a:gd name="connsiteX26" fmla="*/ 4222 w 4686"/>
                  <a:gd name="connsiteY26" fmla="*/ 189 h 1043"/>
                  <a:gd name="connsiteX27" fmla="*/ 4181 w 4686"/>
                  <a:gd name="connsiteY27" fmla="*/ 158 h 1043"/>
                  <a:gd name="connsiteX28" fmla="*/ 4142 w 4686"/>
                  <a:gd name="connsiteY28" fmla="*/ 135 h 1043"/>
                  <a:gd name="connsiteX29" fmla="*/ 4092 w 4686"/>
                  <a:gd name="connsiteY29" fmla="*/ 112 h 1043"/>
                  <a:gd name="connsiteX30" fmla="*/ 4049 w 4686"/>
                  <a:gd name="connsiteY30" fmla="*/ 98 h 1043"/>
                  <a:gd name="connsiteX31" fmla="*/ 4014 w 4686"/>
                  <a:gd name="connsiteY31" fmla="*/ 89 h 1043"/>
                  <a:gd name="connsiteX32" fmla="*/ 3985 w 4686"/>
                  <a:gd name="connsiteY32" fmla="*/ 87 h 1043"/>
                  <a:gd name="connsiteX33" fmla="*/ 3958 w 4686"/>
                  <a:gd name="connsiteY33" fmla="*/ 87 h 1043"/>
                  <a:gd name="connsiteX34" fmla="*/ 3892 w 4686"/>
                  <a:gd name="connsiteY34" fmla="*/ 93 h 1043"/>
                  <a:gd name="connsiteX35" fmla="*/ 3830 w 4686"/>
                  <a:gd name="connsiteY35" fmla="*/ 106 h 1043"/>
                  <a:gd name="connsiteX36" fmla="*/ 3774 w 4686"/>
                  <a:gd name="connsiteY36" fmla="*/ 127 h 1043"/>
                  <a:gd name="connsiteX37" fmla="*/ 3723 w 4686"/>
                  <a:gd name="connsiteY37" fmla="*/ 154 h 1043"/>
                  <a:gd name="connsiteX38" fmla="*/ 3675 w 4686"/>
                  <a:gd name="connsiteY38" fmla="*/ 187 h 1043"/>
                  <a:gd name="connsiteX39" fmla="*/ 3632 w 4686"/>
                  <a:gd name="connsiteY39" fmla="*/ 224 h 1043"/>
                  <a:gd name="connsiteX40" fmla="*/ 3593 w 4686"/>
                  <a:gd name="connsiteY40" fmla="*/ 268 h 1043"/>
                  <a:gd name="connsiteX41" fmla="*/ 3553 w 4686"/>
                  <a:gd name="connsiteY41" fmla="*/ 313 h 1043"/>
                  <a:gd name="connsiteX42" fmla="*/ 3518 w 4686"/>
                  <a:gd name="connsiteY42" fmla="*/ 363 h 1043"/>
                  <a:gd name="connsiteX43" fmla="*/ 3485 w 4686"/>
                  <a:gd name="connsiteY43" fmla="*/ 415 h 1043"/>
                  <a:gd name="connsiteX44" fmla="*/ 3423 w 4686"/>
                  <a:gd name="connsiteY44" fmla="*/ 523 h 1043"/>
                  <a:gd name="connsiteX45" fmla="*/ 3330 w 4686"/>
                  <a:gd name="connsiteY45" fmla="*/ 691 h 1043"/>
                  <a:gd name="connsiteX46" fmla="*/ 3297 w 4686"/>
                  <a:gd name="connsiteY46" fmla="*/ 747 h 1043"/>
                  <a:gd name="connsiteX47" fmla="*/ 3262 w 4686"/>
                  <a:gd name="connsiteY47" fmla="*/ 799 h 1043"/>
                  <a:gd name="connsiteX48" fmla="*/ 3227 w 4686"/>
                  <a:gd name="connsiteY48" fmla="*/ 848 h 1043"/>
                  <a:gd name="connsiteX49" fmla="*/ 3188 w 4686"/>
                  <a:gd name="connsiteY49" fmla="*/ 894 h 1043"/>
                  <a:gd name="connsiteX50" fmla="*/ 3147 w 4686"/>
                  <a:gd name="connsiteY50" fmla="*/ 935 h 1043"/>
                  <a:gd name="connsiteX51" fmla="*/ 3101 w 4686"/>
                  <a:gd name="connsiteY51" fmla="*/ 971 h 1043"/>
                  <a:gd name="connsiteX52" fmla="*/ 3052 w 4686"/>
                  <a:gd name="connsiteY52" fmla="*/ 1000 h 1043"/>
                  <a:gd name="connsiteX53" fmla="*/ 3000 w 4686"/>
                  <a:gd name="connsiteY53" fmla="*/ 1022 h 1043"/>
                  <a:gd name="connsiteX54" fmla="*/ 2942 w 4686"/>
                  <a:gd name="connsiteY54" fmla="*/ 1037 h 1043"/>
                  <a:gd name="connsiteX55" fmla="*/ 2878 w 4686"/>
                  <a:gd name="connsiteY55" fmla="*/ 1043 h 1043"/>
                  <a:gd name="connsiteX56" fmla="*/ 2870 w 4686"/>
                  <a:gd name="connsiteY56" fmla="*/ 1043 h 1043"/>
                  <a:gd name="connsiteX57" fmla="*/ 2808 w 4686"/>
                  <a:gd name="connsiteY57" fmla="*/ 1039 h 1043"/>
                  <a:gd name="connsiteX58" fmla="*/ 2748 w 4686"/>
                  <a:gd name="connsiteY58" fmla="*/ 1025 h 1043"/>
                  <a:gd name="connsiteX59" fmla="*/ 2695 w 4686"/>
                  <a:gd name="connsiteY59" fmla="*/ 1002 h 1043"/>
                  <a:gd name="connsiteX60" fmla="*/ 2643 w 4686"/>
                  <a:gd name="connsiteY60" fmla="*/ 973 h 1043"/>
                  <a:gd name="connsiteX61" fmla="*/ 2595 w 4686"/>
                  <a:gd name="connsiteY61" fmla="*/ 935 h 1043"/>
                  <a:gd name="connsiteX62" fmla="*/ 2552 w 4686"/>
                  <a:gd name="connsiteY62" fmla="*/ 894 h 1043"/>
                  <a:gd name="connsiteX63" fmla="*/ 2509 w 4686"/>
                  <a:gd name="connsiteY63" fmla="*/ 846 h 1043"/>
                  <a:gd name="connsiteX64" fmla="*/ 2469 w 4686"/>
                  <a:gd name="connsiteY64" fmla="*/ 796 h 1043"/>
                  <a:gd name="connsiteX65" fmla="*/ 2430 w 4686"/>
                  <a:gd name="connsiteY65" fmla="*/ 740 h 1043"/>
                  <a:gd name="connsiteX66" fmla="*/ 2393 w 4686"/>
                  <a:gd name="connsiteY66" fmla="*/ 684 h 1043"/>
                  <a:gd name="connsiteX67" fmla="*/ 2288 w 4686"/>
                  <a:gd name="connsiteY67" fmla="*/ 510 h 1043"/>
                  <a:gd name="connsiteX68" fmla="*/ 2251 w 4686"/>
                  <a:gd name="connsiteY68" fmla="*/ 452 h 1043"/>
                  <a:gd name="connsiteX69" fmla="*/ 2213 w 4686"/>
                  <a:gd name="connsiteY69" fmla="*/ 396 h 1043"/>
                  <a:gd name="connsiteX70" fmla="*/ 2176 w 4686"/>
                  <a:gd name="connsiteY70" fmla="*/ 342 h 1043"/>
                  <a:gd name="connsiteX71" fmla="*/ 2137 w 4686"/>
                  <a:gd name="connsiteY71" fmla="*/ 293 h 1043"/>
                  <a:gd name="connsiteX72" fmla="*/ 2096 w 4686"/>
                  <a:gd name="connsiteY72" fmla="*/ 247 h 1043"/>
                  <a:gd name="connsiteX73" fmla="*/ 2054 w 4686"/>
                  <a:gd name="connsiteY73" fmla="*/ 205 h 1043"/>
                  <a:gd name="connsiteX74" fmla="*/ 2009 w 4686"/>
                  <a:gd name="connsiteY74" fmla="*/ 168 h 1043"/>
                  <a:gd name="connsiteX75" fmla="*/ 1962 w 4686"/>
                  <a:gd name="connsiteY75" fmla="*/ 139 h 1043"/>
                  <a:gd name="connsiteX76" fmla="*/ 1910 w 4686"/>
                  <a:gd name="connsiteY76" fmla="*/ 116 h 1043"/>
                  <a:gd name="connsiteX77" fmla="*/ 1854 w 4686"/>
                  <a:gd name="connsiteY77" fmla="*/ 100 h 1043"/>
                  <a:gd name="connsiteX78" fmla="*/ 1796 w 4686"/>
                  <a:gd name="connsiteY78" fmla="*/ 91 h 1043"/>
                  <a:gd name="connsiteX79" fmla="*/ 1732 w 4686"/>
                  <a:gd name="connsiteY79" fmla="*/ 93 h 1043"/>
                  <a:gd name="connsiteX80" fmla="*/ 1664 w 4686"/>
                  <a:gd name="connsiteY80" fmla="*/ 104 h 1043"/>
                  <a:gd name="connsiteX81" fmla="*/ 1602 w 4686"/>
                  <a:gd name="connsiteY81" fmla="*/ 122 h 1043"/>
                  <a:gd name="connsiteX82" fmla="*/ 1545 w 4686"/>
                  <a:gd name="connsiteY82" fmla="*/ 147 h 1043"/>
                  <a:gd name="connsiteX83" fmla="*/ 1491 w 4686"/>
                  <a:gd name="connsiteY83" fmla="*/ 181 h 1043"/>
                  <a:gd name="connsiteX84" fmla="*/ 1439 w 4686"/>
                  <a:gd name="connsiteY84" fmla="*/ 218 h 1043"/>
                  <a:gd name="connsiteX85" fmla="*/ 1394 w 4686"/>
                  <a:gd name="connsiteY85" fmla="*/ 261 h 1043"/>
                  <a:gd name="connsiteX86" fmla="*/ 1348 w 4686"/>
                  <a:gd name="connsiteY86" fmla="*/ 307 h 1043"/>
                  <a:gd name="connsiteX87" fmla="*/ 1307 w 4686"/>
                  <a:gd name="connsiteY87" fmla="*/ 359 h 1043"/>
                  <a:gd name="connsiteX88" fmla="*/ 1268 w 4686"/>
                  <a:gd name="connsiteY88" fmla="*/ 413 h 1043"/>
                  <a:gd name="connsiteX89" fmla="*/ 1231 w 4686"/>
                  <a:gd name="connsiteY89" fmla="*/ 467 h 1043"/>
                  <a:gd name="connsiteX90" fmla="*/ 1194 w 4686"/>
                  <a:gd name="connsiteY90" fmla="*/ 523 h 1043"/>
                  <a:gd name="connsiteX91" fmla="*/ 1156 w 4686"/>
                  <a:gd name="connsiteY91" fmla="*/ 581 h 1043"/>
                  <a:gd name="connsiteX92" fmla="*/ 1121 w 4686"/>
                  <a:gd name="connsiteY92" fmla="*/ 637 h 1043"/>
                  <a:gd name="connsiteX93" fmla="*/ 1047 w 4686"/>
                  <a:gd name="connsiteY93" fmla="*/ 749 h 1043"/>
                  <a:gd name="connsiteX94" fmla="*/ 1008 w 4686"/>
                  <a:gd name="connsiteY94" fmla="*/ 801 h 1043"/>
                  <a:gd name="connsiteX95" fmla="*/ 966 w 4686"/>
                  <a:gd name="connsiteY95" fmla="*/ 850 h 1043"/>
                  <a:gd name="connsiteX96" fmla="*/ 923 w 4686"/>
                  <a:gd name="connsiteY96" fmla="*/ 896 h 1043"/>
                  <a:gd name="connsiteX97" fmla="*/ 876 w 4686"/>
                  <a:gd name="connsiteY97" fmla="*/ 937 h 1043"/>
                  <a:gd name="connsiteX98" fmla="*/ 826 w 4686"/>
                  <a:gd name="connsiteY98" fmla="*/ 973 h 1043"/>
                  <a:gd name="connsiteX99" fmla="*/ 772 w 4686"/>
                  <a:gd name="connsiteY99" fmla="*/ 1002 h 1043"/>
                  <a:gd name="connsiteX100" fmla="*/ 717 w 4686"/>
                  <a:gd name="connsiteY100" fmla="*/ 1025 h 1043"/>
                  <a:gd name="connsiteX101" fmla="*/ 653 w 4686"/>
                  <a:gd name="connsiteY101" fmla="*/ 1037 h 1043"/>
                  <a:gd name="connsiteX102" fmla="*/ 587 w 4686"/>
                  <a:gd name="connsiteY102" fmla="*/ 1043 h 1043"/>
                  <a:gd name="connsiteX103" fmla="*/ 580 w 4686"/>
                  <a:gd name="connsiteY103" fmla="*/ 1043 h 1043"/>
                  <a:gd name="connsiteX104" fmla="*/ 512 w 4686"/>
                  <a:gd name="connsiteY104" fmla="*/ 1039 h 1043"/>
                  <a:gd name="connsiteX105" fmla="*/ 450 w 4686"/>
                  <a:gd name="connsiteY105" fmla="*/ 1027 h 1043"/>
                  <a:gd name="connsiteX106" fmla="*/ 392 w 4686"/>
                  <a:gd name="connsiteY106" fmla="*/ 1008 h 1043"/>
                  <a:gd name="connsiteX107" fmla="*/ 341 w 4686"/>
                  <a:gd name="connsiteY107" fmla="*/ 983 h 1043"/>
                  <a:gd name="connsiteX108" fmla="*/ 293 w 4686"/>
                  <a:gd name="connsiteY108" fmla="*/ 952 h 1043"/>
                  <a:gd name="connsiteX109" fmla="*/ 248 w 4686"/>
                  <a:gd name="connsiteY109" fmla="*/ 915 h 1043"/>
                  <a:gd name="connsiteX110" fmla="*/ 207 w 4686"/>
                  <a:gd name="connsiteY110" fmla="*/ 873 h 1043"/>
                  <a:gd name="connsiteX111" fmla="*/ 169 w 4686"/>
                  <a:gd name="connsiteY111" fmla="*/ 828 h 1043"/>
                  <a:gd name="connsiteX112" fmla="*/ 132 w 4686"/>
                  <a:gd name="connsiteY112" fmla="*/ 780 h 1043"/>
                  <a:gd name="connsiteX113" fmla="*/ 99 w 4686"/>
                  <a:gd name="connsiteY113" fmla="*/ 728 h 1043"/>
                  <a:gd name="connsiteX114" fmla="*/ 64 w 4686"/>
                  <a:gd name="connsiteY114" fmla="*/ 674 h 1043"/>
                  <a:gd name="connsiteX115" fmla="*/ 33 w 4686"/>
                  <a:gd name="connsiteY115" fmla="*/ 618 h 1043"/>
                  <a:gd name="connsiteX116" fmla="*/ 0 w 4686"/>
                  <a:gd name="connsiteY116" fmla="*/ 560 h 1043"/>
                  <a:gd name="connsiteX117" fmla="*/ 77 w 4686"/>
                  <a:gd name="connsiteY117" fmla="*/ 516 h 1043"/>
                  <a:gd name="connsiteX118" fmla="*/ 110 w 4686"/>
                  <a:gd name="connsiteY118" fmla="*/ 575 h 1043"/>
                  <a:gd name="connsiteX119" fmla="*/ 143 w 4686"/>
                  <a:gd name="connsiteY119" fmla="*/ 631 h 1043"/>
                  <a:gd name="connsiteX120" fmla="*/ 176 w 4686"/>
                  <a:gd name="connsiteY120" fmla="*/ 684 h 1043"/>
                  <a:gd name="connsiteX121" fmla="*/ 209 w 4686"/>
                  <a:gd name="connsiteY121" fmla="*/ 736 h 1043"/>
                  <a:gd name="connsiteX122" fmla="*/ 244 w 4686"/>
                  <a:gd name="connsiteY122" fmla="*/ 782 h 1043"/>
                  <a:gd name="connsiteX123" fmla="*/ 281 w 4686"/>
                  <a:gd name="connsiteY123" fmla="*/ 825 h 1043"/>
                  <a:gd name="connsiteX124" fmla="*/ 322 w 4686"/>
                  <a:gd name="connsiteY124" fmla="*/ 863 h 1043"/>
                  <a:gd name="connsiteX125" fmla="*/ 366 w 4686"/>
                  <a:gd name="connsiteY125" fmla="*/ 894 h 1043"/>
                  <a:gd name="connsiteX126" fmla="*/ 413 w 4686"/>
                  <a:gd name="connsiteY126" fmla="*/ 921 h 1043"/>
                  <a:gd name="connsiteX127" fmla="*/ 463 w 4686"/>
                  <a:gd name="connsiteY127" fmla="*/ 940 h 1043"/>
                  <a:gd name="connsiteX128" fmla="*/ 518 w 4686"/>
                  <a:gd name="connsiteY128" fmla="*/ 952 h 1043"/>
                  <a:gd name="connsiteX129" fmla="*/ 580 w 4686"/>
                  <a:gd name="connsiteY129" fmla="*/ 956 h 1043"/>
                  <a:gd name="connsiteX130" fmla="*/ 587 w 4686"/>
                  <a:gd name="connsiteY130" fmla="*/ 956 h 1043"/>
                  <a:gd name="connsiteX131" fmla="*/ 646 w 4686"/>
                  <a:gd name="connsiteY131" fmla="*/ 950 h 1043"/>
                  <a:gd name="connsiteX132" fmla="*/ 702 w 4686"/>
                  <a:gd name="connsiteY132" fmla="*/ 935 h 1043"/>
                  <a:gd name="connsiteX133" fmla="*/ 756 w 4686"/>
                  <a:gd name="connsiteY133" fmla="*/ 913 h 1043"/>
                  <a:gd name="connsiteX134" fmla="*/ 803 w 4686"/>
                  <a:gd name="connsiteY134" fmla="*/ 884 h 1043"/>
                  <a:gd name="connsiteX135" fmla="*/ 849 w 4686"/>
                  <a:gd name="connsiteY135" fmla="*/ 846 h 1043"/>
                  <a:gd name="connsiteX136" fmla="*/ 892 w 4686"/>
                  <a:gd name="connsiteY136" fmla="*/ 803 h 1043"/>
                  <a:gd name="connsiteX137" fmla="*/ 931 w 4686"/>
                  <a:gd name="connsiteY137" fmla="*/ 755 h 1043"/>
                  <a:gd name="connsiteX138" fmla="*/ 971 w 4686"/>
                  <a:gd name="connsiteY138" fmla="*/ 703 h 1043"/>
                  <a:gd name="connsiteX139" fmla="*/ 1010 w 4686"/>
                  <a:gd name="connsiteY139" fmla="*/ 649 h 1043"/>
                  <a:gd name="connsiteX140" fmla="*/ 1121 w 4686"/>
                  <a:gd name="connsiteY140" fmla="*/ 475 h 1043"/>
                  <a:gd name="connsiteX141" fmla="*/ 1161 w 4686"/>
                  <a:gd name="connsiteY141" fmla="*/ 415 h 1043"/>
                  <a:gd name="connsiteX142" fmla="*/ 1202 w 4686"/>
                  <a:gd name="connsiteY142" fmla="*/ 357 h 1043"/>
                  <a:gd name="connsiteX143" fmla="*/ 1245 w 4686"/>
                  <a:gd name="connsiteY143" fmla="*/ 299 h 1043"/>
                  <a:gd name="connsiteX144" fmla="*/ 1291 w 4686"/>
                  <a:gd name="connsiteY144" fmla="*/ 245 h 1043"/>
                  <a:gd name="connsiteX145" fmla="*/ 1338 w 4686"/>
                  <a:gd name="connsiteY145" fmla="*/ 193 h 1043"/>
                  <a:gd name="connsiteX146" fmla="*/ 1392 w 4686"/>
                  <a:gd name="connsiteY146" fmla="*/ 145 h 1043"/>
                  <a:gd name="connsiteX147" fmla="*/ 1447 w 4686"/>
                  <a:gd name="connsiteY147" fmla="*/ 104 h 1043"/>
                  <a:gd name="connsiteX148" fmla="*/ 1509 w 4686"/>
                  <a:gd name="connsiteY148" fmla="*/ 69 h 1043"/>
                  <a:gd name="connsiteX149" fmla="*/ 1575 w 4686"/>
                  <a:gd name="connsiteY149" fmla="*/ 40 h 1043"/>
                  <a:gd name="connsiteX150" fmla="*/ 1648 w 4686"/>
                  <a:gd name="connsiteY150" fmla="*/ 19 h 1043"/>
                  <a:gd name="connsiteX151" fmla="*/ 1726 w 4686"/>
                  <a:gd name="connsiteY151" fmla="*/ 6 h 1043"/>
                  <a:gd name="connsiteX152" fmla="*/ 1796 w 4686"/>
                  <a:gd name="connsiteY152" fmla="*/ 4 h 1043"/>
                  <a:gd name="connsiteX153" fmla="*/ 1862 w 4686"/>
                  <a:gd name="connsiteY153" fmla="*/ 13 h 1043"/>
                  <a:gd name="connsiteX154" fmla="*/ 1922 w 4686"/>
                  <a:gd name="connsiteY154" fmla="*/ 27 h 1043"/>
                  <a:gd name="connsiteX155" fmla="*/ 1980 w 4686"/>
                  <a:gd name="connsiteY155" fmla="*/ 50 h 1043"/>
                  <a:gd name="connsiteX156" fmla="*/ 2034 w 4686"/>
                  <a:gd name="connsiteY156" fmla="*/ 81 h 1043"/>
                  <a:gd name="connsiteX157" fmla="*/ 2083 w 4686"/>
                  <a:gd name="connsiteY157" fmla="*/ 116 h 1043"/>
                  <a:gd name="connsiteX158" fmla="*/ 2129 w 4686"/>
                  <a:gd name="connsiteY158" fmla="*/ 158 h 1043"/>
                  <a:gd name="connsiteX159" fmla="*/ 2174 w 4686"/>
                  <a:gd name="connsiteY159" fmla="*/ 203 h 1043"/>
                  <a:gd name="connsiteX160" fmla="*/ 2216 w 4686"/>
                  <a:gd name="connsiteY160" fmla="*/ 251 h 1043"/>
                  <a:gd name="connsiteX161" fmla="*/ 2255 w 4686"/>
                  <a:gd name="connsiteY161" fmla="*/ 303 h 1043"/>
                  <a:gd name="connsiteX162" fmla="*/ 2292 w 4686"/>
                  <a:gd name="connsiteY162" fmla="*/ 357 h 1043"/>
                  <a:gd name="connsiteX163" fmla="*/ 2327 w 4686"/>
                  <a:gd name="connsiteY163" fmla="*/ 413 h 1043"/>
                  <a:gd name="connsiteX164" fmla="*/ 2362 w 4686"/>
                  <a:gd name="connsiteY164" fmla="*/ 467 h 1043"/>
                  <a:gd name="connsiteX165" fmla="*/ 2395 w 4686"/>
                  <a:gd name="connsiteY165" fmla="*/ 523 h 1043"/>
                  <a:gd name="connsiteX166" fmla="*/ 2432 w 4686"/>
                  <a:gd name="connsiteY166" fmla="*/ 585 h 1043"/>
                  <a:gd name="connsiteX167" fmla="*/ 2469 w 4686"/>
                  <a:gd name="connsiteY167" fmla="*/ 643 h 1043"/>
                  <a:gd name="connsiteX168" fmla="*/ 2509 w 4686"/>
                  <a:gd name="connsiteY168" fmla="*/ 701 h 1043"/>
                  <a:gd name="connsiteX169" fmla="*/ 2546 w 4686"/>
                  <a:gd name="connsiteY169" fmla="*/ 755 h 1043"/>
                  <a:gd name="connsiteX170" fmla="*/ 2587 w 4686"/>
                  <a:gd name="connsiteY170" fmla="*/ 805 h 1043"/>
                  <a:gd name="connsiteX171" fmla="*/ 2628 w 4686"/>
                  <a:gd name="connsiteY171" fmla="*/ 848 h 1043"/>
                  <a:gd name="connsiteX172" fmla="*/ 2672 w 4686"/>
                  <a:gd name="connsiteY172" fmla="*/ 886 h 1043"/>
                  <a:gd name="connsiteX173" fmla="*/ 2717 w 4686"/>
                  <a:gd name="connsiteY173" fmla="*/ 917 h 1043"/>
                  <a:gd name="connsiteX174" fmla="*/ 2767 w 4686"/>
                  <a:gd name="connsiteY174" fmla="*/ 940 h 1043"/>
                  <a:gd name="connsiteX175" fmla="*/ 2820 w 4686"/>
                  <a:gd name="connsiteY175" fmla="*/ 952 h 1043"/>
                  <a:gd name="connsiteX176" fmla="*/ 2876 w 4686"/>
                  <a:gd name="connsiteY176" fmla="*/ 956 h 1043"/>
                  <a:gd name="connsiteX177" fmla="*/ 2932 w 4686"/>
                  <a:gd name="connsiteY177" fmla="*/ 950 h 1043"/>
                  <a:gd name="connsiteX178" fmla="*/ 2982 w 4686"/>
                  <a:gd name="connsiteY178" fmla="*/ 935 h 1043"/>
                  <a:gd name="connsiteX179" fmla="*/ 3029 w 4686"/>
                  <a:gd name="connsiteY179" fmla="*/ 915 h 1043"/>
                  <a:gd name="connsiteX180" fmla="*/ 3072 w 4686"/>
                  <a:gd name="connsiteY180" fmla="*/ 884 h 1043"/>
                  <a:gd name="connsiteX181" fmla="*/ 3112 w 4686"/>
                  <a:gd name="connsiteY181" fmla="*/ 848 h 1043"/>
                  <a:gd name="connsiteX182" fmla="*/ 3149 w 4686"/>
                  <a:gd name="connsiteY182" fmla="*/ 807 h 1043"/>
                  <a:gd name="connsiteX183" fmla="*/ 3184 w 4686"/>
                  <a:gd name="connsiteY183" fmla="*/ 759 h 1043"/>
                  <a:gd name="connsiteX184" fmla="*/ 3217 w 4686"/>
                  <a:gd name="connsiteY184" fmla="*/ 709 h 1043"/>
                  <a:gd name="connsiteX185" fmla="*/ 3250 w 4686"/>
                  <a:gd name="connsiteY185" fmla="*/ 655 h 1043"/>
                  <a:gd name="connsiteX186" fmla="*/ 3283 w 4686"/>
                  <a:gd name="connsiteY186" fmla="*/ 597 h 1043"/>
                  <a:gd name="connsiteX187" fmla="*/ 3316 w 4686"/>
                  <a:gd name="connsiteY187" fmla="*/ 537 h 1043"/>
                  <a:gd name="connsiteX188" fmla="*/ 3345 w 4686"/>
                  <a:gd name="connsiteY188" fmla="*/ 483 h 1043"/>
                  <a:gd name="connsiteX189" fmla="*/ 3407 w 4686"/>
                  <a:gd name="connsiteY189" fmla="*/ 375 h 1043"/>
                  <a:gd name="connsiteX190" fmla="*/ 3477 w 4686"/>
                  <a:gd name="connsiteY190" fmla="*/ 272 h 1043"/>
                  <a:gd name="connsiteX191" fmla="*/ 3514 w 4686"/>
                  <a:gd name="connsiteY191" fmla="*/ 224 h 1043"/>
                  <a:gd name="connsiteX192" fmla="*/ 3555 w 4686"/>
                  <a:gd name="connsiteY192" fmla="*/ 178 h 1043"/>
                  <a:gd name="connsiteX193" fmla="*/ 3599 w 4686"/>
                  <a:gd name="connsiteY193" fmla="*/ 137 h 1043"/>
                  <a:gd name="connsiteX194" fmla="*/ 3646 w 4686"/>
                  <a:gd name="connsiteY194" fmla="*/ 100 h 1043"/>
                  <a:gd name="connsiteX195" fmla="*/ 3698 w 4686"/>
                  <a:gd name="connsiteY195" fmla="*/ 66 h 1043"/>
                  <a:gd name="connsiteX196" fmla="*/ 3756 w 4686"/>
                  <a:gd name="connsiteY196" fmla="*/ 40 h 1043"/>
                  <a:gd name="connsiteX197" fmla="*/ 3816 w 4686"/>
                  <a:gd name="connsiteY197" fmla="*/ 19 h 1043"/>
                  <a:gd name="connsiteX198" fmla="*/ 3882 w 4686"/>
                  <a:gd name="connsiteY198" fmla="*/ 6 h 1043"/>
                  <a:gd name="connsiteX199" fmla="*/ 3954 w 4686"/>
                  <a:gd name="connsiteY199" fmla="*/ 0 h 1043"/>
                  <a:gd name="connsiteX0" fmla="*/ 3954 w 4681"/>
                  <a:gd name="connsiteY0" fmla="*/ 0 h 1043"/>
                  <a:gd name="connsiteX1" fmla="*/ 4004 w 4681"/>
                  <a:gd name="connsiteY1" fmla="*/ 0 h 1043"/>
                  <a:gd name="connsiteX2" fmla="*/ 4032 w 4681"/>
                  <a:gd name="connsiteY2" fmla="*/ 4 h 1043"/>
                  <a:gd name="connsiteX3" fmla="*/ 4063 w 4681"/>
                  <a:gd name="connsiteY3" fmla="*/ 13 h 1043"/>
                  <a:gd name="connsiteX4" fmla="*/ 4101 w 4681"/>
                  <a:gd name="connsiteY4" fmla="*/ 23 h 1043"/>
                  <a:gd name="connsiteX5" fmla="*/ 4142 w 4681"/>
                  <a:gd name="connsiteY5" fmla="*/ 40 h 1043"/>
                  <a:gd name="connsiteX6" fmla="*/ 4185 w 4681"/>
                  <a:gd name="connsiteY6" fmla="*/ 60 h 1043"/>
                  <a:gd name="connsiteX7" fmla="*/ 4233 w 4681"/>
                  <a:gd name="connsiteY7" fmla="*/ 89 h 1043"/>
                  <a:gd name="connsiteX8" fmla="*/ 4282 w 4681"/>
                  <a:gd name="connsiteY8" fmla="*/ 125 h 1043"/>
                  <a:gd name="connsiteX9" fmla="*/ 4332 w 4681"/>
                  <a:gd name="connsiteY9" fmla="*/ 170 h 1043"/>
                  <a:gd name="connsiteX10" fmla="*/ 4383 w 4681"/>
                  <a:gd name="connsiteY10" fmla="*/ 224 h 1043"/>
                  <a:gd name="connsiteX11" fmla="*/ 4435 w 4681"/>
                  <a:gd name="connsiteY11" fmla="*/ 286 h 1043"/>
                  <a:gd name="connsiteX12" fmla="*/ 4487 w 4681"/>
                  <a:gd name="connsiteY12" fmla="*/ 361 h 1043"/>
                  <a:gd name="connsiteX13" fmla="*/ 4538 w 4681"/>
                  <a:gd name="connsiteY13" fmla="*/ 448 h 1043"/>
                  <a:gd name="connsiteX14" fmla="*/ 4590 w 4681"/>
                  <a:gd name="connsiteY14" fmla="*/ 548 h 1043"/>
                  <a:gd name="connsiteX15" fmla="*/ 4635 w 4681"/>
                  <a:gd name="connsiteY15" fmla="*/ 633 h 1043"/>
                  <a:gd name="connsiteX16" fmla="*/ 4681 w 4681"/>
                  <a:gd name="connsiteY16" fmla="*/ 705 h 1043"/>
                  <a:gd name="connsiteX17" fmla="*/ 4611 w 4681"/>
                  <a:gd name="connsiteY17" fmla="*/ 755 h 1043"/>
                  <a:gd name="connsiteX18" fmla="*/ 4561 w 4681"/>
                  <a:gd name="connsiteY18" fmla="*/ 676 h 1043"/>
                  <a:gd name="connsiteX19" fmla="*/ 4513 w 4681"/>
                  <a:gd name="connsiteY19" fmla="*/ 583 h 1043"/>
                  <a:gd name="connsiteX20" fmla="*/ 4464 w 4681"/>
                  <a:gd name="connsiteY20" fmla="*/ 487 h 1043"/>
                  <a:gd name="connsiteX21" fmla="*/ 4414 w 4681"/>
                  <a:gd name="connsiteY21" fmla="*/ 404 h 1043"/>
                  <a:gd name="connsiteX22" fmla="*/ 4365 w 4681"/>
                  <a:gd name="connsiteY22" fmla="*/ 336 h 1043"/>
                  <a:gd name="connsiteX23" fmla="*/ 4315 w 4681"/>
                  <a:gd name="connsiteY23" fmla="*/ 276 h 1043"/>
                  <a:gd name="connsiteX24" fmla="*/ 4268 w 4681"/>
                  <a:gd name="connsiteY24" fmla="*/ 228 h 1043"/>
                  <a:gd name="connsiteX25" fmla="*/ 4222 w 4681"/>
                  <a:gd name="connsiteY25" fmla="*/ 189 h 1043"/>
                  <a:gd name="connsiteX26" fmla="*/ 4181 w 4681"/>
                  <a:gd name="connsiteY26" fmla="*/ 158 h 1043"/>
                  <a:gd name="connsiteX27" fmla="*/ 4142 w 4681"/>
                  <a:gd name="connsiteY27" fmla="*/ 135 h 1043"/>
                  <a:gd name="connsiteX28" fmla="*/ 4092 w 4681"/>
                  <a:gd name="connsiteY28" fmla="*/ 112 h 1043"/>
                  <a:gd name="connsiteX29" fmla="*/ 4049 w 4681"/>
                  <a:gd name="connsiteY29" fmla="*/ 98 h 1043"/>
                  <a:gd name="connsiteX30" fmla="*/ 4014 w 4681"/>
                  <a:gd name="connsiteY30" fmla="*/ 89 h 1043"/>
                  <a:gd name="connsiteX31" fmla="*/ 3985 w 4681"/>
                  <a:gd name="connsiteY31" fmla="*/ 87 h 1043"/>
                  <a:gd name="connsiteX32" fmla="*/ 3958 w 4681"/>
                  <a:gd name="connsiteY32" fmla="*/ 87 h 1043"/>
                  <a:gd name="connsiteX33" fmla="*/ 3892 w 4681"/>
                  <a:gd name="connsiteY33" fmla="*/ 93 h 1043"/>
                  <a:gd name="connsiteX34" fmla="*/ 3830 w 4681"/>
                  <a:gd name="connsiteY34" fmla="*/ 106 h 1043"/>
                  <a:gd name="connsiteX35" fmla="*/ 3774 w 4681"/>
                  <a:gd name="connsiteY35" fmla="*/ 127 h 1043"/>
                  <a:gd name="connsiteX36" fmla="*/ 3723 w 4681"/>
                  <a:gd name="connsiteY36" fmla="*/ 154 h 1043"/>
                  <a:gd name="connsiteX37" fmla="*/ 3675 w 4681"/>
                  <a:gd name="connsiteY37" fmla="*/ 187 h 1043"/>
                  <a:gd name="connsiteX38" fmla="*/ 3632 w 4681"/>
                  <a:gd name="connsiteY38" fmla="*/ 224 h 1043"/>
                  <a:gd name="connsiteX39" fmla="*/ 3593 w 4681"/>
                  <a:gd name="connsiteY39" fmla="*/ 268 h 1043"/>
                  <a:gd name="connsiteX40" fmla="*/ 3553 w 4681"/>
                  <a:gd name="connsiteY40" fmla="*/ 313 h 1043"/>
                  <a:gd name="connsiteX41" fmla="*/ 3518 w 4681"/>
                  <a:gd name="connsiteY41" fmla="*/ 363 h 1043"/>
                  <a:gd name="connsiteX42" fmla="*/ 3485 w 4681"/>
                  <a:gd name="connsiteY42" fmla="*/ 415 h 1043"/>
                  <a:gd name="connsiteX43" fmla="*/ 3423 w 4681"/>
                  <a:gd name="connsiteY43" fmla="*/ 523 h 1043"/>
                  <a:gd name="connsiteX44" fmla="*/ 3330 w 4681"/>
                  <a:gd name="connsiteY44" fmla="*/ 691 h 1043"/>
                  <a:gd name="connsiteX45" fmla="*/ 3297 w 4681"/>
                  <a:gd name="connsiteY45" fmla="*/ 747 h 1043"/>
                  <a:gd name="connsiteX46" fmla="*/ 3262 w 4681"/>
                  <a:gd name="connsiteY46" fmla="*/ 799 h 1043"/>
                  <a:gd name="connsiteX47" fmla="*/ 3227 w 4681"/>
                  <a:gd name="connsiteY47" fmla="*/ 848 h 1043"/>
                  <a:gd name="connsiteX48" fmla="*/ 3188 w 4681"/>
                  <a:gd name="connsiteY48" fmla="*/ 894 h 1043"/>
                  <a:gd name="connsiteX49" fmla="*/ 3147 w 4681"/>
                  <a:gd name="connsiteY49" fmla="*/ 935 h 1043"/>
                  <a:gd name="connsiteX50" fmla="*/ 3101 w 4681"/>
                  <a:gd name="connsiteY50" fmla="*/ 971 h 1043"/>
                  <a:gd name="connsiteX51" fmla="*/ 3052 w 4681"/>
                  <a:gd name="connsiteY51" fmla="*/ 1000 h 1043"/>
                  <a:gd name="connsiteX52" fmla="*/ 3000 w 4681"/>
                  <a:gd name="connsiteY52" fmla="*/ 1022 h 1043"/>
                  <a:gd name="connsiteX53" fmla="*/ 2942 w 4681"/>
                  <a:gd name="connsiteY53" fmla="*/ 1037 h 1043"/>
                  <a:gd name="connsiteX54" fmla="*/ 2878 w 4681"/>
                  <a:gd name="connsiteY54" fmla="*/ 1043 h 1043"/>
                  <a:gd name="connsiteX55" fmla="*/ 2870 w 4681"/>
                  <a:gd name="connsiteY55" fmla="*/ 1043 h 1043"/>
                  <a:gd name="connsiteX56" fmla="*/ 2808 w 4681"/>
                  <a:gd name="connsiteY56" fmla="*/ 1039 h 1043"/>
                  <a:gd name="connsiteX57" fmla="*/ 2748 w 4681"/>
                  <a:gd name="connsiteY57" fmla="*/ 1025 h 1043"/>
                  <a:gd name="connsiteX58" fmla="*/ 2695 w 4681"/>
                  <a:gd name="connsiteY58" fmla="*/ 1002 h 1043"/>
                  <a:gd name="connsiteX59" fmla="*/ 2643 w 4681"/>
                  <a:gd name="connsiteY59" fmla="*/ 973 h 1043"/>
                  <a:gd name="connsiteX60" fmla="*/ 2595 w 4681"/>
                  <a:gd name="connsiteY60" fmla="*/ 935 h 1043"/>
                  <a:gd name="connsiteX61" fmla="*/ 2552 w 4681"/>
                  <a:gd name="connsiteY61" fmla="*/ 894 h 1043"/>
                  <a:gd name="connsiteX62" fmla="*/ 2509 w 4681"/>
                  <a:gd name="connsiteY62" fmla="*/ 846 h 1043"/>
                  <a:gd name="connsiteX63" fmla="*/ 2469 w 4681"/>
                  <a:gd name="connsiteY63" fmla="*/ 796 h 1043"/>
                  <a:gd name="connsiteX64" fmla="*/ 2430 w 4681"/>
                  <a:gd name="connsiteY64" fmla="*/ 740 h 1043"/>
                  <a:gd name="connsiteX65" fmla="*/ 2393 w 4681"/>
                  <a:gd name="connsiteY65" fmla="*/ 684 h 1043"/>
                  <a:gd name="connsiteX66" fmla="*/ 2288 w 4681"/>
                  <a:gd name="connsiteY66" fmla="*/ 510 h 1043"/>
                  <a:gd name="connsiteX67" fmla="*/ 2251 w 4681"/>
                  <a:gd name="connsiteY67" fmla="*/ 452 h 1043"/>
                  <a:gd name="connsiteX68" fmla="*/ 2213 w 4681"/>
                  <a:gd name="connsiteY68" fmla="*/ 396 h 1043"/>
                  <a:gd name="connsiteX69" fmla="*/ 2176 w 4681"/>
                  <a:gd name="connsiteY69" fmla="*/ 342 h 1043"/>
                  <a:gd name="connsiteX70" fmla="*/ 2137 w 4681"/>
                  <a:gd name="connsiteY70" fmla="*/ 293 h 1043"/>
                  <a:gd name="connsiteX71" fmla="*/ 2096 w 4681"/>
                  <a:gd name="connsiteY71" fmla="*/ 247 h 1043"/>
                  <a:gd name="connsiteX72" fmla="*/ 2054 w 4681"/>
                  <a:gd name="connsiteY72" fmla="*/ 205 h 1043"/>
                  <a:gd name="connsiteX73" fmla="*/ 2009 w 4681"/>
                  <a:gd name="connsiteY73" fmla="*/ 168 h 1043"/>
                  <a:gd name="connsiteX74" fmla="*/ 1962 w 4681"/>
                  <a:gd name="connsiteY74" fmla="*/ 139 h 1043"/>
                  <a:gd name="connsiteX75" fmla="*/ 1910 w 4681"/>
                  <a:gd name="connsiteY75" fmla="*/ 116 h 1043"/>
                  <a:gd name="connsiteX76" fmla="*/ 1854 w 4681"/>
                  <a:gd name="connsiteY76" fmla="*/ 100 h 1043"/>
                  <a:gd name="connsiteX77" fmla="*/ 1796 w 4681"/>
                  <a:gd name="connsiteY77" fmla="*/ 91 h 1043"/>
                  <a:gd name="connsiteX78" fmla="*/ 1732 w 4681"/>
                  <a:gd name="connsiteY78" fmla="*/ 93 h 1043"/>
                  <a:gd name="connsiteX79" fmla="*/ 1664 w 4681"/>
                  <a:gd name="connsiteY79" fmla="*/ 104 h 1043"/>
                  <a:gd name="connsiteX80" fmla="*/ 1602 w 4681"/>
                  <a:gd name="connsiteY80" fmla="*/ 122 h 1043"/>
                  <a:gd name="connsiteX81" fmla="*/ 1545 w 4681"/>
                  <a:gd name="connsiteY81" fmla="*/ 147 h 1043"/>
                  <a:gd name="connsiteX82" fmla="*/ 1491 w 4681"/>
                  <a:gd name="connsiteY82" fmla="*/ 181 h 1043"/>
                  <a:gd name="connsiteX83" fmla="*/ 1439 w 4681"/>
                  <a:gd name="connsiteY83" fmla="*/ 218 h 1043"/>
                  <a:gd name="connsiteX84" fmla="*/ 1394 w 4681"/>
                  <a:gd name="connsiteY84" fmla="*/ 261 h 1043"/>
                  <a:gd name="connsiteX85" fmla="*/ 1348 w 4681"/>
                  <a:gd name="connsiteY85" fmla="*/ 307 h 1043"/>
                  <a:gd name="connsiteX86" fmla="*/ 1307 w 4681"/>
                  <a:gd name="connsiteY86" fmla="*/ 359 h 1043"/>
                  <a:gd name="connsiteX87" fmla="*/ 1268 w 4681"/>
                  <a:gd name="connsiteY87" fmla="*/ 413 h 1043"/>
                  <a:gd name="connsiteX88" fmla="*/ 1231 w 4681"/>
                  <a:gd name="connsiteY88" fmla="*/ 467 h 1043"/>
                  <a:gd name="connsiteX89" fmla="*/ 1194 w 4681"/>
                  <a:gd name="connsiteY89" fmla="*/ 523 h 1043"/>
                  <a:gd name="connsiteX90" fmla="*/ 1156 w 4681"/>
                  <a:gd name="connsiteY90" fmla="*/ 581 h 1043"/>
                  <a:gd name="connsiteX91" fmla="*/ 1121 w 4681"/>
                  <a:gd name="connsiteY91" fmla="*/ 637 h 1043"/>
                  <a:gd name="connsiteX92" fmla="*/ 1047 w 4681"/>
                  <a:gd name="connsiteY92" fmla="*/ 749 h 1043"/>
                  <a:gd name="connsiteX93" fmla="*/ 1008 w 4681"/>
                  <a:gd name="connsiteY93" fmla="*/ 801 h 1043"/>
                  <a:gd name="connsiteX94" fmla="*/ 966 w 4681"/>
                  <a:gd name="connsiteY94" fmla="*/ 850 h 1043"/>
                  <a:gd name="connsiteX95" fmla="*/ 923 w 4681"/>
                  <a:gd name="connsiteY95" fmla="*/ 896 h 1043"/>
                  <a:gd name="connsiteX96" fmla="*/ 876 w 4681"/>
                  <a:gd name="connsiteY96" fmla="*/ 937 h 1043"/>
                  <a:gd name="connsiteX97" fmla="*/ 826 w 4681"/>
                  <a:gd name="connsiteY97" fmla="*/ 973 h 1043"/>
                  <a:gd name="connsiteX98" fmla="*/ 772 w 4681"/>
                  <a:gd name="connsiteY98" fmla="*/ 1002 h 1043"/>
                  <a:gd name="connsiteX99" fmla="*/ 717 w 4681"/>
                  <a:gd name="connsiteY99" fmla="*/ 1025 h 1043"/>
                  <a:gd name="connsiteX100" fmla="*/ 653 w 4681"/>
                  <a:gd name="connsiteY100" fmla="*/ 1037 h 1043"/>
                  <a:gd name="connsiteX101" fmla="*/ 587 w 4681"/>
                  <a:gd name="connsiteY101" fmla="*/ 1043 h 1043"/>
                  <a:gd name="connsiteX102" fmla="*/ 580 w 4681"/>
                  <a:gd name="connsiteY102" fmla="*/ 1043 h 1043"/>
                  <a:gd name="connsiteX103" fmla="*/ 512 w 4681"/>
                  <a:gd name="connsiteY103" fmla="*/ 1039 h 1043"/>
                  <a:gd name="connsiteX104" fmla="*/ 450 w 4681"/>
                  <a:gd name="connsiteY104" fmla="*/ 1027 h 1043"/>
                  <a:gd name="connsiteX105" fmla="*/ 392 w 4681"/>
                  <a:gd name="connsiteY105" fmla="*/ 1008 h 1043"/>
                  <a:gd name="connsiteX106" fmla="*/ 341 w 4681"/>
                  <a:gd name="connsiteY106" fmla="*/ 983 h 1043"/>
                  <a:gd name="connsiteX107" fmla="*/ 293 w 4681"/>
                  <a:gd name="connsiteY107" fmla="*/ 952 h 1043"/>
                  <a:gd name="connsiteX108" fmla="*/ 248 w 4681"/>
                  <a:gd name="connsiteY108" fmla="*/ 915 h 1043"/>
                  <a:gd name="connsiteX109" fmla="*/ 207 w 4681"/>
                  <a:gd name="connsiteY109" fmla="*/ 873 h 1043"/>
                  <a:gd name="connsiteX110" fmla="*/ 169 w 4681"/>
                  <a:gd name="connsiteY110" fmla="*/ 828 h 1043"/>
                  <a:gd name="connsiteX111" fmla="*/ 132 w 4681"/>
                  <a:gd name="connsiteY111" fmla="*/ 780 h 1043"/>
                  <a:gd name="connsiteX112" fmla="*/ 99 w 4681"/>
                  <a:gd name="connsiteY112" fmla="*/ 728 h 1043"/>
                  <a:gd name="connsiteX113" fmla="*/ 64 w 4681"/>
                  <a:gd name="connsiteY113" fmla="*/ 674 h 1043"/>
                  <a:gd name="connsiteX114" fmla="*/ 33 w 4681"/>
                  <a:gd name="connsiteY114" fmla="*/ 618 h 1043"/>
                  <a:gd name="connsiteX115" fmla="*/ 0 w 4681"/>
                  <a:gd name="connsiteY115" fmla="*/ 560 h 1043"/>
                  <a:gd name="connsiteX116" fmla="*/ 77 w 4681"/>
                  <a:gd name="connsiteY116" fmla="*/ 516 h 1043"/>
                  <a:gd name="connsiteX117" fmla="*/ 110 w 4681"/>
                  <a:gd name="connsiteY117" fmla="*/ 575 h 1043"/>
                  <a:gd name="connsiteX118" fmla="*/ 143 w 4681"/>
                  <a:gd name="connsiteY118" fmla="*/ 631 h 1043"/>
                  <a:gd name="connsiteX119" fmla="*/ 176 w 4681"/>
                  <a:gd name="connsiteY119" fmla="*/ 684 h 1043"/>
                  <a:gd name="connsiteX120" fmla="*/ 209 w 4681"/>
                  <a:gd name="connsiteY120" fmla="*/ 736 h 1043"/>
                  <a:gd name="connsiteX121" fmla="*/ 244 w 4681"/>
                  <a:gd name="connsiteY121" fmla="*/ 782 h 1043"/>
                  <a:gd name="connsiteX122" fmla="*/ 281 w 4681"/>
                  <a:gd name="connsiteY122" fmla="*/ 825 h 1043"/>
                  <a:gd name="connsiteX123" fmla="*/ 322 w 4681"/>
                  <a:gd name="connsiteY123" fmla="*/ 863 h 1043"/>
                  <a:gd name="connsiteX124" fmla="*/ 366 w 4681"/>
                  <a:gd name="connsiteY124" fmla="*/ 894 h 1043"/>
                  <a:gd name="connsiteX125" fmla="*/ 413 w 4681"/>
                  <a:gd name="connsiteY125" fmla="*/ 921 h 1043"/>
                  <a:gd name="connsiteX126" fmla="*/ 463 w 4681"/>
                  <a:gd name="connsiteY126" fmla="*/ 940 h 1043"/>
                  <a:gd name="connsiteX127" fmla="*/ 518 w 4681"/>
                  <a:gd name="connsiteY127" fmla="*/ 952 h 1043"/>
                  <a:gd name="connsiteX128" fmla="*/ 580 w 4681"/>
                  <a:gd name="connsiteY128" fmla="*/ 956 h 1043"/>
                  <a:gd name="connsiteX129" fmla="*/ 587 w 4681"/>
                  <a:gd name="connsiteY129" fmla="*/ 956 h 1043"/>
                  <a:gd name="connsiteX130" fmla="*/ 646 w 4681"/>
                  <a:gd name="connsiteY130" fmla="*/ 950 h 1043"/>
                  <a:gd name="connsiteX131" fmla="*/ 702 w 4681"/>
                  <a:gd name="connsiteY131" fmla="*/ 935 h 1043"/>
                  <a:gd name="connsiteX132" fmla="*/ 756 w 4681"/>
                  <a:gd name="connsiteY132" fmla="*/ 913 h 1043"/>
                  <a:gd name="connsiteX133" fmla="*/ 803 w 4681"/>
                  <a:gd name="connsiteY133" fmla="*/ 884 h 1043"/>
                  <a:gd name="connsiteX134" fmla="*/ 849 w 4681"/>
                  <a:gd name="connsiteY134" fmla="*/ 846 h 1043"/>
                  <a:gd name="connsiteX135" fmla="*/ 892 w 4681"/>
                  <a:gd name="connsiteY135" fmla="*/ 803 h 1043"/>
                  <a:gd name="connsiteX136" fmla="*/ 931 w 4681"/>
                  <a:gd name="connsiteY136" fmla="*/ 755 h 1043"/>
                  <a:gd name="connsiteX137" fmla="*/ 971 w 4681"/>
                  <a:gd name="connsiteY137" fmla="*/ 703 h 1043"/>
                  <a:gd name="connsiteX138" fmla="*/ 1010 w 4681"/>
                  <a:gd name="connsiteY138" fmla="*/ 649 h 1043"/>
                  <a:gd name="connsiteX139" fmla="*/ 1121 w 4681"/>
                  <a:gd name="connsiteY139" fmla="*/ 475 h 1043"/>
                  <a:gd name="connsiteX140" fmla="*/ 1161 w 4681"/>
                  <a:gd name="connsiteY140" fmla="*/ 415 h 1043"/>
                  <a:gd name="connsiteX141" fmla="*/ 1202 w 4681"/>
                  <a:gd name="connsiteY141" fmla="*/ 357 h 1043"/>
                  <a:gd name="connsiteX142" fmla="*/ 1245 w 4681"/>
                  <a:gd name="connsiteY142" fmla="*/ 299 h 1043"/>
                  <a:gd name="connsiteX143" fmla="*/ 1291 w 4681"/>
                  <a:gd name="connsiteY143" fmla="*/ 245 h 1043"/>
                  <a:gd name="connsiteX144" fmla="*/ 1338 w 4681"/>
                  <a:gd name="connsiteY144" fmla="*/ 193 h 1043"/>
                  <a:gd name="connsiteX145" fmla="*/ 1392 w 4681"/>
                  <a:gd name="connsiteY145" fmla="*/ 145 h 1043"/>
                  <a:gd name="connsiteX146" fmla="*/ 1447 w 4681"/>
                  <a:gd name="connsiteY146" fmla="*/ 104 h 1043"/>
                  <a:gd name="connsiteX147" fmla="*/ 1509 w 4681"/>
                  <a:gd name="connsiteY147" fmla="*/ 69 h 1043"/>
                  <a:gd name="connsiteX148" fmla="*/ 1575 w 4681"/>
                  <a:gd name="connsiteY148" fmla="*/ 40 h 1043"/>
                  <a:gd name="connsiteX149" fmla="*/ 1648 w 4681"/>
                  <a:gd name="connsiteY149" fmla="*/ 19 h 1043"/>
                  <a:gd name="connsiteX150" fmla="*/ 1726 w 4681"/>
                  <a:gd name="connsiteY150" fmla="*/ 6 h 1043"/>
                  <a:gd name="connsiteX151" fmla="*/ 1796 w 4681"/>
                  <a:gd name="connsiteY151" fmla="*/ 4 h 1043"/>
                  <a:gd name="connsiteX152" fmla="*/ 1862 w 4681"/>
                  <a:gd name="connsiteY152" fmla="*/ 13 h 1043"/>
                  <a:gd name="connsiteX153" fmla="*/ 1922 w 4681"/>
                  <a:gd name="connsiteY153" fmla="*/ 27 h 1043"/>
                  <a:gd name="connsiteX154" fmla="*/ 1980 w 4681"/>
                  <a:gd name="connsiteY154" fmla="*/ 50 h 1043"/>
                  <a:gd name="connsiteX155" fmla="*/ 2034 w 4681"/>
                  <a:gd name="connsiteY155" fmla="*/ 81 h 1043"/>
                  <a:gd name="connsiteX156" fmla="*/ 2083 w 4681"/>
                  <a:gd name="connsiteY156" fmla="*/ 116 h 1043"/>
                  <a:gd name="connsiteX157" fmla="*/ 2129 w 4681"/>
                  <a:gd name="connsiteY157" fmla="*/ 158 h 1043"/>
                  <a:gd name="connsiteX158" fmla="*/ 2174 w 4681"/>
                  <a:gd name="connsiteY158" fmla="*/ 203 h 1043"/>
                  <a:gd name="connsiteX159" fmla="*/ 2216 w 4681"/>
                  <a:gd name="connsiteY159" fmla="*/ 251 h 1043"/>
                  <a:gd name="connsiteX160" fmla="*/ 2255 w 4681"/>
                  <a:gd name="connsiteY160" fmla="*/ 303 h 1043"/>
                  <a:gd name="connsiteX161" fmla="*/ 2292 w 4681"/>
                  <a:gd name="connsiteY161" fmla="*/ 357 h 1043"/>
                  <a:gd name="connsiteX162" fmla="*/ 2327 w 4681"/>
                  <a:gd name="connsiteY162" fmla="*/ 413 h 1043"/>
                  <a:gd name="connsiteX163" fmla="*/ 2362 w 4681"/>
                  <a:gd name="connsiteY163" fmla="*/ 467 h 1043"/>
                  <a:gd name="connsiteX164" fmla="*/ 2395 w 4681"/>
                  <a:gd name="connsiteY164" fmla="*/ 523 h 1043"/>
                  <a:gd name="connsiteX165" fmla="*/ 2432 w 4681"/>
                  <a:gd name="connsiteY165" fmla="*/ 585 h 1043"/>
                  <a:gd name="connsiteX166" fmla="*/ 2469 w 4681"/>
                  <a:gd name="connsiteY166" fmla="*/ 643 h 1043"/>
                  <a:gd name="connsiteX167" fmla="*/ 2509 w 4681"/>
                  <a:gd name="connsiteY167" fmla="*/ 701 h 1043"/>
                  <a:gd name="connsiteX168" fmla="*/ 2546 w 4681"/>
                  <a:gd name="connsiteY168" fmla="*/ 755 h 1043"/>
                  <a:gd name="connsiteX169" fmla="*/ 2587 w 4681"/>
                  <a:gd name="connsiteY169" fmla="*/ 805 h 1043"/>
                  <a:gd name="connsiteX170" fmla="*/ 2628 w 4681"/>
                  <a:gd name="connsiteY170" fmla="*/ 848 h 1043"/>
                  <a:gd name="connsiteX171" fmla="*/ 2672 w 4681"/>
                  <a:gd name="connsiteY171" fmla="*/ 886 h 1043"/>
                  <a:gd name="connsiteX172" fmla="*/ 2717 w 4681"/>
                  <a:gd name="connsiteY172" fmla="*/ 917 h 1043"/>
                  <a:gd name="connsiteX173" fmla="*/ 2767 w 4681"/>
                  <a:gd name="connsiteY173" fmla="*/ 940 h 1043"/>
                  <a:gd name="connsiteX174" fmla="*/ 2820 w 4681"/>
                  <a:gd name="connsiteY174" fmla="*/ 952 h 1043"/>
                  <a:gd name="connsiteX175" fmla="*/ 2876 w 4681"/>
                  <a:gd name="connsiteY175" fmla="*/ 956 h 1043"/>
                  <a:gd name="connsiteX176" fmla="*/ 2932 w 4681"/>
                  <a:gd name="connsiteY176" fmla="*/ 950 h 1043"/>
                  <a:gd name="connsiteX177" fmla="*/ 2982 w 4681"/>
                  <a:gd name="connsiteY177" fmla="*/ 935 h 1043"/>
                  <a:gd name="connsiteX178" fmla="*/ 3029 w 4681"/>
                  <a:gd name="connsiteY178" fmla="*/ 915 h 1043"/>
                  <a:gd name="connsiteX179" fmla="*/ 3072 w 4681"/>
                  <a:gd name="connsiteY179" fmla="*/ 884 h 1043"/>
                  <a:gd name="connsiteX180" fmla="*/ 3112 w 4681"/>
                  <a:gd name="connsiteY180" fmla="*/ 848 h 1043"/>
                  <a:gd name="connsiteX181" fmla="*/ 3149 w 4681"/>
                  <a:gd name="connsiteY181" fmla="*/ 807 h 1043"/>
                  <a:gd name="connsiteX182" fmla="*/ 3184 w 4681"/>
                  <a:gd name="connsiteY182" fmla="*/ 759 h 1043"/>
                  <a:gd name="connsiteX183" fmla="*/ 3217 w 4681"/>
                  <a:gd name="connsiteY183" fmla="*/ 709 h 1043"/>
                  <a:gd name="connsiteX184" fmla="*/ 3250 w 4681"/>
                  <a:gd name="connsiteY184" fmla="*/ 655 h 1043"/>
                  <a:gd name="connsiteX185" fmla="*/ 3283 w 4681"/>
                  <a:gd name="connsiteY185" fmla="*/ 597 h 1043"/>
                  <a:gd name="connsiteX186" fmla="*/ 3316 w 4681"/>
                  <a:gd name="connsiteY186" fmla="*/ 537 h 1043"/>
                  <a:gd name="connsiteX187" fmla="*/ 3345 w 4681"/>
                  <a:gd name="connsiteY187" fmla="*/ 483 h 1043"/>
                  <a:gd name="connsiteX188" fmla="*/ 3407 w 4681"/>
                  <a:gd name="connsiteY188" fmla="*/ 375 h 1043"/>
                  <a:gd name="connsiteX189" fmla="*/ 3477 w 4681"/>
                  <a:gd name="connsiteY189" fmla="*/ 272 h 1043"/>
                  <a:gd name="connsiteX190" fmla="*/ 3514 w 4681"/>
                  <a:gd name="connsiteY190" fmla="*/ 224 h 1043"/>
                  <a:gd name="connsiteX191" fmla="*/ 3555 w 4681"/>
                  <a:gd name="connsiteY191" fmla="*/ 178 h 1043"/>
                  <a:gd name="connsiteX192" fmla="*/ 3599 w 4681"/>
                  <a:gd name="connsiteY192" fmla="*/ 137 h 1043"/>
                  <a:gd name="connsiteX193" fmla="*/ 3646 w 4681"/>
                  <a:gd name="connsiteY193" fmla="*/ 100 h 1043"/>
                  <a:gd name="connsiteX194" fmla="*/ 3698 w 4681"/>
                  <a:gd name="connsiteY194" fmla="*/ 66 h 1043"/>
                  <a:gd name="connsiteX195" fmla="*/ 3756 w 4681"/>
                  <a:gd name="connsiteY195" fmla="*/ 40 h 1043"/>
                  <a:gd name="connsiteX196" fmla="*/ 3816 w 4681"/>
                  <a:gd name="connsiteY196" fmla="*/ 19 h 1043"/>
                  <a:gd name="connsiteX197" fmla="*/ 3882 w 4681"/>
                  <a:gd name="connsiteY197" fmla="*/ 6 h 1043"/>
                  <a:gd name="connsiteX198" fmla="*/ 3954 w 4681"/>
                  <a:gd name="connsiteY198" fmla="*/ 0 h 1043"/>
                  <a:gd name="connsiteX0" fmla="*/ 3954 w 4681"/>
                  <a:gd name="connsiteY0" fmla="*/ 0 h 1043"/>
                  <a:gd name="connsiteX1" fmla="*/ 4004 w 4681"/>
                  <a:gd name="connsiteY1" fmla="*/ 0 h 1043"/>
                  <a:gd name="connsiteX2" fmla="*/ 4032 w 4681"/>
                  <a:gd name="connsiteY2" fmla="*/ 4 h 1043"/>
                  <a:gd name="connsiteX3" fmla="*/ 4063 w 4681"/>
                  <a:gd name="connsiteY3" fmla="*/ 13 h 1043"/>
                  <a:gd name="connsiteX4" fmla="*/ 4101 w 4681"/>
                  <a:gd name="connsiteY4" fmla="*/ 23 h 1043"/>
                  <a:gd name="connsiteX5" fmla="*/ 4142 w 4681"/>
                  <a:gd name="connsiteY5" fmla="*/ 40 h 1043"/>
                  <a:gd name="connsiteX6" fmla="*/ 4185 w 4681"/>
                  <a:gd name="connsiteY6" fmla="*/ 60 h 1043"/>
                  <a:gd name="connsiteX7" fmla="*/ 4233 w 4681"/>
                  <a:gd name="connsiteY7" fmla="*/ 89 h 1043"/>
                  <a:gd name="connsiteX8" fmla="*/ 4282 w 4681"/>
                  <a:gd name="connsiteY8" fmla="*/ 125 h 1043"/>
                  <a:gd name="connsiteX9" fmla="*/ 4332 w 4681"/>
                  <a:gd name="connsiteY9" fmla="*/ 170 h 1043"/>
                  <a:gd name="connsiteX10" fmla="*/ 4383 w 4681"/>
                  <a:gd name="connsiteY10" fmla="*/ 224 h 1043"/>
                  <a:gd name="connsiteX11" fmla="*/ 4435 w 4681"/>
                  <a:gd name="connsiteY11" fmla="*/ 286 h 1043"/>
                  <a:gd name="connsiteX12" fmla="*/ 4487 w 4681"/>
                  <a:gd name="connsiteY12" fmla="*/ 361 h 1043"/>
                  <a:gd name="connsiteX13" fmla="*/ 4538 w 4681"/>
                  <a:gd name="connsiteY13" fmla="*/ 448 h 1043"/>
                  <a:gd name="connsiteX14" fmla="*/ 4590 w 4681"/>
                  <a:gd name="connsiteY14" fmla="*/ 548 h 1043"/>
                  <a:gd name="connsiteX15" fmla="*/ 4635 w 4681"/>
                  <a:gd name="connsiteY15" fmla="*/ 633 h 1043"/>
                  <a:gd name="connsiteX16" fmla="*/ 4681 w 4681"/>
                  <a:gd name="connsiteY16" fmla="*/ 705 h 1043"/>
                  <a:gd name="connsiteX17" fmla="*/ 4561 w 4681"/>
                  <a:gd name="connsiteY17" fmla="*/ 676 h 1043"/>
                  <a:gd name="connsiteX18" fmla="*/ 4513 w 4681"/>
                  <a:gd name="connsiteY18" fmla="*/ 583 h 1043"/>
                  <a:gd name="connsiteX19" fmla="*/ 4464 w 4681"/>
                  <a:gd name="connsiteY19" fmla="*/ 487 h 1043"/>
                  <a:gd name="connsiteX20" fmla="*/ 4414 w 4681"/>
                  <a:gd name="connsiteY20" fmla="*/ 404 h 1043"/>
                  <a:gd name="connsiteX21" fmla="*/ 4365 w 4681"/>
                  <a:gd name="connsiteY21" fmla="*/ 336 h 1043"/>
                  <a:gd name="connsiteX22" fmla="*/ 4315 w 4681"/>
                  <a:gd name="connsiteY22" fmla="*/ 276 h 1043"/>
                  <a:gd name="connsiteX23" fmla="*/ 4268 w 4681"/>
                  <a:gd name="connsiteY23" fmla="*/ 228 h 1043"/>
                  <a:gd name="connsiteX24" fmla="*/ 4222 w 4681"/>
                  <a:gd name="connsiteY24" fmla="*/ 189 h 1043"/>
                  <a:gd name="connsiteX25" fmla="*/ 4181 w 4681"/>
                  <a:gd name="connsiteY25" fmla="*/ 158 h 1043"/>
                  <a:gd name="connsiteX26" fmla="*/ 4142 w 4681"/>
                  <a:gd name="connsiteY26" fmla="*/ 135 h 1043"/>
                  <a:gd name="connsiteX27" fmla="*/ 4092 w 4681"/>
                  <a:gd name="connsiteY27" fmla="*/ 112 h 1043"/>
                  <a:gd name="connsiteX28" fmla="*/ 4049 w 4681"/>
                  <a:gd name="connsiteY28" fmla="*/ 98 h 1043"/>
                  <a:gd name="connsiteX29" fmla="*/ 4014 w 4681"/>
                  <a:gd name="connsiteY29" fmla="*/ 89 h 1043"/>
                  <a:gd name="connsiteX30" fmla="*/ 3985 w 4681"/>
                  <a:gd name="connsiteY30" fmla="*/ 87 h 1043"/>
                  <a:gd name="connsiteX31" fmla="*/ 3958 w 4681"/>
                  <a:gd name="connsiteY31" fmla="*/ 87 h 1043"/>
                  <a:gd name="connsiteX32" fmla="*/ 3892 w 4681"/>
                  <a:gd name="connsiteY32" fmla="*/ 93 h 1043"/>
                  <a:gd name="connsiteX33" fmla="*/ 3830 w 4681"/>
                  <a:gd name="connsiteY33" fmla="*/ 106 h 1043"/>
                  <a:gd name="connsiteX34" fmla="*/ 3774 w 4681"/>
                  <a:gd name="connsiteY34" fmla="*/ 127 h 1043"/>
                  <a:gd name="connsiteX35" fmla="*/ 3723 w 4681"/>
                  <a:gd name="connsiteY35" fmla="*/ 154 h 1043"/>
                  <a:gd name="connsiteX36" fmla="*/ 3675 w 4681"/>
                  <a:gd name="connsiteY36" fmla="*/ 187 h 1043"/>
                  <a:gd name="connsiteX37" fmla="*/ 3632 w 4681"/>
                  <a:gd name="connsiteY37" fmla="*/ 224 h 1043"/>
                  <a:gd name="connsiteX38" fmla="*/ 3593 w 4681"/>
                  <a:gd name="connsiteY38" fmla="*/ 268 h 1043"/>
                  <a:gd name="connsiteX39" fmla="*/ 3553 w 4681"/>
                  <a:gd name="connsiteY39" fmla="*/ 313 h 1043"/>
                  <a:gd name="connsiteX40" fmla="*/ 3518 w 4681"/>
                  <a:gd name="connsiteY40" fmla="*/ 363 h 1043"/>
                  <a:gd name="connsiteX41" fmla="*/ 3485 w 4681"/>
                  <a:gd name="connsiteY41" fmla="*/ 415 h 1043"/>
                  <a:gd name="connsiteX42" fmla="*/ 3423 w 4681"/>
                  <a:gd name="connsiteY42" fmla="*/ 523 h 1043"/>
                  <a:gd name="connsiteX43" fmla="*/ 3330 w 4681"/>
                  <a:gd name="connsiteY43" fmla="*/ 691 h 1043"/>
                  <a:gd name="connsiteX44" fmla="*/ 3297 w 4681"/>
                  <a:gd name="connsiteY44" fmla="*/ 747 h 1043"/>
                  <a:gd name="connsiteX45" fmla="*/ 3262 w 4681"/>
                  <a:gd name="connsiteY45" fmla="*/ 799 h 1043"/>
                  <a:gd name="connsiteX46" fmla="*/ 3227 w 4681"/>
                  <a:gd name="connsiteY46" fmla="*/ 848 h 1043"/>
                  <a:gd name="connsiteX47" fmla="*/ 3188 w 4681"/>
                  <a:gd name="connsiteY47" fmla="*/ 894 h 1043"/>
                  <a:gd name="connsiteX48" fmla="*/ 3147 w 4681"/>
                  <a:gd name="connsiteY48" fmla="*/ 935 h 1043"/>
                  <a:gd name="connsiteX49" fmla="*/ 3101 w 4681"/>
                  <a:gd name="connsiteY49" fmla="*/ 971 h 1043"/>
                  <a:gd name="connsiteX50" fmla="*/ 3052 w 4681"/>
                  <a:gd name="connsiteY50" fmla="*/ 1000 h 1043"/>
                  <a:gd name="connsiteX51" fmla="*/ 3000 w 4681"/>
                  <a:gd name="connsiteY51" fmla="*/ 1022 h 1043"/>
                  <a:gd name="connsiteX52" fmla="*/ 2942 w 4681"/>
                  <a:gd name="connsiteY52" fmla="*/ 1037 h 1043"/>
                  <a:gd name="connsiteX53" fmla="*/ 2878 w 4681"/>
                  <a:gd name="connsiteY53" fmla="*/ 1043 h 1043"/>
                  <a:gd name="connsiteX54" fmla="*/ 2870 w 4681"/>
                  <a:gd name="connsiteY54" fmla="*/ 1043 h 1043"/>
                  <a:gd name="connsiteX55" fmla="*/ 2808 w 4681"/>
                  <a:gd name="connsiteY55" fmla="*/ 1039 h 1043"/>
                  <a:gd name="connsiteX56" fmla="*/ 2748 w 4681"/>
                  <a:gd name="connsiteY56" fmla="*/ 1025 h 1043"/>
                  <a:gd name="connsiteX57" fmla="*/ 2695 w 4681"/>
                  <a:gd name="connsiteY57" fmla="*/ 1002 h 1043"/>
                  <a:gd name="connsiteX58" fmla="*/ 2643 w 4681"/>
                  <a:gd name="connsiteY58" fmla="*/ 973 h 1043"/>
                  <a:gd name="connsiteX59" fmla="*/ 2595 w 4681"/>
                  <a:gd name="connsiteY59" fmla="*/ 935 h 1043"/>
                  <a:gd name="connsiteX60" fmla="*/ 2552 w 4681"/>
                  <a:gd name="connsiteY60" fmla="*/ 894 h 1043"/>
                  <a:gd name="connsiteX61" fmla="*/ 2509 w 4681"/>
                  <a:gd name="connsiteY61" fmla="*/ 846 h 1043"/>
                  <a:gd name="connsiteX62" fmla="*/ 2469 w 4681"/>
                  <a:gd name="connsiteY62" fmla="*/ 796 h 1043"/>
                  <a:gd name="connsiteX63" fmla="*/ 2430 w 4681"/>
                  <a:gd name="connsiteY63" fmla="*/ 740 h 1043"/>
                  <a:gd name="connsiteX64" fmla="*/ 2393 w 4681"/>
                  <a:gd name="connsiteY64" fmla="*/ 684 h 1043"/>
                  <a:gd name="connsiteX65" fmla="*/ 2288 w 4681"/>
                  <a:gd name="connsiteY65" fmla="*/ 510 h 1043"/>
                  <a:gd name="connsiteX66" fmla="*/ 2251 w 4681"/>
                  <a:gd name="connsiteY66" fmla="*/ 452 h 1043"/>
                  <a:gd name="connsiteX67" fmla="*/ 2213 w 4681"/>
                  <a:gd name="connsiteY67" fmla="*/ 396 h 1043"/>
                  <a:gd name="connsiteX68" fmla="*/ 2176 w 4681"/>
                  <a:gd name="connsiteY68" fmla="*/ 342 h 1043"/>
                  <a:gd name="connsiteX69" fmla="*/ 2137 w 4681"/>
                  <a:gd name="connsiteY69" fmla="*/ 293 h 1043"/>
                  <a:gd name="connsiteX70" fmla="*/ 2096 w 4681"/>
                  <a:gd name="connsiteY70" fmla="*/ 247 h 1043"/>
                  <a:gd name="connsiteX71" fmla="*/ 2054 w 4681"/>
                  <a:gd name="connsiteY71" fmla="*/ 205 h 1043"/>
                  <a:gd name="connsiteX72" fmla="*/ 2009 w 4681"/>
                  <a:gd name="connsiteY72" fmla="*/ 168 h 1043"/>
                  <a:gd name="connsiteX73" fmla="*/ 1962 w 4681"/>
                  <a:gd name="connsiteY73" fmla="*/ 139 h 1043"/>
                  <a:gd name="connsiteX74" fmla="*/ 1910 w 4681"/>
                  <a:gd name="connsiteY74" fmla="*/ 116 h 1043"/>
                  <a:gd name="connsiteX75" fmla="*/ 1854 w 4681"/>
                  <a:gd name="connsiteY75" fmla="*/ 100 h 1043"/>
                  <a:gd name="connsiteX76" fmla="*/ 1796 w 4681"/>
                  <a:gd name="connsiteY76" fmla="*/ 91 h 1043"/>
                  <a:gd name="connsiteX77" fmla="*/ 1732 w 4681"/>
                  <a:gd name="connsiteY77" fmla="*/ 93 h 1043"/>
                  <a:gd name="connsiteX78" fmla="*/ 1664 w 4681"/>
                  <a:gd name="connsiteY78" fmla="*/ 104 h 1043"/>
                  <a:gd name="connsiteX79" fmla="*/ 1602 w 4681"/>
                  <a:gd name="connsiteY79" fmla="*/ 122 h 1043"/>
                  <a:gd name="connsiteX80" fmla="*/ 1545 w 4681"/>
                  <a:gd name="connsiteY80" fmla="*/ 147 h 1043"/>
                  <a:gd name="connsiteX81" fmla="*/ 1491 w 4681"/>
                  <a:gd name="connsiteY81" fmla="*/ 181 h 1043"/>
                  <a:gd name="connsiteX82" fmla="*/ 1439 w 4681"/>
                  <a:gd name="connsiteY82" fmla="*/ 218 h 1043"/>
                  <a:gd name="connsiteX83" fmla="*/ 1394 w 4681"/>
                  <a:gd name="connsiteY83" fmla="*/ 261 h 1043"/>
                  <a:gd name="connsiteX84" fmla="*/ 1348 w 4681"/>
                  <a:gd name="connsiteY84" fmla="*/ 307 h 1043"/>
                  <a:gd name="connsiteX85" fmla="*/ 1307 w 4681"/>
                  <a:gd name="connsiteY85" fmla="*/ 359 h 1043"/>
                  <a:gd name="connsiteX86" fmla="*/ 1268 w 4681"/>
                  <a:gd name="connsiteY86" fmla="*/ 413 h 1043"/>
                  <a:gd name="connsiteX87" fmla="*/ 1231 w 4681"/>
                  <a:gd name="connsiteY87" fmla="*/ 467 h 1043"/>
                  <a:gd name="connsiteX88" fmla="*/ 1194 w 4681"/>
                  <a:gd name="connsiteY88" fmla="*/ 523 h 1043"/>
                  <a:gd name="connsiteX89" fmla="*/ 1156 w 4681"/>
                  <a:gd name="connsiteY89" fmla="*/ 581 h 1043"/>
                  <a:gd name="connsiteX90" fmla="*/ 1121 w 4681"/>
                  <a:gd name="connsiteY90" fmla="*/ 637 h 1043"/>
                  <a:gd name="connsiteX91" fmla="*/ 1047 w 4681"/>
                  <a:gd name="connsiteY91" fmla="*/ 749 h 1043"/>
                  <a:gd name="connsiteX92" fmla="*/ 1008 w 4681"/>
                  <a:gd name="connsiteY92" fmla="*/ 801 h 1043"/>
                  <a:gd name="connsiteX93" fmla="*/ 966 w 4681"/>
                  <a:gd name="connsiteY93" fmla="*/ 850 h 1043"/>
                  <a:gd name="connsiteX94" fmla="*/ 923 w 4681"/>
                  <a:gd name="connsiteY94" fmla="*/ 896 h 1043"/>
                  <a:gd name="connsiteX95" fmla="*/ 876 w 4681"/>
                  <a:gd name="connsiteY95" fmla="*/ 937 h 1043"/>
                  <a:gd name="connsiteX96" fmla="*/ 826 w 4681"/>
                  <a:gd name="connsiteY96" fmla="*/ 973 h 1043"/>
                  <a:gd name="connsiteX97" fmla="*/ 772 w 4681"/>
                  <a:gd name="connsiteY97" fmla="*/ 1002 h 1043"/>
                  <a:gd name="connsiteX98" fmla="*/ 717 w 4681"/>
                  <a:gd name="connsiteY98" fmla="*/ 1025 h 1043"/>
                  <a:gd name="connsiteX99" fmla="*/ 653 w 4681"/>
                  <a:gd name="connsiteY99" fmla="*/ 1037 h 1043"/>
                  <a:gd name="connsiteX100" fmla="*/ 587 w 4681"/>
                  <a:gd name="connsiteY100" fmla="*/ 1043 h 1043"/>
                  <a:gd name="connsiteX101" fmla="*/ 580 w 4681"/>
                  <a:gd name="connsiteY101" fmla="*/ 1043 h 1043"/>
                  <a:gd name="connsiteX102" fmla="*/ 512 w 4681"/>
                  <a:gd name="connsiteY102" fmla="*/ 1039 h 1043"/>
                  <a:gd name="connsiteX103" fmla="*/ 450 w 4681"/>
                  <a:gd name="connsiteY103" fmla="*/ 1027 h 1043"/>
                  <a:gd name="connsiteX104" fmla="*/ 392 w 4681"/>
                  <a:gd name="connsiteY104" fmla="*/ 1008 h 1043"/>
                  <a:gd name="connsiteX105" fmla="*/ 341 w 4681"/>
                  <a:gd name="connsiteY105" fmla="*/ 983 h 1043"/>
                  <a:gd name="connsiteX106" fmla="*/ 293 w 4681"/>
                  <a:gd name="connsiteY106" fmla="*/ 952 h 1043"/>
                  <a:gd name="connsiteX107" fmla="*/ 248 w 4681"/>
                  <a:gd name="connsiteY107" fmla="*/ 915 h 1043"/>
                  <a:gd name="connsiteX108" fmla="*/ 207 w 4681"/>
                  <a:gd name="connsiteY108" fmla="*/ 873 h 1043"/>
                  <a:gd name="connsiteX109" fmla="*/ 169 w 4681"/>
                  <a:gd name="connsiteY109" fmla="*/ 828 h 1043"/>
                  <a:gd name="connsiteX110" fmla="*/ 132 w 4681"/>
                  <a:gd name="connsiteY110" fmla="*/ 780 h 1043"/>
                  <a:gd name="connsiteX111" fmla="*/ 99 w 4681"/>
                  <a:gd name="connsiteY111" fmla="*/ 728 h 1043"/>
                  <a:gd name="connsiteX112" fmla="*/ 64 w 4681"/>
                  <a:gd name="connsiteY112" fmla="*/ 674 h 1043"/>
                  <a:gd name="connsiteX113" fmla="*/ 33 w 4681"/>
                  <a:gd name="connsiteY113" fmla="*/ 618 h 1043"/>
                  <a:gd name="connsiteX114" fmla="*/ 0 w 4681"/>
                  <a:gd name="connsiteY114" fmla="*/ 560 h 1043"/>
                  <a:gd name="connsiteX115" fmla="*/ 77 w 4681"/>
                  <a:gd name="connsiteY115" fmla="*/ 516 h 1043"/>
                  <a:gd name="connsiteX116" fmla="*/ 110 w 4681"/>
                  <a:gd name="connsiteY116" fmla="*/ 575 h 1043"/>
                  <a:gd name="connsiteX117" fmla="*/ 143 w 4681"/>
                  <a:gd name="connsiteY117" fmla="*/ 631 h 1043"/>
                  <a:gd name="connsiteX118" fmla="*/ 176 w 4681"/>
                  <a:gd name="connsiteY118" fmla="*/ 684 h 1043"/>
                  <a:gd name="connsiteX119" fmla="*/ 209 w 4681"/>
                  <a:gd name="connsiteY119" fmla="*/ 736 h 1043"/>
                  <a:gd name="connsiteX120" fmla="*/ 244 w 4681"/>
                  <a:gd name="connsiteY120" fmla="*/ 782 h 1043"/>
                  <a:gd name="connsiteX121" fmla="*/ 281 w 4681"/>
                  <a:gd name="connsiteY121" fmla="*/ 825 h 1043"/>
                  <a:gd name="connsiteX122" fmla="*/ 322 w 4681"/>
                  <a:gd name="connsiteY122" fmla="*/ 863 h 1043"/>
                  <a:gd name="connsiteX123" fmla="*/ 366 w 4681"/>
                  <a:gd name="connsiteY123" fmla="*/ 894 h 1043"/>
                  <a:gd name="connsiteX124" fmla="*/ 413 w 4681"/>
                  <a:gd name="connsiteY124" fmla="*/ 921 h 1043"/>
                  <a:gd name="connsiteX125" fmla="*/ 463 w 4681"/>
                  <a:gd name="connsiteY125" fmla="*/ 940 h 1043"/>
                  <a:gd name="connsiteX126" fmla="*/ 518 w 4681"/>
                  <a:gd name="connsiteY126" fmla="*/ 952 h 1043"/>
                  <a:gd name="connsiteX127" fmla="*/ 580 w 4681"/>
                  <a:gd name="connsiteY127" fmla="*/ 956 h 1043"/>
                  <a:gd name="connsiteX128" fmla="*/ 587 w 4681"/>
                  <a:gd name="connsiteY128" fmla="*/ 956 h 1043"/>
                  <a:gd name="connsiteX129" fmla="*/ 646 w 4681"/>
                  <a:gd name="connsiteY129" fmla="*/ 950 h 1043"/>
                  <a:gd name="connsiteX130" fmla="*/ 702 w 4681"/>
                  <a:gd name="connsiteY130" fmla="*/ 935 h 1043"/>
                  <a:gd name="connsiteX131" fmla="*/ 756 w 4681"/>
                  <a:gd name="connsiteY131" fmla="*/ 913 h 1043"/>
                  <a:gd name="connsiteX132" fmla="*/ 803 w 4681"/>
                  <a:gd name="connsiteY132" fmla="*/ 884 h 1043"/>
                  <a:gd name="connsiteX133" fmla="*/ 849 w 4681"/>
                  <a:gd name="connsiteY133" fmla="*/ 846 h 1043"/>
                  <a:gd name="connsiteX134" fmla="*/ 892 w 4681"/>
                  <a:gd name="connsiteY134" fmla="*/ 803 h 1043"/>
                  <a:gd name="connsiteX135" fmla="*/ 931 w 4681"/>
                  <a:gd name="connsiteY135" fmla="*/ 755 h 1043"/>
                  <a:gd name="connsiteX136" fmla="*/ 971 w 4681"/>
                  <a:gd name="connsiteY136" fmla="*/ 703 h 1043"/>
                  <a:gd name="connsiteX137" fmla="*/ 1010 w 4681"/>
                  <a:gd name="connsiteY137" fmla="*/ 649 h 1043"/>
                  <a:gd name="connsiteX138" fmla="*/ 1121 w 4681"/>
                  <a:gd name="connsiteY138" fmla="*/ 475 h 1043"/>
                  <a:gd name="connsiteX139" fmla="*/ 1161 w 4681"/>
                  <a:gd name="connsiteY139" fmla="*/ 415 h 1043"/>
                  <a:gd name="connsiteX140" fmla="*/ 1202 w 4681"/>
                  <a:gd name="connsiteY140" fmla="*/ 357 h 1043"/>
                  <a:gd name="connsiteX141" fmla="*/ 1245 w 4681"/>
                  <a:gd name="connsiteY141" fmla="*/ 299 h 1043"/>
                  <a:gd name="connsiteX142" fmla="*/ 1291 w 4681"/>
                  <a:gd name="connsiteY142" fmla="*/ 245 h 1043"/>
                  <a:gd name="connsiteX143" fmla="*/ 1338 w 4681"/>
                  <a:gd name="connsiteY143" fmla="*/ 193 h 1043"/>
                  <a:gd name="connsiteX144" fmla="*/ 1392 w 4681"/>
                  <a:gd name="connsiteY144" fmla="*/ 145 h 1043"/>
                  <a:gd name="connsiteX145" fmla="*/ 1447 w 4681"/>
                  <a:gd name="connsiteY145" fmla="*/ 104 h 1043"/>
                  <a:gd name="connsiteX146" fmla="*/ 1509 w 4681"/>
                  <a:gd name="connsiteY146" fmla="*/ 69 h 1043"/>
                  <a:gd name="connsiteX147" fmla="*/ 1575 w 4681"/>
                  <a:gd name="connsiteY147" fmla="*/ 40 h 1043"/>
                  <a:gd name="connsiteX148" fmla="*/ 1648 w 4681"/>
                  <a:gd name="connsiteY148" fmla="*/ 19 h 1043"/>
                  <a:gd name="connsiteX149" fmla="*/ 1726 w 4681"/>
                  <a:gd name="connsiteY149" fmla="*/ 6 h 1043"/>
                  <a:gd name="connsiteX150" fmla="*/ 1796 w 4681"/>
                  <a:gd name="connsiteY150" fmla="*/ 4 h 1043"/>
                  <a:gd name="connsiteX151" fmla="*/ 1862 w 4681"/>
                  <a:gd name="connsiteY151" fmla="*/ 13 h 1043"/>
                  <a:gd name="connsiteX152" fmla="*/ 1922 w 4681"/>
                  <a:gd name="connsiteY152" fmla="*/ 27 h 1043"/>
                  <a:gd name="connsiteX153" fmla="*/ 1980 w 4681"/>
                  <a:gd name="connsiteY153" fmla="*/ 50 h 1043"/>
                  <a:gd name="connsiteX154" fmla="*/ 2034 w 4681"/>
                  <a:gd name="connsiteY154" fmla="*/ 81 h 1043"/>
                  <a:gd name="connsiteX155" fmla="*/ 2083 w 4681"/>
                  <a:gd name="connsiteY155" fmla="*/ 116 h 1043"/>
                  <a:gd name="connsiteX156" fmla="*/ 2129 w 4681"/>
                  <a:gd name="connsiteY156" fmla="*/ 158 h 1043"/>
                  <a:gd name="connsiteX157" fmla="*/ 2174 w 4681"/>
                  <a:gd name="connsiteY157" fmla="*/ 203 h 1043"/>
                  <a:gd name="connsiteX158" fmla="*/ 2216 w 4681"/>
                  <a:gd name="connsiteY158" fmla="*/ 251 h 1043"/>
                  <a:gd name="connsiteX159" fmla="*/ 2255 w 4681"/>
                  <a:gd name="connsiteY159" fmla="*/ 303 h 1043"/>
                  <a:gd name="connsiteX160" fmla="*/ 2292 w 4681"/>
                  <a:gd name="connsiteY160" fmla="*/ 357 h 1043"/>
                  <a:gd name="connsiteX161" fmla="*/ 2327 w 4681"/>
                  <a:gd name="connsiteY161" fmla="*/ 413 h 1043"/>
                  <a:gd name="connsiteX162" fmla="*/ 2362 w 4681"/>
                  <a:gd name="connsiteY162" fmla="*/ 467 h 1043"/>
                  <a:gd name="connsiteX163" fmla="*/ 2395 w 4681"/>
                  <a:gd name="connsiteY163" fmla="*/ 523 h 1043"/>
                  <a:gd name="connsiteX164" fmla="*/ 2432 w 4681"/>
                  <a:gd name="connsiteY164" fmla="*/ 585 h 1043"/>
                  <a:gd name="connsiteX165" fmla="*/ 2469 w 4681"/>
                  <a:gd name="connsiteY165" fmla="*/ 643 h 1043"/>
                  <a:gd name="connsiteX166" fmla="*/ 2509 w 4681"/>
                  <a:gd name="connsiteY166" fmla="*/ 701 h 1043"/>
                  <a:gd name="connsiteX167" fmla="*/ 2546 w 4681"/>
                  <a:gd name="connsiteY167" fmla="*/ 755 h 1043"/>
                  <a:gd name="connsiteX168" fmla="*/ 2587 w 4681"/>
                  <a:gd name="connsiteY168" fmla="*/ 805 h 1043"/>
                  <a:gd name="connsiteX169" fmla="*/ 2628 w 4681"/>
                  <a:gd name="connsiteY169" fmla="*/ 848 h 1043"/>
                  <a:gd name="connsiteX170" fmla="*/ 2672 w 4681"/>
                  <a:gd name="connsiteY170" fmla="*/ 886 h 1043"/>
                  <a:gd name="connsiteX171" fmla="*/ 2717 w 4681"/>
                  <a:gd name="connsiteY171" fmla="*/ 917 h 1043"/>
                  <a:gd name="connsiteX172" fmla="*/ 2767 w 4681"/>
                  <a:gd name="connsiteY172" fmla="*/ 940 h 1043"/>
                  <a:gd name="connsiteX173" fmla="*/ 2820 w 4681"/>
                  <a:gd name="connsiteY173" fmla="*/ 952 h 1043"/>
                  <a:gd name="connsiteX174" fmla="*/ 2876 w 4681"/>
                  <a:gd name="connsiteY174" fmla="*/ 956 h 1043"/>
                  <a:gd name="connsiteX175" fmla="*/ 2932 w 4681"/>
                  <a:gd name="connsiteY175" fmla="*/ 950 h 1043"/>
                  <a:gd name="connsiteX176" fmla="*/ 2982 w 4681"/>
                  <a:gd name="connsiteY176" fmla="*/ 935 h 1043"/>
                  <a:gd name="connsiteX177" fmla="*/ 3029 w 4681"/>
                  <a:gd name="connsiteY177" fmla="*/ 915 h 1043"/>
                  <a:gd name="connsiteX178" fmla="*/ 3072 w 4681"/>
                  <a:gd name="connsiteY178" fmla="*/ 884 h 1043"/>
                  <a:gd name="connsiteX179" fmla="*/ 3112 w 4681"/>
                  <a:gd name="connsiteY179" fmla="*/ 848 h 1043"/>
                  <a:gd name="connsiteX180" fmla="*/ 3149 w 4681"/>
                  <a:gd name="connsiteY180" fmla="*/ 807 h 1043"/>
                  <a:gd name="connsiteX181" fmla="*/ 3184 w 4681"/>
                  <a:gd name="connsiteY181" fmla="*/ 759 h 1043"/>
                  <a:gd name="connsiteX182" fmla="*/ 3217 w 4681"/>
                  <a:gd name="connsiteY182" fmla="*/ 709 h 1043"/>
                  <a:gd name="connsiteX183" fmla="*/ 3250 w 4681"/>
                  <a:gd name="connsiteY183" fmla="*/ 655 h 1043"/>
                  <a:gd name="connsiteX184" fmla="*/ 3283 w 4681"/>
                  <a:gd name="connsiteY184" fmla="*/ 597 h 1043"/>
                  <a:gd name="connsiteX185" fmla="*/ 3316 w 4681"/>
                  <a:gd name="connsiteY185" fmla="*/ 537 h 1043"/>
                  <a:gd name="connsiteX186" fmla="*/ 3345 w 4681"/>
                  <a:gd name="connsiteY186" fmla="*/ 483 h 1043"/>
                  <a:gd name="connsiteX187" fmla="*/ 3407 w 4681"/>
                  <a:gd name="connsiteY187" fmla="*/ 375 h 1043"/>
                  <a:gd name="connsiteX188" fmla="*/ 3477 w 4681"/>
                  <a:gd name="connsiteY188" fmla="*/ 272 h 1043"/>
                  <a:gd name="connsiteX189" fmla="*/ 3514 w 4681"/>
                  <a:gd name="connsiteY189" fmla="*/ 224 h 1043"/>
                  <a:gd name="connsiteX190" fmla="*/ 3555 w 4681"/>
                  <a:gd name="connsiteY190" fmla="*/ 178 h 1043"/>
                  <a:gd name="connsiteX191" fmla="*/ 3599 w 4681"/>
                  <a:gd name="connsiteY191" fmla="*/ 137 h 1043"/>
                  <a:gd name="connsiteX192" fmla="*/ 3646 w 4681"/>
                  <a:gd name="connsiteY192" fmla="*/ 100 h 1043"/>
                  <a:gd name="connsiteX193" fmla="*/ 3698 w 4681"/>
                  <a:gd name="connsiteY193" fmla="*/ 66 h 1043"/>
                  <a:gd name="connsiteX194" fmla="*/ 3756 w 4681"/>
                  <a:gd name="connsiteY194" fmla="*/ 40 h 1043"/>
                  <a:gd name="connsiteX195" fmla="*/ 3816 w 4681"/>
                  <a:gd name="connsiteY195" fmla="*/ 19 h 1043"/>
                  <a:gd name="connsiteX196" fmla="*/ 3882 w 4681"/>
                  <a:gd name="connsiteY196" fmla="*/ 6 h 1043"/>
                  <a:gd name="connsiteX197" fmla="*/ 3954 w 4681"/>
                  <a:gd name="connsiteY197" fmla="*/ 0 h 1043"/>
                  <a:gd name="connsiteX0" fmla="*/ 3954 w 4681"/>
                  <a:gd name="connsiteY0" fmla="*/ 0 h 1043"/>
                  <a:gd name="connsiteX1" fmla="*/ 4004 w 4681"/>
                  <a:gd name="connsiteY1" fmla="*/ 0 h 1043"/>
                  <a:gd name="connsiteX2" fmla="*/ 4032 w 4681"/>
                  <a:gd name="connsiteY2" fmla="*/ 4 h 1043"/>
                  <a:gd name="connsiteX3" fmla="*/ 4063 w 4681"/>
                  <a:gd name="connsiteY3" fmla="*/ 13 h 1043"/>
                  <a:gd name="connsiteX4" fmla="*/ 4101 w 4681"/>
                  <a:gd name="connsiteY4" fmla="*/ 23 h 1043"/>
                  <a:gd name="connsiteX5" fmla="*/ 4142 w 4681"/>
                  <a:gd name="connsiteY5" fmla="*/ 40 h 1043"/>
                  <a:gd name="connsiteX6" fmla="*/ 4185 w 4681"/>
                  <a:gd name="connsiteY6" fmla="*/ 60 h 1043"/>
                  <a:gd name="connsiteX7" fmla="*/ 4233 w 4681"/>
                  <a:gd name="connsiteY7" fmla="*/ 89 h 1043"/>
                  <a:gd name="connsiteX8" fmla="*/ 4282 w 4681"/>
                  <a:gd name="connsiteY8" fmla="*/ 125 h 1043"/>
                  <a:gd name="connsiteX9" fmla="*/ 4332 w 4681"/>
                  <a:gd name="connsiteY9" fmla="*/ 170 h 1043"/>
                  <a:gd name="connsiteX10" fmla="*/ 4383 w 4681"/>
                  <a:gd name="connsiteY10" fmla="*/ 224 h 1043"/>
                  <a:gd name="connsiteX11" fmla="*/ 4435 w 4681"/>
                  <a:gd name="connsiteY11" fmla="*/ 286 h 1043"/>
                  <a:gd name="connsiteX12" fmla="*/ 4487 w 4681"/>
                  <a:gd name="connsiteY12" fmla="*/ 361 h 1043"/>
                  <a:gd name="connsiteX13" fmla="*/ 4538 w 4681"/>
                  <a:gd name="connsiteY13" fmla="*/ 448 h 1043"/>
                  <a:gd name="connsiteX14" fmla="*/ 4590 w 4681"/>
                  <a:gd name="connsiteY14" fmla="*/ 548 h 1043"/>
                  <a:gd name="connsiteX15" fmla="*/ 4635 w 4681"/>
                  <a:gd name="connsiteY15" fmla="*/ 633 h 1043"/>
                  <a:gd name="connsiteX16" fmla="*/ 4681 w 4681"/>
                  <a:gd name="connsiteY16" fmla="*/ 705 h 1043"/>
                  <a:gd name="connsiteX17" fmla="*/ 4513 w 4681"/>
                  <a:gd name="connsiteY17" fmla="*/ 583 h 1043"/>
                  <a:gd name="connsiteX18" fmla="*/ 4464 w 4681"/>
                  <a:gd name="connsiteY18" fmla="*/ 487 h 1043"/>
                  <a:gd name="connsiteX19" fmla="*/ 4414 w 4681"/>
                  <a:gd name="connsiteY19" fmla="*/ 404 h 1043"/>
                  <a:gd name="connsiteX20" fmla="*/ 4365 w 4681"/>
                  <a:gd name="connsiteY20" fmla="*/ 336 h 1043"/>
                  <a:gd name="connsiteX21" fmla="*/ 4315 w 4681"/>
                  <a:gd name="connsiteY21" fmla="*/ 276 h 1043"/>
                  <a:gd name="connsiteX22" fmla="*/ 4268 w 4681"/>
                  <a:gd name="connsiteY22" fmla="*/ 228 h 1043"/>
                  <a:gd name="connsiteX23" fmla="*/ 4222 w 4681"/>
                  <a:gd name="connsiteY23" fmla="*/ 189 h 1043"/>
                  <a:gd name="connsiteX24" fmla="*/ 4181 w 4681"/>
                  <a:gd name="connsiteY24" fmla="*/ 158 h 1043"/>
                  <a:gd name="connsiteX25" fmla="*/ 4142 w 4681"/>
                  <a:gd name="connsiteY25" fmla="*/ 135 h 1043"/>
                  <a:gd name="connsiteX26" fmla="*/ 4092 w 4681"/>
                  <a:gd name="connsiteY26" fmla="*/ 112 h 1043"/>
                  <a:gd name="connsiteX27" fmla="*/ 4049 w 4681"/>
                  <a:gd name="connsiteY27" fmla="*/ 98 h 1043"/>
                  <a:gd name="connsiteX28" fmla="*/ 4014 w 4681"/>
                  <a:gd name="connsiteY28" fmla="*/ 89 h 1043"/>
                  <a:gd name="connsiteX29" fmla="*/ 3985 w 4681"/>
                  <a:gd name="connsiteY29" fmla="*/ 87 h 1043"/>
                  <a:gd name="connsiteX30" fmla="*/ 3958 w 4681"/>
                  <a:gd name="connsiteY30" fmla="*/ 87 h 1043"/>
                  <a:gd name="connsiteX31" fmla="*/ 3892 w 4681"/>
                  <a:gd name="connsiteY31" fmla="*/ 93 h 1043"/>
                  <a:gd name="connsiteX32" fmla="*/ 3830 w 4681"/>
                  <a:gd name="connsiteY32" fmla="*/ 106 h 1043"/>
                  <a:gd name="connsiteX33" fmla="*/ 3774 w 4681"/>
                  <a:gd name="connsiteY33" fmla="*/ 127 h 1043"/>
                  <a:gd name="connsiteX34" fmla="*/ 3723 w 4681"/>
                  <a:gd name="connsiteY34" fmla="*/ 154 h 1043"/>
                  <a:gd name="connsiteX35" fmla="*/ 3675 w 4681"/>
                  <a:gd name="connsiteY35" fmla="*/ 187 h 1043"/>
                  <a:gd name="connsiteX36" fmla="*/ 3632 w 4681"/>
                  <a:gd name="connsiteY36" fmla="*/ 224 h 1043"/>
                  <a:gd name="connsiteX37" fmla="*/ 3593 w 4681"/>
                  <a:gd name="connsiteY37" fmla="*/ 268 h 1043"/>
                  <a:gd name="connsiteX38" fmla="*/ 3553 w 4681"/>
                  <a:gd name="connsiteY38" fmla="*/ 313 h 1043"/>
                  <a:gd name="connsiteX39" fmla="*/ 3518 w 4681"/>
                  <a:gd name="connsiteY39" fmla="*/ 363 h 1043"/>
                  <a:gd name="connsiteX40" fmla="*/ 3485 w 4681"/>
                  <a:gd name="connsiteY40" fmla="*/ 415 h 1043"/>
                  <a:gd name="connsiteX41" fmla="*/ 3423 w 4681"/>
                  <a:gd name="connsiteY41" fmla="*/ 523 h 1043"/>
                  <a:gd name="connsiteX42" fmla="*/ 3330 w 4681"/>
                  <a:gd name="connsiteY42" fmla="*/ 691 h 1043"/>
                  <a:gd name="connsiteX43" fmla="*/ 3297 w 4681"/>
                  <a:gd name="connsiteY43" fmla="*/ 747 h 1043"/>
                  <a:gd name="connsiteX44" fmla="*/ 3262 w 4681"/>
                  <a:gd name="connsiteY44" fmla="*/ 799 h 1043"/>
                  <a:gd name="connsiteX45" fmla="*/ 3227 w 4681"/>
                  <a:gd name="connsiteY45" fmla="*/ 848 h 1043"/>
                  <a:gd name="connsiteX46" fmla="*/ 3188 w 4681"/>
                  <a:gd name="connsiteY46" fmla="*/ 894 h 1043"/>
                  <a:gd name="connsiteX47" fmla="*/ 3147 w 4681"/>
                  <a:gd name="connsiteY47" fmla="*/ 935 h 1043"/>
                  <a:gd name="connsiteX48" fmla="*/ 3101 w 4681"/>
                  <a:gd name="connsiteY48" fmla="*/ 971 h 1043"/>
                  <a:gd name="connsiteX49" fmla="*/ 3052 w 4681"/>
                  <a:gd name="connsiteY49" fmla="*/ 1000 h 1043"/>
                  <a:gd name="connsiteX50" fmla="*/ 3000 w 4681"/>
                  <a:gd name="connsiteY50" fmla="*/ 1022 h 1043"/>
                  <a:gd name="connsiteX51" fmla="*/ 2942 w 4681"/>
                  <a:gd name="connsiteY51" fmla="*/ 1037 h 1043"/>
                  <a:gd name="connsiteX52" fmla="*/ 2878 w 4681"/>
                  <a:gd name="connsiteY52" fmla="*/ 1043 h 1043"/>
                  <a:gd name="connsiteX53" fmla="*/ 2870 w 4681"/>
                  <a:gd name="connsiteY53" fmla="*/ 1043 h 1043"/>
                  <a:gd name="connsiteX54" fmla="*/ 2808 w 4681"/>
                  <a:gd name="connsiteY54" fmla="*/ 1039 h 1043"/>
                  <a:gd name="connsiteX55" fmla="*/ 2748 w 4681"/>
                  <a:gd name="connsiteY55" fmla="*/ 1025 h 1043"/>
                  <a:gd name="connsiteX56" fmla="*/ 2695 w 4681"/>
                  <a:gd name="connsiteY56" fmla="*/ 1002 h 1043"/>
                  <a:gd name="connsiteX57" fmla="*/ 2643 w 4681"/>
                  <a:gd name="connsiteY57" fmla="*/ 973 h 1043"/>
                  <a:gd name="connsiteX58" fmla="*/ 2595 w 4681"/>
                  <a:gd name="connsiteY58" fmla="*/ 935 h 1043"/>
                  <a:gd name="connsiteX59" fmla="*/ 2552 w 4681"/>
                  <a:gd name="connsiteY59" fmla="*/ 894 h 1043"/>
                  <a:gd name="connsiteX60" fmla="*/ 2509 w 4681"/>
                  <a:gd name="connsiteY60" fmla="*/ 846 h 1043"/>
                  <a:gd name="connsiteX61" fmla="*/ 2469 w 4681"/>
                  <a:gd name="connsiteY61" fmla="*/ 796 h 1043"/>
                  <a:gd name="connsiteX62" fmla="*/ 2430 w 4681"/>
                  <a:gd name="connsiteY62" fmla="*/ 740 h 1043"/>
                  <a:gd name="connsiteX63" fmla="*/ 2393 w 4681"/>
                  <a:gd name="connsiteY63" fmla="*/ 684 h 1043"/>
                  <a:gd name="connsiteX64" fmla="*/ 2288 w 4681"/>
                  <a:gd name="connsiteY64" fmla="*/ 510 h 1043"/>
                  <a:gd name="connsiteX65" fmla="*/ 2251 w 4681"/>
                  <a:gd name="connsiteY65" fmla="*/ 452 h 1043"/>
                  <a:gd name="connsiteX66" fmla="*/ 2213 w 4681"/>
                  <a:gd name="connsiteY66" fmla="*/ 396 h 1043"/>
                  <a:gd name="connsiteX67" fmla="*/ 2176 w 4681"/>
                  <a:gd name="connsiteY67" fmla="*/ 342 h 1043"/>
                  <a:gd name="connsiteX68" fmla="*/ 2137 w 4681"/>
                  <a:gd name="connsiteY68" fmla="*/ 293 h 1043"/>
                  <a:gd name="connsiteX69" fmla="*/ 2096 w 4681"/>
                  <a:gd name="connsiteY69" fmla="*/ 247 h 1043"/>
                  <a:gd name="connsiteX70" fmla="*/ 2054 w 4681"/>
                  <a:gd name="connsiteY70" fmla="*/ 205 h 1043"/>
                  <a:gd name="connsiteX71" fmla="*/ 2009 w 4681"/>
                  <a:gd name="connsiteY71" fmla="*/ 168 h 1043"/>
                  <a:gd name="connsiteX72" fmla="*/ 1962 w 4681"/>
                  <a:gd name="connsiteY72" fmla="*/ 139 h 1043"/>
                  <a:gd name="connsiteX73" fmla="*/ 1910 w 4681"/>
                  <a:gd name="connsiteY73" fmla="*/ 116 h 1043"/>
                  <a:gd name="connsiteX74" fmla="*/ 1854 w 4681"/>
                  <a:gd name="connsiteY74" fmla="*/ 100 h 1043"/>
                  <a:gd name="connsiteX75" fmla="*/ 1796 w 4681"/>
                  <a:gd name="connsiteY75" fmla="*/ 91 h 1043"/>
                  <a:gd name="connsiteX76" fmla="*/ 1732 w 4681"/>
                  <a:gd name="connsiteY76" fmla="*/ 93 h 1043"/>
                  <a:gd name="connsiteX77" fmla="*/ 1664 w 4681"/>
                  <a:gd name="connsiteY77" fmla="*/ 104 h 1043"/>
                  <a:gd name="connsiteX78" fmla="*/ 1602 w 4681"/>
                  <a:gd name="connsiteY78" fmla="*/ 122 h 1043"/>
                  <a:gd name="connsiteX79" fmla="*/ 1545 w 4681"/>
                  <a:gd name="connsiteY79" fmla="*/ 147 h 1043"/>
                  <a:gd name="connsiteX80" fmla="*/ 1491 w 4681"/>
                  <a:gd name="connsiteY80" fmla="*/ 181 h 1043"/>
                  <a:gd name="connsiteX81" fmla="*/ 1439 w 4681"/>
                  <a:gd name="connsiteY81" fmla="*/ 218 h 1043"/>
                  <a:gd name="connsiteX82" fmla="*/ 1394 w 4681"/>
                  <a:gd name="connsiteY82" fmla="*/ 261 h 1043"/>
                  <a:gd name="connsiteX83" fmla="*/ 1348 w 4681"/>
                  <a:gd name="connsiteY83" fmla="*/ 307 h 1043"/>
                  <a:gd name="connsiteX84" fmla="*/ 1307 w 4681"/>
                  <a:gd name="connsiteY84" fmla="*/ 359 h 1043"/>
                  <a:gd name="connsiteX85" fmla="*/ 1268 w 4681"/>
                  <a:gd name="connsiteY85" fmla="*/ 413 h 1043"/>
                  <a:gd name="connsiteX86" fmla="*/ 1231 w 4681"/>
                  <a:gd name="connsiteY86" fmla="*/ 467 h 1043"/>
                  <a:gd name="connsiteX87" fmla="*/ 1194 w 4681"/>
                  <a:gd name="connsiteY87" fmla="*/ 523 h 1043"/>
                  <a:gd name="connsiteX88" fmla="*/ 1156 w 4681"/>
                  <a:gd name="connsiteY88" fmla="*/ 581 h 1043"/>
                  <a:gd name="connsiteX89" fmla="*/ 1121 w 4681"/>
                  <a:gd name="connsiteY89" fmla="*/ 637 h 1043"/>
                  <a:gd name="connsiteX90" fmla="*/ 1047 w 4681"/>
                  <a:gd name="connsiteY90" fmla="*/ 749 h 1043"/>
                  <a:gd name="connsiteX91" fmla="*/ 1008 w 4681"/>
                  <a:gd name="connsiteY91" fmla="*/ 801 h 1043"/>
                  <a:gd name="connsiteX92" fmla="*/ 966 w 4681"/>
                  <a:gd name="connsiteY92" fmla="*/ 850 h 1043"/>
                  <a:gd name="connsiteX93" fmla="*/ 923 w 4681"/>
                  <a:gd name="connsiteY93" fmla="*/ 896 h 1043"/>
                  <a:gd name="connsiteX94" fmla="*/ 876 w 4681"/>
                  <a:gd name="connsiteY94" fmla="*/ 937 h 1043"/>
                  <a:gd name="connsiteX95" fmla="*/ 826 w 4681"/>
                  <a:gd name="connsiteY95" fmla="*/ 973 h 1043"/>
                  <a:gd name="connsiteX96" fmla="*/ 772 w 4681"/>
                  <a:gd name="connsiteY96" fmla="*/ 1002 h 1043"/>
                  <a:gd name="connsiteX97" fmla="*/ 717 w 4681"/>
                  <a:gd name="connsiteY97" fmla="*/ 1025 h 1043"/>
                  <a:gd name="connsiteX98" fmla="*/ 653 w 4681"/>
                  <a:gd name="connsiteY98" fmla="*/ 1037 h 1043"/>
                  <a:gd name="connsiteX99" fmla="*/ 587 w 4681"/>
                  <a:gd name="connsiteY99" fmla="*/ 1043 h 1043"/>
                  <a:gd name="connsiteX100" fmla="*/ 580 w 4681"/>
                  <a:gd name="connsiteY100" fmla="*/ 1043 h 1043"/>
                  <a:gd name="connsiteX101" fmla="*/ 512 w 4681"/>
                  <a:gd name="connsiteY101" fmla="*/ 1039 h 1043"/>
                  <a:gd name="connsiteX102" fmla="*/ 450 w 4681"/>
                  <a:gd name="connsiteY102" fmla="*/ 1027 h 1043"/>
                  <a:gd name="connsiteX103" fmla="*/ 392 w 4681"/>
                  <a:gd name="connsiteY103" fmla="*/ 1008 h 1043"/>
                  <a:gd name="connsiteX104" fmla="*/ 341 w 4681"/>
                  <a:gd name="connsiteY104" fmla="*/ 983 h 1043"/>
                  <a:gd name="connsiteX105" fmla="*/ 293 w 4681"/>
                  <a:gd name="connsiteY105" fmla="*/ 952 h 1043"/>
                  <a:gd name="connsiteX106" fmla="*/ 248 w 4681"/>
                  <a:gd name="connsiteY106" fmla="*/ 915 h 1043"/>
                  <a:gd name="connsiteX107" fmla="*/ 207 w 4681"/>
                  <a:gd name="connsiteY107" fmla="*/ 873 h 1043"/>
                  <a:gd name="connsiteX108" fmla="*/ 169 w 4681"/>
                  <a:gd name="connsiteY108" fmla="*/ 828 h 1043"/>
                  <a:gd name="connsiteX109" fmla="*/ 132 w 4681"/>
                  <a:gd name="connsiteY109" fmla="*/ 780 h 1043"/>
                  <a:gd name="connsiteX110" fmla="*/ 99 w 4681"/>
                  <a:gd name="connsiteY110" fmla="*/ 728 h 1043"/>
                  <a:gd name="connsiteX111" fmla="*/ 64 w 4681"/>
                  <a:gd name="connsiteY111" fmla="*/ 674 h 1043"/>
                  <a:gd name="connsiteX112" fmla="*/ 33 w 4681"/>
                  <a:gd name="connsiteY112" fmla="*/ 618 h 1043"/>
                  <a:gd name="connsiteX113" fmla="*/ 0 w 4681"/>
                  <a:gd name="connsiteY113" fmla="*/ 560 h 1043"/>
                  <a:gd name="connsiteX114" fmla="*/ 77 w 4681"/>
                  <a:gd name="connsiteY114" fmla="*/ 516 h 1043"/>
                  <a:gd name="connsiteX115" fmla="*/ 110 w 4681"/>
                  <a:gd name="connsiteY115" fmla="*/ 575 h 1043"/>
                  <a:gd name="connsiteX116" fmla="*/ 143 w 4681"/>
                  <a:gd name="connsiteY116" fmla="*/ 631 h 1043"/>
                  <a:gd name="connsiteX117" fmla="*/ 176 w 4681"/>
                  <a:gd name="connsiteY117" fmla="*/ 684 h 1043"/>
                  <a:gd name="connsiteX118" fmla="*/ 209 w 4681"/>
                  <a:gd name="connsiteY118" fmla="*/ 736 h 1043"/>
                  <a:gd name="connsiteX119" fmla="*/ 244 w 4681"/>
                  <a:gd name="connsiteY119" fmla="*/ 782 h 1043"/>
                  <a:gd name="connsiteX120" fmla="*/ 281 w 4681"/>
                  <a:gd name="connsiteY120" fmla="*/ 825 h 1043"/>
                  <a:gd name="connsiteX121" fmla="*/ 322 w 4681"/>
                  <a:gd name="connsiteY121" fmla="*/ 863 h 1043"/>
                  <a:gd name="connsiteX122" fmla="*/ 366 w 4681"/>
                  <a:gd name="connsiteY122" fmla="*/ 894 h 1043"/>
                  <a:gd name="connsiteX123" fmla="*/ 413 w 4681"/>
                  <a:gd name="connsiteY123" fmla="*/ 921 h 1043"/>
                  <a:gd name="connsiteX124" fmla="*/ 463 w 4681"/>
                  <a:gd name="connsiteY124" fmla="*/ 940 h 1043"/>
                  <a:gd name="connsiteX125" fmla="*/ 518 w 4681"/>
                  <a:gd name="connsiteY125" fmla="*/ 952 h 1043"/>
                  <a:gd name="connsiteX126" fmla="*/ 580 w 4681"/>
                  <a:gd name="connsiteY126" fmla="*/ 956 h 1043"/>
                  <a:gd name="connsiteX127" fmla="*/ 587 w 4681"/>
                  <a:gd name="connsiteY127" fmla="*/ 956 h 1043"/>
                  <a:gd name="connsiteX128" fmla="*/ 646 w 4681"/>
                  <a:gd name="connsiteY128" fmla="*/ 950 h 1043"/>
                  <a:gd name="connsiteX129" fmla="*/ 702 w 4681"/>
                  <a:gd name="connsiteY129" fmla="*/ 935 h 1043"/>
                  <a:gd name="connsiteX130" fmla="*/ 756 w 4681"/>
                  <a:gd name="connsiteY130" fmla="*/ 913 h 1043"/>
                  <a:gd name="connsiteX131" fmla="*/ 803 w 4681"/>
                  <a:gd name="connsiteY131" fmla="*/ 884 h 1043"/>
                  <a:gd name="connsiteX132" fmla="*/ 849 w 4681"/>
                  <a:gd name="connsiteY132" fmla="*/ 846 h 1043"/>
                  <a:gd name="connsiteX133" fmla="*/ 892 w 4681"/>
                  <a:gd name="connsiteY133" fmla="*/ 803 h 1043"/>
                  <a:gd name="connsiteX134" fmla="*/ 931 w 4681"/>
                  <a:gd name="connsiteY134" fmla="*/ 755 h 1043"/>
                  <a:gd name="connsiteX135" fmla="*/ 971 w 4681"/>
                  <a:gd name="connsiteY135" fmla="*/ 703 h 1043"/>
                  <a:gd name="connsiteX136" fmla="*/ 1010 w 4681"/>
                  <a:gd name="connsiteY136" fmla="*/ 649 h 1043"/>
                  <a:gd name="connsiteX137" fmla="*/ 1121 w 4681"/>
                  <a:gd name="connsiteY137" fmla="*/ 475 h 1043"/>
                  <a:gd name="connsiteX138" fmla="*/ 1161 w 4681"/>
                  <a:gd name="connsiteY138" fmla="*/ 415 h 1043"/>
                  <a:gd name="connsiteX139" fmla="*/ 1202 w 4681"/>
                  <a:gd name="connsiteY139" fmla="*/ 357 h 1043"/>
                  <a:gd name="connsiteX140" fmla="*/ 1245 w 4681"/>
                  <a:gd name="connsiteY140" fmla="*/ 299 h 1043"/>
                  <a:gd name="connsiteX141" fmla="*/ 1291 w 4681"/>
                  <a:gd name="connsiteY141" fmla="*/ 245 h 1043"/>
                  <a:gd name="connsiteX142" fmla="*/ 1338 w 4681"/>
                  <a:gd name="connsiteY142" fmla="*/ 193 h 1043"/>
                  <a:gd name="connsiteX143" fmla="*/ 1392 w 4681"/>
                  <a:gd name="connsiteY143" fmla="*/ 145 h 1043"/>
                  <a:gd name="connsiteX144" fmla="*/ 1447 w 4681"/>
                  <a:gd name="connsiteY144" fmla="*/ 104 h 1043"/>
                  <a:gd name="connsiteX145" fmla="*/ 1509 w 4681"/>
                  <a:gd name="connsiteY145" fmla="*/ 69 h 1043"/>
                  <a:gd name="connsiteX146" fmla="*/ 1575 w 4681"/>
                  <a:gd name="connsiteY146" fmla="*/ 40 h 1043"/>
                  <a:gd name="connsiteX147" fmla="*/ 1648 w 4681"/>
                  <a:gd name="connsiteY147" fmla="*/ 19 h 1043"/>
                  <a:gd name="connsiteX148" fmla="*/ 1726 w 4681"/>
                  <a:gd name="connsiteY148" fmla="*/ 6 h 1043"/>
                  <a:gd name="connsiteX149" fmla="*/ 1796 w 4681"/>
                  <a:gd name="connsiteY149" fmla="*/ 4 h 1043"/>
                  <a:gd name="connsiteX150" fmla="*/ 1862 w 4681"/>
                  <a:gd name="connsiteY150" fmla="*/ 13 h 1043"/>
                  <a:gd name="connsiteX151" fmla="*/ 1922 w 4681"/>
                  <a:gd name="connsiteY151" fmla="*/ 27 h 1043"/>
                  <a:gd name="connsiteX152" fmla="*/ 1980 w 4681"/>
                  <a:gd name="connsiteY152" fmla="*/ 50 h 1043"/>
                  <a:gd name="connsiteX153" fmla="*/ 2034 w 4681"/>
                  <a:gd name="connsiteY153" fmla="*/ 81 h 1043"/>
                  <a:gd name="connsiteX154" fmla="*/ 2083 w 4681"/>
                  <a:gd name="connsiteY154" fmla="*/ 116 h 1043"/>
                  <a:gd name="connsiteX155" fmla="*/ 2129 w 4681"/>
                  <a:gd name="connsiteY155" fmla="*/ 158 h 1043"/>
                  <a:gd name="connsiteX156" fmla="*/ 2174 w 4681"/>
                  <a:gd name="connsiteY156" fmla="*/ 203 h 1043"/>
                  <a:gd name="connsiteX157" fmla="*/ 2216 w 4681"/>
                  <a:gd name="connsiteY157" fmla="*/ 251 h 1043"/>
                  <a:gd name="connsiteX158" fmla="*/ 2255 w 4681"/>
                  <a:gd name="connsiteY158" fmla="*/ 303 h 1043"/>
                  <a:gd name="connsiteX159" fmla="*/ 2292 w 4681"/>
                  <a:gd name="connsiteY159" fmla="*/ 357 h 1043"/>
                  <a:gd name="connsiteX160" fmla="*/ 2327 w 4681"/>
                  <a:gd name="connsiteY160" fmla="*/ 413 h 1043"/>
                  <a:gd name="connsiteX161" fmla="*/ 2362 w 4681"/>
                  <a:gd name="connsiteY161" fmla="*/ 467 h 1043"/>
                  <a:gd name="connsiteX162" fmla="*/ 2395 w 4681"/>
                  <a:gd name="connsiteY162" fmla="*/ 523 h 1043"/>
                  <a:gd name="connsiteX163" fmla="*/ 2432 w 4681"/>
                  <a:gd name="connsiteY163" fmla="*/ 585 h 1043"/>
                  <a:gd name="connsiteX164" fmla="*/ 2469 w 4681"/>
                  <a:gd name="connsiteY164" fmla="*/ 643 h 1043"/>
                  <a:gd name="connsiteX165" fmla="*/ 2509 w 4681"/>
                  <a:gd name="connsiteY165" fmla="*/ 701 h 1043"/>
                  <a:gd name="connsiteX166" fmla="*/ 2546 w 4681"/>
                  <a:gd name="connsiteY166" fmla="*/ 755 h 1043"/>
                  <a:gd name="connsiteX167" fmla="*/ 2587 w 4681"/>
                  <a:gd name="connsiteY167" fmla="*/ 805 h 1043"/>
                  <a:gd name="connsiteX168" fmla="*/ 2628 w 4681"/>
                  <a:gd name="connsiteY168" fmla="*/ 848 h 1043"/>
                  <a:gd name="connsiteX169" fmla="*/ 2672 w 4681"/>
                  <a:gd name="connsiteY169" fmla="*/ 886 h 1043"/>
                  <a:gd name="connsiteX170" fmla="*/ 2717 w 4681"/>
                  <a:gd name="connsiteY170" fmla="*/ 917 h 1043"/>
                  <a:gd name="connsiteX171" fmla="*/ 2767 w 4681"/>
                  <a:gd name="connsiteY171" fmla="*/ 940 h 1043"/>
                  <a:gd name="connsiteX172" fmla="*/ 2820 w 4681"/>
                  <a:gd name="connsiteY172" fmla="*/ 952 h 1043"/>
                  <a:gd name="connsiteX173" fmla="*/ 2876 w 4681"/>
                  <a:gd name="connsiteY173" fmla="*/ 956 h 1043"/>
                  <a:gd name="connsiteX174" fmla="*/ 2932 w 4681"/>
                  <a:gd name="connsiteY174" fmla="*/ 950 h 1043"/>
                  <a:gd name="connsiteX175" fmla="*/ 2982 w 4681"/>
                  <a:gd name="connsiteY175" fmla="*/ 935 h 1043"/>
                  <a:gd name="connsiteX176" fmla="*/ 3029 w 4681"/>
                  <a:gd name="connsiteY176" fmla="*/ 915 h 1043"/>
                  <a:gd name="connsiteX177" fmla="*/ 3072 w 4681"/>
                  <a:gd name="connsiteY177" fmla="*/ 884 h 1043"/>
                  <a:gd name="connsiteX178" fmla="*/ 3112 w 4681"/>
                  <a:gd name="connsiteY178" fmla="*/ 848 h 1043"/>
                  <a:gd name="connsiteX179" fmla="*/ 3149 w 4681"/>
                  <a:gd name="connsiteY179" fmla="*/ 807 h 1043"/>
                  <a:gd name="connsiteX180" fmla="*/ 3184 w 4681"/>
                  <a:gd name="connsiteY180" fmla="*/ 759 h 1043"/>
                  <a:gd name="connsiteX181" fmla="*/ 3217 w 4681"/>
                  <a:gd name="connsiteY181" fmla="*/ 709 h 1043"/>
                  <a:gd name="connsiteX182" fmla="*/ 3250 w 4681"/>
                  <a:gd name="connsiteY182" fmla="*/ 655 h 1043"/>
                  <a:gd name="connsiteX183" fmla="*/ 3283 w 4681"/>
                  <a:gd name="connsiteY183" fmla="*/ 597 h 1043"/>
                  <a:gd name="connsiteX184" fmla="*/ 3316 w 4681"/>
                  <a:gd name="connsiteY184" fmla="*/ 537 h 1043"/>
                  <a:gd name="connsiteX185" fmla="*/ 3345 w 4681"/>
                  <a:gd name="connsiteY185" fmla="*/ 483 h 1043"/>
                  <a:gd name="connsiteX186" fmla="*/ 3407 w 4681"/>
                  <a:gd name="connsiteY186" fmla="*/ 375 h 1043"/>
                  <a:gd name="connsiteX187" fmla="*/ 3477 w 4681"/>
                  <a:gd name="connsiteY187" fmla="*/ 272 h 1043"/>
                  <a:gd name="connsiteX188" fmla="*/ 3514 w 4681"/>
                  <a:gd name="connsiteY188" fmla="*/ 224 h 1043"/>
                  <a:gd name="connsiteX189" fmla="*/ 3555 w 4681"/>
                  <a:gd name="connsiteY189" fmla="*/ 178 h 1043"/>
                  <a:gd name="connsiteX190" fmla="*/ 3599 w 4681"/>
                  <a:gd name="connsiteY190" fmla="*/ 137 h 1043"/>
                  <a:gd name="connsiteX191" fmla="*/ 3646 w 4681"/>
                  <a:gd name="connsiteY191" fmla="*/ 100 h 1043"/>
                  <a:gd name="connsiteX192" fmla="*/ 3698 w 4681"/>
                  <a:gd name="connsiteY192" fmla="*/ 66 h 1043"/>
                  <a:gd name="connsiteX193" fmla="*/ 3756 w 4681"/>
                  <a:gd name="connsiteY193" fmla="*/ 40 h 1043"/>
                  <a:gd name="connsiteX194" fmla="*/ 3816 w 4681"/>
                  <a:gd name="connsiteY194" fmla="*/ 19 h 1043"/>
                  <a:gd name="connsiteX195" fmla="*/ 3882 w 4681"/>
                  <a:gd name="connsiteY195" fmla="*/ 6 h 1043"/>
                  <a:gd name="connsiteX196" fmla="*/ 3954 w 4681"/>
                  <a:gd name="connsiteY196" fmla="*/ 0 h 1043"/>
                  <a:gd name="connsiteX0" fmla="*/ 3954 w 4694"/>
                  <a:gd name="connsiteY0" fmla="*/ 0 h 1043"/>
                  <a:gd name="connsiteX1" fmla="*/ 4004 w 4694"/>
                  <a:gd name="connsiteY1" fmla="*/ 0 h 1043"/>
                  <a:gd name="connsiteX2" fmla="*/ 4032 w 4694"/>
                  <a:gd name="connsiteY2" fmla="*/ 4 h 1043"/>
                  <a:gd name="connsiteX3" fmla="*/ 4063 w 4694"/>
                  <a:gd name="connsiteY3" fmla="*/ 13 h 1043"/>
                  <a:gd name="connsiteX4" fmla="*/ 4101 w 4694"/>
                  <a:gd name="connsiteY4" fmla="*/ 23 h 1043"/>
                  <a:gd name="connsiteX5" fmla="*/ 4142 w 4694"/>
                  <a:gd name="connsiteY5" fmla="*/ 40 h 1043"/>
                  <a:gd name="connsiteX6" fmla="*/ 4185 w 4694"/>
                  <a:gd name="connsiteY6" fmla="*/ 60 h 1043"/>
                  <a:gd name="connsiteX7" fmla="*/ 4233 w 4694"/>
                  <a:gd name="connsiteY7" fmla="*/ 89 h 1043"/>
                  <a:gd name="connsiteX8" fmla="*/ 4282 w 4694"/>
                  <a:gd name="connsiteY8" fmla="*/ 125 h 1043"/>
                  <a:gd name="connsiteX9" fmla="*/ 4332 w 4694"/>
                  <a:gd name="connsiteY9" fmla="*/ 170 h 1043"/>
                  <a:gd name="connsiteX10" fmla="*/ 4383 w 4694"/>
                  <a:gd name="connsiteY10" fmla="*/ 224 h 1043"/>
                  <a:gd name="connsiteX11" fmla="*/ 4435 w 4694"/>
                  <a:gd name="connsiteY11" fmla="*/ 286 h 1043"/>
                  <a:gd name="connsiteX12" fmla="*/ 4487 w 4694"/>
                  <a:gd name="connsiteY12" fmla="*/ 361 h 1043"/>
                  <a:gd name="connsiteX13" fmla="*/ 4538 w 4694"/>
                  <a:gd name="connsiteY13" fmla="*/ 448 h 1043"/>
                  <a:gd name="connsiteX14" fmla="*/ 4590 w 4694"/>
                  <a:gd name="connsiteY14" fmla="*/ 548 h 1043"/>
                  <a:gd name="connsiteX15" fmla="*/ 4681 w 4694"/>
                  <a:gd name="connsiteY15" fmla="*/ 705 h 1043"/>
                  <a:gd name="connsiteX16" fmla="*/ 4513 w 4694"/>
                  <a:gd name="connsiteY16" fmla="*/ 583 h 1043"/>
                  <a:gd name="connsiteX17" fmla="*/ 4464 w 4694"/>
                  <a:gd name="connsiteY17" fmla="*/ 487 h 1043"/>
                  <a:gd name="connsiteX18" fmla="*/ 4414 w 4694"/>
                  <a:gd name="connsiteY18" fmla="*/ 404 h 1043"/>
                  <a:gd name="connsiteX19" fmla="*/ 4365 w 4694"/>
                  <a:gd name="connsiteY19" fmla="*/ 336 h 1043"/>
                  <a:gd name="connsiteX20" fmla="*/ 4315 w 4694"/>
                  <a:gd name="connsiteY20" fmla="*/ 276 h 1043"/>
                  <a:gd name="connsiteX21" fmla="*/ 4268 w 4694"/>
                  <a:gd name="connsiteY21" fmla="*/ 228 h 1043"/>
                  <a:gd name="connsiteX22" fmla="*/ 4222 w 4694"/>
                  <a:gd name="connsiteY22" fmla="*/ 189 h 1043"/>
                  <a:gd name="connsiteX23" fmla="*/ 4181 w 4694"/>
                  <a:gd name="connsiteY23" fmla="*/ 158 h 1043"/>
                  <a:gd name="connsiteX24" fmla="*/ 4142 w 4694"/>
                  <a:gd name="connsiteY24" fmla="*/ 135 h 1043"/>
                  <a:gd name="connsiteX25" fmla="*/ 4092 w 4694"/>
                  <a:gd name="connsiteY25" fmla="*/ 112 h 1043"/>
                  <a:gd name="connsiteX26" fmla="*/ 4049 w 4694"/>
                  <a:gd name="connsiteY26" fmla="*/ 98 h 1043"/>
                  <a:gd name="connsiteX27" fmla="*/ 4014 w 4694"/>
                  <a:gd name="connsiteY27" fmla="*/ 89 h 1043"/>
                  <a:gd name="connsiteX28" fmla="*/ 3985 w 4694"/>
                  <a:gd name="connsiteY28" fmla="*/ 87 h 1043"/>
                  <a:gd name="connsiteX29" fmla="*/ 3958 w 4694"/>
                  <a:gd name="connsiteY29" fmla="*/ 87 h 1043"/>
                  <a:gd name="connsiteX30" fmla="*/ 3892 w 4694"/>
                  <a:gd name="connsiteY30" fmla="*/ 93 h 1043"/>
                  <a:gd name="connsiteX31" fmla="*/ 3830 w 4694"/>
                  <a:gd name="connsiteY31" fmla="*/ 106 h 1043"/>
                  <a:gd name="connsiteX32" fmla="*/ 3774 w 4694"/>
                  <a:gd name="connsiteY32" fmla="*/ 127 h 1043"/>
                  <a:gd name="connsiteX33" fmla="*/ 3723 w 4694"/>
                  <a:gd name="connsiteY33" fmla="*/ 154 h 1043"/>
                  <a:gd name="connsiteX34" fmla="*/ 3675 w 4694"/>
                  <a:gd name="connsiteY34" fmla="*/ 187 h 1043"/>
                  <a:gd name="connsiteX35" fmla="*/ 3632 w 4694"/>
                  <a:gd name="connsiteY35" fmla="*/ 224 h 1043"/>
                  <a:gd name="connsiteX36" fmla="*/ 3593 w 4694"/>
                  <a:gd name="connsiteY36" fmla="*/ 268 h 1043"/>
                  <a:gd name="connsiteX37" fmla="*/ 3553 w 4694"/>
                  <a:gd name="connsiteY37" fmla="*/ 313 h 1043"/>
                  <a:gd name="connsiteX38" fmla="*/ 3518 w 4694"/>
                  <a:gd name="connsiteY38" fmla="*/ 363 h 1043"/>
                  <a:gd name="connsiteX39" fmla="*/ 3485 w 4694"/>
                  <a:gd name="connsiteY39" fmla="*/ 415 h 1043"/>
                  <a:gd name="connsiteX40" fmla="*/ 3423 w 4694"/>
                  <a:gd name="connsiteY40" fmla="*/ 523 h 1043"/>
                  <a:gd name="connsiteX41" fmla="*/ 3330 w 4694"/>
                  <a:gd name="connsiteY41" fmla="*/ 691 h 1043"/>
                  <a:gd name="connsiteX42" fmla="*/ 3297 w 4694"/>
                  <a:gd name="connsiteY42" fmla="*/ 747 h 1043"/>
                  <a:gd name="connsiteX43" fmla="*/ 3262 w 4694"/>
                  <a:gd name="connsiteY43" fmla="*/ 799 h 1043"/>
                  <a:gd name="connsiteX44" fmla="*/ 3227 w 4694"/>
                  <a:gd name="connsiteY44" fmla="*/ 848 h 1043"/>
                  <a:gd name="connsiteX45" fmla="*/ 3188 w 4694"/>
                  <a:gd name="connsiteY45" fmla="*/ 894 h 1043"/>
                  <a:gd name="connsiteX46" fmla="*/ 3147 w 4694"/>
                  <a:gd name="connsiteY46" fmla="*/ 935 h 1043"/>
                  <a:gd name="connsiteX47" fmla="*/ 3101 w 4694"/>
                  <a:gd name="connsiteY47" fmla="*/ 971 h 1043"/>
                  <a:gd name="connsiteX48" fmla="*/ 3052 w 4694"/>
                  <a:gd name="connsiteY48" fmla="*/ 1000 h 1043"/>
                  <a:gd name="connsiteX49" fmla="*/ 3000 w 4694"/>
                  <a:gd name="connsiteY49" fmla="*/ 1022 h 1043"/>
                  <a:gd name="connsiteX50" fmla="*/ 2942 w 4694"/>
                  <a:gd name="connsiteY50" fmla="*/ 1037 h 1043"/>
                  <a:gd name="connsiteX51" fmla="*/ 2878 w 4694"/>
                  <a:gd name="connsiteY51" fmla="*/ 1043 h 1043"/>
                  <a:gd name="connsiteX52" fmla="*/ 2870 w 4694"/>
                  <a:gd name="connsiteY52" fmla="*/ 1043 h 1043"/>
                  <a:gd name="connsiteX53" fmla="*/ 2808 w 4694"/>
                  <a:gd name="connsiteY53" fmla="*/ 1039 h 1043"/>
                  <a:gd name="connsiteX54" fmla="*/ 2748 w 4694"/>
                  <a:gd name="connsiteY54" fmla="*/ 1025 h 1043"/>
                  <a:gd name="connsiteX55" fmla="*/ 2695 w 4694"/>
                  <a:gd name="connsiteY55" fmla="*/ 1002 h 1043"/>
                  <a:gd name="connsiteX56" fmla="*/ 2643 w 4694"/>
                  <a:gd name="connsiteY56" fmla="*/ 973 h 1043"/>
                  <a:gd name="connsiteX57" fmla="*/ 2595 w 4694"/>
                  <a:gd name="connsiteY57" fmla="*/ 935 h 1043"/>
                  <a:gd name="connsiteX58" fmla="*/ 2552 w 4694"/>
                  <a:gd name="connsiteY58" fmla="*/ 894 h 1043"/>
                  <a:gd name="connsiteX59" fmla="*/ 2509 w 4694"/>
                  <a:gd name="connsiteY59" fmla="*/ 846 h 1043"/>
                  <a:gd name="connsiteX60" fmla="*/ 2469 w 4694"/>
                  <a:gd name="connsiteY60" fmla="*/ 796 h 1043"/>
                  <a:gd name="connsiteX61" fmla="*/ 2430 w 4694"/>
                  <a:gd name="connsiteY61" fmla="*/ 740 h 1043"/>
                  <a:gd name="connsiteX62" fmla="*/ 2393 w 4694"/>
                  <a:gd name="connsiteY62" fmla="*/ 684 h 1043"/>
                  <a:gd name="connsiteX63" fmla="*/ 2288 w 4694"/>
                  <a:gd name="connsiteY63" fmla="*/ 510 h 1043"/>
                  <a:gd name="connsiteX64" fmla="*/ 2251 w 4694"/>
                  <a:gd name="connsiteY64" fmla="*/ 452 h 1043"/>
                  <a:gd name="connsiteX65" fmla="*/ 2213 w 4694"/>
                  <a:gd name="connsiteY65" fmla="*/ 396 h 1043"/>
                  <a:gd name="connsiteX66" fmla="*/ 2176 w 4694"/>
                  <a:gd name="connsiteY66" fmla="*/ 342 h 1043"/>
                  <a:gd name="connsiteX67" fmla="*/ 2137 w 4694"/>
                  <a:gd name="connsiteY67" fmla="*/ 293 h 1043"/>
                  <a:gd name="connsiteX68" fmla="*/ 2096 w 4694"/>
                  <a:gd name="connsiteY68" fmla="*/ 247 h 1043"/>
                  <a:gd name="connsiteX69" fmla="*/ 2054 w 4694"/>
                  <a:gd name="connsiteY69" fmla="*/ 205 h 1043"/>
                  <a:gd name="connsiteX70" fmla="*/ 2009 w 4694"/>
                  <a:gd name="connsiteY70" fmla="*/ 168 h 1043"/>
                  <a:gd name="connsiteX71" fmla="*/ 1962 w 4694"/>
                  <a:gd name="connsiteY71" fmla="*/ 139 h 1043"/>
                  <a:gd name="connsiteX72" fmla="*/ 1910 w 4694"/>
                  <a:gd name="connsiteY72" fmla="*/ 116 h 1043"/>
                  <a:gd name="connsiteX73" fmla="*/ 1854 w 4694"/>
                  <a:gd name="connsiteY73" fmla="*/ 100 h 1043"/>
                  <a:gd name="connsiteX74" fmla="*/ 1796 w 4694"/>
                  <a:gd name="connsiteY74" fmla="*/ 91 h 1043"/>
                  <a:gd name="connsiteX75" fmla="*/ 1732 w 4694"/>
                  <a:gd name="connsiteY75" fmla="*/ 93 h 1043"/>
                  <a:gd name="connsiteX76" fmla="*/ 1664 w 4694"/>
                  <a:gd name="connsiteY76" fmla="*/ 104 h 1043"/>
                  <a:gd name="connsiteX77" fmla="*/ 1602 w 4694"/>
                  <a:gd name="connsiteY77" fmla="*/ 122 h 1043"/>
                  <a:gd name="connsiteX78" fmla="*/ 1545 w 4694"/>
                  <a:gd name="connsiteY78" fmla="*/ 147 h 1043"/>
                  <a:gd name="connsiteX79" fmla="*/ 1491 w 4694"/>
                  <a:gd name="connsiteY79" fmla="*/ 181 h 1043"/>
                  <a:gd name="connsiteX80" fmla="*/ 1439 w 4694"/>
                  <a:gd name="connsiteY80" fmla="*/ 218 h 1043"/>
                  <a:gd name="connsiteX81" fmla="*/ 1394 w 4694"/>
                  <a:gd name="connsiteY81" fmla="*/ 261 h 1043"/>
                  <a:gd name="connsiteX82" fmla="*/ 1348 w 4694"/>
                  <a:gd name="connsiteY82" fmla="*/ 307 h 1043"/>
                  <a:gd name="connsiteX83" fmla="*/ 1307 w 4694"/>
                  <a:gd name="connsiteY83" fmla="*/ 359 h 1043"/>
                  <a:gd name="connsiteX84" fmla="*/ 1268 w 4694"/>
                  <a:gd name="connsiteY84" fmla="*/ 413 h 1043"/>
                  <a:gd name="connsiteX85" fmla="*/ 1231 w 4694"/>
                  <a:gd name="connsiteY85" fmla="*/ 467 h 1043"/>
                  <a:gd name="connsiteX86" fmla="*/ 1194 w 4694"/>
                  <a:gd name="connsiteY86" fmla="*/ 523 h 1043"/>
                  <a:gd name="connsiteX87" fmla="*/ 1156 w 4694"/>
                  <a:gd name="connsiteY87" fmla="*/ 581 h 1043"/>
                  <a:gd name="connsiteX88" fmla="*/ 1121 w 4694"/>
                  <a:gd name="connsiteY88" fmla="*/ 637 h 1043"/>
                  <a:gd name="connsiteX89" fmla="*/ 1047 w 4694"/>
                  <a:gd name="connsiteY89" fmla="*/ 749 h 1043"/>
                  <a:gd name="connsiteX90" fmla="*/ 1008 w 4694"/>
                  <a:gd name="connsiteY90" fmla="*/ 801 h 1043"/>
                  <a:gd name="connsiteX91" fmla="*/ 966 w 4694"/>
                  <a:gd name="connsiteY91" fmla="*/ 850 h 1043"/>
                  <a:gd name="connsiteX92" fmla="*/ 923 w 4694"/>
                  <a:gd name="connsiteY92" fmla="*/ 896 h 1043"/>
                  <a:gd name="connsiteX93" fmla="*/ 876 w 4694"/>
                  <a:gd name="connsiteY93" fmla="*/ 937 h 1043"/>
                  <a:gd name="connsiteX94" fmla="*/ 826 w 4694"/>
                  <a:gd name="connsiteY94" fmla="*/ 973 h 1043"/>
                  <a:gd name="connsiteX95" fmla="*/ 772 w 4694"/>
                  <a:gd name="connsiteY95" fmla="*/ 1002 h 1043"/>
                  <a:gd name="connsiteX96" fmla="*/ 717 w 4694"/>
                  <a:gd name="connsiteY96" fmla="*/ 1025 h 1043"/>
                  <a:gd name="connsiteX97" fmla="*/ 653 w 4694"/>
                  <a:gd name="connsiteY97" fmla="*/ 1037 h 1043"/>
                  <a:gd name="connsiteX98" fmla="*/ 587 w 4694"/>
                  <a:gd name="connsiteY98" fmla="*/ 1043 h 1043"/>
                  <a:gd name="connsiteX99" fmla="*/ 580 w 4694"/>
                  <a:gd name="connsiteY99" fmla="*/ 1043 h 1043"/>
                  <a:gd name="connsiteX100" fmla="*/ 512 w 4694"/>
                  <a:gd name="connsiteY100" fmla="*/ 1039 h 1043"/>
                  <a:gd name="connsiteX101" fmla="*/ 450 w 4694"/>
                  <a:gd name="connsiteY101" fmla="*/ 1027 h 1043"/>
                  <a:gd name="connsiteX102" fmla="*/ 392 w 4694"/>
                  <a:gd name="connsiteY102" fmla="*/ 1008 h 1043"/>
                  <a:gd name="connsiteX103" fmla="*/ 341 w 4694"/>
                  <a:gd name="connsiteY103" fmla="*/ 983 h 1043"/>
                  <a:gd name="connsiteX104" fmla="*/ 293 w 4694"/>
                  <a:gd name="connsiteY104" fmla="*/ 952 h 1043"/>
                  <a:gd name="connsiteX105" fmla="*/ 248 w 4694"/>
                  <a:gd name="connsiteY105" fmla="*/ 915 h 1043"/>
                  <a:gd name="connsiteX106" fmla="*/ 207 w 4694"/>
                  <a:gd name="connsiteY106" fmla="*/ 873 h 1043"/>
                  <a:gd name="connsiteX107" fmla="*/ 169 w 4694"/>
                  <a:gd name="connsiteY107" fmla="*/ 828 h 1043"/>
                  <a:gd name="connsiteX108" fmla="*/ 132 w 4694"/>
                  <a:gd name="connsiteY108" fmla="*/ 780 h 1043"/>
                  <a:gd name="connsiteX109" fmla="*/ 99 w 4694"/>
                  <a:gd name="connsiteY109" fmla="*/ 728 h 1043"/>
                  <a:gd name="connsiteX110" fmla="*/ 64 w 4694"/>
                  <a:gd name="connsiteY110" fmla="*/ 674 h 1043"/>
                  <a:gd name="connsiteX111" fmla="*/ 33 w 4694"/>
                  <a:gd name="connsiteY111" fmla="*/ 618 h 1043"/>
                  <a:gd name="connsiteX112" fmla="*/ 0 w 4694"/>
                  <a:gd name="connsiteY112" fmla="*/ 560 h 1043"/>
                  <a:gd name="connsiteX113" fmla="*/ 77 w 4694"/>
                  <a:gd name="connsiteY113" fmla="*/ 516 h 1043"/>
                  <a:gd name="connsiteX114" fmla="*/ 110 w 4694"/>
                  <a:gd name="connsiteY114" fmla="*/ 575 h 1043"/>
                  <a:gd name="connsiteX115" fmla="*/ 143 w 4694"/>
                  <a:gd name="connsiteY115" fmla="*/ 631 h 1043"/>
                  <a:gd name="connsiteX116" fmla="*/ 176 w 4694"/>
                  <a:gd name="connsiteY116" fmla="*/ 684 h 1043"/>
                  <a:gd name="connsiteX117" fmla="*/ 209 w 4694"/>
                  <a:gd name="connsiteY117" fmla="*/ 736 h 1043"/>
                  <a:gd name="connsiteX118" fmla="*/ 244 w 4694"/>
                  <a:gd name="connsiteY118" fmla="*/ 782 h 1043"/>
                  <a:gd name="connsiteX119" fmla="*/ 281 w 4694"/>
                  <a:gd name="connsiteY119" fmla="*/ 825 h 1043"/>
                  <a:gd name="connsiteX120" fmla="*/ 322 w 4694"/>
                  <a:gd name="connsiteY120" fmla="*/ 863 h 1043"/>
                  <a:gd name="connsiteX121" fmla="*/ 366 w 4694"/>
                  <a:gd name="connsiteY121" fmla="*/ 894 h 1043"/>
                  <a:gd name="connsiteX122" fmla="*/ 413 w 4694"/>
                  <a:gd name="connsiteY122" fmla="*/ 921 h 1043"/>
                  <a:gd name="connsiteX123" fmla="*/ 463 w 4694"/>
                  <a:gd name="connsiteY123" fmla="*/ 940 h 1043"/>
                  <a:gd name="connsiteX124" fmla="*/ 518 w 4694"/>
                  <a:gd name="connsiteY124" fmla="*/ 952 h 1043"/>
                  <a:gd name="connsiteX125" fmla="*/ 580 w 4694"/>
                  <a:gd name="connsiteY125" fmla="*/ 956 h 1043"/>
                  <a:gd name="connsiteX126" fmla="*/ 587 w 4694"/>
                  <a:gd name="connsiteY126" fmla="*/ 956 h 1043"/>
                  <a:gd name="connsiteX127" fmla="*/ 646 w 4694"/>
                  <a:gd name="connsiteY127" fmla="*/ 950 h 1043"/>
                  <a:gd name="connsiteX128" fmla="*/ 702 w 4694"/>
                  <a:gd name="connsiteY128" fmla="*/ 935 h 1043"/>
                  <a:gd name="connsiteX129" fmla="*/ 756 w 4694"/>
                  <a:gd name="connsiteY129" fmla="*/ 913 h 1043"/>
                  <a:gd name="connsiteX130" fmla="*/ 803 w 4694"/>
                  <a:gd name="connsiteY130" fmla="*/ 884 h 1043"/>
                  <a:gd name="connsiteX131" fmla="*/ 849 w 4694"/>
                  <a:gd name="connsiteY131" fmla="*/ 846 h 1043"/>
                  <a:gd name="connsiteX132" fmla="*/ 892 w 4694"/>
                  <a:gd name="connsiteY132" fmla="*/ 803 h 1043"/>
                  <a:gd name="connsiteX133" fmla="*/ 931 w 4694"/>
                  <a:gd name="connsiteY133" fmla="*/ 755 h 1043"/>
                  <a:gd name="connsiteX134" fmla="*/ 971 w 4694"/>
                  <a:gd name="connsiteY134" fmla="*/ 703 h 1043"/>
                  <a:gd name="connsiteX135" fmla="*/ 1010 w 4694"/>
                  <a:gd name="connsiteY135" fmla="*/ 649 h 1043"/>
                  <a:gd name="connsiteX136" fmla="*/ 1121 w 4694"/>
                  <a:gd name="connsiteY136" fmla="*/ 475 h 1043"/>
                  <a:gd name="connsiteX137" fmla="*/ 1161 w 4694"/>
                  <a:gd name="connsiteY137" fmla="*/ 415 h 1043"/>
                  <a:gd name="connsiteX138" fmla="*/ 1202 w 4694"/>
                  <a:gd name="connsiteY138" fmla="*/ 357 h 1043"/>
                  <a:gd name="connsiteX139" fmla="*/ 1245 w 4694"/>
                  <a:gd name="connsiteY139" fmla="*/ 299 h 1043"/>
                  <a:gd name="connsiteX140" fmla="*/ 1291 w 4694"/>
                  <a:gd name="connsiteY140" fmla="*/ 245 h 1043"/>
                  <a:gd name="connsiteX141" fmla="*/ 1338 w 4694"/>
                  <a:gd name="connsiteY141" fmla="*/ 193 h 1043"/>
                  <a:gd name="connsiteX142" fmla="*/ 1392 w 4694"/>
                  <a:gd name="connsiteY142" fmla="*/ 145 h 1043"/>
                  <a:gd name="connsiteX143" fmla="*/ 1447 w 4694"/>
                  <a:gd name="connsiteY143" fmla="*/ 104 h 1043"/>
                  <a:gd name="connsiteX144" fmla="*/ 1509 w 4694"/>
                  <a:gd name="connsiteY144" fmla="*/ 69 h 1043"/>
                  <a:gd name="connsiteX145" fmla="*/ 1575 w 4694"/>
                  <a:gd name="connsiteY145" fmla="*/ 40 h 1043"/>
                  <a:gd name="connsiteX146" fmla="*/ 1648 w 4694"/>
                  <a:gd name="connsiteY146" fmla="*/ 19 h 1043"/>
                  <a:gd name="connsiteX147" fmla="*/ 1726 w 4694"/>
                  <a:gd name="connsiteY147" fmla="*/ 6 h 1043"/>
                  <a:gd name="connsiteX148" fmla="*/ 1796 w 4694"/>
                  <a:gd name="connsiteY148" fmla="*/ 4 h 1043"/>
                  <a:gd name="connsiteX149" fmla="*/ 1862 w 4694"/>
                  <a:gd name="connsiteY149" fmla="*/ 13 h 1043"/>
                  <a:gd name="connsiteX150" fmla="*/ 1922 w 4694"/>
                  <a:gd name="connsiteY150" fmla="*/ 27 h 1043"/>
                  <a:gd name="connsiteX151" fmla="*/ 1980 w 4694"/>
                  <a:gd name="connsiteY151" fmla="*/ 50 h 1043"/>
                  <a:gd name="connsiteX152" fmla="*/ 2034 w 4694"/>
                  <a:gd name="connsiteY152" fmla="*/ 81 h 1043"/>
                  <a:gd name="connsiteX153" fmla="*/ 2083 w 4694"/>
                  <a:gd name="connsiteY153" fmla="*/ 116 h 1043"/>
                  <a:gd name="connsiteX154" fmla="*/ 2129 w 4694"/>
                  <a:gd name="connsiteY154" fmla="*/ 158 h 1043"/>
                  <a:gd name="connsiteX155" fmla="*/ 2174 w 4694"/>
                  <a:gd name="connsiteY155" fmla="*/ 203 h 1043"/>
                  <a:gd name="connsiteX156" fmla="*/ 2216 w 4694"/>
                  <a:gd name="connsiteY156" fmla="*/ 251 h 1043"/>
                  <a:gd name="connsiteX157" fmla="*/ 2255 w 4694"/>
                  <a:gd name="connsiteY157" fmla="*/ 303 h 1043"/>
                  <a:gd name="connsiteX158" fmla="*/ 2292 w 4694"/>
                  <a:gd name="connsiteY158" fmla="*/ 357 h 1043"/>
                  <a:gd name="connsiteX159" fmla="*/ 2327 w 4694"/>
                  <a:gd name="connsiteY159" fmla="*/ 413 h 1043"/>
                  <a:gd name="connsiteX160" fmla="*/ 2362 w 4694"/>
                  <a:gd name="connsiteY160" fmla="*/ 467 h 1043"/>
                  <a:gd name="connsiteX161" fmla="*/ 2395 w 4694"/>
                  <a:gd name="connsiteY161" fmla="*/ 523 h 1043"/>
                  <a:gd name="connsiteX162" fmla="*/ 2432 w 4694"/>
                  <a:gd name="connsiteY162" fmla="*/ 585 h 1043"/>
                  <a:gd name="connsiteX163" fmla="*/ 2469 w 4694"/>
                  <a:gd name="connsiteY163" fmla="*/ 643 h 1043"/>
                  <a:gd name="connsiteX164" fmla="*/ 2509 w 4694"/>
                  <a:gd name="connsiteY164" fmla="*/ 701 h 1043"/>
                  <a:gd name="connsiteX165" fmla="*/ 2546 w 4694"/>
                  <a:gd name="connsiteY165" fmla="*/ 755 h 1043"/>
                  <a:gd name="connsiteX166" fmla="*/ 2587 w 4694"/>
                  <a:gd name="connsiteY166" fmla="*/ 805 h 1043"/>
                  <a:gd name="connsiteX167" fmla="*/ 2628 w 4694"/>
                  <a:gd name="connsiteY167" fmla="*/ 848 h 1043"/>
                  <a:gd name="connsiteX168" fmla="*/ 2672 w 4694"/>
                  <a:gd name="connsiteY168" fmla="*/ 886 h 1043"/>
                  <a:gd name="connsiteX169" fmla="*/ 2717 w 4694"/>
                  <a:gd name="connsiteY169" fmla="*/ 917 h 1043"/>
                  <a:gd name="connsiteX170" fmla="*/ 2767 w 4694"/>
                  <a:gd name="connsiteY170" fmla="*/ 940 h 1043"/>
                  <a:gd name="connsiteX171" fmla="*/ 2820 w 4694"/>
                  <a:gd name="connsiteY171" fmla="*/ 952 h 1043"/>
                  <a:gd name="connsiteX172" fmla="*/ 2876 w 4694"/>
                  <a:gd name="connsiteY172" fmla="*/ 956 h 1043"/>
                  <a:gd name="connsiteX173" fmla="*/ 2932 w 4694"/>
                  <a:gd name="connsiteY173" fmla="*/ 950 h 1043"/>
                  <a:gd name="connsiteX174" fmla="*/ 2982 w 4694"/>
                  <a:gd name="connsiteY174" fmla="*/ 935 h 1043"/>
                  <a:gd name="connsiteX175" fmla="*/ 3029 w 4694"/>
                  <a:gd name="connsiteY175" fmla="*/ 915 h 1043"/>
                  <a:gd name="connsiteX176" fmla="*/ 3072 w 4694"/>
                  <a:gd name="connsiteY176" fmla="*/ 884 h 1043"/>
                  <a:gd name="connsiteX177" fmla="*/ 3112 w 4694"/>
                  <a:gd name="connsiteY177" fmla="*/ 848 h 1043"/>
                  <a:gd name="connsiteX178" fmla="*/ 3149 w 4694"/>
                  <a:gd name="connsiteY178" fmla="*/ 807 h 1043"/>
                  <a:gd name="connsiteX179" fmla="*/ 3184 w 4694"/>
                  <a:gd name="connsiteY179" fmla="*/ 759 h 1043"/>
                  <a:gd name="connsiteX180" fmla="*/ 3217 w 4694"/>
                  <a:gd name="connsiteY180" fmla="*/ 709 h 1043"/>
                  <a:gd name="connsiteX181" fmla="*/ 3250 w 4694"/>
                  <a:gd name="connsiteY181" fmla="*/ 655 h 1043"/>
                  <a:gd name="connsiteX182" fmla="*/ 3283 w 4694"/>
                  <a:gd name="connsiteY182" fmla="*/ 597 h 1043"/>
                  <a:gd name="connsiteX183" fmla="*/ 3316 w 4694"/>
                  <a:gd name="connsiteY183" fmla="*/ 537 h 1043"/>
                  <a:gd name="connsiteX184" fmla="*/ 3345 w 4694"/>
                  <a:gd name="connsiteY184" fmla="*/ 483 h 1043"/>
                  <a:gd name="connsiteX185" fmla="*/ 3407 w 4694"/>
                  <a:gd name="connsiteY185" fmla="*/ 375 h 1043"/>
                  <a:gd name="connsiteX186" fmla="*/ 3477 w 4694"/>
                  <a:gd name="connsiteY186" fmla="*/ 272 h 1043"/>
                  <a:gd name="connsiteX187" fmla="*/ 3514 w 4694"/>
                  <a:gd name="connsiteY187" fmla="*/ 224 h 1043"/>
                  <a:gd name="connsiteX188" fmla="*/ 3555 w 4694"/>
                  <a:gd name="connsiteY188" fmla="*/ 178 h 1043"/>
                  <a:gd name="connsiteX189" fmla="*/ 3599 w 4694"/>
                  <a:gd name="connsiteY189" fmla="*/ 137 h 1043"/>
                  <a:gd name="connsiteX190" fmla="*/ 3646 w 4694"/>
                  <a:gd name="connsiteY190" fmla="*/ 100 h 1043"/>
                  <a:gd name="connsiteX191" fmla="*/ 3698 w 4694"/>
                  <a:gd name="connsiteY191" fmla="*/ 66 h 1043"/>
                  <a:gd name="connsiteX192" fmla="*/ 3756 w 4694"/>
                  <a:gd name="connsiteY192" fmla="*/ 40 h 1043"/>
                  <a:gd name="connsiteX193" fmla="*/ 3816 w 4694"/>
                  <a:gd name="connsiteY193" fmla="*/ 19 h 1043"/>
                  <a:gd name="connsiteX194" fmla="*/ 3882 w 4694"/>
                  <a:gd name="connsiteY194" fmla="*/ 6 h 1043"/>
                  <a:gd name="connsiteX195" fmla="*/ 3954 w 4694"/>
                  <a:gd name="connsiteY195" fmla="*/ 0 h 1043"/>
                  <a:gd name="connsiteX0" fmla="*/ 3954 w 4590"/>
                  <a:gd name="connsiteY0" fmla="*/ 0 h 1043"/>
                  <a:gd name="connsiteX1" fmla="*/ 4004 w 4590"/>
                  <a:gd name="connsiteY1" fmla="*/ 0 h 1043"/>
                  <a:gd name="connsiteX2" fmla="*/ 4032 w 4590"/>
                  <a:gd name="connsiteY2" fmla="*/ 4 h 1043"/>
                  <a:gd name="connsiteX3" fmla="*/ 4063 w 4590"/>
                  <a:gd name="connsiteY3" fmla="*/ 13 h 1043"/>
                  <a:gd name="connsiteX4" fmla="*/ 4101 w 4590"/>
                  <a:gd name="connsiteY4" fmla="*/ 23 h 1043"/>
                  <a:gd name="connsiteX5" fmla="*/ 4142 w 4590"/>
                  <a:gd name="connsiteY5" fmla="*/ 40 h 1043"/>
                  <a:gd name="connsiteX6" fmla="*/ 4185 w 4590"/>
                  <a:gd name="connsiteY6" fmla="*/ 60 h 1043"/>
                  <a:gd name="connsiteX7" fmla="*/ 4233 w 4590"/>
                  <a:gd name="connsiteY7" fmla="*/ 89 h 1043"/>
                  <a:gd name="connsiteX8" fmla="*/ 4282 w 4590"/>
                  <a:gd name="connsiteY8" fmla="*/ 125 h 1043"/>
                  <a:gd name="connsiteX9" fmla="*/ 4332 w 4590"/>
                  <a:gd name="connsiteY9" fmla="*/ 170 h 1043"/>
                  <a:gd name="connsiteX10" fmla="*/ 4383 w 4590"/>
                  <a:gd name="connsiteY10" fmla="*/ 224 h 1043"/>
                  <a:gd name="connsiteX11" fmla="*/ 4435 w 4590"/>
                  <a:gd name="connsiteY11" fmla="*/ 286 h 1043"/>
                  <a:gd name="connsiteX12" fmla="*/ 4487 w 4590"/>
                  <a:gd name="connsiteY12" fmla="*/ 361 h 1043"/>
                  <a:gd name="connsiteX13" fmla="*/ 4538 w 4590"/>
                  <a:gd name="connsiteY13" fmla="*/ 448 h 1043"/>
                  <a:gd name="connsiteX14" fmla="*/ 4590 w 4590"/>
                  <a:gd name="connsiteY14" fmla="*/ 548 h 1043"/>
                  <a:gd name="connsiteX15" fmla="*/ 4513 w 4590"/>
                  <a:gd name="connsiteY15" fmla="*/ 583 h 1043"/>
                  <a:gd name="connsiteX16" fmla="*/ 4464 w 4590"/>
                  <a:gd name="connsiteY16" fmla="*/ 487 h 1043"/>
                  <a:gd name="connsiteX17" fmla="*/ 4414 w 4590"/>
                  <a:gd name="connsiteY17" fmla="*/ 404 h 1043"/>
                  <a:gd name="connsiteX18" fmla="*/ 4365 w 4590"/>
                  <a:gd name="connsiteY18" fmla="*/ 336 h 1043"/>
                  <a:gd name="connsiteX19" fmla="*/ 4315 w 4590"/>
                  <a:gd name="connsiteY19" fmla="*/ 276 h 1043"/>
                  <a:gd name="connsiteX20" fmla="*/ 4268 w 4590"/>
                  <a:gd name="connsiteY20" fmla="*/ 228 h 1043"/>
                  <a:gd name="connsiteX21" fmla="*/ 4222 w 4590"/>
                  <a:gd name="connsiteY21" fmla="*/ 189 h 1043"/>
                  <a:gd name="connsiteX22" fmla="*/ 4181 w 4590"/>
                  <a:gd name="connsiteY22" fmla="*/ 158 h 1043"/>
                  <a:gd name="connsiteX23" fmla="*/ 4142 w 4590"/>
                  <a:gd name="connsiteY23" fmla="*/ 135 h 1043"/>
                  <a:gd name="connsiteX24" fmla="*/ 4092 w 4590"/>
                  <a:gd name="connsiteY24" fmla="*/ 112 h 1043"/>
                  <a:gd name="connsiteX25" fmla="*/ 4049 w 4590"/>
                  <a:gd name="connsiteY25" fmla="*/ 98 h 1043"/>
                  <a:gd name="connsiteX26" fmla="*/ 4014 w 4590"/>
                  <a:gd name="connsiteY26" fmla="*/ 89 h 1043"/>
                  <a:gd name="connsiteX27" fmla="*/ 3985 w 4590"/>
                  <a:gd name="connsiteY27" fmla="*/ 87 h 1043"/>
                  <a:gd name="connsiteX28" fmla="*/ 3958 w 4590"/>
                  <a:gd name="connsiteY28" fmla="*/ 87 h 1043"/>
                  <a:gd name="connsiteX29" fmla="*/ 3892 w 4590"/>
                  <a:gd name="connsiteY29" fmla="*/ 93 h 1043"/>
                  <a:gd name="connsiteX30" fmla="*/ 3830 w 4590"/>
                  <a:gd name="connsiteY30" fmla="*/ 106 h 1043"/>
                  <a:gd name="connsiteX31" fmla="*/ 3774 w 4590"/>
                  <a:gd name="connsiteY31" fmla="*/ 127 h 1043"/>
                  <a:gd name="connsiteX32" fmla="*/ 3723 w 4590"/>
                  <a:gd name="connsiteY32" fmla="*/ 154 h 1043"/>
                  <a:gd name="connsiteX33" fmla="*/ 3675 w 4590"/>
                  <a:gd name="connsiteY33" fmla="*/ 187 h 1043"/>
                  <a:gd name="connsiteX34" fmla="*/ 3632 w 4590"/>
                  <a:gd name="connsiteY34" fmla="*/ 224 h 1043"/>
                  <a:gd name="connsiteX35" fmla="*/ 3593 w 4590"/>
                  <a:gd name="connsiteY35" fmla="*/ 268 h 1043"/>
                  <a:gd name="connsiteX36" fmla="*/ 3553 w 4590"/>
                  <a:gd name="connsiteY36" fmla="*/ 313 h 1043"/>
                  <a:gd name="connsiteX37" fmla="*/ 3518 w 4590"/>
                  <a:gd name="connsiteY37" fmla="*/ 363 h 1043"/>
                  <a:gd name="connsiteX38" fmla="*/ 3485 w 4590"/>
                  <a:gd name="connsiteY38" fmla="*/ 415 h 1043"/>
                  <a:gd name="connsiteX39" fmla="*/ 3423 w 4590"/>
                  <a:gd name="connsiteY39" fmla="*/ 523 h 1043"/>
                  <a:gd name="connsiteX40" fmla="*/ 3330 w 4590"/>
                  <a:gd name="connsiteY40" fmla="*/ 691 h 1043"/>
                  <a:gd name="connsiteX41" fmla="*/ 3297 w 4590"/>
                  <a:gd name="connsiteY41" fmla="*/ 747 h 1043"/>
                  <a:gd name="connsiteX42" fmla="*/ 3262 w 4590"/>
                  <a:gd name="connsiteY42" fmla="*/ 799 h 1043"/>
                  <a:gd name="connsiteX43" fmla="*/ 3227 w 4590"/>
                  <a:gd name="connsiteY43" fmla="*/ 848 h 1043"/>
                  <a:gd name="connsiteX44" fmla="*/ 3188 w 4590"/>
                  <a:gd name="connsiteY44" fmla="*/ 894 h 1043"/>
                  <a:gd name="connsiteX45" fmla="*/ 3147 w 4590"/>
                  <a:gd name="connsiteY45" fmla="*/ 935 h 1043"/>
                  <a:gd name="connsiteX46" fmla="*/ 3101 w 4590"/>
                  <a:gd name="connsiteY46" fmla="*/ 971 h 1043"/>
                  <a:gd name="connsiteX47" fmla="*/ 3052 w 4590"/>
                  <a:gd name="connsiteY47" fmla="*/ 1000 h 1043"/>
                  <a:gd name="connsiteX48" fmla="*/ 3000 w 4590"/>
                  <a:gd name="connsiteY48" fmla="*/ 1022 h 1043"/>
                  <a:gd name="connsiteX49" fmla="*/ 2942 w 4590"/>
                  <a:gd name="connsiteY49" fmla="*/ 1037 h 1043"/>
                  <a:gd name="connsiteX50" fmla="*/ 2878 w 4590"/>
                  <a:gd name="connsiteY50" fmla="*/ 1043 h 1043"/>
                  <a:gd name="connsiteX51" fmla="*/ 2870 w 4590"/>
                  <a:gd name="connsiteY51" fmla="*/ 1043 h 1043"/>
                  <a:gd name="connsiteX52" fmla="*/ 2808 w 4590"/>
                  <a:gd name="connsiteY52" fmla="*/ 1039 h 1043"/>
                  <a:gd name="connsiteX53" fmla="*/ 2748 w 4590"/>
                  <a:gd name="connsiteY53" fmla="*/ 1025 h 1043"/>
                  <a:gd name="connsiteX54" fmla="*/ 2695 w 4590"/>
                  <a:gd name="connsiteY54" fmla="*/ 1002 h 1043"/>
                  <a:gd name="connsiteX55" fmla="*/ 2643 w 4590"/>
                  <a:gd name="connsiteY55" fmla="*/ 973 h 1043"/>
                  <a:gd name="connsiteX56" fmla="*/ 2595 w 4590"/>
                  <a:gd name="connsiteY56" fmla="*/ 935 h 1043"/>
                  <a:gd name="connsiteX57" fmla="*/ 2552 w 4590"/>
                  <a:gd name="connsiteY57" fmla="*/ 894 h 1043"/>
                  <a:gd name="connsiteX58" fmla="*/ 2509 w 4590"/>
                  <a:gd name="connsiteY58" fmla="*/ 846 h 1043"/>
                  <a:gd name="connsiteX59" fmla="*/ 2469 w 4590"/>
                  <a:gd name="connsiteY59" fmla="*/ 796 h 1043"/>
                  <a:gd name="connsiteX60" fmla="*/ 2430 w 4590"/>
                  <a:gd name="connsiteY60" fmla="*/ 740 h 1043"/>
                  <a:gd name="connsiteX61" fmla="*/ 2393 w 4590"/>
                  <a:gd name="connsiteY61" fmla="*/ 684 h 1043"/>
                  <a:gd name="connsiteX62" fmla="*/ 2288 w 4590"/>
                  <a:gd name="connsiteY62" fmla="*/ 510 h 1043"/>
                  <a:gd name="connsiteX63" fmla="*/ 2251 w 4590"/>
                  <a:gd name="connsiteY63" fmla="*/ 452 h 1043"/>
                  <a:gd name="connsiteX64" fmla="*/ 2213 w 4590"/>
                  <a:gd name="connsiteY64" fmla="*/ 396 h 1043"/>
                  <a:gd name="connsiteX65" fmla="*/ 2176 w 4590"/>
                  <a:gd name="connsiteY65" fmla="*/ 342 h 1043"/>
                  <a:gd name="connsiteX66" fmla="*/ 2137 w 4590"/>
                  <a:gd name="connsiteY66" fmla="*/ 293 h 1043"/>
                  <a:gd name="connsiteX67" fmla="*/ 2096 w 4590"/>
                  <a:gd name="connsiteY67" fmla="*/ 247 h 1043"/>
                  <a:gd name="connsiteX68" fmla="*/ 2054 w 4590"/>
                  <a:gd name="connsiteY68" fmla="*/ 205 h 1043"/>
                  <a:gd name="connsiteX69" fmla="*/ 2009 w 4590"/>
                  <a:gd name="connsiteY69" fmla="*/ 168 h 1043"/>
                  <a:gd name="connsiteX70" fmla="*/ 1962 w 4590"/>
                  <a:gd name="connsiteY70" fmla="*/ 139 h 1043"/>
                  <a:gd name="connsiteX71" fmla="*/ 1910 w 4590"/>
                  <a:gd name="connsiteY71" fmla="*/ 116 h 1043"/>
                  <a:gd name="connsiteX72" fmla="*/ 1854 w 4590"/>
                  <a:gd name="connsiteY72" fmla="*/ 100 h 1043"/>
                  <a:gd name="connsiteX73" fmla="*/ 1796 w 4590"/>
                  <a:gd name="connsiteY73" fmla="*/ 91 h 1043"/>
                  <a:gd name="connsiteX74" fmla="*/ 1732 w 4590"/>
                  <a:gd name="connsiteY74" fmla="*/ 93 h 1043"/>
                  <a:gd name="connsiteX75" fmla="*/ 1664 w 4590"/>
                  <a:gd name="connsiteY75" fmla="*/ 104 h 1043"/>
                  <a:gd name="connsiteX76" fmla="*/ 1602 w 4590"/>
                  <a:gd name="connsiteY76" fmla="*/ 122 h 1043"/>
                  <a:gd name="connsiteX77" fmla="*/ 1545 w 4590"/>
                  <a:gd name="connsiteY77" fmla="*/ 147 h 1043"/>
                  <a:gd name="connsiteX78" fmla="*/ 1491 w 4590"/>
                  <a:gd name="connsiteY78" fmla="*/ 181 h 1043"/>
                  <a:gd name="connsiteX79" fmla="*/ 1439 w 4590"/>
                  <a:gd name="connsiteY79" fmla="*/ 218 h 1043"/>
                  <a:gd name="connsiteX80" fmla="*/ 1394 w 4590"/>
                  <a:gd name="connsiteY80" fmla="*/ 261 h 1043"/>
                  <a:gd name="connsiteX81" fmla="*/ 1348 w 4590"/>
                  <a:gd name="connsiteY81" fmla="*/ 307 h 1043"/>
                  <a:gd name="connsiteX82" fmla="*/ 1307 w 4590"/>
                  <a:gd name="connsiteY82" fmla="*/ 359 h 1043"/>
                  <a:gd name="connsiteX83" fmla="*/ 1268 w 4590"/>
                  <a:gd name="connsiteY83" fmla="*/ 413 h 1043"/>
                  <a:gd name="connsiteX84" fmla="*/ 1231 w 4590"/>
                  <a:gd name="connsiteY84" fmla="*/ 467 h 1043"/>
                  <a:gd name="connsiteX85" fmla="*/ 1194 w 4590"/>
                  <a:gd name="connsiteY85" fmla="*/ 523 h 1043"/>
                  <a:gd name="connsiteX86" fmla="*/ 1156 w 4590"/>
                  <a:gd name="connsiteY86" fmla="*/ 581 h 1043"/>
                  <a:gd name="connsiteX87" fmla="*/ 1121 w 4590"/>
                  <a:gd name="connsiteY87" fmla="*/ 637 h 1043"/>
                  <a:gd name="connsiteX88" fmla="*/ 1047 w 4590"/>
                  <a:gd name="connsiteY88" fmla="*/ 749 h 1043"/>
                  <a:gd name="connsiteX89" fmla="*/ 1008 w 4590"/>
                  <a:gd name="connsiteY89" fmla="*/ 801 h 1043"/>
                  <a:gd name="connsiteX90" fmla="*/ 966 w 4590"/>
                  <a:gd name="connsiteY90" fmla="*/ 850 h 1043"/>
                  <a:gd name="connsiteX91" fmla="*/ 923 w 4590"/>
                  <a:gd name="connsiteY91" fmla="*/ 896 h 1043"/>
                  <a:gd name="connsiteX92" fmla="*/ 876 w 4590"/>
                  <a:gd name="connsiteY92" fmla="*/ 937 h 1043"/>
                  <a:gd name="connsiteX93" fmla="*/ 826 w 4590"/>
                  <a:gd name="connsiteY93" fmla="*/ 973 h 1043"/>
                  <a:gd name="connsiteX94" fmla="*/ 772 w 4590"/>
                  <a:gd name="connsiteY94" fmla="*/ 1002 h 1043"/>
                  <a:gd name="connsiteX95" fmla="*/ 717 w 4590"/>
                  <a:gd name="connsiteY95" fmla="*/ 1025 h 1043"/>
                  <a:gd name="connsiteX96" fmla="*/ 653 w 4590"/>
                  <a:gd name="connsiteY96" fmla="*/ 1037 h 1043"/>
                  <a:gd name="connsiteX97" fmla="*/ 587 w 4590"/>
                  <a:gd name="connsiteY97" fmla="*/ 1043 h 1043"/>
                  <a:gd name="connsiteX98" fmla="*/ 580 w 4590"/>
                  <a:gd name="connsiteY98" fmla="*/ 1043 h 1043"/>
                  <a:gd name="connsiteX99" fmla="*/ 512 w 4590"/>
                  <a:gd name="connsiteY99" fmla="*/ 1039 h 1043"/>
                  <a:gd name="connsiteX100" fmla="*/ 450 w 4590"/>
                  <a:gd name="connsiteY100" fmla="*/ 1027 h 1043"/>
                  <a:gd name="connsiteX101" fmla="*/ 392 w 4590"/>
                  <a:gd name="connsiteY101" fmla="*/ 1008 h 1043"/>
                  <a:gd name="connsiteX102" fmla="*/ 341 w 4590"/>
                  <a:gd name="connsiteY102" fmla="*/ 983 h 1043"/>
                  <a:gd name="connsiteX103" fmla="*/ 293 w 4590"/>
                  <a:gd name="connsiteY103" fmla="*/ 952 h 1043"/>
                  <a:gd name="connsiteX104" fmla="*/ 248 w 4590"/>
                  <a:gd name="connsiteY104" fmla="*/ 915 h 1043"/>
                  <a:gd name="connsiteX105" fmla="*/ 207 w 4590"/>
                  <a:gd name="connsiteY105" fmla="*/ 873 h 1043"/>
                  <a:gd name="connsiteX106" fmla="*/ 169 w 4590"/>
                  <a:gd name="connsiteY106" fmla="*/ 828 h 1043"/>
                  <a:gd name="connsiteX107" fmla="*/ 132 w 4590"/>
                  <a:gd name="connsiteY107" fmla="*/ 780 h 1043"/>
                  <a:gd name="connsiteX108" fmla="*/ 99 w 4590"/>
                  <a:gd name="connsiteY108" fmla="*/ 728 h 1043"/>
                  <a:gd name="connsiteX109" fmla="*/ 64 w 4590"/>
                  <a:gd name="connsiteY109" fmla="*/ 674 h 1043"/>
                  <a:gd name="connsiteX110" fmla="*/ 33 w 4590"/>
                  <a:gd name="connsiteY110" fmla="*/ 618 h 1043"/>
                  <a:gd name="connsiteX111" fmla="*/ 0 w 4590"/>
                  <a:gd name="connsiteY111" fmla="*/ 560 h 1043"/>
                  <a:gd name="connsiteX112" fmla="*/ 77 w 4590"/>
                  <a:gd name="connsiteY112" fmla="*/ 516 h 1043"/>
                  <a:gd name="connsiteX113" fmla="*/ 110 w 4590"/>
                  <a:gd name="connsiteY113" fmla="*/ 575 h 1043"/>
                  <a:gd name="connsiteX114" fmla="*/ 143 w 4590"/>
                  <a:gd name="connsiteY114" fmla="*/ 631 h 1043"/>
                  <a:gd name="connsiteX115" fmla="*/ 176 w 4590"/>
                  <a:gd name="connsiteY115" fmla="*/ 684 h 1043"/>
                  <a:gd name="connsiteX116" fmla="*/ 209 w 4590"/>
                  <a:gd name="connsiteY116" fmla="*/ 736 h 1043"/>
                  <a:gd name="connsiteX117" fmla="*/ 244 w 4590"/>
                  <a:gd name="connsiteY117" fmla="*/ 782 h 1043"/>
                  <a:gd name="connsiteX118" fmla="*/ 281 w 4590"/>
                  <a:gd name="connsiteY118" fmla="*/ 825 h 1043"/>
                  <a:gd name="connsiteX119" fmla="*/ 322 w 4590"/>
                  <a:gd name="connsiteY119" fmla="*/ 863 h 1043"/>
                  <a:gd name="connsiteX120" fmla="*/ 366 w 4590"/>
                  <a:gd name="connsiteY120" fmla="*/ 894 h 1043"/>
                  <a:gd name="connsiteX121" fmla="*/ 413 w 4590"/>
                  <a:gd name="connsiteY121" fmla="*/ 921 h 1043"/>
                  <a:gd name="connsiteX122" fmla="*/ 463 w 4590"/>
                  <a:gd name="connsiteY122" fmla="*/ 940 h 1043"/>
                  <a:gd name="connsiteX123" fmla="*/ 518 w 4590"/>
                  <a:gd name="connsiteY123" fmla="*/ 952 h 1043"/>
                  <a:gd name="connsiteX124" fmla="*/ 580 w 4590"/>
                  <a:gd name="connsiteY124" fmla="*/ 956 h 1043"/>
                  <a:gd name="connsiteX125" fmla="*/ 587 w 4590"/>
                  <a:gd name="connsiteY125" fmla="*/ 956 h 1043"/>
                  <a:gd name="connsiteX126" fmla="*/ 646 w 4590"/>
                  <a:gd name="connsiteY126" fmla="*/ 950 h 1043"/>
                  <a:gd name="connsiteX127" fmla="*/ 702 w 4590"/>
                  <a:gd name="connsiteY127" fmla="*/ 935 h 1043"/>
                  <a:gd name="connsiteX128" fmla="*/ 756 w 4590"/>
                  <a:gd name="connsiteY128" fmla="*/ 913 h 1043"/>
                  <a:gd name="connsiteX129" fmla="*/ 803 w 4590"/>
                  <a:gd name="connsiteY129" fmla="*/ 884 h 1043"/>
                  <a:gd name="connsiteX130" fmla="*/ 849 w 4590"/>
                  <a:gd name="connsiteY130" fmla="*/ 846 h 1043"/>
                  <a:gd name="connsiteX131" fmla="*/ 892 w 4590"/>
                  <a:gd name="connsiteY131" fmla="*/ 803 h 1043"/>
                  <a:gd name="connsiteX132" fmla="*/ 931 w 4590"/>
                  <a:gd name="connsiteY132" fmla="*/ 755 h 1043"/>
                  <a:gd name="connsiteX133" fmla="*/ 971 w 4590"/>
                  <a:gd name="connsiteY133" fmla="*/ 703 h 1043"/>
                  <a:gd name="connsiteX134" fmla="*/ 1010 w 4590"/>
                  <a:gd name="connsiteY134" fmla="*/ 649 h 1043"/>
                  <a:gd name="connsiteX135" fmla="*/ 1121 w 4590"/>
                  <a:gd name="connsiteY135" fmla="*/ 475 h 1043"/>
                  <a:gd name="connsiteX136" fmla="*/ 1161 w 4590"/>
                  <a:gd name="connsiteY136" fmla="*/ 415 h 1043"/>
                  <a:gd name="connsiteX137" fmla="*/ 1202 w 4590"/>
                  <a:gd name="connsiteY137" fmla="*/ 357 h 1043"/>
                  <a:gd name="connsiteX138" fmla="*/ 1245 w 4590"/>
                  <a:gd name="connsiteY138" fmla="*/ 299 h 1043"/>
                  <a:gd name="connsiteX139" fmla="*/ 1291 w 4590"/>
                  <a:gd name="connsiteY139" fmla="*/ 245 h 1043"/>
                  <a:gd name="connsiteX140" fmla="*/ 1338 w 4590"/>
                  <a:gd name="connsiteY140" fmla="*/ 193 h 1043"/>
                  <a:gd name="connsiteX141" fmla="*/ 1392 w 4590"/>
                  <a:gd name="connsiteY141" fmla="*/ 145 h 1043"/>
                  <a:gd name="connsiteX142" fmla="*/ 1447 w 4590"/>
                  <a:gd name="connsiteY142" fmla="*/ 104 h 1043"/>
                  <a:gd name="connsiteX143" fmla="*/ 1509 w 4590"/>
                  <a:gd name="connsiteY143" fmla="*/ 69 h 1043"/>
                  <a:gd name="connsiteX144" fmla="*/ 1575 w 4590"/>
                  <a:gd name="connsiteY144" fmla="*/ 40 h 1043"/>
                  <a:gd name="connsiteX145" fmla="*/ 1648 w 4590"/>
                  <a:gd name="connsiteY145" fmla="*/ 19 h 1043"/>
                  <a:gd name="connsiteX146" fmla="*/ 1726 w 4590"/>
                  <a:gd name="connsiteY146" fmla="*/ 6 h 1043"/>
                  <a:gd name="connsiteX147" fmla="*/ 1796 w 4590"/>
                  <a:gd name="connsiteY147" fmla="*/ 4 h 1043"/>
                  <a:gd name="connsiteX148" fmla="*/ 1862 w 4590"/>
                  <a:gd name="connsiteY148" fmla="*/ 13 h 1043"/>
                  <a:gd name="connsiteX149" fmla="*/ 1922 w 4590"/>
                  <a:gd name="connsiteY149" fmla="*/ 27 h 1043"/>
                  <a:gd name="connsiteX150" fmla="*/ 1980 w 4590"/>
                  <a:gd name="connsiteY150" fmla="*/ 50 h 1043"/>
                  <a:gd name="connsiteX151" fmla="*/ 2034 w 4590"/>
                  <a:gd name="connsiteY151" fmla="*/ 81 h 1043"/>
                  <a:gd name="connsiteX152" fmla="*/ 2083 w 4590"/>
                  <a:gd name="connsiteY152" fmla="*/ 116 h 1043"/>
                  <a:gd name="connsiteX153" fmla="*/ 2129 w 4590"/>
                  <a:gd name="connsiteY153" fmla="*/ 158 h 1043"/>
                  <a:gd name="connsiteX154" fmla="*/ 2174 w 4590"/>
                  <a:gd name="connsiteY154" fmla="*/ 203 h 1043"/>
                  <a:gd name="connsiteX155" fmla="*/ 2216 w 4590"/>
                  <a:gd name="connsiteY155" fmla="*/ 251 h 1043"/>
                  <a:gd name="connsiteX156" fmla="*/ 2255 w 4590"/>
                  <a:gd name="connsiteY156" fmla="*/ 303 h 1043"/>
                  <a:gd name="connsiteX157" fmla="*/ 2292 w 4590"/>
                  <a:gd name="connsiteY157" fmla="*/ 357 h 1043"/>
                  <a:gd name="connsiteX158" fmla="*/ 2327 w 4590"/>
                  <a:gd name="connsiteY158" fmla="*/ 413 h 1043"/>
                  <a:gd name="connsiteX159" fmla="*/ 2362 w 4590"/>
                  <a:gd name="connsiteY159" fmla="*/ 467 h 1043"/>
                  <a:gd name="connsiteX160" fmla="*/ 2395 w 4590"/>
                  <a:gd name="connsiteY160" fmla="*/ 523 h 1043"/>
                  <a:gd name="connsiteX161" fmla="*/ 2432 w 4590"/>
                  <a:gd name="connsiteY161" fmla="*/ 585 h 1043"/>
                  <a:gd name="connsiteX162" fmla="*/ 2469 w 4590"/>
                  <a:gd name="connsiteY162" fmla="*/ 643 h 1043"/>
                  <a:gd name="connsiteX163" fmla="*/ 2509 w 4590"/>
                  <a:gd name="connsiteY163" fmla="*/ 701 h 1043"/>
                  <a:gd name="connsiteX164" fmla="*/ 2546 w 4590"/>
                  <a:gd name="connsiteY164" fmla="*/ 755 h 1043"/>
                  <a:gd name="connsiteX165" fmla="*/ 2587 w 4590"/>
                  <a:gd name="connsiteY165" fmla="*/ 805 h 1043"/>
                  <a:gd name="connsiteX166" fmla="*/ 2628 w 4590"/>
                  <a:gd name="connsiteY166" fmla="*/ 848 h 1043"/>
                  <a:gd name="connsiteX167" fmla="*/ 2672 w 4590"/>
                  <a:gd name="connsiteY167" fmla="*/ 886 h 1043"/>
                  <a:gd name="connsiteX168" fmla="*/ 2717 w 4590"/>
                  <a:gd name="connsiteY168" fmla="*/ 917 h 1043"/>
                  <a:gd name="connsiteX169" fmla="*/ 2767 w 4590"/>
                  <a:gd name="connsiteY169" fmla="*/ 940 h 1043"/>
                  <a:gd name="connsiteX170" fmla="*/ 2820 w 4590"/>
                  <a:gd name="connsiteY170" fmla="*/ 952 h 1043"/>
                  <a:gd name="connsiteX171" fmla="*/ 2876 w 4590"/>
                  <a:gd name="connsiteY171" fmla="*/ 956 h 1043"/>
                  <a:gd name="connsiteX172" fmla="*/ 2932 w 4590"/>
                  <a:gd name="connsiteY172" fmla="*/ 950 h 1043"/>
                  <a:gd name="connsiteX173" fmla="*/ 2982 w 4590"/>
                  <a:gd name="connsiteY173" fmla="*/ 935 h 1043"/>
                  <a:gd name="connsiteX174" fmla="*/ 3029 w 4590"/>
                  <a:gd name="connsiteY174" fmla="*/ 915 h 1043"/>
                  <a:gd name="connsiteX175" fmla="*/ 3072 w 4590"/>
                  <a:gd name="connsiteY175" fmla="*/ 884 h 1043"/>
                  <a:gd name="connsiteX176" fmla="*/ 3112 w 4590"/>
                  <a:gd name="connsiteY176" fmla="*/ 848 h 1043"/>
                  <a:gd name="connsiteX177" fmla="*/ 3149 w 4590"/>
                  <a:gd name="connsiteY177" fmla="*/ 807 h 1043"/>
                  <a:gd name="connsiteX178" fmla="*/ 3184 w 4590"/>
                  <a:gd name="connsiteY178" fmla="*/ 759 h 1043"/>
                  <a:gd name="connsiteX179" fmla="*/ 3217 w 4590"/>
                  <a:gd name="connsiteY179" fmla="*/ 709 h 1043"/>
                  <a:gd name="connsiteX180" fmla="*/ 3250 w 4590"/>
                  <a:gd name="connsiteY180" fmla="*/ 655 h 1043"/>
                  <a:gd name="connsiteX181" fmla="*/ 3283 w 4590"/>
                  <a:gd name="connsiteY181" fmla="*/ 597 h 1043"/>
                  <a:gd name="connsiteX182" fmla="*/ 3316 w 4590"/>
                  <a:gd name="connsiteY182" fmla="*/ 537 h 1043"/>
                  <a:gd name="connsiteX183" fmla="*/ 3345 w 4590"/>
                  <a:gd name="connsiteY183" fmla="*/ 483 h 1043"/>
                  <a:gd name="connsiteX184" fmla="*/ 3407 w 4590"/>
                  <a:gd name="connsiteY184" fmla="*/ 375 h 1043"/>
                  <a:gd name="connsiteX185" fmla="*/ 3477 w 4590"/>
                  <a:gd name="connsiteY185" fmla="*/ 272 h 1043"/>
                  <a:gd name="connsiteX186" fmla="*/ 3514 w 4590"/>
                  <a:gd name="connsiteY186" fmla="*/ 224 h 1043"/>
                  <a:gd name="connsiteX187" fmla="*/ 3555 w 4590"/>
                  <a:gd name="connsiteY187" fmla="*/ 178 h 1043"/>
                  <a:gd name="connsiteX188" fmla="*/ 3599 w 4590"/>
                  <a:gd name="connsiteY188" fmla="*/ 137 h 1043"/>
                  <a:gd name="connsiteX189" fmla="*/ 3646 w 4590"/>
                  <a:gd name="connsiteY189" fmla="*/ 100 h 1043"/>
                  <a:gd name="connsiteX190" fmla="*/ 3698 w 4590"/>
                  <a:gd name="connsiteY190" fmla="*/ 66 h 1043"/>
                  <a:gd name="connsiteX191" fmla="*/ 3756 w 4590"/>
                  <a:gd name="connsiteY191" fmla="*/ 40 h 1043"/>
                  <a:gd name="connsiteX192" fmla="*/ 3816 w 4590"/>
                  <a:gd name="connsiteY192" fmla="*/ 19 h 1043"/>
                  <a:gd name="connsiteX193" fmla="*/ 3882 w 4590"/>
                  <a:gd name="connsiteY193" fmla="*/ 6 h 1043"/>
                  <a:gd name="connsiteX194" fmla="*/ 3954 w 4590"/>
                  <a:gd name="connsiteY194" fmla="*/ 0 h 1043"/>
                  <a:gd name="connsiteX0" fmla="*/ 3954 w 4542"/>
                  <a:gd name="connsiteY0" fmla="*/ 0 h 1043"/>
                  <a:gd name="connsiteX1" fmla="*/ 4004 w 4542"/>
                  <a:gd name="connsiteY1" fmla="*/ 0 h 1043"/>
                  <a:gd name="connsiteX2" fmla="*/ 4032 w 4542"/>
                  <a:gd name="connsiteY2" fmla="*/ 4 h 1043"/>
                  <a:gd name="connsiteX3" fmla="*/ 4063 w 4542"/>
                  <a:gd name="connsiteY3" fmla="*/ 13 h 1043"/>
                  <a:gd name="connsiteX4" fmla="*/ 4101 w 4542"/>
                  <a:gd name="connsiteY4" fmla="*/ 23 h 1043"/>
                  <a:gd name="connsiteX5" fmla="*/ 4142 w 4542"/>
                  <a:gd name="connsiteY5" fmla="*/ 40 h 1043"/>
                  <a:gd name="connsiteX6" fmla="*/ 4185 w 4542"/>
                  <a:gd name="connsiteY6" fmla="*/ 60 h 1043"/>
                  <a:gd name="connsiteX7" fmla="*/ 4233 w 4542"/>
                  <a:gd name="connsiteY7" fmla="*/ 89 h 1043"/>
                  <a:gd name="connsiteX8" fmla="*/ 4282 w 4542"/>
                  <a:gd name="connsiteY8" fmla="*/ 125 h 1043"/>
                  <a:gd name="connsiteX9" fmla="*/ 4332 w 4542"/>
                  <a:gd name="connsiteY9" fmla="*/ 170 h 1043"/>
                  <a:gd name="connsiteX10" fmla="*/ 4383 w 4542"/>
                  <a:gd name="connsiteY10" fmla="*/ 224 h 1043"/>
                  <a:gd name="connsiteX11" fmla="*/ 4435 w 4542"/>
                  <a:gd name="connsiteY11" fmla="*/ 286 h 1043"/>
                  <a:gd name="connsiteX12" fmla="*/ 4487 w 4542"/>
                  <a:gd name="connsiteY12" fmla="*/ 361 h 1043"/>
                  <a:gd name="connsiteX13" fmla="*/ 4538 w 4542"/>
                  <a:gd name="connsiteY13" fmla="*/ 448 h 1043"/>
                  <a:gd name="connsiteX14" fmla="*/ 4513 w 4542"/>
                  <a:gd name="connsiteY14" fmla="*/ 583 h 1043"/>
                  <a:gd name="connsiteX15" fmla="*/ 4464 w 4542"/>
                  <a:gd name="connsiteY15" fmla="*/ 487 h 1043"/>
                  <a:gd name="connsiteX16" fmla="*/ 4414 w 4542"/>
                  <a:gd name="connsiteY16" fmla="*/ 404 h 1043"/>
                  <a:gd name="connsiteX17" fmla="*/ 4365 w 4542"/>
                  <a:gd name="connsiteY17" fmla="*/ 336 h 1043"/>
                  <a:gd name="connsiteX18" fmla="*/ 4315 w 4542"/>
                  <a:gd name="connsiteY18" fmla="*/ 276 h 1043"/>
                  <a:gd name="connsiteX19" fmla="*/ 4268 w 4542"/>
                  <a:gd name="connsiteY19" fmla="*/ 228 h 1043"/>
                  <a:gd name="connsiteX20" fmla="*/ 4222 w 4542"/>
                  <a:gd name="connsiteY20" fmla="*/ 189 h 1043"/>
                  <a:gd name="connsiteX21" fmla="*/ 4181 w 4542"/>
                  <a:gd name="connsiteY21" fmla="*/ 158 h 1043"/>
                  <a:gd name="connsiteX22" fmla="*/ 4142 w 4542"/>
                  <a:gd name="connsiteY22" fmla="*/ 135 h 1043"/>
                  <a:gd name="connsiteX23" fmla="*/ 4092 w 4542"/>
                  <a:gd name="connsiteY23" fmla="*/ 112 h 1043"/>
                  <a:gd name="connsiteX24" fmla="*/ 4049 w 4542"/>
                  <a:gd name="connsiteY24" fmla="*/ 98 h 1043"/>
                  <a:gd name="connsiteX25" fmla="*/ 4014 w 4542"/>
                  <a:gd name="connsiteY25" fmla="*/ 89 h 1043"/>
                  <a:gd name="connsiteX26" fmla="*/ 3985 w 4542"/>
                  <a:gd name="connsiteY26" fmla="*/ 87 h 1043"/>
                  <a:gd name="connsiteX27" fmla="*/ 3958 w 4542"/>
                  <a:gd name="connsiteY27" fmla="*/ 87 h 1043"/>
                  <a:gd name="connsiteX28" fmla="*/ 3892 w 4542"/>
                  <a:gd name="connsiteY28" fmla="*/ 93 h 1043"/>
                  <a:gd name="connsiteX29" fmla="*/ 3830 w 4542"/>
                  <a:gd name="connsiteY29" fmla="*/ 106 h 1043"/>
                  <a:gd name="connsiteX30" fmla="*/ 3774 w 4542"/>
                  <a:gd name="connsiteY30" fmla="*/ 127 h 1043"/>
                  <a:gd name="connsiteX31" fmla="*/ 3723 w 4542"/>
                  <a:gd name="connsiteY31" fmla="*/ 154 h 1043"/>
                  <a:gd name="connsiteX32" fmla="*/ 3675 w 4542"/>
                  <a:gd name="connsiteY32" fmla="*/ 187 h 1043"/>
                  <a:gd name="connsiteX33" fmla="*/ 3632 w 4542"/>
                  <a:gd name="connsiteY33" fmla="*/ 224 h 1043"/>
                  <a:gd name="connsiteX34" fmla="*/ 3593 w 4542"/>
                  <a:gd name="connsiteY34" fmla="*/ 268 h 1043"/>
                  <a:gd name="connsiteX35" fmla="*/ 3553 w 4542"/>
                  <a:gd name="connsiteY35" fmla="*/ 313 h 1043"/>
                  <a:gd name="connsiteX36" fmla="*/ 3518 w 4542"/>
                  <a:gd name="connsiteY36" fmla="*/ 363 h 1043"/>
                  <a:gd name="connsiteX37" fmla="*/ 3485 w 4542"/>
                  <a:gd name="connsiteY37" fmla="*/ 415 h 1043"/>
                  <a:gd name="connsiteX38" fmla="*/ 3423 w 4542"/>
                  <a:gd name="connsiteY38" fmla="*/ 523 h 1043"/>
                  <a:gd name="connsiteX39" fmla="*/ 3330 w 4542"/>
                  <a:gd name="connsiteY39" fmla="*/ 691 h 1043"/>
                  <a:gd name="connsiteX40" fmla="*/ 3297 w 4542"/>
                  <a:gd name="connsiteY40" fmla="*/ 747 h 1043"/>
                  <a:gd name="connsiteX41" fmla="*/ 3262 w 4542"/>
                  <a:gd name="connsiteY41" fmla="*/ 799 h 1043"/>
                  <a:gd name="connsiteX42" fmla="*/ 3227 w 4542"/>
                  <a:gd name="connsiteY42" fmla="*/ 848 h 1043"/>
                  <a:gd name="connsiteX43" fmla="*/ 3188 w 4542"/>
                  <a:gd name="connsiteY43" fmla="*/ 894 h 1043"/>
                  <a:gd name="connsiteX44" fmla="*/ 3147 w 4542"/>
                  <a:gd name="connsiteY44" fmla="*/ 935 h 1043"/>
                  <a:gd name="connsiteX45" fmla="*/ 3101 w 4542"/>
                  <a:gd name="connsiteY45" fmla="*/ 971 h 1043"/>
                  <a:gd name="connsiteX46" fmla="*/ 3052 w 4542"/>
                  <a:gd name="connsiteY46" fmla="*/ 1000 h 1043"/>
                  <a:gd name="connsiteX47" fmla="*/ 3000 w 4542"/>
                  <a:gd name="connsiteY47" fmla="*/ 1022 h 1043"/>
                  <a:gd name="connsiteX48" fmla="*/ 2942 w 4542"/>
                  <a:gd name="connsiteY48" fmla="*/ 1037 h 1043"/>
                  <a:gd name="connsiteX49" fmla="*/ 2878 w 4542"/>
                  <a:gd name="connsiteY49" fmla="*/ 1043 h 1043"/>
                  <a:gd name="connsiteX50" fmla="*/ 2870 w 4542"/>
                  <a:gd name="connsiteY50" fmla="*/ 1043 h 1043"/>
                  <a:gd name="connsiteX51" fmla="*/ 2808 w 4542"/>
                  <a:gd name="connsiteY51" fmla="*/ 1039 h 1043"/>
                  <a:gd name="connsiteX52" fmla="*/ 2748 w 4542"/>
                  <a:gd name="connsiteY52" fmla="*/ 1025 h 1043"/>
                  <a:gd name="connsiteX53" fmla="*/ 2695 w 4542"/>
                  <a:gd name="connsiteY53" fmla="*/ 1002 h 1043"/>
                  <a:gd name="connsiteX54" fmla="*/ 2643 w 4542"/>
                  <a:gd name="connsiteY54" fmla="*/ 973 h 1043"/>
                  <a:gd name="connsiteX55" fmla="*/ 2595 w 4542"/>
                  <a:gd name="connsiteY55" fmla="*/ 935 h 1043"/>
                  <a:gd name="connsiteX56" fmla="*/ 2552 w 4542"/>
                  <a:gd name="connsiteY56" fmla="*/ 894 h 1043"/>
                  <a:gd name="connsiteX57" fmla="*/ 2509 w 4542"/>
                  <a:gd name="connsiteY57" fmla="*/ 846 h 1043"/>
                  <a:gd name="connsiteX58" fmla="*/ 2469 w 4542"/>
                  <a:gd name="connsiteY58" fmla="*/ 796 h 1043"/>
                  <a:gd name="connsiteX59" fmla="*/ 2430 w 4542"/>
                  <a:gd name="connsiteY59" fmla="*/ 740 h 1043"/>
                  <a:gd name="connsiteX60" fmla="*/ 2393 w 4542"/>
                  <a:gd name="connsiteY60" fmla="*/ 684 h 1043"/>
                  <a:gd name="connsiteX61" fmla="*/ 2288 w 4542"/>
                  <a:gd name="connsiteY61" fmla="*/ 510 h 1043"/>
                  <a:gd name="connsiteX62" fmla="*/ 2251 w 4542"/>
                  <a:gd name="connsiteY62" fmla="*/ 452 h 1043"/>
                  <a:gd name="connsiteX63" fmla="*/ 2213 w 4542"/>
                  <a:gd name="connsiteY63" fmla="*/ 396 h 1043"/>
                  <a:gd name="connsiteX64" fmla="*/ 2176 w 4542"/>
                  <a:gd name="connsiteY64" fmla="*/ 342 h 1043"/>
                  <a:gd name="connsiteX65" fmla="*/ 2137 w 4542"/>
                  <a:gd name="connsiteY65" fmla="*/ 293 h 1043"/>
                  <a:gd name="connsiteX66" fmla="*/ 2096 w 4542"/>
                  <a:gd name="connsiteY66" fmla="*/ 247 h 1043"/>
                  <a:gd name="connsiteX67" fmla="*/ 2054 w 4542"/>
                  <a:gd name="connsiteY67" fmla="*/ 205 h 1043"/>
                  <a:gd name="connsiteX68" fmla="*/ 2009 w 4542"/>
                  <a:gd name="connsiteY68" fmla="*/ 168 h 1043"/>
                  <a:gd name="connsiteX69" fmla="*/ 1962 w 4542"/>
                  <a:gd name="connsiteY69" fmla="*/ 139 h 1043"/>
                  <a:gd name="connsiteX70" fmla="*/ 1910 w 4542"/>
                  <a:gd name="connsiteY70" fmla="*/ 116 h 1043"/>
                  <a:gd name="connsiteX71" fmla="*/ 1854 w 4542"/>
                  <a:gd name="connsiteY71" fmla="*/ 100 h 1043"/>
                  <a:gd name="connsiteX72" fmla="*/ 1796 w 4542"/>
                  <a:gd name="connsiteY72" fmla="*/ 91 h 1043"/>
                  <a:gd name="connsiteX73" fmla="*/ 1732 w 4542"/>
                  <a:gd name="connsiteY73" fmla="*/ 93 h 1043"/>
                  <a:gd name="connsiteX74" fmla="*/ 1664 w 4542"/>
                  <a:gd name="connsiteY74" fmla="*/ 104 h 1043"/>
                  <a:gd name="connsiteX75" fmla="*/ 1602 w 4542"/>
                  <a:gd name="connsiteY75" fmla="*/ 122 h 1043"/>
                  <a:gd name="connsiteX76" fmla="*/ 1545 w 4542"/>
                  <a:gd name="connsiteY76" fmla="*/ 147 h 1043"/>
                  <a:gd name="connsiteX77" fmla="*/ 1491 w 4542"/>
                  <a:gd name="connsiteY77" fmla="*/ 181 h 1043"/>
                  <a:gd name="connsiteX78" fmla="*/ 1439 w 4542"/>
                  <a:gd name="connsiteY78" fmla="*/ 218 h 1043"/>
                  <a:gd name="connsiteX79" fmla="*/ 1394 w 4542"/>
                  <a:gd name="connsiteY79" fmla="*/ 261 h 1043"/>
                  <a:gd name="connsiteX80" fmla="*/ 1348 w 4542"/>
                  <a:gd name="connsiteY80" fmla="*/ 307 h 1043"/>
                  <a:gd name="connsiteX81" fmla="*/ 1307 w 4542"/>
                  <a:gd name="connsiteY81" fmla="*/ 359 h 1043"/>
                  <a:gd name="connsiteX82" fmla="*/ 1268 w 4542"/>
                  <a:gd name="connsiteY82" fmla="*/ 413 h 1043"/>
                  <a:gd name="connsiteX83" fmla="*/ 1231 w 4542"/>
                  <a:gd name="connsiteY83" fmla="*/ 467 h 1043"/>
                  <a:gd name="connsiteX84" fmla="*/ 1194 w 4542"/>
                  <a:gd name="connsiteY84" fmla="*/ 523 h 1043"/>
                  <a:gd name="connsiteX85" fmla="*/ 1156 w 4542"/>
                  <a:gd name="connsiteY85" fmla="*/ 581 h 1043"/>
                  <a:gd name="connsiteX86" fmla="*/ 1121 w 4542"/>
                  <a:gd name="connsiteY86" fmla="*/ 637 h 1043"/>
                  <a:gd name="connsiteX87" fmla="*/ 1047 w 4542"/>
                  <a:gd name="connsiteY87" fmla="*/ 749 h 1043"/>
                  <a:gd name="connsiteX88" fmla="*/ 1008 w 4542"/>
                  <a:gd name="connsiteY88" fmla="*/ 801 h 1043"/>
                  <a:gd name="connsiteX89" fmla="*/ 966 w 4542"/>
                  <a:gd name="connsiteY89" fmla="*/ 850 h 1043"/>
                  <a:gd name="connsiteX90" fmla="*/ 923 w 4542"/>
                  <a:gd name="connsiteY90" fmla="*/ 896 h 1043"/>
                  <a:gd name="connsiteX91" fmla="*/ 876 w 4542"/>
                  <a:gd name="connsiteY91" fmla="*/ 937 h 1043"/>
                  <a:gd name="connsiteX92" fmla="*/ 826 w 4542"/>
                  <a:gd name="connsiteY92" fmla="*/ 973 h 1043"/>
                  <a:gd name="connsiteX93" fmla="*/ 772 w 4542"/>
                  <a:gd name="connsiteY93" fmla="*/ 1002 h 1043"/>
                  <a:gd name="connsiteX94" fmla="*/ 717 w 4542"/>
                  <a:gd name="connsiteY94" fmla="*/ 1025 h 1043"/>
                  <a:gd name="connsiteX95" fmla="*/ 653 w 4542"/>
                  <a:gd name="connsiteY95" fmla="*/ 1037 h 1043"/>
                  <a:gd name="connsiteX96" fmla="*/ 587 w 4542"/>
                  <a:gd name="connsiteY96" fmla="*/ 1043 h 1043"/>
                  <a:gd name="connsiteX97" fmla="*/ 580 w 4542"/>
                  <a:gd name="connsiteY97" fmla="*/ 1043 h 1043"/>
                  <a:gd name="connsiteX98" fmla="*/ 512 w 4542"/>
                  <a:gd name="connsiteY98" fmla="*/ 1039 h 1043"/>
                  <a:gd name="connsiteX99" fmla="*/ 450 w 4542"/>
                  <a:gd name="connsiteY99" fmla="*/ 1027 h 1043"/>
                  <a:gd name="connsiteX100" fmla="*/ 392 w 4542"/>
                  <a:gd name="connsiteY100" fmla="*/ 1008 h 1043"/>
                  <a:gd name="connsiteX101" fmla="*/ 341 w 4542"/>
                  <a:gd name="connsiteY101" fmla="*/ 983 h 1043"/>
                  <a:gd name="connsiteX102" fmla="*/ 293 w 4542"/>
                  <a:gd name="connsiteY102" fmla="*/ 952 h 1043"/>
                  <a:gd name="connsiteX103" fmla="*/ 248 w 4542"/>
                  <a:gd name="connsiteY103" fmla="*/ 915 h 1043"/>
                  <a:gd name="connsiteX104" fmla="*/ 207 w 4542"/>
                  <a:gd name="connsiteY104" fmla="*/ 873 h 1043"/>
                  <a:gd name="connsiteX105" fmla="*/ 169 w 4542"/>
                  <a:gd name="connsiteY105" fmla="*/ 828 h 1043"/>
                  <a:gd name="connsiteX106" fmla="*/ 132 w 4542"/>
                  <a:gd name="connsiteY106" fmla="*/ 780 h 1043"/>
                  <a:gd name="connsiteX107" fmla="*/ 99 w 4542"/>
                  <a:gd name="connsiteY107" fmla="*/ 728 h 1043"/>
                  <a:gd name="connsiteX108" fmla="*/ 64 w 4542"/>
                  <a:gd name="connsiteY108" fmla="*/ 674 h 1043"/>
                  <a:gd name="connsiteX109" fmla="*/ 33 w 4542"/>
                  <a:gd name="connsiteY109" fmla="*/ 618 h 1043"/>
                  <a:gd name="connsiteX110" fmla="*/ 0 w 4542"/>
                  <a:gd name="connsiteY110" fmla="*/ 560 h 1043"/>
                  <a:gd name="connsiteX111" fmla="*/ 77 w 4542"/>
                  <a:gd name="connsiteY111" fmla="*/ 516 h 1043"/>
                  <a:gd name="connsiteX112" fmla="*/ 110 w 4542"/>
                  <a:gd name="connsiteY112" fmla="*/ 575 h 1043"/>
                  <a:gd name="connsiteX113" fmla="*/ 143 w 4542"/>
                  <a:gd name="connsiteY113" fmla="*/ 631 h 1043"/>
                  <a:gd name="connsiteX114" fmla="*/ 176 w 4542"/>
                  <a:gd name="connsiteY114" fmla="*/ 684 h 1043"/>
                  <a:gd name="connsiteX115" fmla="*/ 209 w 4542"/>
                  <a:gd name="connsiteY115" fmla="*/ 736 h 1043"/>
                  <a:gd name="connsiteX116" fmla="*/ 244 w 4542"/>
                  <a:gd name="connsiteY116" fmla="*/ 782 h 1043"/>
                  <a:gd name="connsiteX117" fmla="*/ 281 w 4542"/>
                  <a:gd name="connsiteY117" fmla="*/ 825 h 1043"/>
                  <a:gd name="connsiteX118" fmla="*/ 322 w 4542"/>
                  <a:gd name="connsiteY118" fmla="*/ 863 h 1043"/>
                  <a:gd name="connsiteX119" fmla="*/ 366 w 4542"/>
                  <a:gd name="connsiteY119" fmla="*/ 894 h 1043"/>
                  <a:gd name="connsiteX120" fmla="*/ 413 w 4542"/>
                  <a:gd name="connsiteY120" fmla="*/ 921 h 1043"/>
                  <a:gd name="connsiteX121" fmla="*/ 463 w 4542"/>
                  <a:gd name="connsiteY121" fmla="*/ 940 h 1043"/>
                  <a:gd name="connsiteX122" fmla="*/ 518 w 4542"/>
                  <a:gd name="connsiteY122" fmla="*/ 952 h 1043"/>
                  <a:gd name="connsiteX123" fmla="*/ 580 w 4542"/>
                  <a:gd name="connsiteY123" fmla="*/ 956 h 1043"/>
                  <a:gd name="connsiteX124" fmla="*/ 587 w 4542"/>
                  <a:gd name="connsiteY124" fmla="*/ 956 h 1043"/>
                  <a:gd name="connsiteX125" fmla="*/ 646 w 4542"/>
                  <a:gd name="connsiteY125" fmla="*/ 950 h 1043"/>
                  <a:gd name="connsiteX126" fmla="*/ 702 w 4542"/>
                  <a:gd name="connsiteY126" fmla="*/ 935 h 1043"/>
                  <a:gd name="connsiteX127" fmla="*/ 756 w 4542"/>
                  <a:gd name="connsiteY127" fmla="*/ 913 h 1043"/>
                  <a:gd name="connsiteX128" fmla="*/ 803 w 4542"/>
                  <a:gd name="connsiteY128" fmla="*/ 884 h 1043"/>
                  <a:gd name="connsiteX129" fmla="*/ 849 w 4542"/>
                  <a:gd name="connsiteY129" fmla="*/ 846 h 1043"/>
                  <a:gd name="connsiteX130" fmla="*/ 892 w 4542"/>
                  <a:gd name="connsiteY130" fmla="*/ 803 h 1043"/>
                  <a:gd name="connsiteX131" fmla="*/ 931 w 4542"/>
                  <a:gd name="connsiteY131" fmla="*/ 755 h 1043"/>
                  <a:gd name="connsiteX132" fmla="*/ 971 w 4542"/>
                  <a:gd name="connsiteY132" fmla="*/ 703 h 1043"/>
                  <a:gd name="connsiteX133" fmla="*/ 1010 w 4542"/>
                  <a:gd name="connsiteY133" fmla="*/ 649 h 1043"/>
                  <a:gd name="connsiteX134" fmla="*/ 1121 w 4542"/>
                  <a:gd name="connsiteY134" fmla="*/ 475 h 1043"/>
                  <a:gd name="connsiteX135" fmla="*/ 1161 w 4542"/>
                  <a:gd name="connsiteY135" fmla="*/ 415 h 1043"/>
                  <a:gd name="connsiteX136" fmla="*/ 1202 w 4542"/>
                  <a:gd name="connsiteY136" fmla="*/ 357 h 1043"/>
                  <a:gd name="connsiteX137" fmla="*/ 1245 w 4542"/>
                  <a:gd name="connsiteY137" fmla="*/ 299 h 1043"/>
                  <a:gd name="connsiteX138" fmla="*/ 1291 w 4542"/>
                  <a:gd name="connsiteY138" fmla="*/ 245 h 1043"/>
                  <a:gd name="connsiteX139" fmla="*/ 1338 w 4542"/>
                  <a:gd name="connsiteY139" fmla="*/ 193 h 1043"/>
                  <a:gd name="connsiteX140" fmla="*/ 1392 w 4542"/>
                  <a:gd name="connsiteY140" fmla="*/ 145 h 1043"/>
                  <a:gd name="connsiteX141" fmla="*/ 1447 w 4542"/>
                  <a:gd name="connsiteY141" fmla="*/ 104 h 1043"/>
                  <a:gd name="connsiteX142" fmla="*/ 1509 w 4542"/>
                  <a:gd name="connsiteY142" fmla="*/ 69 h 1043"/>
                  <a:gd name="connsiteX143" fmla="*/ 1575 w 4542"/>
                  <a:gd name="connsiteY143" fmla="*/ 40 h 1043"/>
                  <a:gd name="connsiteX144" fmla="*/ 1648 w 4542"/>
                  <a:gd name="connsiteY144" fmla="*/ 19 h 1043"/>
                  <a:gd name="connsiteX145" fmla="*/ 1726 w 4542"/>
                  <a:gd name="connsiteY145" fmla="*/ 6 h 1043"/>
                  <a:gd name="connsiteX146" fmla="*/ 1796 w 4542"/>
                  <a:gd name="connsiteY146" fmla="*/ 4 h 1043"/>
                  <a:gd name="connsiteX147" fmla="*/ 1862 w 4542"/>
                  <a:gd name="connsiteY147" fmla="*/ 13 h 1043"/>
                  <a:gd name="connsiteX148" fmla="*/ 1922 w 4542"/>
                  <a:gd name="connsiteY148" fmla="*/ 27 h 1043"/>
                  <a:gd name="connsiteX149" fmla="*/ 1980 w 4542"/>
                  <a:gd name="connsiteY149" fmla="*/ 50 h 1043"/>
                  <a:gd name="connsiteX150" fmla="*/ 2034 w 4542"/>
                  <a:gd name="connsiteY150" fmla="*/ 81 h 1043"/>
                  <a:gd name="connsiteX151" fmla="*/ 2083 w 4542"/>
                  <a:gd name="connsiteY151" fmla="*/ 116 h 1043"/>
                  <a:gd name="connsiteX152" fmla="*/ 2129 w 4542"/>
                  <a:gd name="connsiteY152" fmla="*/ 158 h 1043"/>
                  <a:gd name="connsiteX153" fmla="*/ 2174 w 4542"/>
                  <a:gd name="connsiteY153" fmla="*/ 203 h 1043"/>
                  <a:gd name="connsiteX154" fmla="*/ 2216 w 4542"/>
                  <a:gd name="connsiteY154" fmla="*/ 251 h 1043"/>
                  <a:gd name="connsiteX155" fmla="*/ 2255 w 4542"/>
                  <a:gd name="connsiteY155" fmla="*/ 303 h 1043"/>
                  <a:gd name="connsiteX156" fmla="*/ 2292 w 4542"/>
                  <a:gd name="connsiteY156" fmla="*/ 357 h 1043"/>
                  <a:gd name="connsiteX157" fmla="*/ 2327 w 4542"/>
                  <a:gd name="connsiteY157" fmla="*/ 413 h 1043"/>
                  <a:gd name="connsiteX158" fmla="*/ 2362 w 4542"/>
                  <a:gd name="connsiteY158" fmla="*/ 467 h 1043"/>
                  <a:gd name="connsiteX159" fmla="*/ 2395 w 4542"/>
                  <a:gd name="connsiteY159" fmla="*/ 523 h 1043"/>
                  <a:gd name="connsiteX160" fmla="*/ 2432 w 4542"/>
                  <a:gd name="connsiteY160" fmla="*/ 585 h 1043"/>
                  <a:gd name="connsiteX161" fmla="*/ 2469 w 4542"/>
                  <a:gd name="connsiteY161" fmla="*/ 643 h 1043"/>
                  <a:gd name="connsiteX162" fmla="*/ 2509 w 4542"/>
                  <a:gd name="connsiteY162" fmla="*/ 701 h 1043"/>
                  <a:gd name="connsiteX163" fmla="*/ 2546 w 4542"/>
                  <a:gd name="connsiteY163" fmla="*/ 755 h 1043"/>
                  <a:gd name="connsiteX164" fmla="*/ 2587 w 4542"/>
                  <a:gd name="connsiteY164" fmla="*/ 805 h 1043"/>
                  <a:gd name="connsiteX165" fmla="*/ 2628 w 4542"/>
                  <a:gd name="connsiteY165" fmla="*/ 848 h 1043"/>
                  <a:gd name="connsiteX166" fmla="*/ 2672 w 4542"/>
                  <a:gd name="connsiteY166" fmla="*/ 886 h 1043"/>
                  <a:gd name="connsiteX167" fmla="*/ 2717 w 4542"/>
                  <a:gd name="connsiteY167" fmla="*/ 917 h 1043"/>
                  <a:gd name="connsiteX168" fmla="*/ 2767 w 4542"/>
                  <a:gd name="connsiteY168" fmla="*/ 940 h 1043"/>
                  <a:gd name="connsiteX169" fmla="*/ 2820 w 4542"/>
                  <a:gd name="connsiteY169" fmla="*/ 952 h 1043"/>
                  <a:gd name="connsiteX170" fmla="*/ 2876 w 4542"/>
                  <a:gd name="connsiteY170" fmla="*/ 956 h 1043"/>
                  <a:gd name="connsiteX171" fmla="*/ 2932 w 4542"/>
                  <a:gd name="connsiteY171" fmla="*/ 950 h 1043"/>
                  <a:gd name="connsiteX172" fmla="*/ 2982 w 4542"/>
                  <a:gd name="connsiteY172" fmla="*/ 935 h 1043"/>
                  <a:gd name="connsiteX173" fmla="*/ 3029 w 4542"/>
                  <a:gd name="connsiteY173" fmla="*/ 915 h 1043"/>
                  <a:gd name="connsiteX174" fmla="*/ 3072 w 4542"/>
                  <a:gd name="connsiteY174" fmla="*/ 884 h 1043"/>
                  <a:gd name="connsiteX175" fmla="*/ 3112 w 4542"/>
                  <a:gd name="connsiteY175" fmla="*/ 848 h 1043"/>
                  <a:gd name="connsiteX176" fmla="*/ 3149 w 4542"/>
                  <a:gd name="connsiteY176" fmla="*/ 807 h 1043"/>
                  <a:gd name="connsiteX177" fmla="*/ 3184 w 4542"/>
                  <a:gd name="connsiteY177" fmla="*/ 759 h 1043"/>
                  <a:gd name="connsiteX178" fmla="*/ 3217 w 4542"/>
                  <a:gd name="connsiteY178" fmla="*/ 709 h 1043"/>
                  <a:gd name="connsiteX179" fmla="*/ 3250 w 4542"/>
                  <a:gd name="connsiteY179" fmla="*/ 655 h 1043"/>
                  <a:gd name="connsiteX180" fmla="*/ 3283 w 4542"/>
                  <a:gd name="connsiteY180" fmla="*/ 597 h 1043"/>
                  <a:gd name="connsiteX181" fmla="*/ 3316 w 4542"/>
                  <a:gd name="connsiteY181" fmla="*/ 537 h 1043"/>
                  <a:gd name="connsiteX182" fmla="*/ 3345 w 4542"/>
                  <a:gd name="connsiteY182" fmla="*/ 483 h 1043"/>
                  <a:gd name="connsiteX183" fmla="*/ 3407 w 4542"/>
                  <a:gd name="connsiteY183" fmla="*/ 375 h 1043"/>
                  <a:gd name="connsiteX184" fmla="*/ 3477 w 4542"/>
                  <a:gd name="connsiteY184" fmla="*/ 272 h 1043"/>
                  <a:gd name="connsiteX185" fmla="*/ 3514 w 4542"/>
                  <a:gd name="connsiteY185" fmla="*/ 224 h 1043"/>
                  <a:gd name="connsiteX186" fmla="*/ 3555 w 4542"/>
                  <a:gd name="connsiteY186" fmla="*/ 178 h 1043"/>
                  <a:gd name="connsiteX187" fmla="*/ 3599 w 4542"/>
                  <a:gd name="connsiteY187" fmla="*/ 137 h 1043"/>
                  <a:gd name="connsiteX188" fmla="*/ 3646 w 4542"/>
                  <a:gd name="connsiteY188" fmla="*/ 100 h 1043"/>
                  <a:gd name="connsiteX189" fmla="*/ 3698 w 4542"/>
                  <a:gd name="connsiteY189" fmla="*/ 66 h 1043"/>
                  <a:gd name="connsiteX190" fmla="*/ 3756 w 4542"/>
                  <a:gd name="connsiteY190" fmla="*/ 40 h 1043"/>
                  <a:gd name="connsiteX191" fmla="*/ 3816 w 4542"/>
                  <a:gd name="connsiteY191" fmla="*/ 19 h 1043"/>
                  <a:gd name="connsiteX192" fmla="*/ 3882 w 4542"/>
                  <a:gd name="connsiteY192" fmla="*/ 6 h 1043"/>
                  <a:gd name="connsiteX193" fmla="*/ 3954 w 4542"/>
                  <a:gd name="connsiteY193" fmla="*/ 0 h 1043"/>
                  <a:gd name="connsiteX0" fmla="*/ 3954 w 4538"/>
                  <a:gd name="connsiteY0" fmla="*/ 0 h 1043"/>
                  <a:gd name="connsiteX1" fmla="*/ 4004 w 4538"/>
                  <a:gd name="connsiteY1" fmla="*/ 0 h 1043"/>
                  <a:gd name="connsiteX2" fmla="*/ 4032 w 4538"/>
                  <a:gd name="connsiteY2" fmla="*/ 4 h 1043"/>
                  <a:gd name="connsiteX3" fmla="*/ 4063 w 4538"/>
                  <a:gd name="connsiteY3" fmla="*/ 13 h 1043"/>
                  <a:gd name="connsiteX4" fmla="*/ 4101 w 4538"/>
                  <a:gd name="connsiteY4" fmla="*/ 23 h 1043"/>
                  <a:gd name="connsiteX5" fmla="*/ 4142 w 4538"/>
                  <a:gd name="connsiteY5" fmla="*/ 40 h 1043"/>
                  <a:gd name="connsiteX6" fmla="*/ 4185 w 4538"/>
                  <a:gd name="connsiteY6" fmla="*/ 60 h 1043"/>
                  <a:gd name="connsiteX7" fmla="*/ 4233 w 4538"/>
                  <a:gd name="connsiteY7" fmla="*/ 89 h 1043"/>
                  <a:gd name="connsiteX8" fmla="*/ 4282 w 4538"/>
                  <a:gd name="connsiteY8" fmla="*/ 125 h 1043"/>
                  <a:gd name="connsiteX9" fmla="*/ 4332 w 4538"/>
                  <a:gd name="connsiteY9" fmla="*/ 170 h 1043"/>
                  <a:gd name="connsiteX10" fmla="*/ 4383 w 4538"/>
                  <a:gd name="connsiteY10" fmla="*/ 224 h 1043"/>
                  <a:gd name="connsiteX11" fmla="*/ 4435 w 4538"/>
                  <a:gd name="connsiteY11" fmla="*/ 286 h 1043"/>
                  <a:gd name="connsiteX12" fmla="*/ 4487 w 4538"/>
                  <a:gd name="connsiteY12" fmla="*/ 361 h 1043"/>
                  <a:gd name="connsiteX13" fmla="*/ 4538 w 4538"/>
                  <a:gd name="connsiteY13" fmla="*/ 448 h 1043"/>
                  <a:gd name="connsiteX14" fmla="*/ 4464 w 4538"/>
                  <a:gd name="connsiteY14" fmla="*/ 487 h 1043"/>
                  <a:gd name="connsiteX15" fmla="*/ 4414 w 4538"/>
                  <a:gd name="connsiteY15" fmla="*/ 404 h 1043"/>
                  <a:gd name="connsiteX16" fmla="*/ 4365 w 4538"/>
                  <a:gd name="connsiteY16" fmla="*/ 336 h 1043"/>
                  <a:gd name="connsiteX17" fmla="*/ 4315 w 4538"/>
                  <a:gd name="connsiteY17" fmla="*/ 276 h 1043"/>
                  <a:gd name="connsiteX18" fmla="*/ 4268 w 4538"/>
                  <a:gd name="connsiteY18" fmla="*/ 228 h 1043"/>
                  <a:gd name="connsiteX19" fmla="*/ 4222 w 4538"/>
                  <a:gd name="connsiteY19" fmla="*/ 189 h 1043"/>
                  <a:gd name="connsiteX20" fmla="*/ 4181 w 4538"/>
                  <a:gd name="connsiteY20" fmla="*/ 158 h 1043"/>
                  <a:gd name="connsiteX21" fmla="*/ 4142 w 4538"/>
                  <a:gd name="connsiteY21" fmla="*/ 135 h 1043"/>
                  <a:gd name="connsiteX22" fmla="*/ 4092 w 4538"/>
                  <a:gd name="connsiteY22" fmla="*/ 112 h 1043"/>
                  <a:gd name="connsiteX23" fmla="*/ 4049 w 4538"/>
                  <a:gd name="connsiteY23" fmla="*/ 98 h 1043"/>
                  <a:gd name="connsiteX24" fmla="*/ 4014 w 4538"/>
                  <a:gd name="connsiteY24" fmla="*/ 89 h 1043"/>
                  <a:gd name="connsiteX25" fmla="*/ 3985 w 4538"/>
                  <a:gd name="connsiteY25" fmla="*/ 87 h 1043"/>
                  <a:gd name="connsiteX26" fmla="*/ 3958 w 4538"/>
                  <a:gd name="connsiteY26" fmla="*/ 87 h 1043"/>
                  <a:gd name="connsiteX27" fmla="*/ 3892 w 4538"/>
                  <a:gd name="connsiteY27" fmla="*/ 93 h 1043"/>
                  <a:gd name="connsiteX28" fmla="*/ 3830 w 4538"/>
                  <a:gd name="connsiteY28" fmla="*/ 106 h 1043"/>
                  <a:gd name="connsiteX29" fmla="*/ 3774 w 4538"/>
                  <a:gd name="connsiteY29" fmla="*/ 127 h 1043"/>
                  <a:gd name="connsiteX30" fmla="*/ 3723 w 4538"/>
                  <a:gd name="connsiteY30" fmla="*/ 154 h 1043"/>
                  <a:gd name="connsiteX31" fmla="*/ 3675 w 4538"/>
                  <a:gd name="connsiteY31" fmla="*/ 187 h 1043"/>
                  <a:gd name="connsiteX32" fmla="*/ 3632 w 4538"/>
                  <a:gd name="connsiteY32" fmla="*/ 224 h 1043"/>
                  <a:gd name="connsiteX33" fmla="*/ 3593 w 4538"/>
                  <a:gd name="connsiteY33" fmla="*/ 268 h 1043"/>
                  <a:gd name="connsiteX34" fmla="*/ 3553 w 4538"/>
                  <a:gd name="connsiteY34" fmla="*/ 313 h 1043"/>
                  <a:gd name="connsiteX35" fmla="*/ 3518 w 4538"/>
                  <a:gd name="connsiteY35" fmla="*/ 363 h 1043"/>
                  <a:gd name="connsiteX36" fmla="*/ 3485 w 4538"/>
                  <a:gd name="connsiteY36" fmla="*/ 415 h 1043"/>
                  <a:gd name="connsiteX37" fmla="*/ 3423 w 4538"/>
                  <a:gd name="connsiteY37" fmla="*/ 523 h 1043"/>
                  <a:gd name="connsiteX38" fmla="*/ 3330 w 4538"/>
                  <a:gd name="connsiteY38" fmla="*/ 691 h 1043"/>
                  <a:gd name="connsiteX39" fmla="*/ 3297 w 4538"/>
                  <a:gd name="connsiteY39" fmla="*/ 747 h 1043"/>
                  <a:gd name="connsiteX40" fmla="*/ 3262 w 4538"/>
                  <a:gd name="connsiteY40" fmla="*/ 799 h 1043"/>
                  <a:gd name="connsiteX41" fmla="*/ 3227 w 4538"/>
                  <a:gd name="connsiteY41" fmla="*/ 848 h 1043"/>
                  <a:gd name="connsiteX42" fmla="*/ 3188 w 4538"/>
                  <a:gd name="connsiteY42" fmla="*/ 894 h 1043"/>
                  <a:gd name="connsiteX43" fmla="*/ 3147 w 4538"/>
                  <a:gd name="connsiteY43" fmla="*/ 935 h 1043"/>
                  <a:gd name="connsiteX44" fmla="*/ 3101 w 4538"/>
                  <a:gd name="connsiteY44" fmla="*/ 971 h 1043"/>
                  <a:gd name="connsiteX45" fmla="*/ 3052 w 4538"/>
                  <a:gd name="connsiteY45" fmla="*/ 1000 h 1043"/>
                  <a:gd name="connsiteX46" fmla="*/ 3000 w 4538"/>
                  <a:gd name="connsiteY46" fmla="*/ 1022 h 1043"/>
                  <a:gd name="connsiteX47" fmla="*/ 2942 w 4538"/>
                  <a:gd name="connsiteY47" fmla="*/ 1037 h 1043"/>
                  <a:gd name="connsiteX48" fmla="*/ 2878 w 4538"/>
                  <a:gd name="connsiteY48" fmla="*/ 1043 h 1043"/>
                  <a:gd name="connsiteX49" fmla="*/ 2870 w 4538"/>
                  <a:gd name="connsiteY49" fmla="*/ 1043 h 1043"/>
                  <a:gd name="connsiteX50" fmla="*/ 2808 w 4538"/>
                  <a:gd name="connsiteY50" fmla="*/ 1039 h 1043"/>
                  <a:gd name="connsiteX51" fmla="*/ 2748 w 4538"/>
                  <a:gd name="connsiteY51" fmla="*/ 1025 h 1043"/>
                  <a:gd name="connsiteX52" fmla="*/ 2695 w 4538"/>
                  <a:gd name="connsiteY52" fmla="*/ 1002 h 1043"/>
                  <a:gd name="connsiteX53" fmla="*/ 2643 w 4538"/>
                  <a:gd name="connsiteY53" fmla="*/ 973 h 1043"/>
                  <a:gd name="connsiteX54" fmla="*/ 2595 w 4538"/>
                  <a:gd name="connsiteY54" fmla="*/ 935 h 1043"/>
                  <a:gd name="connsiteX55" fmla="*/ 2552 w 4538"/>
                  <a:gd name="connsiteY55" fmla="*/ 894 h 1043"/>
                  <a:gd name="connsiteX56" fmla="*/ 2509 w 4538"/>
                  <a:gd name="connsiteY56" fmla="*/ 846 h 1043"/>
                  <a:gd name="connsiteX57" fmla="*/ 2469 w 4538"/>
                  <a:gd name="connsiteY57" fmla="*/ 796 h 1043"/>
                  <a:gd name="connsiteX58" fmla="*/ 2430 w 4538"/>
                  <a:gd name="connsiteY58" fmla="*/ 740 h 1043"/>
                  <a:gd name="connsiteX59" fmla="*/ 2393 w 4538"/>
                  <a:gd name="connsiteY59" fmla="*/ 684 h 1043"/>
                  <a:gd name="connsiteX60" fmla="*/ 2288 w 4538"/>
                  <a:gd name="connsiteY60" fmla="*/ 510 h 1043"/>
                  <a:gd name="connsiteX61" fmla="*/ 2251 w 4538"/>
                  <a:gd name="connsiteY61" fmla="*/ 452 h 1043"/>
                  <a:gd name="connsiteX62" fmla="*/ 2213 w 4538"/>
                  <a:gd name="connsiteY62" fmla="*/ 396 h 1043"/>
                  <a:gd name="connsiteX63" fmla="*/ 2176 w 4538"/>
                  <a:gd name="connsiteY63" fmla="*/ 342 h 1043"/>
                  <a:gd name="connsiteX64" fmla="*/ 2137 w 4538"/>
                  <a:gd name="connsiteY64" fmla="*/ 293 h 1043"/>
                  <a:gd name="connsiteX65" fmla="*/ 2096 w 4538"/>
                  <a:gd name="connsiteY65" fmla="*/ 247 h 1043"/>
                  <a:gd name="connsiteX66" fmla="*/ 2054 w 4538"/>
                  <a:gd name="connsiteY66" fmla="*/ 205 h 1043"/>
                  <a:gd name="connsiteX67" fmla="*/ 2009 w 4538"/>
                  <a:gd name="connsiteY67" fmla="*/ 168 h 1043"/>
                  <a:gd name="connsiteX68" fmla="*/ 1962 w 4538"/>
                  <a:gd name="connsiteY68" fmla="*/ 139 h 1043"/>
                  <a:gd name="connsiteX69" fmla="*/ 1910 w 4538"/>
                  <a:gd name="connsiteY69" fmla="*/ 116 h 1043"/>
                  <a:gd name="connsiteX70" fmla="*/ 1854 w 4538"/>
                  <a:gd name="connsiteY70" fmla="*/ 100 h 1043"/>
                  <a:gd name="connsiteX71" fmla="*/ 1796 w 4538"/>
                  <a:gd name="connsiteY71" fmla="*/ 91 h 1043"/>
                  <a:gd name="connsiteX72" fmla="*/ 1732 w 4538"/>
                  <a:gd name="connsiteY72" fmla="*/ 93 h 1043"/>
                  <a:gd name="connsiteX73" fmla="*/ 1664 w 4538"/>
                  <a:gd name="connsiteY73" fmla="*/ 104 h 1043"/>
                  <a:gd name="connsiteX74" fmla="*/ 1602 w 4538"/>
                  <a:gd name="connsiteY74" fmla="*/ 122 h 1043"/>
                  <a:gd name="connsiteX75" fmla="*/ 1545 w 4538"/>
                  <a:gd name="connsiteY75" fmla="*/ 147 h 1043"/>
                  <a:gd name="connsiteX76" fmla="*/ 1491 w 4538"/>
                  <a:gd name="connsiteY76" fmla="*/ 181 h 1043"/>
                  <a:gd name="connsiteX77" fmla="*/ 1439 w 4538"/>
                  <a:gd name="connsiteY77" fmla="*/ 218 h 1043"/>
                  <a:gd name="connsiteX78" fmla="*/ 1394 w 4538"/>
                  <a:gd name="connsiteY78" fmla="*/ 261 h 1043"/>
                  <a:gd name="connsiteX79" fmla="*/ 1348 w 4538"/>
                  <a:gd name="connsiteY79" fmla="*/ 307 h 1043"/>
                  <a:gd name="connsiteX80" fmla="*/ 1307 w 4538"/>
                  <a:gd name="connsiteY80" fmla="*/ 359 h 1043"/>
                  <a:gd name="connsiteX81" fmla="*/ 1268 w 4538"/>
                  <a:gd name="connsiteY81" fmla="*/ 413 h 1043"/>
                  <a:gd name="connsiteX82" fmla="*/ 1231 w 4538"/>
                  <a:gd name="connsiteY82" fmla="*/ 467 h 1043"/>
                  <a:gd name="connsiteX83" fmla="*/ 1194 w 4538"/>
                  <a:gd name="connsiteY83" fmla="*/ 523 h 1043"/>
                  <a:gd name="connsiteX84" fmla="*/ 1156 w 4538"/>
                  <a:gd name="connsiteY84" fmla="*/ 581 h 1043"/>
                  <a:gd name="connsiteX85" fmla="*/ 1121 w 4538"/>
                  <a:gd name="connsiteY85" fmla="*/ 637 h 1043"/>
                  <a:gd name="connsiteX86" fmla="*/ 1047 w 4538"/>
                  <a:gd name="connsiteY86" fmla="*/ 749 h 1043"/>
                  <a:gd name="connsiteX87" fmla="*/ 1008 w 4538"/>
                  <a:gd name="connsiteY87" fmla="*/ 801 h 1043"/>
                  <a:gd name="connsiteX88" fmla="*/ 966 w 4538"/>
                  <a:gd name="connsiteY88" fmla="*/ 850 h 1043"/>
                  <a:gd name="connsiteX89" fmla="*/ 923 w 4538"/>
                  <a:gd name="connsiteY89" fmla="*/ 896 h 1043"/>
                  <a:gd name="connsiteX90" fmla="*/ 876 w 4538"/>
                  <a:gd name="connsiteY90" fmla="*/ 937 h 1043"/>
                  <a:gd name="connsiteX91" fmla="*/ 826 w 4538"/>
                  <a:gd name="connsiteY91" fmla="*/ 973 h 1043"/>
                  <a:gd name="connsiteX92" fmla="*/ 772 w 4538"/>
                  <a:gd name="connsiteY92" fmla="*/ 1002 h 1043"/>
                  <a:gd name="connsiteX93" fmla="*/ 717 w 4538"/>
                  <a:gd name="connsiteY93" fmla="*/ 1025 h 1043"/>
                  <a:gd name="connsiteX94" fmla="*/ 653 w 4538"/>
                  <a:gd name="connsiteY94" fmla="*/ 1037 h 1043"/>
                  <a:gd name="connsiteX95" fmla="*/ 587 w 4538"/>
                  <a:gd name="connsiteY95" fmla="*/ 1043 h 1043"/>
                  <a:gd name="connsiteX96" fmla="*/ 580 w 4538"/>
                  <a:gd name="connsiteY96" fmla="*/ 1043 h 1043"/>
                  <a:gd name="connsiteX97" fmla="*/ 512 w 4538"/>
                  <a:gd name="connsiteY97" fmla="*/ 1039 h 1043"/>
                  <a:gd name="connsiteX98" fmla="*/ 450 w 4538"/>
                  <a:gd name="connsiteY98" fmla="*/ 1027 h 1043"/>
                  <a:gd name="connsiteX99" fmla="*/ 392 w 4538"/>
                  <a:gd name="connsiteY99" fmla="*/ 1008 h 1043"/>
                  <a:gd name="connsiteX100" fmla="*/ 341 w 4538"/>
                  <a:gd name="connsiteY100" fmla="*/ 983 h 1043"/>
                  <a:gd name="connsiteX101" fmla="*/ 293 w 4538"/>
                  <a:gd name="connsiteY101" fmla="*/ 952 h 1043"/>
                  <a:gd name="connsiteX102" fmla="*/ 248 w 4538"/>
                  <a:gd name="connsiteY102" fmla="*/ 915 h 1043"/>
                  <a:gd name="connsiteX103" fmla="*/ 207 w 4538"/>
                  <a:gd name="connsiteY103" fmla="*/ 873 h 1043"/>
                  <a:gd name="connsiteX104" fmla="*/ 169 w 4538"/>
                  <a:gd name="connsiteY104" fmla="*/ 828 h 1043"/>
                  <a:gd name="connsiteX105" fmla="*/ 132 w 4538"/>
                  <a:gd name="connsiteY105" fmla="*/ 780 h 1043"/>
                  <a:gd name="connsiteX106" fmla="*/ 99 w 4538"/>
                  <a:gd name="connsiteY106" fmla="*/ 728 h 1043"/>
                  <a:gd name="connsiteX107" fmla="*/ 64 w 4538"/>
                  <a:gd name="connsiteY107" fmla="*/ 674 h 1043"/>
                  <a:gd name="connsiteX108" fmla="*/ 33 w 4538"/>
                  <a:gd name="connsiteY108" fmla="*/ 618 h 1043"/>
                  <a:gd name="connsiteX109" fmla="*/ 0 w 4538"/>
                  <a:gd name="connsiteY109" fmla="*/ 560 h 1043"/>
                  <a:gd name="connsiteX110" fmla="*/ 77 w 4538"/>
                  <a:gd name="connsiteY110" fmla="*/ 516 h 1043"/>
                  <a:gd name="connsiteX111" fmla="*/ 110 w 4538"/>
                  <a:gd name="connsiteY111" fmla="*/ 575 h 1043"/>
                  <a:gd name="connsiteX112" fmla="*/ 143 w 4538"/>
                  <a:gd name="connsiteY112" fmla="*/ 631 h 1043"/>
                  <a:gd name="connsiteX113" fmla="*/ 176 w 4538"/>
                  <a:gd name="connsiteY113" fmla="*/ 684 h 1043"/>
                  <a:gd name="connsiteX114" fmla="*/ 209 w 4538"/>
                  <a:gd name="connsiteY114" fmla="*/ 736 h 1043"/>
                  <a:gd name="connsiteX115" fmla="*/ 244 w 4538"/>
                  <a:gd name="connsiteY115" fmla="*/ 782 h 1043"/>
                  <a:gd name="connsiteX116" fmla="*/ 281 w 4538"/>
                  <a:gd name="connsiteY116" fmla="*/ 825 h 1043"/>
                  <a:gd name="connsiteX117" fmla="*/ 322 w 4538"/>
                  <a:gd name="connsiteY117" fmla="*/ 863 h 1043"/>
                  <a:gd name="connsiteX118" fmla="*/ 366 w 4538"/>
                  <a:gd name="connsiteY118" fmla="*/ 894 h 1043"/>
                  <a:gd name="connsiteX119" fmla="*/ 413 w 4538"/>
                  <a:gd name="connsiteY119" fmla="*/ 921 h 1043"/>
                  <a:gd name="connsiteX120" fmla="*/ 463 w 4538"/>
                  <a:gd name="connsiteY120" fmla="*/ 940 h 1043"/>
                  <a:gd name="connsiteX121" fmla="*/ 518 w 4538"/>
                  <a:gd name="connsiteY121" fmla="*/ 952 h 1043"/>
                  <a:gd name="connsiteX122" fmla="*/ 580 w 4538"/>
                  <a:gd name="connsiteY122" fmla="*/ 956 h 1043"/>
                  <a:gd name="connsiteX123" fmla="*/ 587 w 4538"/>
                  <a:gd name="connsiteY123" fmla="*/ 956 h 1043"/>
                  <a:gd name="connsiteX124" fmla="*/ 646 w 4538"/>
                  <a:gd name="connsiteY124" fmla="*/ 950 h 1043"/>
                  <a:gd name="connsiteX125" fmla="*/ 702 w 4538"/>
                  <a:gd name="connsiteY125" fmla="*/ 935 h 1043"/>
                  <a:gd name="connsiteX126" fmla="*/ 756 w 4538"/>
                  <a:gd name="connsiteY126" fmla="*/ 913 h 1043"/>
                  <a:gd name="connsiteX127" fmla="*/ 803 w 4538"/>
                  <a:gd name="connsiteY127" fmla="*/ 884 h 1043"/>
                  <a:gd name="connsiteX128" fmla="*/ 849 w 4538"/>
                  <a:gd name="connsiteY128" fmla="*/ 846 h 1043"/>
                  <a:gd name="connsiteX129" fmla="*/ 892 w 4538"/>
                  <a:gd name="connsiteY129" fmla="*/ 803 h 1043"/>
                  <a:gd name="connsiteX130" fmla="*/ 931 w 4538"/>
                  <a:gd name="connsiteY130" fmla="*/ 755 h 1043"/>
                  <a:gd name="connsiteX131" fmla="*/ 971 w 4538"/>
                  <a:gd name="connsiteY131" fmla="*/ 703 h 1043"/>
                  <a:gd name="connsiteX132" fmla="*/ 1010 w 4538"/>
                  <a:gd name="connsiteY132" fmla="*/ 649 h 1043"/>
                  <a:gd name="connsiteX133" fmla="*/ 1121 w 4538"/>
                  <a:gd name="connsiteY133" fmla="*/ 475 h 1043"/>
                  <a:gd name="connsiteX134" fmla="*/ 1161 w 4538"/>
                  <a:gd name="connsiteY134" fmla="*/ 415 h 1043"/>
                  <a:gd name="connsiteX135" fmla="*/ 1202 w 4538"/>
                  <a:gd name="connsiteY135" fmla="*/ 357 h 1043"/>
                  <a:gd name="connsiteX136" fmla="*/ 1245 w 4538"/>
                  <a:gd name="connsiteY136" fmla="*/ 299 h 1043"/>
                  <a:gd name="connsiteX137" fmla="*/ 1291 w 4538"/>
                  <a:gd name="connsiteY137" fmla="*/ 245 h 1043"/>
                  <a:gd name="connsiteX138" fmla="*/ 1338 w 4538"/>
                  <a:gd name="connsiteY138" fmla="*/ 193 h 1043"/>
                  <a:gd name="connsiteX139" fmla="*/ 1392 w 4538"/>
                  <a:gd name="connsiteY139" fmla="*/ 145 h 1043"/>
                  <a:gd name="connsiteX140" fmla="*/ 1447 w 4538"/>
                  <a:gd name="connsiteY140" fmla="*/ 104 h 1043"/>
                  <a:gd name="connsiteX141" fmla="*/ 1509 w 4538"/>
                  <a:gd name="connsiteY141" fmla="*/ 69 h 1043"/>
                  <a:gd name="connsiteX142" fmla="*/ 1575 w 4538"/>
                  <a:gd name="connsiteY142" fmla="*/ 40 h 1043"/>
                  <a:gd name="connsiteX143" fmla="*/ 1648 w 4538"/>
                  <a:gd name="connsiteY143" fmla="*/ 19 h 1043"/>
                  <a:gd name="connsiteX144" fmla="*/ 1726 w 4538"/>
                  <a:gd name="connsiteY144" fmla="*/ 6 h 1043"/>
                  <a:gd name="connsiteX145" fmla="*/ 1796 w 4538"/>
                  <a:gd name="connsiteY145" fmla="*/ 4 h 1043"/>
                  <a:gd name="connsiteX146" fmla="*/ 1862 w 4538"/>
                  <a:gd name="connsiteY146" fmla="*/ 13 h 1043"/>
                  <a:gd name="connsiteX147" fmla="*/ 1922 w 4538"/>
                  <a:gd name="connsiteY147" fmla="*/ 27 h 1043"/>
                  <a:gd name="connsiteX148" fmla="*/ 1980 w 4538"/>
                  <a:gd name="connsiteY148" fmla="*/ 50 h 1043"/>
                  <a:gd name="connsiteX149" fmla="*/ 2034 w 4538"/>
                  <a:gd name="connsiteY149" fmla="*/ 81 h 1043"/>
                  <a:gd name="connsiteX150" fmla="*/ 2083 w 4538"/>
                  <a:gd name="connsiteY150" fmla="*/ 116 h 1043"/>
                  <a:gd name="connsiteX151" fmla="*/ 2129 w 4538"/>
                  <a:gd name="connsiteY151" fmla="*/ 158 h 1043"/>
                  <a:gd name="connsiteX152" fmla="*/ 2174 w 4538"/>
                  <a:gd name="connsiteY152" fmla="*/ 203 h 1043"/>
                  <a:gd name="connsiteX153" fmla="*/ 2216 w 4538"/>
                  <a:gd name="connsiteY153" fmla="*/ 251 h 1043"/>
                  <a:gd name="connsiteX154" fmla="*/ 2255 w 4538"/>
                  <a:gd name="connsiteY154" fmla="*/ 303 h 1043"/>
                  <a:gd name="connsiteX155" fmla="*/ 2292 w 4538"/>
                  <a:gd name="connsiteY155" fmla="*/ 357 h 1043"/>
                  <a:gd name="connsiteX156" fmla="*/ 2327 w 4538"/>
                  <a:gd name="connsiteY156" fmla="*/ 413 h 1043"/>
                  <a:gd name="connsiteX157" fmla="*/ 2362 w 4538"/>
                  <a:gd name="connsiteY157" fmla="*/ 467 h 1043"/>
                  <a:gd name="connsiteX158" fmla="*/ 2395 w 4538"/>
                  <a:gd name="connsiteY158" fmla="*/ 523 h 1043"/>
                  <a:gd name="connsiteX159" fmla="*/ 2432 w 4538"/>
                  <a:gd name="connsiteY159" fmla="*/ 585 h 1043"/>
                  <a:gd name="connsiteX160" fmla="*/ 2469 w 4538"/>
                  <a:gd name="connsiteY160" fmla="*/ 643 h 1043"/>
                  <a:gd name="connsiteX161" fmla="*/ 2509 w 4538"/>
                  <a:gd name="connsiteY161" fmla="*/ 701 h 1043"/>
                  <a:gd name="connsiteX162" fmla="*/ 2546 w 4538"/>
                  <a:gd name="connsiteY162" fmla="*/ 755 h 1043"/>
                  <a:gd name="connsiteX163" fmla="*/ 2587 w 4538"/>
                  <a:gd name="connsiteY163" fmla="*/ 805 h 1043"/>
                  <a:gd name="connsiteX164" fmla="*/ 2628 w 4538"/>
                  <a:gd name="connsiteY164" fmla="*/ 848 h 1043"/>
                  <a:gd name="connsiteX165" fmla="*/ 2672 w 4538"/>
                  <a:gd name="connsiteY165" fmla="*/ 886 h 1043"/>
                  <a:gd name="connsiteX166" fmla="*/ 2717 w 4538"/>
                  <a:gd name="connsiteY166" fmla="*/ 917 h 1043"/>
                  <a:gd name="connsiteX167" fmla="*/ 2767 w 4538"/>
                  <a:gd name="connsiteY167" fmla="*/ 940 h 1043"/>
                  <a:gd name="connsiteX168" fmla="*/ 2820 w 4538"/>
                  <a:gd name="connsiteY168" fmla="*/ 952 h 1043"/>
                  <a:gd name="connsiteX169" fmla="*/ 2876 w 4538"/>
                  <a:gd name="connsiteY169" fmla="*/ 956 h 1043"/>
                  <a:gd name="connsiteX170" fmla="*/ 2932 w 4538"/>
                  <a:gd name="connsiteY170" fmla="*/ 950 h 1043"/>
                  <a:gd name="connsiteX171" fmla="*/ 2982 w 4538"/>
                  <a:gd name="connsiteY171" fmla="*/ 935 h 1043"/>
                  <a:gd name="connsiteX172" fmla="*/ 3029 w 4538"/>
                  <a:gd name="connsiteY172" fmla="*/ 915 h 1043"/>
                  <a:gd name="connsiteX173" fmla="*/ 3072 w 4538"/>
                  <a:gd name="connsiteY173" fmla="*/ 884 h 1043"/>
                  <a:gd name="connsiteX174" fmla="*/ 3112 w 4538"/>
                  <a:gd name="connsiteY174" fmla="*/ 848 h 1043"/>
                  <a:gd name="connsiteX175" fmla="*/ 3149 w 4538"/>
                  <a:gd name="connsiteY175" fmla="*/ 807 h 1043"/>
                  <a:gd name="connsiteX176" fmla="*/ 3184 w 4538"/>
                  <a:gd name="connsiteY176" fmla="*/ 759 h 1043"/>
                  <a:gd name="connsiteX177" fmla="*/ 3217 w 4538"/>
                  <a:gd name="connsiteY177" fmla="*/ 709 h 1043"/>
                  <a:gd name="connsiteX178" fmla="*/ 3250 w 4538"/>
                  <a:gd name="connsiteY178" fmla="*/ 655 h 1043"/>
                  <a:gd name="connsiteX179" fmla="*/ 3283 w 4538"/>
                  <a:gd name="connsiteY179" fmla="*/ 597 h 1043"/>
                  <a:gd name="connsiteX180" fmla="*/ 3316 w 4538"/>
                  <a:gd name="connsiteY180" fmla="*/ 537 h 1043"/>
                  <a:gd name="connsiteX181" fmla="*/ 3345 w 4538"/>
                  <a:gd name="connsiteY181" fmla="*/ 483 h 1043"/>
                  <a:gd name="connsiteX182" fmla="*/ 3407 w 4538"/>
                  <a:gd name="connsiteY182" fmla="*/ 375 h 1043"/>
                  <a:gd name="connsiteX183" fmla="*/ 3477 w 4538"/>
                  <a:gd name="connsiteY183" fmla="*/ 272 h 1043"/>
                  <a:gd name="connsiteX184" fmla="*/ 3514 w 4538"/>
                  <a:gd name="connsiteY184" fmla="*/ 224 h 1043"/>
                  <a:gd name="connsiteX185" fmla="*/ 3555 w 4538"/>
                  <a:gd name="connsiteY185" fmla="*/ 178 h 1043"/>
                  <a:gd name="connsiteX186" fmla="*/ 3599 w 4538"/>
                  <a:gd name="connsiteY186" fmla="*/ 137 h 1043"/>
                  <a:gd name="connsiteX187" fmla="*/ 3646 w 4538"/>
                  <a:gd name="connsiteY187" fmla="*/ 100 h 1043"/>
                  <a:gd name="connsiteX188" fmla="*/ 3698 w 4538"/>
                  <a:gd name="connsiteY188" fmla="*/ 66 h 1043"/>
                  <a:gd name="connsiteX189" fmla="*/ 3756 w 4538"/>
                  <a:gd name="connsiteY189" fmla="*/ 40 h 1043"/>
                  <a:gd name="connsiteX190" fmla="*/ 3816 w 4538"/>
                  <a:gd name="connsiteY190" fmla="*/ 19 h 1043"/>
                  <a:gd name="connsiteX191" fmla="*/ 3882 w 4538"/>
                  <a:gd name="connsiteY191" fmla="*/ 6 h 1043"/>
                  <a:gd name="connsiteX192" fmla="*/ 3954 w 4538"/>
                  <a:gd name="connsiteY192" fmla="*/ 0 h 1043"/>
                  <a:gd name="connsiteX0" fmla="*/ 3954 w 4487"/>
                  <a:gd name="connsiteY0" fmla="*/ 0 h 1043"/>
                  <a:gd name="connsiteX1" fmla="*/ 4004 w 4487"/>
                  <a:gd name="connsiteY1" fmla="*/ 0 h 1043"/>
                  <a:gd name="connsiteX2" fmla="*/ 4032 w 4487"/>
                  <a:gd name="connsiteY2" fmla="*/ 4 h 1043"/>
                  <a:gd name="connsiteX3" fmla="*/ 4063 w 4487"/>
                  <a:gd name="connsiteY3" fmla="*/ 13 h 1043"/>
                  <a:gd name="connsiteX4" fmla="*/ 4101 w 4487"/>
                  <a:gd name="connsiteY4" fmla="*/ 23 h 1043"/>
                  <a:gd name="connsiteX5" fmla="*/ 4142 w 4487"/>
                  <a:gd name="connsiteY5" fmla="*/ 40 h 1043"/>
                  <a:gd name="connsiteX6" fmla="*/ 4185 w 4487"/>
                  <a:gd name="connsiteY6" fmla="*/ 60 h 1043"/>
                  <a:gd name="connsiteX7" fmla="*/ 4233 w 4487"/>
                  <a:gd name="connsiteY7" fmla="*/ 89 h 1043"/>
                  <a:gd name="connsiteX8" fmla="*/ 4282 w 4487"/>
                  <a:gd name="connsiteY8" fmla="*/ 125 h 1043"/>
                  <a:gd name="connsiteX9" fmla="*/ 4332 w 4487"/>
                  <a:gd name="connsiteY9" fmla="*/ 170 h 1043"/>
                  <a:gd name="connsiteX10" fmla="*/ 4383 w 4487"/>
                  <a:gd name="connsiteY10" fmla="*/ 224 h 1043"/>
                  <a:gd name="connsiteX11" fmla="*/ 4435 w 4487"/>
                  <a:gd name="connsiteY11" fmla="*/ 286 h 1043"/>
                  <a:gd name="connsiteX12" fmla="*/ 4487 w 4487"/>
                  <a:gd name="connsiteY12" fmla="*/ 361 h 1043"/>
                  <a:gd name="connsiteX13" fmla="*/ 4464 w 4487"/>
                  <a:gd name="connsiteY13" fmla="*/ 487 h 1043"/>
                  <a:gd name="connsiteX14" fmla="*/ 4414 w 4487"/>
                  <a:gd name="connsiteY14" fmla="*/ 404 h 1043"/>
                  <a:gd name="connsiteX15" fmla="*/ 4365 w 4487"/>
                  <a:gd name="connsiteY15" fmla="*/ 336 h 1043"/>
                  <a:gd name="connsiteX16" fmla="*/ 4315 w 4487"/>
                  <a:gd name="connsiteY16" fmla="*/ 276 h 1043"/>
                  <a:gd name="connsiteX17" fmla="*/ 4268 w 4487"/>
                  <a:gd name="connsiteY17" fmla="*/ 228 h 1043"/>
                  <a:gd name="connsiteX18" fmla="*/ 4222 w 4487"/>
                  <a:gd name="connsiteY18" fmla="*/ 189 h 1043"/>
                  <a:gd name="connsiteX19" fmla="*/ 4181 w 4487"/>
                  <a:gd name="connsiteY19" fmla="*/ 158 h 1043"/>
                  <a:gd name="connsiteX20" fmla="*/ 4142 w 4487"/>
                  <a:gd name="connsiteY20" fmla="*/ 135 h 1043"/>
                  <a:gd name="connsiteX21" fmla="*/ 4092 w 4487"/>
                  <a:gd name="connsiteY21" fmla="*/ 112 h 1043"/>
                  <a:gd name="connsiteX22" fmla="*/ 4049 w 4487"/>
                  <a:gd name="connsiteY22" fmla="*/ 98 h 1043"/>
                  <a:gd name="connsiteX23" fmla="*/ 4014 w 4487"/>
                  <a:gd name="connsiteY23" fmla="*/ 89 h 1043"/>
                  <a:gd name="connsiteX24" fmla="*/ 3985 w 4487"/>
                  <a:gd name="connsiteY24" fmla="*/ 87 h 1043"/>
                  <a:gd name="connsiteX25" fmla="*/ 3958 w 4487"/>
                  <a:gd name="connsiteY25" fmla="*/ 87 h 1043"/>
                  <a:gd name="connsiteX26" fmla="*/ 3892 w 4487"/>
                  <a:gd name="connsiteY26" fmla="*/ 93 h 1043"/>
                  <a:gd name="connsiteX27" fmla="*/ 3830 w 4487"/>
                  <a:gd name="connsiteY27" fmla="*/ 106 h 1043"/>
                  <a:gd name="connsiteX28" fmla="*/ 3774 w 4487"/>
                  <a:gd name="connsiteY28" fmla="*/ 127 h 1043"/>
                  <a:gd name="connsiteX29" fmla="*/ 3723 w 4487"/>
                  <a:gd name="connsiteY29" fmla="*/ 154 h 1043"/>
                  <a:gd name="connsiteX30" fmla="*/ 3675 w 4487"/>
                  <a:gd name="connsiteY30" fmla="*/ 187 h 1043"/>
                  <a:gd name="connsiteX31" fmla="*/ 3632 w 4487"/>
                  <a:gd name="connsiteY31" fmla="*/ 224 h 1043"/>
                  <a:gd name="connsiteX32" fmla="*/ 3593 w 4487"/>
                  <a:gd name="connsiteY32" fmla="*/ 268 h 1043"/>
                  <a:gd name="connsiteX33" fmla="*/ 3553 w 4487"/>
                  <a:gd name="connsiteY33" fmla="*/ 313 h 1043"/>
                  <a:gd name="connsiteX34" fmla="*/ 3518 w 4487"/>
                  <a:gd name="connsiteY34" fmla="*/ 363 h 1043"/>
                  <a:gd name="connsiteX35" fmla="*/ 3485 w 4487"/>
                  <a:gd name="connsiteY35" fmla="*/ 415 h 1043"/>
                  <a:gd name="connsiteX36" fmla="*/ 3423 w 4487"/>
                  <a:gd name="connsiteY36" fmla="*/ 523 h 1043"/>
                  <a:gd name="connsiteX37" fmla="*/ 3330 w 4487"/>
                  <a:gd name="connsiteY37" fmla="*/ 691 h 1043"/>
                  <a:gd name="connsiteX38" fmla="*/ 3297 w 4487"/>
                  <a:gd name="connsiteY38" fmla="*/ 747 h 1043"/>
                  <a:gd name="connsiteX39" fmla="*/ 3262 w 4487"/>
                  <a:gd name="connsiteY39" fmla="*/ 799 h 1043"/>
                  <a:gd name="connsiteX40" fmla="*/ 3227 w 4487"/>
                  <a:gd name="connsiteY40" fmla="*/ 848 h 1043"/>
                  <a:gd name="connsiteX41" fmla="*/ 3188 w 4487"/>
                  <a:gd name="connsiteY41" fmla="*/ 894 h 1043"/>
                  <a:gd name="connsiteX42" fmla="*/ 3147 w 4487"/>
                  <a:gd name="connsiteY42" fmla="*/ 935 h 1043"/>
                  <a:gd name="connsiteX43" fmla="*/ 3101 w 4487"/>
                  <a:gd name="connsiteY43" fmla="*/ 971 h 1043"/>
                  <a:gd name="connsiteX44" fmla="*/ 3052 w 4487"/>
                  <a:gd name="connsiteY44" fmla="*/ 1000 h 1043"/>
                  <a:gd name="connsiteX45" fmla="*/ 3000 w 4487"/>
                  <a:gd name="connsiteY45" fmla="*/ 1022 h 1043"/>
                  <a:gd name="connsiteX46" fmla="*/ 2942 w 4487"/>
                  <a:gd name="connsiteY46" fmla="*/ 1037 h 1043"/>
                  <a:gd name="connsiteX47" fmla="*/ 2878 w 4487"/>
                  <a:gd name="connsiteY47" fmla="*/ 1043 h 1043"/>
                  <a:gd name="connsiteX48" fmla="*/ 2870 w 4487"/>
                  <a:gd name="connsiteY48" fmla="*/ 1043 h 1043"/>
                  <a:gd name="connsiteX49" fmla="*/ 2808 w 4487"/>
                  <a:gd name="connsiteY49" fmla="*/ 1039 h 1043"/>
                  <a:gd name="connsiteX50" fmla="*/ 2748 w 4487"/>
                  <a:gd name="connsiteY50" fmla="*/ 1025 h 1043"/>
                  <a:gd name="connsiteX51" fmla="*/ 2695 w 4487"/>
                  <a:gd name="connsiteY51" fmla="*/ 1002 h 1043"/>
                  <a:gd name="connsiteX52" fmla="*/ 2643 w 4487"/>
                  <a:gd name="connsiteY52" fmla="*/ 973 h 1043"/>
                  <a:gd name="connsiteX53" fmla="*/ 2595 w 4487"/>
                  <a:gd name="connsiteY53" fmla="*/ 935 h 1043"/>
                  <a:gd name="connsiteX54" fmla="*/ 2552 w 4487"/>
                  <a:gd name="connsiteY54" fmla="*/ 894 h 1043"/>
                  <a:gd name="connsiteX55" fmla="*/ 2509 w 4487"/>
                  <a:gd name="connsiteY55" fmla="*/ 846 h 1043"/>
                  <a:gd name="connsiteX56" fmla="*/ 2469 w 4487"/>
                  <a:gd name="connsiteY56" fmla="*/ 796 h 1043"/>
                  <a:gd name="connsiteX57" fmla="*/ 2430 w 4487"/>
                  <a:gd name="connsiteY57" fmla="*/ 740 h 1043"/>
                  <a:gd name="connsiteX58" fmla="*/ 2393 w 4487"/>
                  <a:gd name="connsiteY58" fmla="*/ 684 h 1043"/>
                  <a:gd name="connsiteX59" fmla="*/ 2288 w 4487"/>
                  <a:gd name="connsiteY59" fmla="*/ 510 h 1043"/>
                  <a:gd name="connsiteX60" fmla="*/ 2251 w 4487"/>
                  <a:gd name="connsiteY60" fmla="*/ 452 h 1043"/>
                  <a:gd name="connsiteX61" fmla="*/ 2213 w 4487"/>
                  <a:gd name="connsiteY61" fmla="*/ 396 h 1043"/>
                  <a:gd name="connsiteX62" fmla="*/ 2176 w 4487"/>
                  <a:gd name="connsiteY62" fmla="*/ 342 h 1043"/>
                  <a:gd name="connsiteX63" fmla="*/ 2137 w 4487"/>
                  <a:gd name="connsiteY63" fmla="*/ 293 h 1043"/>
                  <a:gd name="connsiteX64" fmla="*/ 2096 w 4487"/>
                  <a:gd name="connsiteY64" fmla="*/ 247 h 1043"/>
                  <a:gd name="connsiteX65" fmla="*/ 2054 w 4487"/>
                  <a:gd name="connsiteY65" fmla="*/ 205 h 1043"/>
                  <a:gd name="connsiteX66" fmla="*/ 2009 w 4487"/>
                  <a:gd name="connsiteY66" fmla="*/ 168 h 1043"/>
                  <a:gd name="connsiteX67" fmla="*/ 1962 w 4487"/>
                  <a:gd name="connsiteY67" fmla="*/ 139 h 1043"/>
                  <a:gd name="connsiteX68" fmla="*/ 1910 w 4487"/>
                  <a:gd name="connsiteY68" fmla="*/ 116 h 1043"/>
                  <a:gd name="connsiteX69" fmla="*/ 1854 w 4487"/>
                  <a:gd name="connsiteY69" fmla="*/ 100 h 1043"/>
                  <a:gd name="connsiteX70" fmla="*/ 1796 w 4487"/>
                  <a:gd name="connsiteY70" fmla="*/ 91 h 1043"/>
                  <a:gd name="connsiteX71" fmla="*/ 1732 w 4487"/>
                  <a:gd name="connsiteY71" fmla="*/ 93 h 1043"/>
                  <a:gd name="connsiteX72" fmla="*/ 1664 w 4487"/>
                  <a:gd name="connsiteY72" fmla="*/ 104 h 1043"/>
                  <a:gd name="connsiteX73" fmla="*/ 1602 w 4487"/>
                  <a:gd name="connsiteY73" fmla="*/ 122 h 1043"/>
                  <a:gd name="connsiteX74" fmla="*/ 1545 w 4487"/>
                  <a:gd name="connsiteY74" fmla="*/ 147 h 1043"/>
                  <a:gd name="connsiteX75" fmla="*/ 1491 w 4487"/>
                  <a:gd name="connsiteY75" fmla="*/ 181 h 1043"/>
                  <a:gd name="connsiteX76" fmla="*/ 1439 w 4487"/>
                  <a:gd name="connsiteY76" fmla="*/ 218 h 1043"/>
                  <a:gd name="connsiteX77" fmla="*/ 1394 w 4487"/>
                  <a:gd name="connsiteY77" fmla="*/ 261 h 1043"/>
                  <a:gd name="connsiteX78" fmla="*/ 1348 w 4487"/>
                  <a:gd name="connsiteY78" fmla="*/ 307 h 1043"/>
                  <a:gd name="connsiteX79" fmla="*/ 1307 w 4487"/>
                  <a:gd name="connsiteY79" fmla="*/ 359 h 1043"/>
                  <a:gd name="connsiteX80" fmla="*/ 1268 w 4487"/>
                  <a:gd name="connsiteY80" fmla="*/ 413 h 1043"/>
                  <a:gd name="connsiteX81" fmla="*/ 1231 w 4487"/>
                  <a:gd name="connsiteY81" fmla="*/ 467 h 1043"/>
                  <a:gd name="connsiteX82" fmla="*/ 1194 w 4487"/>
                  <a:gd name="connsiteY82" fmla="*/ 523 h 1043"/>
                  <a:gd name="connsiteX83" fmla="*/ 1156 w 4487"/>
                  <a:gd name="connsiteY83" fmla="*/ 581 h 1043"/>
                  <a:gd name="connsiteX84" fmla="*/ 1121 w 4487"/>
                  <a:gd name="connsiteY84" fmla="*/ 637 h 1043"/>
                  <a:gd name="connsiteX85" fmla="*/ 1047 w 4487"/>
                  <a:gd name="connsiteY85" fmla="*/ 749 h 1043"/>
                  <a:gd name="connsiteX86" fmla="*/ 1008 w 4487"/>
                  <a:gd name="connsiteY86" fmla="*/ 801 h 1043"/>
                  <a:gd name="connsiteX87" fmla="*/ 966 w 4487"/>
                  <a:gd name="connsiteY87" fmla="*/ 850 h 1043"/>
                  <a:gd name="connsiteX88" fmla="*/ 923 w 4487"/>
                  <a:gd name="connsiteY88" fmla="*/ 896 h 1043"/>
                  <a:gd name="connsiteX89" fmla="*/ 876 w 4487"/>
                  <a:gd name="connsiteY89" fmla="*/ 937 h 1043"/>
                  <a:gd name="connsiteX90" fmla="*/ 826 w 4487"/>
                  <a:gd name="connsiteY90" fmla="*/ 973 h 1043"/>
                  <a:gd name="connsiteX91" fmla="*/ 772 w 4487"/>
                  <a:gd name="connsiteY91" fmla="*/ 1002 h 1043"/>
                  <a:gd name="connsiteX92" fmla="*/ 717 w 4487"/>
                  <a:gd name="connsiteY92" fmla="*/ 1025 h 1043"/>
                  <a:gd name="connsiteX93" fmla="*/ 653 w 4487"/>
                  <a:gd name="connsiteY93" fmla="*/ 1037 h 1043"/>
                  <a:gd name="connsiteX94" fmla="*/ 587 w 4487"/>
                  <a:gd name="connsiteY94" fmla="*/ 1043 h 1043"/>
                  <a:gd name="connsiteX95" fmla="*/ 580 w 4487"/>
                  <a:gd name="connsiteY95" fmla="*/ 1043 h 1043"/>
                  <a:gd name="connsiteX96" fmla="*/ 512 w 4487"/>
                  <a:gd name="connsiteY96" fmla="*/ 1039 h 1043"/>
                  <a:gd name="connsiteX97" fmla="*/ 450 w 4487"/>
                  <a:gd name="connsiteY97" fmla="*/ 1027 h 1043"/>
                  <a:gd name="connsiteX98" fmla="*/ 392 w 4487"/>
                  <a:gd name="connsiteY98" fmla="*/ 1008 h 1043"/>
                  <a:gd name="connsiteX99" fmla="*/ 341 w 4487"/>
                  <a:gd name="connsiteY99" fmla="*/ 983 h 1043"/>
                  <a:gd name="connsiteX100" fmla="*/ 293 w 4487"/>
                  <a:gd name="connsiteY100" fmla="*/ 952 h 1043"/>
                  <a:gd name="connsiteX101" fmla="*/ 248 w 4487"/>
                  <a:gd name="connsiteY101" fmla="*/ 915 h 1043"/>
                  <a:gd name="connsiteX102" fmla="*/ 207 w 4487"/>
                  <a:gd name="connsiteY102" fmla="*/ 873 h 1043"/>
                  <a:gd name="connsiteX103" fmla="*/ 169 w 4487"/>
                  <a:gd name="connsiteY103" fmla="*/ 828 h 1043"/>
                  <a:gd name="connsiteX104" fmla="*/ 132 w 4487"/>
                  <a:gd name="connsiteY104" fmla="*/ 780 h 1043"/>
                  <a:gd name="connsiteX105" fmla="*/ 99 w 4487"/>
                  <a:gd name="connsiteY105" fmla="*/ 728 h 1043"/>
                  <a:gd name="connsiteX106" fmla="*/ 64 w 4487"/>
                  <a:gd name="connsiteY106" fmla="*/ 674 h 1043"/>
                  <a:gd name="connsiteX107" fmla="*/ 33 w 4487"/>
                  <a:gd name="connsiteY107" fmla="*/ 618 h 1043"/>
                  <a:gd name="connsiteX108" fmla="*/ 0 w 4487"/>
                  <a:gd name="connsiteY108" fmla="*/ 560 h 1043"/>
                  <a:gd name="connsiteX109" fmla="*/ 77 w 4487"/>
                  <a:gd name="connsiteY109" fmla="*/ 516 h 1043"/>
                  <a:gd name="connsiteX110" fmla="*/ 110 w 4487"/>
                  <a:gd name="connsiteY110" fmla="*/ 575 h 1043"/>
                  <a:gd name="connsiteX111" fmla="*/ 143 w 4487"/>
                  <a:gd name="connsiteY111" fmla="*/ 631 h 1043"/>
                  <a:gd name="connsiteX112" fmla="*/ 176 w 4487"/>
                  <a:gd name="connsiteY112" fmla="*/ 684 h 1043"/>
                  <a:gd name="connsiteX113" fmla="*/ 209 w 4487"/>
                  <a:gd name="connsiteY113" fmla="*/ 736 h 1043"/>
                  <a:gd name="connsiteX114" fmla="*/ 244 w 4487"/>
                  <a:gd name="connsiteY114" fmla="*/ 782 h 1043"/>
                  <a:gd name="connsiteX115" fmla="*/ 281 w 4487"/>
                  <a:gd name="connsiteY115" fmla="*/ 825 h 1043"/>
                  <a:gd name="connsiteX116" fmla="*/ 322 w 4487"/>
                  <a:gd name="connsiteY116" fmla="*/ 863 h 1043"/>
                  <a:gd name="connsiteX117" fmla="*/ 366 w 4487"/>
                  <a:gd name="connsiteY117" fmla="*/ 894 h 1043"/>
                  <a:gd name="connsiteX118" fmla="*/ 413 w 4487"/>
                  <a:gd name="connsiteY118" fmla="*/ 921 h 1043"/>
                  <a:gd name="connsiteX119" fmla="*/ 463 w 4487"/>
                  <a:gd name="connsiteY119" fmla="*/ 940 h 1043"/>
                  <a:gd name="connsiteX120" fmla="*/ 518 w 4487"/>
                  <a:gd name="connsiteY120" fmla="*/ 952 h 1043"/>
                  <a:gd name="connsiteX121" fmla="*/ 580 w 4487"/>
                  <a:gd name="connsiteY121" fmla="*/ 956 h 1043"/>
                  <a:gd name="connsiteX122" fmla="*/ 587 w 4487"/>
                  <a:gd name="connsiteY122" fmla="*/ 956 h 1043"/>
                  <a:gd name="connsiteX123" fmla="*/ 646 w 4487"/>
                  <a:gd name="connsiteY123" fmla="*/ 950 h 1043"/>
                  <a:gd name="connsiteX124" fmla="*/ 702 w 4487"/>
                  <a:gd name="connsiteY124" fmla="*/ 935 h 1043"/>
                  <a:gd name="connsiteX125" fmla="*/ 756 w 4487"/>
                  <a:gd name="connsiteY125" fmla="*/ 913 h 1043"/>
                  <a:gd name="connsiteX126" fmla="*/ 803 w 4487"/>
                  <a:gd name="connsiteY126" fmla="*/ 884 h 1043"/>
                  <a:gd name="connsiteX127" fmla="*/ 849 w 4487"/>
                  <a:gd name="connsiteY127" fmla="*/ 846 h 1043"/>
                  <a:gd name="connsiteX128" fmla="*/ 892 w 4487"/>
                  <a:gd name="connsiteY128" fmla="*/ 803 h 1043"/>
                  <a:gd name="connsiteX129" fmla="*/ 931 w 4487"/>
                  <a:gd name="connsiteY129" fmla="*/ 755 h 1043"/>
                  <a:gd name="connsiteX130" fmla="*/ 971 w 4487"/>
                  <a:gd name="connsiteY130" fmla="*/ 703 h 1043"/>
                  <a:gd name="connsiteX131" fmla="*/ 1010 w 4487"/>
                  <a:gd name="connsiteY131" fmla="*/ 649 h 1043"/>
                  <a:gd name="connsiteX132" fmla="*/ 1121 w 4487"/>
                  <a:gd name="connsiteY132" fmla="*/ 475 h 1043"/>
                  <a:gd name="connsiteX133" fmla="*/ 1161 w 4487"/>
                  <a:gd name="connsiteY133" fmla="*/ 415 h 1043"/>
                  <a:gd name="connsiteX134" fmla="*/ 1202 w 4487"/>
                  <a:gd name="connsiteY134" fmla="*/ 357 h 1043"/>
                  <a:gd name="connsiteX135" fmla="*/ 1245 w 4487"/>
                  <a:gd name="connsiteY135" fmla="*/ 299 h 1043"/>
                  <a:gd name="connsiteX136" fmla="*/ 1291 w 4487"/>
                  <a:gd name="connsiteY136" fmla="*/ 245 h 1043"/>
                  <a:gd name="connsiteX137" fmla="*/ 1338 w 4487"/>
                  <a:gd name="connsiteY137" fmla="*/ 193 h 1043"/>
                  <a:gd name="connsiteX138" fmla="*/ 1392 w 4487"/>
                  <a:gd name="connsiteY138" fmla="*/ 145 h 1043"/>
                  <a:gd name="connsiteX139" fmla="*/ 1447 w 4487"/>
                  <a:gd name="connsiteY139" fmla="*/ 104 h 1043"/>
                  <a:gd name="connsiteX140" fmla="*/ 1509 w 4487"/>
                  <a:gd name="connsiteY140" fmla="*/ 69 h 1043"/>
                  <a:gd name="connsiteX141" fmla="*/ 1575 w 4487"/>
                  <a:gd name="connsiteY141" fmla="*/ 40 h 1043"/>
                  <a:gd name="connsiteX142" fmla="*/ 1648 w 4487"/>
                  <a:gd name="connsiteY142" fmla="*/ 19 h 1043"/>
                  <a:gd name="connsiteX143" fmla="*/ 1726 w 4487"/>
                  <a:gd name="connsiteY143" fmla="*/ 6 h 1043"/>
                  <a:gd name="connsiteX144" fmla="*/ 1796 w 4487"/>
                  <a:gd name="connsiteY144" fmla="*/ 4 h 1043"/>
                  <a:gd name="connsiteX145" fmla="*/ 1862 w 4487"/>
                  <a:gd name="connsiteY145" fmla="*/ 13 h 1043"/>
                  <a:gd name="connsiteX146" fmla="*/ 1922 w 4487"/>
                  <a:gd name="connsiteY146" fmla="*/ 27 h 1043"/>
                  <a:gd name="connsiteX147" fmla="*/ 1980 w 4487"/>
                  <a:gd name="connsiteY147" fmla="*/ 50 h 1043"/>
                  <a:gd name="connsiteX148" fmla="*/ 2034 w 4487"/>
                  <a:gd name="connsiteY148" fmla="*/ 81 h 1043"/>
                  <a:gd name="connsiteX149" fmla="*/ 2083 w 4487"/>
                  <a:gd name="connsiteY149" fmla="*/ 116 h 1043"/>
                  <a:gd name="connsiteX150" fmla="*/ 2129 w 4487"/>
                  <a:gd name="connsiteY150" fmla="*/ 158 h 1043"/>
                  <a:gd name="connsiteX151" fmla="*/ 2174 w 4487"/>
                  <a:gd name="connsiteY151" fmla="*/ 203 h 1043"/>
                  <a:gd name="connsiteX152" fmla="*/ 2216 w 4487"/>
                  <a:gd name="connsiteY152" fmla="*/ 251 h 1043"/>
                  <a:gd name="connsiteX153" fmla="*/ 2255 w 4487"/>
                  <a:gd name="connsiteY153" fmla="*/ 303 h 1043"/>
                  <a:gd name="connsiteX154" fmla="*/ 2292 w 4487"/>
                  <a:gd name="connsiteY154" fmla="*/ 357 h 1043"/>
                  <a:gd name="connsiteX155" fmla="*/ 2327 w 4487"/>
                  <a:gd name="connsiteY155" fmla="*/ 413 h 1043"/>
                  <a:gd name="connsiteX156" fmla="*/ 2362 w 4487"/>
                  <a:gd name="connsiteY156" fmla="*/ 467 h 1043"/>
                  <a:gd name="connsiteX157" fmla="*/ 2395 w 4487"/>
                  <a:gd name="connsiteY157" fmla="*/ 523 h 1043"/>
                  <a:gd name="connsiteX158" fmla="*/ 2432 w 4487"/>
                  <a:gd name="connsiteY158" fmla="*/ 585 h 1043"/>
                  <a:gd name="connsiteX159" fmla="*/ 2469 w 4487"/>
                  <a:gd name="connsiteY159" fmla="*/ 643 h 1043"/>
                  <a:gd name="connsiteX160" fmla="*/ 2509 w 4487"/>
                  <a:gd name="connsiteY160" fmla="*/ 701 h 1043"/>
                  <a:gd name="connsiteX161" fmla="*/ 2546 w 4487"/>
                  <a:gd name="connsiteY161" fmla="*/ 755 h 1043"/>
                  <a:gd name="connsiteX162" fmla="*/ 2587 w 4487"/>
                  <a:gd name="connsiteY162" fmla="*/ 805 h 1043"/>
                  <a:gd name="connsiteX163" fmla="*/ 2628 w 4487"/>
                  <a:gd name="connsiteY163" fmla="*/ 848 h 1043"/>
                  <a:gd name="connsiteX164" fmla="*/ 2672 w 4487"/>
                  <a:gd name="connsiteY164" fmla="*/ 886 h 1043"/>
                  <a:gd name="connsiteX165" fmla="*/ 2717 w 4487"/>
                  <a:gd name="connsiteY165" fmla="*/ 917 h 1043"/>
                  <a:gd name="connsiteX166" fmla="*/ 2767 w 4487"/>
                  <a:gd name="connsiteY166" fmla="*/ 940 h 1043"/>
                  <a:gd name="connsiteX167" fmla="*/ 2820 w 4487"/>
                  <a:gd name="connsiteY167" fmla="*/ 952 h 1043"/>
                  <a:gd name="connsiteX168" fmla="*/ 2876 w 4487"/>
                  <a:gd name="connsiteY168" fmla="*/ 956 h 1043"/>
                  <a:gd name="connsiteX169" fmla="*/ 2932 w 4487"/>
                  <a:gd name="connsiteY169" fmla="*/ 950 h 1043"/>
                  <a:gd name="connsiteX170" fmla="*/ 2982 w 4487"/>
                  <a:gd name="connsiteY170" fmla="*/ 935 h 1043"/>
                  <a:gd name="connsiteX171" fmla="*/ 3029 w 4487"/>
                  <a:gd name="connsiteY171" fmla="*/ 915 h 1043"/>
                  <a:gd name="connsiteX172" fmla="*/ 3072 w 4487"/>
                  <a:gd name="connsiteY172" fmla="*/ 884 h 1043"/>
                  <a:gd name="connsiteX173" fmla="*/ 3112 w 4487"/>
                  <a:gd name="connsiteY173" fmla="*/ 848 h 1043"/>
                  <a:gd name="connsiteX174" fmla="*/ 3149 w 4487"/>
                  <a:gd name="connsiteY174" fmla="*/ 807 h 1043"/>
                  <a:gd name="connsiteX175" fmla="*/ 3184 w 4487"/>
                  <a:gd name="connsiteY175" fmla="*/ 759 h 1043"/>
                  <a:gd name="connsiteX176" fmla="*/ 3217 w 4487"/>
                  <a:gd name="connsiteY176" fmla="*/ 709 h 1043"/>
                  <a:gd name="connsiteX177" fmla="*/ 3250 w 4487"/>
                  <a:gd name="connsiteY177" fmla="*/ 655 h 1043"/>
                  <a:gd name="connsiteX178" fmla="*/ 3283 w 4487"/>
                  <a:gd name="connsiteY178" fmla="*/ 597 h 1043"/>
                  <a:gd name="connsiteX179" fmla="*/ 3316 w 4487"/>
                  <a:gd name="connsiteY179" fmla="*/ 537 h 1043"/>
                  <a:gd name="connsiteX180" fmla="*/ 3345 w 4487"/>
                  <a:gd name="connsiteY180" fmla="*/ 483 h 1043"/>
                  <a:gd name="connsiteX181" fmla="*/ 3407 w 4487"/>
                  <a:gd name="connsiteY181" fmla="*/ 375 h 1043"/>
                  <a:gd name="connsiteX182" fmla="*/ 3477 w 4487"/>
                  <a:gd name="connsiteY182" fmla="*/ 272 h 1043"/>
                  <a:gd name="connsiteX183" fmla="*/ 3514 w 4487"/>
                  <a:gd name="connsiteY183" fmla="*/ 224 h 1043"/>
                  <a:gd name="connsiteX184" fmla="*/ 3555 w 4487"/>
                  <a:gd name="connsiteY184" fmla="*/ 178 h 1043"/>
                  <a:gd name="connsiteX185" fmla="*/ 3599 w 4487"/>
                  <a:gd name="connsiteY185" fmla="*/ 137 h 1043"/>
                  <a:gd name="connsiteX186" fmla="*/ 3646 w 4487"/>
                  <a:gd name="connsiteY186" fmla="*/ 100 h 1043"/>
                  <a:gd name="connsiteX187" fmla="*/ 3698 w 4487"/>
                  <a:gd name="connsiteY187" fmla="*/ 66 h 1043"/>
                  <a:gd name="connsiteX188" fmla="*/ 3756 w 4487"/>
                  <a:gd name="connsiteY188" fmla="*/ 40 h 1043"/>
                  <a:gd name="connsiteX189" fmla="*/ 3816 w 4487"/>
                  <a:gd name="connsiteY189" fmla="*/ 19 h 1043"/>
                  <a:gd name="connsiteX190" fmla="*/ 3882 w 4487"/>
                  <a:gd name="connsiteY190" fmla="*/ 6 h 1043"/>
                  <a:gd name="connsiteX191" fmla="*/ 3954 w 4487"/>
                  <a:gd name="connsiteY191" fmla="*/ 0 h 1043"/>
                  <a:gd name="connsiteX0" fmla="*/ 3954 w 4487"/>
                  <a:gd name="connsiteY0" fmla="*/ 0 h 1043"/>
                  <a:gd name="connsiteX1" fmla="*/ 4004 w 4487"/>
                  <a:gd name="connsiteY1" fmla="*/ 0 h 1043"/>
                  <a:gd name="connsiteX2" fmla="*/ 4032 w 4487"/>
                  <a:gd name="connsiteY2" fmla="*/ 4 h 1043"/>
                  <a:gd name="connsiteX3" fmla="*/ 4063 w 4487"/>
                  <a:gd name="connsiteY3" fmla="*/ 13 h 1043"/>
                  <a:gd name="connsiteX4" fmla="*/ 4101 w 4487"/>
                  <a:gd name="connsiteY4" fmla="*/ 23 h 1043"/>
                  <a:gd name="connsiteX5" fmla="*/ 4142 w 4487"/>
                  <a:gd name="connsiteY5" fmla="*/ 40 h 1043"/>
                  <a:gd name="connsiteX6" fmla="*/ 4185 w 4487"/>
                  <a:gd name="connsiteY6" fmla="*/ 60 h 1043"/>
                  <a:gd name="connsiteX7" fmla="*/ 4233 w 4487"/>
                  <a:gd name="connsiteY7" fmla="*/ 89 h 1043"/>
                  <a:gd name="connsiteX8" fmla="*/ 4282 w 4487"/>
                  <a:gd name="connsiteY8" fmla="*/ 125 h 1043"/>
                  <a:gd name="connsiteX9" fmla="*/ 4332 w 4487"/>
                  <a:gd name="connsiteY9" fmla="*/ 170 h 1043"/>
                  <a:gd name="connsiteX10" fmla="*/ 4383 w 4487"/>
                  <a:gd name="connsiteY10" fmla="*/ 224 h 1043"/>
                  <a:gd name="connsiteX11" fmla="*/ 4435 w 4487"/>
                  <a:gd name="connsiteY11" fmla="*/ 286 h 1043"/>
                  <a:gd name="connsiteX12" fmla="*/ 4487 w 4487"/>
                  <a:gd name="connsiteY12" fmla="*/ 361 h 1043"/>
                  <a:gd name="connsiteX13" fmla="*/ 4414 w 4487"/>
                  <a:gd name="connsiteY13" fmla="*/ 404 h 1043"/>
                  <a:gd name="connsiteX14" fmla="*/ 4365 w 4487"/>
                  <a:gd name="connsiteY14" fmla="*/ 336 h 1043"/>
                  <a:gd name="connsiteX15" fmla="*/ 4315 w 4487"/>
                  <a:gd name="connsiteY15" fmla="*/ 276 h 1043"/>
                  <a:gd name="connsiteX16" fmla="*/ 4268 w 4487"/>
                  <a:gd name="connsiteY16" fmla="*/ 228 h 1043"/>
                  <a:gd name="connsiteX17" fmla="*/ 4222 w 4487"/>
                  <a:gd name="connsiteY17" fmla="*/ 189 h 1043"/>
                  <a:gd name="connsiteX18" fmla="*/ 4181 w 4487"/>
                  <a:gd name="connsiteY18" fmla="*/ 158 h 1043"/>
                  <a:gd name="connsiteX19" fmla="*/ 4142 w 4487"/>
                  <a:gd name="connsiteY19" fmla="*/ 135 h 1043"/>
                  <a:gd name="connsiteX20" fmla="*/ 4092 w 4487"/>
                  <a:gd name="connsiteY20" fmla="*/ 112 h 1043"/>
                  <a:gd name="connsiteX21" fmla="*/ 4049 w 4487"/>
                  <a:gd name="connsiteY21" fmla="*/ 98 h 1043"/>
                  <a:gd name="connsiteX22" fmla="*/ 4014 w 4487"/>
                  <a:gd name="connsiteY22" fmla="*/ 89 h 1043"/>
                  <a:gd name="connsiteX23" fmla="*/ 3985 w 4487"/>
                  <a:gd name="connsiteY23" fmla="*/ 87 h 1043"/>
                  <a:gd name="connsiteX24" fmla="*/ 3958 w 4487"/>
                  <a:gd name="connsiteY24" fmla="*/ 87 h 1043"/>
                  <a:gd name="connsiteX25" fmla="*/ 3892 w 4487"/>
                  <a:gd name="connsiteY25" fmla="*/ 93 h 1043"/>
                  <a:gd name="connsiteX26" fmla="*/ 3830 w 4487"/>
                  <a:gd name="connsiteY26" fmla="*/ 106 h 1043"/>
                  <a:gd name="connsiteX27" fmla="*/ 3774 w 4487"/>
                  <a:gd name="connsiteY27" fmla="*/ 127 h 1043"/>
                  <a:gd name="connsiteX28" fmla="*/ 3723 w 4487"/>
                  <a:gd name="connsiteY28" fmla="*/ 154 h 1043"/>
                  <a:gd name="connsiteX29" fmla="*/ 3675 w 4487"/>
                  <a:gd name="connsiteY29" fmla="*/ 187 h 1043"/>
                  <a:gd name="connsiteX30" fmla="*/ 3632 w 4487"/>
                  <a:gd name="connsiteY30" fmla="*/ 224 h 1043"/>
                  <a:gd name="connsiteX31" fmla="*/ 3593 w 4487"/>
                  <a:gd name="connsiteY31" fmla="*/ 268 h 1043"/>
                  <a:gd name="connsiteX32" fmla="*/ 3553 w 4487"/>
                  <a:gd name="connsiteY32" fmla="*/ 313 h 1043"/>
                  <a:gd name="connsiteX33" fmla="*/ 3518 w 4487"/>
                  <a:gd name="connsiteY33" fmla="*/ 363 h 1043"/>
                  <a:gd name="connsiteX34" fmla="*/ 3485 w 4487"/>
                  <a:gd name="connsiteY34" fmla="*/ 415 h 1043"/>
                  <a:gd name="connsiteX35" fmla="*/ 3423 w 4487"/>
                  <a:gd name="connsiteY35" fmla="*/ 523 h 1043"/>
                  <a:gd name="connsiteX36" fmla="*/ 3330 w 4487"/>
                  <a:gd name="connsiteY36" fmla="*/ 691 h 1043"/>
                  <a:gd name="connsiteX37" fmla="*/ 3297 w 4487"/>
                  <a:gd name="connsiteY37" fmla="*/ 747 h 1043"/>
                  <a:gd name="connsiteX38" fmla="*/ 3262 w 4487"/>
                  <a:gd name="connsiteY38" fmla="*/ 799 h 1043"/>
                  <a:gd name="connsiteX39" fmla="*/ 3227 w 4487"/>
                  <a:gd name="connsiteY39" fmla="*/ 848 h 1043"/>
                  <a:gd name="connsiteX40" fmla="*/ 3188 w 4487"/>
                  <a:gd name="connsiteY40" fmla="*/ 894 h 1043"/>
                  <a:gd name="connsiteX41" fmla="*/ 3147 w 4487"/>
                  <a:gd name="connsiteY41" fmla="*/ 935 h 1043"/>
                  <a:gd name="connsiteX42" fmla="*/ 3101 w 4487"/>
                  <a:gd name="connsiteY42" fmla="*/ 971 h 1043"/>
                  <a:gd name="connsiteX43" fmla="*/ 3052 w 4487"/>
                  <a:gd name="connsiteY43" fmla="*/ 1000 h 1043"/>
                  <a:gd name="connsiteX44" fmla="*/ 3000 w 4487"/>
                  <a:gd name="connsiteY44" fmla="*/ 1022 h 1043"/>
                  <a:gd name="connsiteX45" fmla="*/ 2942 w 4487"/>
                  <a:gd name="connsiteY45" fmla="*/ 1037 h 1043"/>
                  <a:gd name="connsiteX46" fmla="*/ 2878 w 4487"/>
                  <a:gd name="connsiteY46" fmla="*/ 1043 h 1043"/>
                  <a:gd name="connsiteX47" fmla="*/ 2870 w 4487"/>
                  <a:gd name="connsiteY47" fmla="*/ 1043 h 1043"/>
                  <a:gd name="connsiteX48" fmla="*/ 2808 w 4487"/>
                  <a:gd name="connsiteY48" fmla="*/ 1039 h 1043"/>
                  <a:gd name="connsiteX49" fmla="*/ 2748 w 4487"/>
                  <a:gd name="connsiteY49" fmla="*/ 1025 h 1043"/>
                  <a:gd name="connsiteX50" fmla="*/ 2695 w 4487"/>
                  <a:gd name="connsiteY50" fmla="*/ 1002 h 1043"/>
                  <a:gd name="connsiteX51" fmla="*/ 2643 w 4487"/>
                  <a:gd name="connsiteY51" fmla="*/ 973 h 1043"/>
                  <a:gd name="connsiteX52" fmla="*/ 2595 w 4487"/>
                  <a:gd name="connsiteY52" fmla="*/ 935 h 1043"/>
                  <a:gd name="connsiteX53" fmla="*/ 2552 w 4487"/>
                  <a:gd name="connsiteY53" fmla="*/ 894 h 1043"/>
                  <a:gd name="connsiteX54" fmla="*/ 2509 w 4487"/>
                  <a:gd name="connsiteY54" fmla="*/ 846 h 1043"/>
                  <a:gd name="connsiteX55" fmla="*/ 2469 w 4487"/>
                  <a:gd name="connsiteY55" fmla="*/ 796 h 1043"/>
                  <a:gd name="connsiteX56" fmla="*/ 2430 w 4487"/>
                  <a:gd name="connsiteY56" fmla="*/ 740 h 1043"/>
                  <a:gd name="connsiteX57" fmla="*/ 2393 w 4487"/>
                  <a:gd name="connsiteY57" fmla="*/ 684 h 1043"/>
                  <a:gd name="connsiteX58" fmla="*/ 2288 w 4487"/>
                  <a:gd name="connsiteY58" fmla="*/ 510 h 1043"/>
                  <a:gd name="connsiteX59" fmla="*/ 2251 w 4487"/>
                  <a:gd name="connsiteY59" fmla="*/ 452 h 1043"/>
                  <a:gd name="connsiteX60" fmla="*/ 2213 w 4487"/>
                  <a:gd name="connsiteY60" fmla="*/ 396 h 1043"/>
                  <a:gd name="connsiteX61" fmla="*/ 2176 w 4487"/>
                  <a:gd name="connsiteY61" fmla="*/ 342 h 1043"/>
                  <a:gd name="connsiteX62" fmla="*/ 2137 w 4487"/>
                  <a:gd name="connsiteY62" fmla="*/ 293 h 1043"/>
                  <a:gd name="connsiteX63" fmla="*/ 2096 w 4487"/>
                  <a:gd name="connsiteY63" fmla="*/ 247 h 1043"/>
                  <a:gd name="connsiteX64" fmla="*/ 2054 w 4487"/>
                  <a:gd name="connsiteY64" fmla="*/ 205 h 1043"/>
                  <a:gd name="connsiteX65" fmla="*/ 2009 w 4487"/>
                  <a:gd name="connsiteY65" fmla="*/ 168 h 1043"/>
                  <a:gd name="connsiteX66" fmla="*/ 1962 w 4487"/>
                  <a:gd name="connsiteY66" fmla="*/ 139 h 1043"/>
                  <a:gd name="connsiteX67" fmla="*/ 1910 w 4487"/>
                  <a:gd name="connsiteY67" fmla="*/ 116 h 1043"/>
                  <a:gd name="connsiteX68" fmla="*/ 1854 w 4487"/>
                  <a:gd name="connsiteY68" fmla="*/ 100 h 1043"/>
                  <a:gd name="connsiteX69" fmla="*/ 1796 w 4487"/>
                  <a:gd name="connsiteY69" fmla="*/ 91 h 1043"/>
                  <a:gd name="connsiteX70" fmla="*/ 1732 w 4487"/>
                  <a:gd name="connsiteY70" fmla="*/ 93 h 1043"/>
                  <a:gd name="connsiteX71" fmla="*/ 1664 w 4487"/>
                  <a:gd name="connsiteY71" fmla="*/ 104 h 1043"/>
                  <a:gd name="connsiteX72" fmla="*/ 1602 w 4487"/>
                  <a:gd name="connsiteY72" fmla="*/ 122 h 1043"/>
                  <a:gd name="connsiteX73" fmla="*/ 1545 w 4487"/>
                  <a:gd name="connsiteY73" fmla="*/ 147 h 1043"/>
                  <a:gd name="connsiteX74" fmla="*/ 1491 w 4487"/>
                  <a:gd name="connsiteY74" fmla="*/ 181 h 1043"/>
                  <a:gd name="connsiteX75" fmla="*/ 1439 w 4487"/>
                  <a:gd name="connsiteY75" fmla="*/ 218 h 1043"/>
                  <a:gd name="connsiteX76" fmla="*/ 1394 w 4487"/>
                  <a:gd name="connsiteY76" fmla="*/ 261 h 1043"/>
                  <a:gd name="connsiteX77" fmla="*/ 1348 w 4487"/>
                  <a:gd name="connsiteY77" fmla="*/ 307 h 1043"/>
                  <a:gd name="connsiteX78" fmla="*/ 1307 w 4487"/>
                  <a:gd name="connsiteY78" fmla="*/ 359 h 1043"/>
                  <a:gd name="connsiteX79" fmla="*/ 1268 w 4487"/>
                  <a:gd name="connsiteY79" fmla="*/ 413 h 1043"/>
                  <a:gd name="connsiteX80" fmla="*/ 1231 w 4487"/>
                  <a:gd name="connsiteY80" fmla="*/ 467 h 1043"/>
                  <a:gd name="connsiteX81" fmla="*/ 1194 w 4487"/>
                  <a:gd name="connsiteY81" fmla="*/ 523 h 1043"/>
                  <a:gd name="connsiteX82" fmla="*/ 1156 w 4487"/>
                  <a:gd name="connsiteY82" fmla="*/ 581 h 1043"/>
                  <a:gd name="connsiteX83" fmla="*/ 1121 w 4487"/>
                  <a:gd name="connsiteY83" fmla="*/ 637 h 1043"/>
                  <a:gd name="connsiteX84" fmla="*/ 1047 w 4487"/>
                  <a:gd name="connsiteY84" fmla="*/ 749 h 1043"/>
                  <a:gd name="connsiteX85" fmla="*/ 1008 w 4487"/>
                  <a:gd name="connsiteY85" fmla="*/ 801 h 1043"/>
                  <a:gd name="connsiteX86" fmla="*/ 966 w 4487"/>
                  <a:gd name="connsiteY86" fmla="*/ 850 h 1043"/>
                  <a:gd name="connsiteX87" fmla="*/ 923 w 4487"/>
                  <a:gd name="connsiteY87" fmla="*/ 896 h 1043"/>
                  <a:gd name="connsiteX88" fmla="*/ 876 w 4487"/>
                  <a:gd name="connsiteY88" fmla="*/ 937 h 1043"/>
                  <a:gd name="connsiteX89" fmla="*/ 826 w 4487"/>
                  <a:gd name="connsiteY89" fmla="*/ 973 h 1043"/>
                  <a:gd name="connsiteX90" fmla="*/ 772 w 4487"/>
                  <a:gd name="connsiteY90" fmla="*/ 1002 h 1043"/>
                  <a:gd name="connsiteX91" fmla="*/ 717 w 4487"/>
                  <a:gd name="connsiteY91" fmla="*/ 1025 h 1043"/>
                  <a:gd name="connsiteX92" fmla="*/ 653 w 4487"/>
                  <a:gd name="connsiteY92" fmla="*/ 1037 h 1043"/>
                  <a:gd name="connsiteX93" fmla="*/ 587 w 4487"/>
                  <a:gd name="connsiteY93" fmla="*/ 1043 h 1043"/>
                  <a:gd name="connsiteX94" fmla="*/ 580 w 4487"/>
                  <a:gd name="connsiteY94" fmla="*/ 1043 h 1043"/>
                  <a:gd name="connsiteX95" fmla="*/ 512 w 4487"/>
                  <a:gd name="connsiteY95" fmla="*/ 1039 h 1043"/>
                  <a:gd name="connsiteX96" fmla="*/ 450 w 4487"/>
                  <a:gd name="connsiteY96" fmla="*/ 1027 h 1043"/>
                  <a:gd name="connsiteX97" fmla="*/ 392 w 4487"/>
                  <a:gd name="connsiteY97" fmla="*/ 1008 h 1043"/>
                  <a:gd name="connsiteX98" fmla="*/ 341 w 4487"/>
                  <a:gd name="connsiteY98" fmla="*/ 983 h 1043"/>
                  <a:gd name="connsiteX99" fmla="*/ 293 w 4487"/>
                  <a:gd name="connsiteY99" fmla="*/ 952 h 1043"/>
                  <a:gd name="connsiteX100" fmla="*/ 248 w 4487"/>
                  <a:gd name="connsiteY100" fmla="*/ 915 h 1043"/>
                  <a:gd name="connsiteX101" fmla="*/ 207 w 4487"/>
                  <a:gd name="connsiteY101" fmla="*/ 873 h 1043"/>
                  <a:gd name="connsiteX102" fmla="*/ 169 w 4487"/>
                  <a:gd name="connsiteY102" fmla="*/ 828 h 1043"/>
                  <a:gd name="connsiteX103" fmla="*/ 132 w 4487"/>
                  <a:gd name="connsiteY103" fmla="*/ 780 h 1043"/>
                  <a:gd name="connsiteX104" fmla="*/ 99 w 4487"/>
                  <a:gd name="connsiteY104" fmla="*/ 728 h 1043"/>
                  <a:gd name="connsiteX105" fmla="*/ 64 w 4487"/>
                  <a:gd name="connsiteY105" fmla="*/ 674 h 1043"/>
                  <a:gd name="connsiteX106" fmla="*/ 33 w 4487"/>
                  <a:gd name="connsiteY106" fmla="*/ 618 h 1043"/>
                  <a:gd name="connsiteX107" fmla="*/ 0 w 4487"/>
                  <a:gd name="connsiteY107" fmla="*/ 560 h 1043"/>
                  <a:gd name="connsiteX108" fmla="*/ 77 w 4487"/>
                  <a:gd name="connsiteY108" fmla="*/ 516 h 1043"/>
                  <a:gd name="connsiteX109" fmla="*/ 110 w 4487"/>
                  <a:gd name="connsiteY109" fmla="*/ 575 h 1043"/>
                  <a:gd name="connsiteX110" fmla="*/ 143 w 4487"/>
                  <a:gd name="connsiteY110" fmla="*/ 631 h 1043"/>
                  <a:gd name="connsiteX111" fmla="*/ 176 w 4487"/>
                  <a:gd name="connsiteY111" fmla="*/ 684 h 1043"/>
                  <a:gd name="connsiteX112" fmla="*/ 209 w 4487"/>
                  <a:gd name="connsiteY112" fmla="*/ 736 h 1043"/>
                  <a:gd name="connsiteX113" fmla="*/ 244 w 4487"/>
                  <a:gd name="connsiteY113" fmla="*/ 782 h 1043"/>
                  <a:gd name="connsiteX114" fmla="*/ 281 w 4487"/>
                  <a:gd name="connsiteY114" fmla="*/ 825 h 1043"/>
                  <a:gd name="connsiteX115" fmla="*/ 322 w 4487"/>
                  <a:gd name="connsiteY115" fmla="*/ 863 h 1043"/>
                  <a:gd name="connsiteX116" fmla="*/ 366 w 4487"/>
                  <a:gd name="connsiteY116" fmla="*/ 894 h 1043"/>
                  <a:gd name="connsiteX117" fmla="*/ 413 w 4487"/>
                  <a:gd name="connsiteY117" fmla="*/ 921 h 1043"/>
                  <a:gd name="connsiteX118" fmla="*/ 463 w 4487"/>
                  <a:gd name="connsiteY118" fmla="*/ 940 h 1043"/>
                  <a:gd name="connsiteX119" fmla="*/ 518 w 4487"/>
                  <a:gd name="connsiteY119" fmla="*/ 952 h 1043"/>
                  <a:gd name="connsiteX120" fmla="*/ 580 w 4487"/>
                  <a:gd name="connsiteY120" fmla="*/ 956 h 1043"/>
                  <a:gd name="connsiteX121" fmla="*/ 587 w 4487"/>
                  <a:gd name="connsiteY121" fmla="*/ 956 h 1043"/>
                  <a:gd name="connsiteX122" fmla="*/ 646 w 4487"/>
                  <a:gd name="connsiteY122" fmla="*/ 950 h 1043"/>
                  <a:gd name="connsiteX123" fmla="*/ 702 w 4487"/>
                  <a:gd name="connsiteY123" fmla="*/ 935 h 1043"/>
                  <a:gd name="connsiteX124" fmla="*/ 756 w 4487"/>
                  <a:gd name="connsiteY124" fmla="*/ 913 h 1043"/>
                  <a:gd name="connsiteX125" fmla="*/ 803 w 4487"/>
                  <a:gd name="connsiteY125" fmla="*/ 884 h 1043"/>
                  <a:gd name="connsiteX126" fmla="*/ 849 w 4487"/>
                  <a:gd name="connsiteY126" fmla="*/ 846 h 1043"/>
                  <a:gd name="connsiteX127" fmla="*/ 892 w 4487"/>
                  <a:gd name="connsiteY127" fmla="*/ 803 h 1043"/>
                  <a:gd name="connsiteX128" fmla="*/ 931 w 4487"/>
                  <a:gd name="connsiteY128" fmla="*/ 755 h 1043"/>
                  <a:gd name="connsiteX129" fmla="*/ 971 w 4487"/>
                  <a:gd name="connsiteY129" fmla="*/ 703 h 1043"/>
                  <a:gd name="connsiteX130" fmla="*/ 1010 w 4487"/>
                  <a:gd name="connsiteY130" fmla="*/ 649 h 1043"/>
                  <a:gd name="connsiteX131" fmla="*/ 1121 w 4487"/>
                  <a:gd name="connsiteY131" fmla="*/ 475 h 1043"/>
                  <a:gd name="connsiteX132" fmla="*/ 1161 w 4487"/>
                  <a:gd name="connsiteY132" fmla="*/ 415 h 1043"/>
                  <a:gd name="connsiteX133" fmla="*/ 1202 w 4487"/>
                  <a:gd name="connsiteY133" fmla="*/ 357 h 1043"/>
                  <a:gd name="connsiteX134" fmla="*/ 1245 w 4487"/>
                  <a:gd name="connsiteY134" fmla="*/ 299 h 1043"/>
                  <a:gd name="connsiteX135" fmla="*/ 1291 w 4487"/>
                  <a:gd name="connsiteY135" fmla="*/ 245 h 1043"/>
                  <a:gd name="connsiteX136" fmla="*/ 1338 w 4487"/>
                  <a:gd name="connsiteY136" fmla="*/ 193 h 1043"/>
                  <a:gd name="connsiteX137" fmla="*/ 1392 w 4487"/>
                  <a:gd name="connsiteY137" fmla="*/ 145 h 1043"/>
                  <a:gd name="connsiteX138" fmla="*/ 1447 w 4487"/>
                  <a:gd name="connsiteY138" fmla="*/ 104 h 1043"/>
                  <a:gd name="connsiteX139" fmla="*/ 1509 w 4487"/>
                  <a:gd name="connsiteY139" fmla="*/ 69 h 1043"/>
                  <a:gd name="connsiteX140" fmla="*/ 1575 w 4487"/>
                  <a:gd name="connsiteY140" fmla="*/ 40 h 1043"/>
                  <a:gd name="connsiteX141" fmla="*/ 1648 w 4487"/>
                  <a:gd name="connsiteY141" fmla="*/ 19 h 1043"/>
                  <a:gd name="connsiteX142" fmla="*/ 1726 w 4487"/>
                  <a:gd name="connsiteY142" fmla="*/ 6 h 1043"/>
                  <a:gd name="connsiteX143" fmla="*/ 1796 w 4487"/>
                  <a:gd name="connsiteY143" fmla="*/ 4 h 1043"/>
                  <a:gd name="connsiteX144" fmla="*/ 1862 w 4487"/>
                  <a:gd name="connsiteY144" fmla="*/ 13 h 1043"/>
                  <a:gd name="connsiteX145" fmla="*/ 1922 w 4487"/>
                  <a:gd name="connsiteY145" fmla="*/ 27 h 1043"/>
                  <a:gd name="connsiteX146" fmla="*/ 1980 w 4487"/>
                  <a:gd name="connsiteY146" fmla="*/ 50 h 1043"/>
                  <a:gd name="connsiteX147" fmla="*/ 2034 w 4487"/>
                  <a:gd name="connsiteY147" fmla="*/ 81 h 1043"/>
                  <a:gd name="connsiteX148" fmla="*/ 2083 w 4487"/>
                  <a:gd name="connsiteY148" fmla="*/ 116 h 1043"/>
                  <a:gd name="connsiteX149" fmla="*/ 2129 w 4487"/>
                  <a:gd name="connsiteY149" fmla="*/ 158 h 1043"/>
                  <a:gd name="connsiteX150" fmla="*/ 2174 w 4487"/>
                  <a:gd name="connsiteY150" fmla="*/ 203 h 1043"/>
                  <a:gd name="connsiteX151" fmla="*/ 2216 w 4487"/>
                  <a:gd name="connsiteY151" fmla="*/ 251 h 1043"/>
                  <a:gd name="connsiteX152" fmla="*/ 2255 w 4487"/>
                  <a:gd name="connsiteY152" fmla="*/ 303 h 1043"/>
                  <a:gd name="connsiteX153" fmla="*/ 2292 w 4487"/>
                  <a:gd name="connsiteY153" fmla="*/ 357 h 1043"/>
                  <a:gd name="connsiteX154" fmla="*/ 2327 w 4487"/>
                  <a:gd name="connsiteY154" fmla="*/ 413 h 1043"/>
                  <a:gd name="connsiteX155" fmla="*/ 2362 w 4487"/>
                  <a:gd name="connsiteY155" fmla="*/ 467 h 1043"/>
                  <a:gd name="connsiteX156" fmla="*/ 2395 w 4487"/>
                  <a:gd name="connsiteY156" fmla="*/ 523 h 1043"/>
                  <a:gd name="connsiteX157" fmla="*/ 2432 w 4487"/>
                  <a:gd name="connsiteY157" fmla="*/ 585 h 1043"/>
                  <a:gd name="connsiteX158" fmla="*/ 2469 w 4487"/>
                  <a:gd name="connsiteY158" fmla="*/ 643 h 1043"/>
                  <a:gd name="connsiteX159" fmla="*/ 2509 w 4487"/>
                  <a:gd name="connsiteY159" fmla="*/ 701 h 1043"/>
                  <a:gd name="connsiteX160" fmla="*/ 2546 w 4487"/>
                  <a:gd name="connsiteY160" fmla="*/ 755 h 1043"/>
                  <a:gd name="connsiteX161" fmla="*/ 2587 w 4487"/>
                  <a:gd name="connsiteY161" fmla="*/ 805 h 1043"/>
                  <a:gd name="connsiteX162" fmla="*/ 2628 w 4487"/>
                  <a:gd name="connsiteY162" fmla="*/ 848 h 1043"/>
                  <a:gd name="connsiteX163" fmla="*/ 2672 w 4487"/>
                  <a:gd name="connsiteY163" fmla="*/ 886 h 1043"/>
                  <a:gd name="connsiteX164" fmla="*/ 2717 w 4487"/>
                  <a:gd name="connsiteY164" fmla="*/ 917 h 1043"/>
                  <a:gd name="connsiteX165" fmla="*/ 2767 w 4487"/>
                  <a:gd name="connsiteY165" fmla="*/ 940 h 1043"/>
                  <a:gd name="connsiteX166" fmla="*/ 2820 w 4487"/>
                  <a:gd name="connsiteY166" fmla="*/ 952 h 1043"/>
                  <a:gd name="connsiteX167" fmla="*/ 2876 w 4487"/>
                  <a:gd name="connsiteY167" fmla="*/ 956 h 1043"/>
                  <a:gd name="connsiteX168" fmla="*/ 2932 w 4487"/>
                  <a:gd name="connsiteY168" fmla="*/ 950 h 1043"/>
                  <a:gd name="connsiteX169" fmla="*/ 2982 w 4487"/>
                  <a:gd name="connsiteY169" fmla="*/ 935 h 1043"/>
                  <a:gd name="connsiteX170" fmla="*/ 3029 w 4487"/>
                  <a:gd name="connsiteY170" fmla="*/ 915 h 1043"/>
                  <a:gd name="connsiteX171" fmla="*/ 3072 w 4487"/>
                  <a:gd name="connsiteY171" fmla="*/ 884 h 1043"/>
                  <a:gd name="connsiteX172" fmla="*/ 3112 w 4487"/>
                  <a:gd name="connsiteY172" fmla="*/ 848 h 1043"/>
                  <a:gd name="connsiteX173" fmla="*/ 3149 w 4487"/>
                  <a:gd name="connsiteY173" fmla="*/ 807 h 1043"/>
                  <a:gd name="connsiteX174" fmla="*/ 3184 w 4487"/>
                  <a:gd name="connsiteY174" fmla="*/ 759 h 1043"/>
                  <a:gd name="connsiteX175" fmla="*/ 3217 w 4487"/>
                  <a:gd name="connsiteY175" fmla="*/ 709 h 1043"/>
                  <a:gd name="connsiteX176" fmla="*/ 3250 w 4487"/>
                  <a:gd name="connsiteY176" fmla="*/ 655 h 1043"/>
                  <a:gd name="connsiteX177" fmla="*/ 3283 w 4487"/>
                  <a:gd name="connsiteY177" fmla="*/ 597 h 1043"/>
                  <a:gd name="connsiteX178" fmla="*/ 3316 w 4487"/>
                  <a:gd name="connsiteY178" fmla="*/ 537 h 1043"/>
                  <a:gd name="connsiteX179" fmla="*/ 3345 w 4487"/>
                  <a:gd name="connsiteY179" fmla="*/ 483 h 1043"/>
                  <a:gd name="connsiteX180" fmla="*/ 3407 w 4487"/>
                  <a:gd name="connsiteY180" fmla="*/ 375 h 1043"/>
                  <a:gd name="connsiteX181" fmla="*/ 3477 w 4487"/>
                  <a:gd name="connsiteY181" fmla="*/ 272 h 1043"/>
                  <a:gd name="connsiteX182" fmla="*/ 3514 w 4487"/>
                  <a:gd name="connsiteY182" fmla="*/ 224 h 1043"/>
                  <a:gd name="connsiteX183" fmla="*/ 3555 w 4487"/>
                  <a:gd name="connsiteY183" fmla="*/ 178 h 1043"/>
                  <a:gd name="connsiteX184" fmla="*/ 3599 w 4487"/>
                  <a:gd name="connsiteY184" fmla="*/ 137 h 1043"/>
                  <a:gd name="connsiteX185" fmla="*/ 3646 w 4487"/>
                  <a:gd name="connsiteY185" fmla="*/ 100 h 1043"/>
                  <a:gd name="connsiteX186" fmla="*/ 3698 w 4487"/>
                  <a:gd name="connsiteY186" fmla="*/ 66 h 1043"/>
                  <a:gd name="connsiteX187" fmla="*/ 3756 w 4487"/>
                  <a:gd name="connsiteY187" fmla="*/ 40 h 1043"/>
                  <a:gd name="connsiteX188" fmla="*/ 3816 w 4487"/>
                  <a:gd name="connsiteY188" fmla="*/ 19 h 1043"/>
                  <a:gd name="connsiteX189" fmla="*/ 3882 w 4487"/>
                  <a:gd name="connsiteY189" fmla="*/ 6 h 1043"/>
                  <a:gd name="connsiteX190" fmla="*/ 3954 w 4487"/>
                  <a:gd name="connsiteY190" fmla="*/ 0 h 1043"/>
                  <a:gd name="connsiteX0" fmla="*/ 3954 w 4487"/>
                  <a:gd name="connsiteY0" fmla="*/ 0 h 1043"/>
                  <a:gd name="connsiteX1" fmla="*/ 4004 w 4487"/>
                  <a:gd name="connsiteY1" fmla="*/ 0 h 1043"/>
                  <a:gd name="connsiteX2" fmla="*/ 4032 w 4487"/>
                  <a:gd name="connsiteY2" fmla="*/ 4 h 1043"/>
                  <a:gd name="connsiteX3" fmla="*/ 4063 w 4487"/>
                  <a:gd name="connsiteY3" fmla="*/ 13 h 1043"/>
                  <a:gd name="connsiteX4" fmla="*/ 4101 w 4487"/>
                  <a:gd name="connsiteY4" fmla="*/ 23 h 1043"/>
                  <a:gd name="connsiteX5" fmla="*/ 4142 w 4487"/>
                  <a:gd name="connsiteY5" fmla="*/ 40 h 1043"/>
                  <a:gd name="connsiteX6" fmla="*/ 4185 w 4487"/>
                  <a:gd name="connsiteY6" fmla="*/ 60 h 1043"/>
                  <a:gd name="connsiteX7" fmla="*/ 4233 w 4487"/>
                  <a:gd name="connsiteY7" fmla="*/ 89 h 1043"/>
                  <a:gd name="connsiteX8" fmla="*/ 4282 w 4487"/>
                  <a:gd name="connsiteY8" fmla="*/ 125 h 1043"/>
                  <a:gd name="connsiteX9" fmla="*/ 4332 w 4487"/>
                  <a:gd name="connsiteY9" fmla="*/ 170 h 1043"/>
                  <a:gd name="connsiteX10" fmla="*/ 4383 w 4487"/>
                  <a:gd name="connsiteY10" fmla="*/ 224 h 1043"/>
                  <a:gd name="connsiteX11" fmla="*/ 4435 w 4487"/>
                  <a:gd name="connsiteY11" fmla="*/ 286 h 1043"/>
                  <a:gd name="connsiteX12" fmla="*/ 4487 w 4487"/>
                  <a:gd name="connsiteY12" fmla="*/ 361 h 1043"/>
                  <a:gd name="connsiteX13" fmla="*/ 4365 w 4487"/>
                  <a:gd name="connsiteY13" fmla="*/ 336 h 1043"/>
                  <a:gd name="connsiteX14" fmla="*/ 4315 w 4487"/>
                  <a:gd name="connsiteY14" fmla="*/ 276 h 1043"/>
                  <a:gd name="connsiteX15" fmla="*/ 4268 w 4487"/>
                  <a:gd name="connsiteY15" fmla="*/ 228 h 1043"/>
                  <a:gd name="connsiteX16" fmla="*/ 4222 w 4487"/>
                  <a:gd name="connsiteY16" fmla="*/ 189 h 1043"/>
                  <a:gd name="connsiteX17" fmla="*/ 4181 w 4487"/>
                  <a:gd name="connsiteY17" fmla="*/ 158 h 1043"/>
                  <a:gd name="connsiteX18" fmla="*/ 4142 w 4487"/>
                  <a:gd name="connsiteY18" fmla="*/ 135 h 1043"/>
                  <a:gd name="connsiteX19" fmla="*/ 4092 w 4487"/>
                  <a:gd name="connsiteY19" fmla="*/ 112 h 1043"/>
                  <a:gd name="connsiteX20" fmla="*/ 4049 w 4487"/>
                  <a:gd name="connsiteY20" fmla="*/ 98 h 1043"/>
                  <a:gd name="connsiteX21" fmla="*/ 4014 w 4487"/>
                  <a:gd name="connsiteY21" fmla="*/ 89 h 1043"/>
                  <a:gd name="connsiteX22" fmla="*/ 3985 w 4487"/>
                  <a:gd name="connsiteY22" fmla="*/ 87 h 1043"/>
                  <a:gd name="connsiteX23" fmla="*/ 3958 w 4487"/>
                  <a:gd name="connsiteY23" fmla="*/ 87 h 1043"/>
                  <a:gd name="connsiteX24" fmla="*/ 3892 w 4487"/>
                  <a:gd name="connsiteY24" fmla="*/ 93 h 1043"/>
                  <a:gd name="connsiteX25" fmla="*/ 3830 w 4487"/>
                  <a:gd name="connsiteY25" fmla="*/ 106 h 1043"/>
                  <a:gd name="connsiteX26" fmla="*/ 3774 w 4487"/>
                  <a:gd name="connsiteY26" fmla="*/ 127 h 1043"/>
                  <a:gd name="connsiteX27" fmla="*/ 3723 w 4487"/>
                  <a:gd name="connsiteY27" fmla="*/ 154 h 1043"/>
                  <a:gd name="connsiteX28" fmla="*/ 3675 w 4487"/>
                  <a:gd name="connsiteY28" fmla="*/ 187 h 1043"/>
                  <a:gd name="connsiteX29" fmla="*/ 3632 w 4487"/>
                  <a:gd name="connsiteY29" fmla="*/ 224 h 1043"/>
                  <a:gd name="connsiteX30" fmla="*/ 3593 w 4487"/>
                  <a:gd name="connsiteY30" fmla="*/ 268 h 1043"/>
                  <a:gd name="connsiteX31" fmla="*/ 3553 w 4487"/>
                  <a:gd name="connsiteY31" fmla="*/ 313 h 1043"/>
                  <a:gd name="connsiteX32" fmla="*/ 3518 w 4487"/>
                  <a:gd name="connsiteY32" fmla="*/ 363 h 1043"/>
                  <a:gd name="connsiteX33" fmla="*/ 3485 w 4487"/>
                  <a:gd name="connsiteY33" fmla="*/ 415 h 1043"/>
                  <a:gd name="connsiteX34" fmla="*/ 3423 w 4487"/>
                  <a:gd name="connsiteY34" fmla="*/ 523 h 1043"/>
                  <a:gd name="connsiteX35" fmla="*/ 3330 w 4487"/>
                  <a:gd name="connsiteY35" fmla="*/ 691 h 1043"/>
                  <a:gd name="connsiteX36" fmla="*/ 3297 w 4487"/>
                  <a:gd name="connsiteY36" fmla="*/ 747 h 1043"/>
                  <a:gd name="connsiteX37" fmla="*/ 3262 w 4487"/>
                  <a:gd name="connsiteY37" fmla="*/ 799 h 1043"/>
                  <a:gd name="connsiteX38" fmla="*/ 3227 w 4487"/>
                  <a:gd name="connsiteY38" fmla="*/ 848 h 1043"/>
                  <a:gd name="connsiteX39" fmla="*/ 3188 w 4487"/>
                  <a:gd name="connsiteY39" fmla="*/ 894 h 1043"/>
                  <a:gd name="connsiteX40" fmla="*/ 3147 w 4487"/>
                  <a:gd name="connsiteY40" fmla="*/ 935 h 1043"/>
                  <a:gd name="connsiteX41" fmla="*/ 3101 w 4487"/>
                  <a:gd name="connsiteY41" fmla="*/ 971 h 1043"/>
                  <a:gd name="connsiteX42" fmla="*/ 3052 w 4487"/>
                  <a:gd name="connsiteY42" fmla="*/ 1000 h 1043"/>
                  <a:gd name="connsiteX43" fmla="*/ 3000 w 4487"/>
                  <a:gd name="connsiteY43" fmla="*/ 1022 h 1043"/>
                  <a:gd name="connsiteX44" fmla="*/ 2942 w 4487"/>
                  <a:gd name="connsiteY44" fmla="*/ 1037 h 1043"/>
                  <a:gd name="connsiteX45" fmla="*/ 2878 w 4487"/>
                  <a:gd name="connsiteY45" fmla="*/ 1043 h 1043"/>
                  <a:gd name="connsiteX46" fmla="*/ 2870 w 4487"/>
                  <a:gd name="connsiteY46" fmla="*/ 1043 h 1043"/>
                  <a:gd name="connsiteX47" fmla="*/ 2808 w 4487"/>
                  <a:gd name="connsiteY47" fmla="*/ 1039 h 1043"/>
                  <a:gd name="connsiteX48" fmla="*/ 2748 w 4487"/>
                  <a:gd name="connsiteY48" fmla="*/ 1025 h 1043"/>
                  <a:gd name="connsiteX49" fmla="*/ 2695 w 4487"/>
                  <a:gd name="connsiteY49" fmla="*/ 1002 h 1043"/>
                  <a:gd name="connsiteX50" fmla="*/ 2643 w 4487"/>
                  <a:gd name="connsiteY50" fmla="*/ 973 h 1043"/>
                  <a:gd name="connsiteX51" fmla="*/ 2595 w 4487"/>
                  <a:gd name="connsiteY51" fmla="*/ 935 h 1043"/>
                  <a:gd name="connsiteX52" fmla="*/ 2552 w 4487"/>
                  <a:gd name="connsiteY52" fmla="*/ 894 h 1043"/>
                  <a:gd name="connsiteX53" fmla="*/ 2509 w 4487"/>
                  <a:gd name="connsiteY53" fmla="*/ 846 h 1043"/>
                  <a:gd name="connsiteX54" fmla="*/ 2469 w 4487"/>
                  <a:gd name="connsiteY54" fmla="*/ 796 h 1043"/>
                  <a:gd name="connsiteX55" fmla="*/ 2430 w 4487"/>
                  <a:gd name="connsiteY55" fmla="*/ 740 h 1043"/>
                  <a:gd name="connsiteX56" fmla="*/ 2393 w 4487"/>
                  <a:gd name="connsiteY56" fmla="*/ 684 h 1043"/>
                  <a:gd name="connsiteX57" fmla="*/ 2288 w 4487"/>
                  <a:gd name="connsiteY57" fmla="*/ 510 h 1043"/>
                  <a:gd name="connsiteX58" fmla="*/ 2251 w 4487"/>
                  <a:gd name="connsiteY58" fmla="*/ 452 h 1043"/>
                  <a:gd name="connsiteX59" fmla="*/ 2213 w 4487"/>
                  <a:gd name="connsiteY59" fmla="*/ 396 h 1043"/>
                  <a:gd name="connsiteX60" fmla="*/ 2176 w 4487"/>
                  <a:gd name="connsiteY60" fmla="*/ 342 h 1043"/>
                  <a:gd name="connsiteX61" fmla="*/ 2137 w 4487"/>
                  <a:gd name="connsiteY61" fmla="*/ 293 h 1043"/>
                  <a:gd name="connsiteX62" fmla="*/ 2096 w 4487"/>
                  <a:gd name="connsiteY62" fmla="*/ 247 h 1043"/>
                  <a:gd name="connsiteX63" fmla="*/ 2054 w 4487"/>
                  <a:gd name="connsiteY63" fmla="*/ 205 h 1043"/>
                  <a:gd name="connsiteX64" fmla="*/ 2009 w 4487"/>
                  <a:gd name="connsiteY64" fmla="*/ 168 h 1043"/>
                  <a:gd name="connsiteX65" fmla="*/ 1962 w 4487"/>
                  <a:gd name="connsiteY65" fmla="*/ 139 h 1043"/>
                  <a:gd name="connsiteX66" fmla="*/ 1910 w 4487"/>
                  <a:gd name="connsiteY66" fmla="*/ 116 h 1043"/>
                  <a:gd name="connsiteX67" fmla="*/ 1854 w 4487"/>
                  <a:gd name="connsiteY67" fmla="*/ 100 h 1043"/>
                  <a:gd name="connsiteX68" fmla="*/ 1796 w 4487"/>
                  <a:gd name="connsiteY68" fmla="*/ 91 h 1043"/>
                  <a:gd name="connsiteX69" fmla="*/ 1732 w 4487"/>
                  <a:gd name="connsiteY69" fmla="*/ 93 h 1043"/>
                  <a:gd name="connsiteX70" fmla="*/ 1664 w 4487"/>
                  <a:gd name="connsiteY70" fmla="*/ 104 h 1043"/>
                  <a:gd name="connsiteX71" fmla="*/ 1602 w 4487"/>
                  <a:gd name="connsiteY71" fmla="*/ 122 h 1043"/>
                  <a:gd name="connsiteX72" fmla="*/ 1545 w 4487"/>
                  <a:gd name="connsiteY72" fmla="*/ 147 h 1043"/>
                  <a:gd name="connsiteX73" fmla="*/ 1491 w 4487"/>
                  <a:gd name="connsiteY73" fmla="*/ 181 h 1043"/>
                  <a:gd name="connsiteX74" fmla="*/ 1439 w 4487"/>
                  <a:gd name="connsiteY74" fmla="*/ 218 h 1043"/>
                  <a:gd name="connsiteX75" fmla="*/ 1394 w 4487"/>
                  <a:gd name="connsiteY75" fmla="*/ 261 h 1043"/>
                  <a:gd name="connsiteX76" fmla="*/ 1348 w 4487"/>
                  <a:gd name="connsiteY76" fmla="*/ 307 h 1043"/>
                  <a:gd name="connsiteX77" fmla="*/ 1307 w 4487"/>
                  <a:gd name="connsiteY77" fmla="*/ 359 h 1043"/>
                  <a:gd name="connsiteX78" fmla="*/ 1268 w 4487"/>
                  <a:gd name="connsiteY78" fmla="*/ 413 h 1043"/>
                  <a:gd name="connsiteX79" fmla="*/ 1231 w 4487"/>
                  <a:gd name="connsiteY79" fmla="*/ 467 h 1043"/>
                  <a:gd name="connsiteX80" fmla="*/ 1194 w 4487"/>
                  <a:gd name="connsiteY80" fmla="*/ 523 h 1043"/>
                  <a:gd name="connsiteX81" fmla="*/ 1156 w 4487"/>
                  <a:gd name="connsiteY81" fmla="*/ 581 h 1043"/>
                  <a:gd name="connsiteX82" fmla="*/ 1121 w 4487"/>
                  <a:gd name="connsiteY82" fmla="*/ 637 h 1043"/>
                  <a:gd name="connsiteX83" fmla="*/ 1047 w 4487"/>
                  <a:gd name="connsiteY83" fmla="*/ 749 h 1043"/>
                  <a:gd name="connsiteX84" fmla="*/ 1008 w 4487"/>
                  <a:gd name="connsiteY84" fmla="*/ 801 h 1043"/>
                  <a:gd name="connsiteX85" fmla="*/ 966 w 4487"/>
                  <a:gd name="connsiteY85" fmla="*/ 850 h 1043"/>
                  <a:gd name="connsiteX86" fmla="*/ 923 w 4487"/>
                  <a:gd name="connsiteY86" fmla="*/ 896 h 1043"/>
                  <a:gd name="connsiteX87" fmla="*/ 876 w 4487"/>
                  <a:gd name="connsiteY87" fmla="*/ 937 h 1043"/>
                  <a:gd name="connsiteX88" fmla="*/ 826 w 4487"/>
                  <a:gd name="connsiteY88" fmla="*/ 973 h 1043"/>
                  <a:gd name="connsiteX89" fmla="*/ 772 w 4487"/>
                  <a:gd name="connsiteY89" fmla="*/ 1002 h 1043"/>
                  <a:gd name="connsiteX90" fmla="*/ 717 w 4487"/>
                  <a:gd name="connsiteY90" fmla="*/ 1025 h 1043"/>
                  <a:gd name="connsiteX91" fmla="*/ 653 w 4487"/>
                  <a:gd name="connsiteY91" fmla="*/ 1037 h 1043"/>
                  <a:gd name="connsiteX92" fmla="*/ 587 w 4487"/>
                  <a:gd name="connsiteY92" fmla="*/ 1043 h 1043"/>
                  <a:gd name="connsiteX93" fmla="*/ 580 w 4487"/>
                  <a:gd name="connsiteY93" fmla="*/ 1043 h 1043"/>
                  <a:gd name="connsiteX94" fmla="*/ 512 w 4487"/>
                  <a:gd name="connsiteY94" fmla="*/ 1039 h 1043"/>
                  <a:gd name="connsiteX95" fmla="*/ 450 w 4487"/>
                  <a:gd name="connsiteY95" fmla="*/ 1027 h 1043"/>
                  <a:gd name="connsiteX96" fmla="*/ 392 w 4487"/>
                  <a:gd name="connsiteY96" fmla="*/ 1008 h 1043"/>
                  <a:gd name="connsiteX97" fmla="*/ 341 w 4487"/>
                  <a:gd name="connsiteY97" fmla="*/ 983 h 1043"/>
                  <a:gd name="connsiteX98" fmla="*/ 293 w 4487"/>
                  <a:gd name="connsiteY98" fmla="*/ 952 h 1043"/>
                  <a:gd name="connsiteX99" fmla="*/ 248 w 4487"/>
                  <a:gd name="connsiteY99" fmla="*/ 915 h 1043"/>
                  <a:gd name="connsiteX100" fmla="*/ 207 w 4487"/>
                  <a:gd name="connsiteY100" fmla="*/ 873 h 1043"/>
                  <a:gd name="connsiteX101" fmla="*/ 169 w 4487"/>
                  <a:gd name="connsiteY101" fmla="*/ 828 h 1043"/>
                  <a:gd name="connsiteX102" fmla="*/ 132 w 4487"/>
                  <a:gd name="connsiteY102" fmla="*/ 780 h 1043"/>
                  <a:gd name="connsiteX103" fmla="*/ 99 w 4487"/>
                  <a:gd name="connsiteY103" fmla="*/ 728 h 1043"/>
                  <a:gd name="connsiteX104" fmla="*/ 64 w 4487"/>
                  <a:gd name="connsiteY104" fmla="*/ 674 h 1043"/>
                  <a:gd name="connsiteX105" fmla="*/ 33 w 4487"/>
                  <a:gd name="connsiteY105" fmla="*/ 618 h 1043"/>
                  <a:gd name="connsiteX106" fmla="*/ 0 w 4487"/>
                  <a:gd name="connsiteY106" fmla="*/ 560 h 1043"/>
                  <a:gd name="connsiteX107" fmla="*/ 77 w 4487"/>
                  <a:gd name="connsiteY107" fmla="*/ 516 h 1043"/>
                  <a:gd name="connsiteX108" fmla="*/ 110 w 4487"/>
                  <a:gd name="connsiteY108" fmla="*/ 575 h 1043"/>
                  <a:gd name="connsiteX109" fmla="*/ 143 w 4487"/>
                  <a:gd name="connsiteY109" fmla="*/ 631 h 1043"/>
                  <a:gd name="connsiteX110" fmla="*/ 176 w 4487"/>
                  <a:gd name="connsiteY110" fmla="*/ 684 h 1043"/>
                  <a:gd name="connsiteX111" fmla="*/ 209 w 4487"/>
                  <a:gd name="connsiteY111" fmla="*/ 736 h 1043"/>
                  <a:gd name="connsiteX112" fmla="*/ 244 w 4487"/>
                  <a:gd name="connsiteY112" fmla="*/ 782 h 1043"/>
                  <a:gd name="connsiteX113" fmla="*/ 281 w 4487"/>
                  <a:gd name="connsiteY113" fmla="*/ 825 h 1043"/>
                  <a:gd name="connsiteX114" fmla="*/ 322 w 4487"/>
                  <a:gd name="connsiteY114" fmla="*/ 863 h 1043"/>
                  <a:gd name="connsiteX115" fmla="*/ 366 w 4487"/>
                  <a:gd name="connsiteY115" fmla="*/ 894 h 1043"/>
                  <a:gd name="connsiteX116" fmla="*/ 413 w 4487"/>
                  <a:gd name="connsiteY116" fmla="*/ 921 h 1043"/>
                  <a:gd name="connsiteX117" fmla="*/ 463 w 4487"/>
                  <a:gd name="connsiteY117" fmla="*/ 940 h 1043"/>
                  <a:gd name="connsiteX118" fmla="*/ 518 w 4487"/>
                  <a:gd name="connsiteY118" fmla="*/ 952 h 1043"/>
                  <a:gd name="connsiteX119" fmla="*/ 580 w 4487"/>
                  <a:gd name="connsiteY119" fmla="*/ 956 h 1043"/>
                  <a:gd name="connsiteX120" fmla="*/ 587 w 4487"/>
                  <a:gd name="connsiteY120" fmla="*/ 956 h 1043"/>
                  <a:gd name="connsiteX121" fmla="*/ 646 w 4487"/>
                  <a:gd name="connsiteY121" fmla="*/ 950 h 1043"/>
                  <a:gd name="connsiteX122" fmla="*/ 702 w 4487"/>
                  <a:gd name="connsiteY122" fmla="*/ 935 h 1043"/>
                  <a:gd name="connsiteX123" fmla="*/ 756 w 4487"/>
                  <a:gd name="connsiteY123" fmla="*/ 913 h 1043"/>
                  <a:gd name="connsiteX124" fmla="*/ 803 w 4487"/>
                  <a:gd name="connsiteY124" fmla="*/ 884 h 1043"/>
                  <a:gd name="connsiteX125" fmla="*/ 849 w 4487"/>
                  <a:gd name="connsiteY125" fmla="*/ 846 h 1043"/>
                  <a:gd name="connsiteX126" fmla="*/ 892 w 4487"/>
                  <a:gd name="connsiteY126" fmla="*/ 803 h 1043"/>
                  <a:gd name="connsiteX127" fmla="*/ 931 w 4487"/>
                  <a:gd name="connsiteY127" fmla="*/ 755 h 1043"/>
                  <a:gd name="connsiteX128" fmla="*/ 971 w 4487"/>
                  <a:gd name="connsiteY128" fmla="*/ 703 h 1043"/>
                  <a:gd name="connsiteX129" fmla="*/ 1010 w 4487"/>
                  <a:gd name="connsiteY129" fmla="*/ 649 h 1043"/>
                  <a:gd name="connsiteX130" fmla="*/ 1121 w 4487"/>
                  <a:gd name="connsiteY130" fmla="*/ 475 h 1043"/>
                  <a:gd name="connsiteX131" fmla="*/ 1161 w 4487"/>
                  <a:gd name="connsiteY131" fmla="*/ 415 h 1043"/>
                  <a:gd name="connsiteX132" fmla="*/ 1202 w 4487"/>
                  <a:gd name="connsiteY132" fmla="*/ 357 h 1043"/>
                  <a:gd name="connsiteX133" fmla="*/ 1245 w 4487"/>
                  <a:gd name="connsiteY133" fmla="*/ 299 h 1043"/>
                  <a:gd name="connsiteX134" fmla="*/ 1291 w 4487"/>
                  <a:gd name="connsiteY134" fmla="*/ 245 h 1043"/>
                  <a:gd name="connsiteX135" fmla="*/ 1338 w 4487"/>
                  <a:gd name="connsiteY135" fmla="*/ 193 h 1043"/>
                  <a:gd name="connsiteX136" fmla="*/ 1392 w 4487"/>
                  <a:gd name="connsiteY136" fmla="*/ 145 h 1043"/>
                  <a:gd name="connsiteX137" fmla="*/ 1447 w 4487"/>
                  <a:gd name="connsiteY137" fmla="*/ 104 h 1043"/>
                  <a:gd name="connsiteX138" fmla="*/ 1509 w 4487"/>
                  <a:gd name="connsiteY138" fmla="*/ 69 h 1043"/>
                  <a:gd name="connsiteX139" fmla="*/ 1575 w 4487"/>
                  <a:gd name="connsiteY139" fmla="*/ 40 h 1043"/>
                  <a:gd name="connsiteX140" fmla="*/ 1648 w 4487"/>
                  <a:gd name="connsiteY140" fmla="*/ 19 h 1043"/>
                  <a:gd name="connsiteX141" fmla="*/ 1726 w 4487"/>
                  <a:gd name="connsiteY141" fmla="*/ 6 h 1043"/>
                  <a:gd name="connsiteX142" fmla="*/ 1796 w 4487"/>
                  <a:gd name="connsiteY142" fmla="*/ 4 h 1043"/>
                  <a:gd name="connsiteX143" fmla="*/ 1862 w 4487"/>
                  <a:gd name="connsiteY143" fmla="*/ 13 h 1043"/>
                  <a:gd name="connsiteX144" fmla="*/ 1922 w 4487"/>
                  <a:gd name="connsiteY144" fmla="*/ 27 h 1043"/>
                  <a:gd name="connsiteX145" fmla="*/ 1980 w 4487"/>
                  <a:gd name="connsiteY145" fmla="*/ 50 h 1043"/>
                  <a:gd name="connsiteX146" fmla="*/ 2034 w 4487"/>
                  <a:gd name="connsiteY146" fmla="*/ 81 h 1043"/>
                  <a:gd name="connsiteX147" fmla="*/ 2083 w 4487"/>
                  <a:gd name="connsiteY147" fmla="*/ 116 h 1043"/>
                  <a:gd name="connsiteX148" fmla="*/ 2129 w 4487"/>
                  <a:gd name="connsiteY148" fmla="*/ 158 h 1043"/>
                  <a:gd name="connsiteX149" fmla="*/ 2174 w 4487"/>
                  <a:gd name="connsiteY149" fmla="*/ 203 h 1043"/>
                  <a:gd name="connsiteX150" fmla="*/ 2216 w 4487"/>
                  <a:gd name="connsiteY150" fmla="*/ 251 h 1043"/>
                  <a:gd name="connsiteX151" fmla="*/ 2255 w 4487"/>
                  <a:gd name="connsiteY151" fmla="*/ 303 h 1043"/>
                  <a:gd name="connsiteX152" fmla="*/ 2292 w 4487"/>
                  <a:gd name="connsiteY152" fmla="*/ 357 h 1043"/>
                  <a:gd name="connsiteX153" fmla="*/ 2327 w 4487"/>
                  <a:gd name="connsiteY153" fmla="*/ 413 h 1043"/>
                  <a:gd name="connsiteX154" fmla="*/ 2362 w 4487"/>
                  <a:gd name="connsiteY154" fmla="*/ 467 h 1043"/>
                  <a:gd name="connsiteX155" fmla="*/ 2395 w 4487"/>
                  <a:gd name="connsiteY155" fmla="*/ 523 h 1043"/>
                  <a:gd name="connsiteX156" fmla="*/ 2432 w 4487"/>
                  <a:gd name="connsiteY156" fmla="*/ 585 h 1043"/>
                  <a:gd name="connsiteX157" fmla="*/ 2469 w 4487"/>
                  <a:gd name="connsiteY157" fmla="*/ 643 h 1043"/>
                  <a:gd name="connsiteX158" fmla="*/ 2509 w 4487"/>
                  <a:gd name="connsiteY158" fmla="*/ 701 h 1043"/>
                  <a:gd name="connsiteX159" fmla="*/ 2546 w 4487"/>
                  <a:gd name="connsiteY159" fmla="*/ 755 h 1043"/>
                  <a:gd name="connsiteX160" fmla="*/ 2587 w 4487"/>
                  <a:gd name="connsiteY160" fmla="*/ 805 h 1043"/>
                  <a:gd name="connsiteX161" fmla="*/ 2628 w 4487"/>
                  <a:gd name="connsiteY161" fmla="*/ 848 h 1043"/>
                  <a:gd name="connsiteX162" fmla="*/ 2672 w 4487"/>
                  <a:gd name="connsiteY162" fmla="*/ 886 h 1043"/>
                  <a:gd name="connsiteX163" fmla="*/ 2717 w 4487"/>
                  <a:gd name="connsiteY163" fmla="*/ 917 h 1043"/>
                  <a:gd name="connsiteX164" fmla="*/ 2767 w 4487"/>
                  <a:gd name="connsiteY164" fmla="*/ 940 h 1043"/>
                  <a:gd name="connsiteX165" fmla="*/ 2820 w 4487"/>
                  <a:gd name="connsiteY165" fmla="*/ 952 h 1043"/>
                  <a:gd name="connsiteX166" fmla="*/ 2876 w 4487"/>
                  <a:gd name="connsiteY166" fmla="*/ 956 h 1043"/>
                  <a:gd name="connsiteX167" fmla="*/ 2932 w 4487"/>
                  <a:gd name="connsiteY167" fmla="*/ 950 h 1043"/>
                  <a:gd name="connsiteX168" fmla="*/ 2982 w 4487"/>
                  <a:gd name="connsiteY168" fmla="*/ 935 h 1043"/>
                  <a:gd name="connsiteX169" fmla="*/ 3029 w 4487"/>
                  <a:gd name="connsiteY169" fmla="*/ 915 h 1043"/>
                  <a:gd name="connsiteX170" fmla="*/ 3072 w 4487"/>
                  <a:gd name="connsiteY170" fmla="*/ 884 h 1043"/>
                  <a:gd name="connsiteX171" fmla="*/ 3112 w 4487"/>
                  <a:gd name="connsiteY171" fmla="*/ 848 h 1043"/>
                  <a:gd name="connsiteX172" fmla="*/ 3149 w 4487"/>
                  <a:gd name="connsiteY172" fmla="*/ 807 h 1043"/>
                  <a:gd name="connsiteX173" fmla="*/ 3184 w 4487"/>
                  <a:gd name="connsiteY173" fmla="*/ 759 h 1043"/>
                  <a:gd name="connsiteX174" fmla="*/ 3217 w 4487"/>
                  <a:gd name="connsiteY174" fmla="*/ 709 h 1043"/>
                  <a:gd name="connsiteX175" fmla="*/ 3250 w 4487"/>
                  <a:gd name="connsiteY175" fmla="*/ 655 h 1043"/>
                  <a:gd name="connsiteX176" fmla="*/ 3283 w 4487"/>
                  <a:gd name="connsiteY176" fmla="*/ 597 h 1043"/>
                  <a:gd name="connsiteX177" fmla="*/ 3316 w 4487"/>
                  <a:gd name="connsiteY177" fmla="*/ 537 h 1043"/>
                  <a:gd name="connsiteX178" fmla="*/ 3345 w 4487"/>
                  <a:gd name="connsiteY178" fmla="*/ 483 h 1043"/>
                  <a:gd name="connsiteX179" fmla="*/ 3407 w 4487"/>
                  <a:gd name="connsiteY179" fmla="*/ 375 h 1043"/>
                  <a:gd name="connsiteX180" fmla="*/ 3477 w 4487"/>
                  <a:gd name="connsiteY180" fmla="*/ 272 h 1043"/>
                  <a:gd name="connsiteX181" fmla="*/ 3514 w 4487"/>
                  <a:gd name="connsiteY181" fmla="*/ 224 h 1043"/>
                  <a:gd name="connsiteX182" fmla="*/ 3555 w 4487"/>
                  <a:gd name="connsiteY182" fmla="*/ 178 h 1043"/>
                  <a:gd name="connsiteX183" fmla="*/ 3599 w 4487"/>
                  <a:gd name="connsiteY183" fmla="*/ 137 h 1043"/>
                  <a:gd name="connsiteX184" fmla="*/ 3646 w 4487"/>
                  <a:gd name="connsiteY184" fmla="*/ 100 h 1043"/>
                  <a:gd name="connsiteX185" fmla="*/ 3698 w 4487"/>
                  <a:gd name="connsiteY185" fmla="*/ 66 h 1043"/>
                  <a:gd name="connsiteX186" fmla="*/ 3756 w 4487"/>
                  <a:gd name="connsiteY186" fmla="*/ 40 h 1043"/>
                  <a:gd name="connsiteX187" fmla="*/ 3816 w 4487"/>
                  <a:gd name="connsiteY187" fmla="*/ 19 h 1043"/>
                  <a:gd name="connsiteX188" fmla="*/ 3882 w 4487"/>
                  <a:gd name="connsiteY188" fmla="*/ 6 h 1043"/>
                  <a:gd name="connsiteX189" fmla="*/ 3954 w 4487"/>
                  <a:gd name="connsiteY189" fmla="*/ 0 h 1043"/>
                  <a:gd name="connsiteX0" fmla="*/ 3954 w 4435"/>
                  <a:gd name="connsiteY0" fmla="*/ 0 h 1043"/>
                  <a:gd name="connsiteX1" fmla="*/ 4004 w 4435"/>
                  <a:gd name="connsiteY1" fmla="*/ 0 h 1043"/>
                  <a:gd name="connsiteX2" fmla="*/ 4032 w 4435"/>
                  <a:gd name="connsiteY2" fmla="*/ 4 h 1043"/>
                  <a:gd name="connsiteX3" fmla="*/ 4063 w 4435"/>
                  <a:gd name="connsiteY3" fmla="*/ 13 h 1043"/>
                  <a:gd name="connsiteX4" fmla="*/ 4101 w 4435"/>
                  <a:gd name="connsiteY4" fmla="*/ 23 h 1043"/>
                  <a:gd name="connsiteX5" fmla="*/ 4142 w 4435"/>
                  <a:gd name="connsiteY5" fmla="*/ 40 h 1043"/>
                  <a:gd name="connsiteX6" fmla="*/ 4185 w 4435"/>
                  <a:gd name="connsiteY6" fmla="*/ 60 h 1043"/>
                  <a:gd name="connsiteX7" fmla="*/ 4233 w 4435"/>
                  <a:gd name="connsiteY7" fmla="*/ 89 h 1043"/>
                  <a:gd name="connsiteX8" fmla="*/ 4282 w 4435"/>
                  <a:gd name="connsiteY8" fmla="*/ 125 h 1043"/>
                  <a:gd name="connsiteX9" fmla="*/ 4332 w 4435"/>
                  <a:gd name="connsiteY9" fmla="*/ 170 h 1043"/>
                  <a:gd name="connsiteX10" fmla="*/ 4383 w 4435"/>
                  <a:gd name="connsiteY10" fmla="*/ 224 h 1043"/>
                  <a:gd name="connsiteX11" fmla="*/ 4435 w 4435"/>
                  <a:gd name="connsiteY11" fmla="*/ 286 h 1043"/>
                  <a:gd name="connsiteX12" fmla="*/ 4365 w 4435"/>
                  <a:gd name="connsiteY12" fmla="*/ 336 h 1043"/>
                  <a:gd name="connsiteX13" fmla="*/ 4315 w 4435"/>
                  <a:gd name="connsiteY13" fmla="*/ 276 h 1043"/>
                  <a:gd name="connsiteX14" fmla="*/ 4268 w 4435"/>
                  <a:gd name="connsiteY14" fmla="*/ 228 h 1043"/>
                  <a:gd name="connsiteX15" fmla="*/ 4222 w 4435"/>
                  <a:gd name="connsiteY15" fmla="*/ 189 h 1043"/>
                  <a:gd name="connsiteX16" fmla="*/ 4181 w 4435"/>
                  <a:gd name="connsiteY16" fmla="*/ 158 h 1043"/>
                  <a:gd name="connsiteX17" fmla="*/ 4142 w 4435"/>
                  <a:gd name="connsiteY17" fmla="*/ 135 h 1043"/>
                  <a:gd name="connsiteX18" fmla="*/ 4092 w 4435"/>
                  <a:gd name="connsiteY18" fmla="*/ 112 h 1043"/>
                  <a:gd name="connsiteX19" fmla="*/ 4049 w 4435"/>
                  <a:gd name="connsiteY19" fmla="*/ 98 h 1043"/>
                  <a:gd name="connsiteX20" fmla="*/ 4014 w 4435"/>
                  <a:gd name="connsiteY20" fmla="*/ 89 h 1043"/>
                  <a:gd name="connsiteX21" fmla="*/ 3985 w 4435"/>
                  <a:gd name="connsiteY21" fmla="*/ 87 h 1043"/>
                  <a:gd name="connsiteX22" fmla="*/ 3958 w 4435"/>
                  <a:gd name="connsiteY22" fmla="*/ 87 h 1043"/>
                  <a:gd name="connsiteX23" fmla="*/ 3892 w 4435"/>
                  <a:gd name="connsiteY23" fmla="*/ 93 h 1043"/>
                  <a:gd name="connsiteX24" fmla="*/ 3830 w 4435"/>
                  <a:gd name="connsiteY24" fmla="*/ 106 h 1043"/>
                  <a:gd name="connsiteX25" fmla="*/ 3774 w 4435"/>
                  <a:gd name="connsiteY25" fmla="*/ 127 h 1043"/>
                  <a:gd name="connsiteX26" fmla="*/ 3723 w 4435"/>
                  <a:gd name="connsiteY26" fmla="*/ 154 h 1043"/>
                  <a:gd name="connsiteX27" fmla="*/ 3675 w 4435"/>
                  <a:gd name="connsiteY27" fmla="*/ 187 h 1043"/>
                  <a:gd name="connsiteX28" fmla="*/ 3632 w 4435"/>
                  <a:gd name="connsiteY28" fmla="*/ 224 h 1043"/>
                  <a:gd name="connsiteX29" fmla="*/ 3593 w 4435"/>
                  <a:gd name="connsiteY29" fmla="*/ 268 h 1043"/>
                  <a:gd name="connsiteX30" fmla="*/ 3553 w 4435"/>
                  <a:gd name="connsiteY30" fmla="*/ 313 h 1043"/>
                  <a:gd name="connsiteX31" fmla="*/ 3518 w 4435"/>
                  <a:gd name="connsiteY31" fmla="*/ 363 h 1043"/>
                  <a:gd name="connsiteX32" fmla="*/ 3485 w 4435"/>
                  <a:gd name="connsiteY32" fmla="*/ 415 h 1043"/>
                  <a:gd name="connsiteX33" fmla="*/ 3423 w 4435"/>
                  <a:gd name="connsiteY33" fmla="*/ 523 h 1043"/>
                  <a:gd name="connsiteX34" fmla="*/ 3330 w 4435"/>
                  <a:gd name="connsiteY34" fmla="*/ 691 h 1043"/>
                  <a:gd name="connsiteX35" fmla="*/ 3297 w 4435"/>
                  <a:gd name="connsiteY35" fmla="*/ 747 h 1043"/>
                  <a:gd name="connsiteX36" fmla="*/ 3262 w 4435"/>
                  <a:gd name="connsiteY36" fmla="*/ 799 h 1043"/>
                  <a:gd name="connsiteX37" fmla="*/ 3227 w 4435"/>
                  <a:gd name="connsiteY37" fmla="*/ 848 h 1043"/>
                  <a:gd name="connsiteX38" fmla="*/ 3188 w 4435"/>
                  <a:gd name="connsiteY38" fmla="*/ 894 h 1043"/>
                  <a:gd name="connsiteX39" fmla="*/ 3147 w 4435"/>
                  <a:gd name="connsiteY39" fmla="*/ 935 h 1043"/>
                  <a:gd name="connsiteX40" fmla="*/ 3101 w 4435"/>
                  <a:gd name="connsiteY40" fmla="*/ 971 h 1043"/>
                  <a:gd name="connsiteX41" fmla="*/ 3052 w 4435"/>
                  <a:gd name="connsiteY41" fmla="*/ 1000 h 1043"/>
                  <a:gd name="connsiteX42" fmla="*/ 3000 w 4435"/>
                  <a:gd name="connsiteY42" fmla="*/ 1022 h 1043"/>
                  <a:gd name="connsiteX43" fmla="*/ 2942 w 4435"/>
                  <a:gd name="connsiteY43" fmla="*/ 1037 h 1043"/>
                  <a:gd name="connsiteX44" fmla="*/ 2878 w 4435"/>
                  <a:gd name="connsiteY44" fmla="*/ 1043 h 1043"/>
                  <a:gd name="connsiteX45" fmla="*/ 2870 w 4435"/>
                  <a:gd name="connsiteY45" fmla="*/ 1043 h 1043"/>
                  <a:gd name="connsiteX46" fmla="*/ 2808 w 4435"/>
                  <a:gd name="connsiteY46" fmla="*/ 1039 h 1043"/>
                  <a:gd name="connsiteX47" fmla="*/ 2748 w 4435"/>
                  <a:gd name="connsiteY47" fmla="*/ 1025 h 1043"/>
                  <a:gd name="connsiteX48" fmla="*/ 2695 w 4435"/>
                  <a:gd name="connsiteY48" fmla="*/ 1002 h 1043"/>
                  <a:gd name="connsiteX49" fmla="*/ 2643 w 4435"/>
                  <a:gd name="connsiteY49" fmla="*/ 973 h 1043"/>
                  <a:gd name="connsiteX50" fmla="*/ 2595 w 4435"/>
                  <a:gd name="connsiteY50" fmla="*/ 935 h 1043"/>
                  <a:gd name="connsiteX51" fmla="*/ 2552 w 4435"/>
                  <a:gd name="connsiteY51" fmla="*/ 894 h 1043"/>
                  <a:gd name="connsiteX52" fmla="*/ 2509 w 4435"/>
                  <a:gd name="connsiteY52" fmla="*/ 846 h 1043"/>
                  <a:gd name="connsiteX53" fmla="*/ 2469 w 4435"/>
                  <a:gd name="connsiteY53" fmla="*/ 796 h 1043"/>
                  <a:gd name="connsiteX54" fmla="*/ 2430 w 4435"/>
                  <a:gd name="connsiteY54" fmla="*/ 740 h 1043"/>
                  <a:gd name="connsiteX55" fmla="*/ 2393 w 4435"/>
                  <a:gd name="connsiteY55" fmla="*/ 684 h 1043"/>
                  <a:gd name="connsiteX56" fmla="*/ 2288 w 4435"/>
                  <a:gd name="connsiteY56" fmla="*/ 510 h 1043"/>
                  <a:gd name="connsiteX57" fmla="*/ 2251 w 4435"/>
                  <a:gd name="connsiteY57" fmla="*/ 452 h 1043"/>
                  <a:gd name="connsiteX58" fmla="*/ 2213 w 4435"/>
                  <a:gd name="connsiteY58" fmla="*/ 396 h 1043"/>
                  <a:gd name="connsiteX59" fmla="*/ 2176 w 4435"/>
                  <a:gd name="connsiteY59" fmla="*/ 342 h 1043"/>
                  <a:gd name="connsiteX60" fmla="*/ 2137 w 4435"/>
                  <a:gd name="connsiteY60" fmla="*/ 293 h 1043"/>
                  <a:gd name="connsiteX61" fmla="*/ 2096 w 4435"/>
                  <a:gd name="connsiteY61" fmla="*/ 247 h 1043"/>
                  <a:gd name="connsiteX62" fmla="*/ 2054 w 4435"/>
                  <a:gd name="connsiteY62" fmla="*/ 205 h 1043"/>
                  <a:gd name="connsiteX63" fmla="*/ 2009 w 4435"/>
                  <a:gd name="connsiteY63" fmla="*/ 168 h 1043"/>
                  <a:gd name="connsiteX64" fmla="*/ 1962 w 4435"/>
                  <a:gd name="connsiteY64" fmla="*/ 139 h 1043"/>
                  <a:gd name="connsiteX65" fmla="*/ 1910 w 4435"/>
                  <a:gd name="connsiteY65" fmla="*/ 116 h 1043"/>
                  <a:gd name="connsiteX66" fmla="*/ 1854 w 4435"/>
                  <a:gd name="connsiteY66" fmla="*/ 100 h 1043"/>
                  <a:gd name="connsiteX67" fmla="*/ 1796 w 4435"/>
                  <a:gd name="connsiteY67" fmla="*/ 91 h 1043"/>
                  <a:gd name="connsiteX68" fmla="*/ 1732 w 4435"/>
                  <a:gd name="connsiteY68" fmla="*/ 93 h 1043"/>
                  <a:gd name="connsiteX69" fmla="*/ 1664 w 4435"/>
                  <a:gd name="connsiteY69" fmla="*/ 104 h 1043"/>
                  <a:gd name="connsiteX70" fmla="*/ 1602 w 4435"/>
                  <a:gd name="connsiteY70" fmla="*/ 122 h 1043"/>
                  <a:gd name="connsiteX71" fmla="*/ 1545 w 4435"/>
                  <a:gd name="connsiteY71" fmla="*/ 147 h 1043"/>
                  <a:gd name="connsiteX72" fmla="*/ 1491 w 4435"/>
                  <a:gd name="connsiteY72" fmla="*/ 181 h 1043"/>
                  <a:gd name="connsiteX73" fmla="*/ 1439 w 4435"/>
                  <a:gd name="connsiteY73" fmla="*/ 218 h 1043"/>
                  <a:gd name="connsiteX74" fmla="*/ 1394 w 4435"/>
                  <a:gd name="connsiteY74" fmla="*/ 261 h 1043"/>
                  <a:gd name="connsiteX75" fmla="*/ 1348 w 4435"/>
                  <a:gd name="connsiteY75" fmla="*/ 307 h 1043"/>
                  <a:gd name="connsiteX76" fmla="*/ 1307 w 4435"/>
                  <a:gd name="connsiteY76" fmla="*/ 359 h 1043"/>
                  <a:gd name="connsiteX77" fmla="*/ 1268 w 4435"/>
                  <a:gd name="connsiteY77" fmla="*/ 413 h 1043"/>
                  <a:gd name="connsiteX78" fmla="*/ 1231 w 4435"/>
                  <a:gd name="connsiteY78" fmla="*/ 467 h 1043"/>
                  <a:gd name="connsiteX79" fmla="*/ 1194 w 4435"/>
                  <a:gd name="connsiteY79" fmla="*/ 523 h 1043"/>
                  <a:gd name="connsiteX80" fmla="*/ 1156 w 4435"/>
                  <a:gd name="connsiteY80" fmla="*/ 581 h 1043"/>
                  <a:gd name="connsiteX81" fmla="*/ 1121 w 4435"/>
                  <a:gd name="connsiteY81" fmla="*/ 637 h 1043"/>
                  <a:gd name="connsiteX82" fmla="*/ 1047 w 4435"/>
                  <a:gd name="connsiteY82" fmla="*/ 749 h 1043"/>
                  <a:gd name="connsiteX83" fmla="*/ 1008 w 4435"/>
                  <a:gd name="connsiteY83" fmla="*/ 801 h 1043"/>
                  <a:gd name="connsiteX84" fmla="*/ 966 w 4435"/>
                  <a:gd name="connsiteY84" fmla="*/ 850 h 1043"/>
                  <a:gd name="connsiteX85" fmla="*/ 923 w 4435"/>
                  <a:gd name="connsiteY85" fmla="*/ 896 h 1043"/>
                  <a:gd name="connsiteX86" fmla="*/ 876 w 4435"/>
                  <a:gd name="connsiteY86" fmla="*/ 937 h 1043"/>
                  <a:gd name="connsiteX87" fmla="*/ 826 w 4435"/>
                  <a:gd name="connsiteY87" fmla="*/ 973 h 1043"/>
                  <a:gd name="connsiteX88" fmla="*/ 772 w 4435"/>
                  <a:gd name="connsiteY88" fmla="*/ 1002 h 1043"/>
                  <a:gd name="connsiteX89" fmla="*/ 717 w 4435"/>
                  <a:gd name="connsiteY89" fmla="*/ 1025 h 1043"/>
                  <a:gd name="connsiteX90" fmla="*/ 653 w 4435"/>
                  <a:gd name="connsiteY90" fmla="*/ 1037 h 1043"/>
                  <a:gd name="connsiteX91" fmla="*/ 587 w 4435"/>
                  <a:gd name="connsiteY91" fmla="*/ 1043 h 1043"/>
                  <a:gd name="connsiteX92" fmla="*/ 580 w 4435"/>
                  <a:gd name="connsiteY92" fmla="*/ 1043 h 1043"/>
                  <a:gd name="connsiteX93" fmla="*/ 512 w 4435"/>
                  <a:gd name="connsiteY93" fmla="*/ 1039 h 1043"/>
                  <a:gd name="connsiteX94" fmla="*/ 450 w 4435"/>
                  <a:gd name="connsiteY94" fmla="*/ 1027 h 1043"/>
                  <a:gd name="connsiteX95" fmla="*/ 392 w 4435"/>
                  <a:gd name="connsiteY95" fmla="*/ 1008 h 1043"/>
                  <a:gd name="connsiteX96" fmla="*/ 341 w 4435"/>
                  <a:gd name="connsiteY96" fmla="*/ 983 h 1043"/>
                  <a:gd name="connsiteX97" fmla="*/ 293 w 4435"/>
                  <a:gd name="connsiteY97" fmla="*/ 952 h 1043"/>
                  <a:gd name="connsiteX98" fmla="*/ 248 w 4435"/>
                  <a:gd name="connsiteY98" fmla="*/ 915 h 1043"/>
                  <a:gd name="connsiteX99" fmla="*/ 207 w 4435"/>
                  <a:gd name="connsiteY99" fmla="*/ 873 h 1043"/>
                  <a:gd name="connsiteX100" fmla="*/ 169 w 4435"/>
                  <a:gd name="connsiteY100" fmla="*/ 828 h 1043"/>
                  <a:gd name="connsiteX101" fmla="*/ 132 w 4435"/>
                  <a:gd name="connsiteY101" fmla="*/ 780 h 1043"/>
                  <a:gd name="connsiteX102" fmla="*/ 99 w 4435"/>
                  <a:gd name="connsiteY102" fmla="*/ 728 h 1043"/>
                  <a:gd name="connsiteX103" fmla="*/ 64 w 4435"/>
                  <a:gd name="connsiteY103" fmla="*/ 674 h 1043"/>
                  <a:gd name="connsiteX104" fmla="*/ 33 w 4435"/>
                  <a:gd name="connsiteY104" fmla="*/ 618 h 1043"/>
                  <a:gd name="connsiteX105" fmla="*/ 0 w 4435"/>
                  <a:gd name="connsiteY105" fmla="*/ 560 h 1043"/>
                  <a:gd name="connsiteX106" fmla="*/ 77 w 4435"/>
                  <a:gd name="connsiteY106" fmla="*/ 516 h 1043"/>
                  <a:gd name="connsiteX107" fmla="*/ 110 w 4435"/>
                  <a:gd name="connsiteY107" fmla="*/ 575 h 1043"/>
                  <a:gd name="connsiteX108" fmla="*/ 143 w 4435"/>
                  <a:gd name="connsiteY108" fmla="*/ 631 h 1043"/>
                  <a:gd name="connsiteX109" fmla="*/ 176 w 4435"/>
                  <a:gd name="connsiteY109" fmla="*/ 684 h 1043"/>
                  <a:gd name="connsiteX110" fmla="*/ 209 w 4435"/>
                  <a:gd name="connsiteY110" fmla="*/ 736 h 1043"/>
                  <a:gd name="connsiteX111" fmla="*/ 244 w 4435"/>
                  <a:gd name="connsiteY111" fmla="*/ 782 h 1043"/>
                  <a:gd name="connsiteX112" fmla="*/ 281 w 4435"/>
                  <a:gd name="connsiteY112" fmla="*/ 825 h 1043"/>
                  <a:gd name="connsiteX113" fmla="*/ 322 w 4435"/>
                  <a:gd name="connsiteY113" fmla="*/ 863 h 1043"/>
                  <a:gd name="connsiteX114" fmla="*/ 366 w 4435"/>
                  <a:gd name="connsiteY114" fmla="*/ 894 h 1043"/>
                  <a:gd name="connsiteX115" fmla="*/ 413 w 4435"/>
                  <a:gd name="connsiteY115" fmla="*/ 921 h 1043"/>
                  <a:gd name="connsiteX116" fmla="*/ 463 w 4435"/>
                  <a:gd name="connsiteY116" fmla="*/ 940 h 1043"/>
                  <a:gd name="connsiteX117" fmla="*/ 518 w 4435"/>
                  <a:gd name="connsiteY117" fmla="*/ 952 h 1043"/>
                  <a:gd name="connsiteX118" fmla="*/ 580 w 4435"/>
                  <a:gd name="connsiteY118" fmla="*/ 956 h 1043"/>
                  <a:gd name="connsiteX119" fmla="*/ 587 w 4435"/>
                  <a:gd name="connsiteY119" fmla="*/ 956 h 1043"/>
                  <a:gd name="connsiteX120" fmla="*/ 646 w 4435"/>
                  <a:gd name="connsiteY120" fmla="*/ 950 h 1043"/>
                  <a:gd name="connsiteX121" fmla="*/ 702 w 4435"/>
                  <a:gd name="connsiteY121" fmla="*/ 935 h 1043"/>
                  <a:gd name="connsiteX122" fmla="*/ 756 w 4435"/>
                  <a:gd name="connsiteY122" fmla="*/ 913 h 1043"/>
                  <a:gd name="connsiteX123" fmla="*/ 803 w 4435"/>
                  <a:gd name="connsiteY123" fmla="*/ 884 h 1043"/>
                  <a:gd name="connsiteX124" fmla="*/ 849 w 4435"/>
                  <a:gd name="connsiteY124" fmla="*/ 846 h 1043"/>
                  <a:gd name="connsiteX125" fmla="*/ 892 w 4435"/>
                  <a:gd name="connsiteY125" fmla="*/ 803 h 1043"/>
                  <a:gd name="connsiteX126" fmla="*/ 931 w 4435"/>
                  <a:gd name="connsiteY126" fmla="*/ 755 h 1043"/>
                  <a:gd name="connsiteX127" fmla="*/ 971 w 4435"/>
                  <a:gd name="connsiteY127" fmla="*/ 703 h 1043"/>
                  <a:gd name="connsiteX128" fmla="*/ 1010 w 4435"/>
                  <a:gd name="connsiteY128" fmla="*/ 649 h 1043"/>
                  <a:gd name="connsiteX129" fmla="*/ 1121 w 4435"/>
                  <a:gd name="connsiteY129" fmla="*/ 475 h 1043"/>
                  <a:gd name="connsiteX130" fmla="*/ 1161 w 4435"/>
                  <a:gd name="connsiteY130" fmla="*/ 415 h 1043"/>
                  <a:gd name="connsiteX131" fmla="*/ 1202 w 4435"/>
                  <a:gd name="connsiteY131" fmla="*/ 357 h 1043"/>
                  <a:gd name="connsiteX132" fmla="*/ 1245 w 4435"/>
                  <a:gd name="connsiteY132" fmla="*/ 299 h 1043"/>
                  <a:gd name="connsiteX133" fmla="*/ 1291 w 4435"/>
                  <a:gd name="connsiteY133" fmla="*/ 245 h 1043"/>
                  <a:gd name="connsiteX134" fmla="*/ 1338 w 4435"/>
                  <a:gd name="connsiteY134" fmla="*/ 193 h 1043"/>
                  <a:gd name="connsiteX135" fmla="*/ 1392 w 4435"/>
                  <a:gd name="connsiteY135" fmla="*/ 145 h 1043"/>
                  <a:gd name="connsiteX136" fmla="*/ 1447 w 4435"/>
                  <a:gd name="connsiteY136" fmla="*/ 104 h 1043"/>
                  <a:gd name="connsiteX137" fmla="*/ 1509 w 4435"/>
                  <a:gd name="connsiteY137" fmla="*/ 69 h 1043"/>
                  <a:gd name="connsiteX138" fmla="*/ 1575 w 4435"/>
                  <a:gd name="connsiteY138" fmla="*/ 40 h 1043"/>
                  <a:gd name="connsiteX139" fmla="*/ 1648 w 4435"/>
                  <a:gd name="connsiteY139" fmla="*/ 19 h 1043"/>
                  <a:gd name="connsiteX140" fmla="*/ 1726 w 4435"/>
                  <a:gd name="connsiteY140" fmla="*/ 6 h 1043"/>
                  <a:gd name="connsiteX141" fmla="*/ 1796 w 4435"/>
                  <a:gd name="connsiteY141" fmla="*/ 4 h 1043"/>
                  <a:gd name="connsiteX142" fmla="*/ 1862 w 4435"/>
                  <a:gd name="connsiteY142" fmla="*/ 13 h 1043"/>
                  <a:gd name="connsiteX143" fmla="*/ 1922 w 4435"/>
                  <a:gd name="connsiteY143" fmla="*/ 27 h 1043"/>
                  <a:gd name="connsiteX144" fmla="*/ 1980 w 4435"/>
                  <a:gd name="connsiteY144" fmla="*/ 50 h 1043"/>
                  <a:gd name="connsiteX145" fmla="*/ 2034 w 4435"/>
                  <a:gd name="connsiteY145" fmla="*/ 81 h 1043"/>
                  <a:gd name="connsiteX146" fmla="*/ 2083 w 4435"/>
                  <a:gd name="connsiteY146" fmla="*/ 116 h 1043"/>
                  <a:gd name="connsiteX147" fmla="*/ 2129 w 4435"/>
                  <a:gd name="connsiteY147" fmla="*/ 158 h 1043"/>
                  <a:gd name="connsiteX148" fmla="*/ 2174 w 4435"/>
                  <a:gd name="connsiteY148" fmla="*/ 203 h 1043"/>
                  <a:gd name="connsiteX149" fmla="*/ 2216 w 4435"/>
                  <a:gd name="connsiteY149" fmla="*/ 251 h 1043"/>
                  <a:gd name="connsiteX150" fmla="*/ 2255 w 4435"/>
                  <a:gd name="connsiteY150" fmla="*/ 303 h 1043"/>
                  <a:gd name="connsiteX151" fmla="*/ 2292 w 4435"/>
                  <a:gd name="connsiteY151" fmla="*/ 357 h 1043"/>
                  <a:gd name="connsiteX152" fmla="*/ 2327 w 4435"/>
                  <a:gd name="connsiteY152" fmla="*/ 413 h 1043"/>
                  <a:gd name="connsiteX153" fmla="*/ 2362 w 4435"/>
                  <a:gd name="connsiteY153" fmla="*/ 467 h 1043"/>
                  <a:gd name="connsiteX154" fmla="*/ 2395 w 4435"/>
                  <a:gd name="connsiteY154" fmla="*/ 523 h 1043"/>
                  <a:gd name="connsiteX155" fmla="*/ 2432 w 4435"/>
                  <a:gd name="connsiteY155" fmla="*/ 585 h 1043"/>
                  <a:gd name="connsiteX156" fmla="*/ 2469 w 4435"/>
                  <a:gd name="connsiteY156" fmla="*/ 643 h 1043"/>
                  <a:gd name="connsiteX157" fmla="*/ 2509 w 4435"/>
                  <a:gd name="connsiteY157" fmla="*/ 701 h 1043"/>
                  <a:gd name="connsiteX158" fmla="*/ 2546 w 4435"/>
                  <a:gd name="connsiteY158" fmla="*/ 755 h 1043"/>
                  <a:gd name="connsiteX159" fmla="*/ 2587 w 4435"/>
                  <a:gd name="connsiteY159" fmla="*/ 805 h 1043"/>
                  <a:gd name="connsiteX160" fmla="*/ 2628 w 4435"/>
                  <a:gd name="connsiteY160" fmla="*/ 848 h 1043"/>
                  <a:gd name="connsiteX161" fmla="*/ 2672 w 4435"/>
                  <a:gd name="connsiteY161" fmla="*/ 886 h 1043"/>
                  <a:gd name="connsiteX162" fmla="*/ 2717 w 4435"/>
                  <a:gd name="connsiteY162" fmla="*/ 917 h 1043"/>
                  <a:gd name="connsiteX163" fmla="*/ 2767 w 4435"/>
                  <a:gd name="connsiteY163" fmla="*/ 940 h 1043"/>
                  <a:gd name="connsiteX164" fmla="*/ 2820 w 4435"/>
                  <a:gd name="connsiteY164" fmla="*/ 952 h 1043"/>
                  <a:gd name="connsiteX165" fmla="*/ 2876 w 4435"/>
                  <a:gd name="connsiteY165" fmla="*/ 956 h 1043"/>
                  <a:gd name="connsiteX166" fmla="*/ 2932 w 4435"/>
                  <a:gd name="connsiteY166" fmla="*/ 950 h 1043"/>
                  <a:gd name="connsiteX167" fmla="*/ 2982 w 4435"/>
                  <a:gd name="connsiteY167" fmla="*/ 935 h 1043"/>
                  <a:gd name="connsiteX168" fmla="*/ 3029 w 4435"/>
                  <a:gd name="connsiteY168" fmla="*/ 915 h 1043"/>
                  <a:gd name="connsiteX169" fmla="*/ 3072 w 4435"/>
                  <a:gd name="connsiteY169" fmla="*/ 884 h 1043"/>
                  <a:gd name="connsiteX170" fmla="*/ 3112 w 4435"/>
                  <a:gd name="connsiteY170" fmla="*/ 848 h 1043"/>
                  <a:gd name="connsiteX171" fmla="*/ 3149 w 4435"/>
                  <a:gd name="connsiteY171" fmla="*/ 807 h 1043"/>
                  <a:gd name="connsiteX172" fmla="*/ 3184 w 4435"/>
                  <a:gd name="connsiteY172" fmla="*/ 759 h 1043"/>
                  <a:gd name="connsiteX173" fmla="*/ 3217 w 4435"/>
                  <a:gd name="connsiteY173" fmla="*/ 709 h 1043"/>
                  <a:gd name="connsiteX174" fmla="*/ 3250 w 4435"/>
                  <a:gd name="connsiteY174" fmla="*/ 655 h 1043"/>
                  <a:gd name="connsiteX175" fmla="*/ 3283 w 4435"/>
                  <a:gd name="connsiteY175" fmla="*/ 597 h 1043"/>
                  <a:gd name="connsiteX176" fmla="*/ 3316 w 4435"/>
                  <a:gd name="connsiteY176" fmla="*/ 537 h 1043"/>
                  <a:gd name="connsiteX177" fmla="*/ 3345 w 4435"/>
                  <a:gd name="connsiteY177" fmla="*/ 483 h 1043"/>
                  <a:gd name="connsiteX178" fmla="*/ 3407 w 4435"/>
                  <a:gd name="connsiteY178" fmla="*/ 375 h 1043"/>
                  <a:gd name="connsiteX179" fmla="*/ 3477 w 4435"/>
                  <a:gd name="connsiteY179" fmla="*/ 272 h 1043"/>
                  <a:gd name="connsiteX180" fmla="*/ 3514 w 4435"/>
                  <a:gd name="connsiteY180" fmla="*/ 224 h 1043"/>
                  <a:gd name="connsiteX181" fmla="*/ 3555 w 4435"/>
                  <a:gd name="connsiteY181" fmla="*/ 178 h 1043"/>
                  <a:gd name="connsiteX182" fmla="*/ 3599 w 4435"/>
                  <a:gd name="connsiteY182" fmla="*/ 137 h 1043"/>
                  <a:gd name="connsiteX183" fmla="*/ 3646 w 4435"/>
                  <a:gd name="connsiteY183" fmla="*/ 100 h 1043"/>
                  <a:gd name="connsiteX184" fmla="*/ 3698 w 4435"/>
                  <a:gd name="connsiteY184" fmla="*/ 66 h 1043"/>
                  <a:gd name="connsiteX185" fmla="*/ 3756 w 4435"/>
                  <a:gd name="connsiteY185" fmla="*/ 40 h 1043"/>
                  <a:gd name="connsiteX186" fmla="*/ 3816 w 4435"/>
                  <a:gd name="connsiteY186" fmla="*/ 19 h 1043"/>
                  <a:gd name="connsiteX187" fmla="*/ 3882 w 4435"/>
                  <a:gd name="connsiteY187" fmla="*/ 6 h 1043"/>
                  <a:gd name="connsiteX188" fmla="*/ 3954 w 4435"/>
                  <a:gd name="connsiteY188" fmla="*/ 0 h 1043"/>
                  <a:gd name="connsiteX0" fmla="*/ 3954 w 4388"/>
                  <a:gd name="connsiteY0" fmla="*/ 0 h 1043"/>
                  <a:gd name="connsiteX1" fmla="*/ 4004 w 4388"/>
                  <a:gd name="connsiteY1" fmla="*/ 0 h 1043"/>
                  <a:gd name="connsiteX2" fmla="*/ 4032 w 4388"/>
                  <a:gd name="connsiteY2" fmla="*/ 4 h 1043"/>
                  <a:gd name="connsiteX3" fmla="*/ 4063 w 4388"/>
                  <a:gd name="connsiteY3" fmla="*/ 13 h 1043"/>
                  <a:gd name="connsiteX4" fmla="*/ 4101 w 4388"/>
                  <a:gd name="connsiteY4" fmla="*/ 23 h 1043"/>
                  <a:gd name="connsiteX5" fmla="*/ 4142 w 4388"/>
                  <a:gd name="connsiteY5" fmla="*/ 40 h 1043"/>
                  <a:gd name="connsiteX6" fmla="*/ 4185 w 4388"/>
                  <a:gd name="connsiteY6" fmla="*/ 60 h 1043"/>
                  <a:gd name="connsiteX7" fmla="*/ 4233 w 4388"/>
                  <a:gd name="connsiteY7" fmla="*/ 89 h 1043"/>
                  <a:gd name="connsiteX8" fmla="*/ 4282 w 4388"/>
                  <a:gd name="connsiteY8" fmla="*/ 125 h 1043"/>
                  <a:gd name="connsiteX9" fmla="*/ 4332 w 4388"/>
                  <a:gd name="connsiteY9" fmla="*/ 170 h 1043"/>
                  <a:gd name="connsiteX10" fmla="*/ 4383 w 4388"/>
                  <a:gd name="connsiteY10" fmla="*/ 224 h 1043"/>
                  <a:gd name="connsiteX11" fmla="*/ 4365 w 4388"/>
                  <a:gd name="connsiteY11" fmla="*/ 336 h 1043"/>
                  <a:gd name="connsiteX12" fmla="*/ 4315 w 4388"/>
                  <a:gd name="connsiteY12" fmla="*/ 276 h 1043"/>
                  <a:gd name="connsiteX13" fmla="*/ 4268 w 4388"/>
                  <a:gd name="connsiteY13" fmla="*/ 228 h 1043"/>
                  <a:gd name="connsiteX14" fmla="*/ 4222 w 4388"/>
                  <a:gd name="connsiteY14" fmla="*/ 189 h 1043"/>
                  <a:gd name="connsiteX15" fmla="*/ 4181 w 4388"/>
                  <a:gd name="connsiteY15" fmla="*/ 158 h 1043"/>
                  <a:gd name="connsiteX16" fmla="*/ 4142 w 4388"/>
                  <a:gd name="connsiteY16" fmla="*/ 135 h 1043"/>
                  <a:gd name="connsiteX17" fmla="*/ 4092 w 4388"/>
                  <a:gd name="connsiteY17" fmla="*/ 112 h 1043"/>
                  <a:gd name="connsiteX18" fmla="*/ 4049 w 4388"/>
                  <a:gd name="connsiteY18" fmla="*/ 98 h 1043"/>
                  <a:gd name="connsiteX19" fmla="*/ 4014 w 4388"/>
                  <a:gd name="connsiteY19" fmla="*/ 89 h 1043"/>
                  <a:gd name="connsiteX20" fmla="*/ 3985 w 4388"/>
                  <a:gd name="connsiteY20" fmla="*/ 87 h 1043"/>
                  <a:gd name="connsiteX21" fmla="*/ 3958 w 4388"/>
                  <a:gd name="connsiteY21" fmla="*/ 87 h 1043"/>
                  <a:gd name="connsiteX22" fmla="*/ 3892 w 4388"/>
                  <a:gd name="connsiteY22" fmla="*/ 93 h 1043"/>
                  <a:gd name="connsiteX23" fmla="*/ 3830 w 4388"/>
                  <a:gd name="connsiteY23" fmla="*/ 106 h 1043"/>
                  <a:gd name="connsiteX24" fmla="*/ 3774 w 4388"/>
                  <a:gd name="connsiteY24" fmla="*/ 127 h 1043"/>
                  <a:gd name="connsiteX25" fmla="*/ 3723 w 4388"/>
                  <a:gd name="connsiteY25" fmla="*/ 154 h 1043"/>
                  <a:gd name="connsiteX26" fmla="*/ 3675 w 4388"/>
                  <a:gd name="connsiteY26" fmla="*/ 187 h 1043"/>
                  <a:gd name="connsiteX27" fmla="*/ 3632 w 4388"/>
                  <a:gd name="connsiteY27" fmla="*/ 224 h 1043"/>
                  <a:gd name="connsiteX28" fmla="*/ 3593 w 4388"/>
                  <a:gd name="connsiteY28" fmla="*/ 268 h 1043"/>
                  <a:gd name="connsiteX29" fmla="*/ 3553 w 4388"/>
                  <a:gd name="connsiteY29" fmla="*/ 313 h 1043"/>
                  <a:gd name="connsiteX30" fmla="*/ 3518 w 4388"/>
                  <a:gd name="connsiteY30" fmla="*/ 363 h 1043"/>
                  <a:gd name="connsiteX31" fmla="*/ 3485 w 4388"/>
                  <a:gd name="connsiteY31" fmla="*/ 415 h 1043"/>
                  <a:gd name="connsiteX32" fmla="*/ 3423 w 4388"/>
                  <a:gd name="connsiteY32" fmla="*/ 523 h 1043"/>
                  <a:gd name="connsiteX33" fmla="*/ 3330 w 4388"/>
                  <a:gd name="connsiteY33" fmla="*/ 691 h 1043"/>
                  <a:gd name="connsiteX34" fmla="*/ 3297 w 4388"/>
                  <a:gd name="connsiteY34" fmla="*/ 747 h 1043"/>
                  <a:gd name="connsiteX35" fmla="*/ 3262 w 4388"/>
                  <a:gd name="connsiteY35" fmla="*/ 799 h 1043"/>
                  <a:gd name="connsiteX36" fmla="*/ 3227 w 4388"/>
                  <a:gd name="connsiteY36" fmla="*/ 848 h 1043"/>
                  <a:gd name="connsiteX37" fmla="*/ 3188 w 4388"/>
                  <a:gd name="connsiteY37" fmla="*/ 894 h 1043"/>
                  <a:gd name="connsiteX38" fmla="*/ 3147 w 4388"/>
                  <a:gd name="connsiteY38" fmla="*/ 935 h 1043"/>
                  <a:gd name="connsiteX39" fmla="*/ 3101 w 4388"/>
                  <a:gd name="connsiteY39" fmla="*/ 971 h 1043"/>
                  <a:gd name="connsiteX40" fmla="*/ 3052 w 4388"/>
                  <a:gd name="connsiteY40" fmla="*/ 1000 h 1043"/>
                  <a:gd name="connsiteX41" fmla="*/ 3000 w 4388"/>
                  <a:gd name="connsiteY41" fmla="*/ 1022 h 1043"/>
                  <a:gd name="connsiteX42" fmla="*/ 2942 w 4388"/>
                  <a:gd name="connsiteY42" fmla="*/ 1037 h 1043"/>
                  <a:gd name="connsiteX43" fmla="*/ 2878 w 4388"/>
                  <a:gd name="connsiteY43" fmla="*/ 1043 h 1043"/>
                  <a:gd name="connsiteX44" fmla="*/ 2870 w 4388"/>
                  <a:gd name="connsiteY44" fmla="*/ 1043 h 1043"/>
                  <a:gd name="connsiteX45" fmla="*/ 2808 w 4388"/>
                  <a:gd name="connsiteY45" fmla="*/ 1039 h 1043"/>
                  <a:gd name="connsiteX46" fmla="*/ 2748 w 4388"/>
                  <a:gd name="connsiteY46" fmla="*/ 1025 h 1043"/>
                  <a:gd name="connsiteX47" fmla="*/ 2695 w 4388"/>
                  <a:gd name="connsiteY47" fmla="*/ 1002 h 1043"/>
                  <a:gd name="connsiteX48" fmla="*/ 2643 w 4388"/>
                  <a:gd name="connsiteY48" fmla="*/ 973 h 1043"/>
                  <a:gd name="connsiteX49" fmla="*/ 2595 w 4388"/>
                  <a:gd name="connsiteY49" fmla="*/ 935 h 1043"/>
                  <a:gd name="connsiteX50" fmla="*/ 2552 w 4388"/>
                  <a:gd name="connsiteY50" fmla="*/ 894 h 1043"/>
                  <a:gd name="connsiteX51" fmla="*/ 2509 w 4388"/>
                  <a:gd name="connsiteY51" fmla="*/ 846 h 1043"/>
                  <a:gd name="connsiteX52" fmla="*/ 2469 w 4388"/>
                  <a:gd name="connsiteY52" fmla="*/ 796 h 1043"/>
                  <a:gd name="connsiteX53" fmla="*/ 2430 w 4388"/>
                  <a:gd name="connsiteY53" fmla="*/ 740 h 1043"/>
                  <a:gd name="connsiteX54" fmla="*/ 2393 w 4388"/>
                  <a:gd name="connsiteY54" fmla="*/ 684 h 1043"/>
                  <a:gd name="connsiteX55" fmla="*/ 2288 w 4388"/>
                  <a:gd name="connsiteY55" fmla="*/ 510 h 1043"/>
                  <a:gd name="connsiteX56" fmla="*/ 2251 w 4388"/>
                  <a:gd name="connsiteY56" fmla="*/ 452 h 1043"/>
                  <a:gd name="connsiteX57" fmla="*/ 2213 w 4388"/>
                  <a:gd name="connsiteY57" fmla="*/ 396 h 1043"/>
                  <a:gd name="connsiteX58" fmla="*/ 2176 w 4388"/>
                  <a:gd name="connsiteY58" fmla="*/ 342 h 1043"/>
                  <a:gd name="connsiteX59" fmla="*/ 2137 w 4388"/>
                  <a:gd name="connsiteY59" fmla="*/ 293 h 1043"/>
                  <a:gd name="connsiteX60" fmla="*/ 2096 w 4388"/>
                  <a:gd name="connsiteY60" fmla="*/ 247 h 1043"/>
                  <a:gd name="connsiteX61" fmla="*/ 2054 w 4388"/>
                  <a:gd name="connsiteY61" fmla="*/ 205 h 1043"/>
                  <a:gd name="connsiteX62" fmla="*/ 2009 w 4388"/>
                  <a:gd name="connsiteY62" fmla="*/ 168 h 1043"/>
                  <a:gd name="connsiteX63" fmla="*/ 1962 w 4388"/>
                  <a:gd name="connsiteY63" fmla="*/ 139 h 1043"/>
                  <a:gd name="connsiteX64" fmla="*/ 1910 w 4388"/>
                  <a:gd name="connsiteY64" fmla="*/ 116 h 1043"/>
                  <a:gd name="connsiteX65" fmla="*/ 1854 w 4388"/>
                  <a:gd name="connsiteY65" fmla="*/ 100 h 1043"/>
                  <a:gd name="connsiteX66" fmla="*/ 1796 w 4388"/>
                  <a:gd name="connsiteY66" fmla="*/ 91 h 1043"/>
                  <a:gd name="connsiteX67" fmla="*/ 1732 w 4388"/>
                  <a:gd name="connsiteY67" fmla="*/ 93 h 1043"/>
                  <a:gd name="connsiteX68" fmla="*/ 1664 w 4388"/>
                  <a:gd name="connsiteY68" fmla="*/ 104 h 1043"/>
                  <a:gd name="connsiteX69" fmla="*/ 1602 w 4388"/>
                  <a:gd name="connsiteY69" fmla="*/ 122 h 1043"/>
                  <a:gd name="connsiteX70" fmla="*/ 1545 w 4388"/>
                  <a:gd name="connsiteY70" fmla="*/ 147 h 1043"/>
                  <a:gd name="connsiteX71" fmla="*/ 1491 w 4388"/>
                  <a:gd name="connsiteY71" fmla="*/ 181 h 1043"/>
                  <a:gd name="connsiteX72" fmla="*/ 1439 w 4388"/>
                  <a:gd name="connsiteY72" fmla="*/ 218 h 1043"/>
                  <a:gd name="connsiteX73" fmla="*/ 1394 w 4388"/>
                  <a:gd name="connsiteY73" fmla="*/ 261 h 1043"/>
                  <a:gd name="connsiteX74" fmla="*/ 1348 w 4388"/>
                  <a:gd name="connsiteY74" fmla="*/ 307 h 1043"/>
                  <a:gd name="connsiteX75" fmla="*/ 1307 w 4388"/>
                  <a:gd name="connsiteY75" fmla="*/ 359 h 1043"/>
                  <a:gd name="connsiteX76" fmla="*/ 1268 w 4388"/>
                  <a:gd name="connsiteY76" fmla="*/ 413 h 1043"/>
                  <a:gd name="connsiteX77" fmla="*/ 1231 w 4388"/>
                  <a:gd name="connsiteY77" fmla="*/ 467 h 1043"/>
                  <a:gd name="connsiteX78" fmla="*/ 1194 w 4388"/>
                  <a:gd name="connsiteY78" fmla="*/ 523 h 1043"/>
                  <a:gd name="connsiteX79" fmla="*/ 1156 w 4388"/>
                  <a:gd name="connsiteY79" fmla="*/ 581 h 1043"/>
                  <a:gd name="connsiteX80" fmla="*/ 1121 w 4388"/>
                  <a:gd name="connsiteY80" fmla="*/ 637 h 1043"/>
                  <a:gd name="connsiteX81" fmla="*/ 1047 w 4388"/>
                  <a:gd name="connsiteY81" fmla="*/ 749 h 1043"/>
                  <a:gd name="connsiteX82" fmla="*/ 1008 w 4388"/>
                  <a:gd name="connsiteY82" fmla="*/ 801 h 1043"/>
                  <a:gd name="connsiteX83" fmla="*/ 966 w 4388"/>
                  <a:gd name="connsiteY83" fmla="*/ 850 h 1043"/>
                  <a:gd name="connsiteX84" fmla="*/ 923 w 4388"/>
                  <a:gd name="connsiteY84" fmla="*/ 896 h 1043"/>
                  <a:gd name="connsiteX85" fmla="*/ 876 w 4388"/>
                  <a:gd name="connsiteY85" fmla="*/ 937 h 1043"/>
                  <a:gd name="connsiteX86" fmla="*/ 826 w 4388"/>
                  <a:gd name="connsiteY86" fmla="*/ 973 h 1043"/>
                  <a:gd name="connsiteX87" fmla="*/ 772 w 4388"/>
                  <a:gd name="connsiteY87" fmla="*/ 1002 h 1043"/>
                  <a:gd name="connsiteX88" fmla="*/ 717 w 4388"/>
                  <a:gd name="connsiteY88" fmla="*/ 1025 h 1043"/>
                  <a:gd name="connsiteX89" fmla="*/ 653 w 4388"/>
                  <a:gd name="connsiteY89" fmla="*/ 1037 h 1043"/>
                  <a:gd name="connsiteX90" fmla="*/ 587 w 4388"/>
                  <a:gd name="connsiteY90" fmla="*/ 1043 h 1043"/>
                  <a:gd name="connsiteX91" fmla="*/ 580 w 4388"/>
                  <a:gd name="connsiteY91" fmla="*/ 1043 h 1043"/>
                  <a:gd name="connsiteX92" fmla="*/ 512 w 4388"/>
                  <a:gd name="connsiteY92" fmla="*/ 1039 h 1043"/>
                  <a:gd name="connsiteX93" fmla="*/ 450 w 4388"/>
                  <a:gd name="connsiteY93" fmla="*/ 1027 h 1043"/>
                  <a:gd name="connsiteX94" fmla="*/ 392 w 4388"/>
                  <a:gd name="connsiteY94" fmla="*/ 1008 h 1043"/>
                  <a:gd name="connsiteX95" fmla="*/ 341 w 4388"/>
                  <a:gd name="connsiteY95" fmla="*/ 983 h 1043"/>
                  <a:gd name="connsiteX96" fmla="*/ 293 w 4388"/>
                  <a:gd name="connsiteY96" fmla="*/ 952 h 1043"/>
                  <a:gd name="connsiteX97" fmla="*/ 248 w 4388"/>
                  <a:gd name="connsiteY97" fmla="*/ 915 h 1043"/>
                  <a:gd name="connsiteX98" fmla="*/ 207 w 4388"/>
                  <a:gd name="connsiteY98" fmla="*/ 873 h 1043"/>
                  <a:gd name="connsiteX99" fmla="*/ 169 w 4388"/>
                  <a:gd name="connsiteY99" fmla="*/ 828 h 1043"/>
                  <a:gd name="connsiteX100" fmla="*/ 132 w 4388"/>
                  <a:gd name="connsiteY100" fmla="*/ 780 h 1043"/>
                  <a:gd name="connsiteX101" fmla="*/ 99 w 4388"/>
                  <a:gd name="connsiteY101" fmla="*/ 728 h 1043"/>
                  <a:gd name="connsiteX102" fmla="*/ 64 w 4388"/>
                  <a:gd name="connsiteY102" fmla="*/ 674 h 1043"/>
                  <a:gd name="connsiteX103" fmla="*/ 33 w 4388"/>
                  <a:gd name="connsiteY103" fmla="*/ 618 h 1043"/>
                  <a:gd name="connsiteX104" fmla="*/ 0 w 4388"/>
                  <a:gd name="connsiteY104" fmla="*/ 560 h 1043"/>
                  <a:gd name="connsiteX105" fmla="*/ 77 w 4388"/>
                  <a:gd name="connsiteY105" fmla="*/ 516 h 1043"/>
                  <a:gd name="connsiteX106" fmla="*/ 110 w 4388"/>
                  <a:gd name="connsiteY106" fmla="*/ 575 h 1043"/>
                  <a:gd name="connsiteX107" fmla="*/ 143 w 4388"/>
                  <a:gd name="connsiteY107" fmla="*/ 631 h 1043"/>
                  <a:gd name="connsiteX108" fmla="*/ 176 w 4388"/>
                  <a:gd name="connsiteY108" fmla="*/ 684 h 1043"/>
                  <a:gd name="connsiteX109" fmla="*/ 209 w 4388"/>
                  <a:gd name="connsiteY109" fmla="*/ 736 h 1043"/>
                  <a:gd name="connsiteX110" fmla="*/ 244 w 4388"/>
                  <a:gd name="connsiteY110" fmla="*/ 782 h 1043"/>
                  <a:gd name="connsiteX111" fmla="*/ 281 w 4388"/>
                  <a:gd name="connsiteY111" fmla="*/ 825 h 1043"/>
                  <a:gd name="connsiteX112" fmla="*/ 322 w 4388"/>
                  <a:gd name="connsiteY112" fmla="*/ 863 h 1043"/>
                  <a:gd name="connsiteX113" fmla="*/ 366 w 4388"/>
                  <a:gd name="connsiteY113" fmla="*/ 894 h 1043"/>
                  <a:gd name="connsiteX114" fmla="*/ 413 w 4388"/>
                  <a:gd name="connsiteY114" fmla="*/ 921 h 1043"/>
                  <a:gd name="connsiteX115" fmla="*/ 463 w 4388"/>
                  <a:gd name="connsiteY115" fmla="*/ 940 h 1043"/>
                  <a:gd name="connsiteX116" fmla="*/ 518 w 4388"/>
                  <a:gd name="connsiteY116" fmla="*/ 952 h 1043"/>
                  <a:gd name="connsiteX117" fmla="*/ 580 w 4388"/>
                  <a:gd name="connsiteY117" fmla="*/ 956 h 1043"/>
                  <a:gd name="connsiteX118" fmla="*/ 587 w 4388"/>
                  <a:gd name="connsiteY118" fmla="*/ 956 h 1043"/>
                  <a:gd name="connsiteX119" fmla="*/ 646 w 4388"/>
                  <a:gd name="connsiteY119" fmla="*/ 950 h 1043"/>
                  <a:gd name="connsiteX120" fmla="*/ 702 w 4388"/>
                  <a:gd name="connsiteY120" fmla="*/ 935 h 1043"/>
                  <a:gd name="connsiteX121" fmla="*/ 756 w 4388"/>
                  <a:gd name="connsiteY121" fmla="*/ 913 h 1043"/>
                  <a:gd name="connsiteX122" fmla="*/ 803 w 4388"/>
                  <a:gd name="connsiteY122" fmla="*/ 884 h 1043"/>
                  <a:gd name="connsiteX123" fmla="*/ 849 w 4388"/>
                  <a:gd name="connsiteY123" fmla="*/ 846 h 1043"/>
                  <a:gd name="connsiteX124" fmla="*/ 892 w 4388"/>
                  <a:gd name="connsiteY124" fmla="*/ 803 h 1043"/>
                  <a:gd name="connsiteX125" fmla="*/ 931 w 4388"/>
                  <a:gd name="connsiteY125" fmla="*/ 755 h 1043"/>
                  <a:gd name="connsiteX126" fmla="*/ 971 w 4388"/>
                  <a:gd name="connsiteY126" fmla="*/ 703 h 1043"/>
                  <a:gd name="connsiteX127" fmla="*/ 1010 w 4388"/>
                  <a:gd name="connsiteY127" fmla="*/ 649 h 1043"/>
                  <a:gd name="connsiteX128" fmla="*/ 1121 w 4388"/>
                  <a:gd name="connsiteY128" fmla="*/ 475 h 1043"/>
                  <a:gd name="connsiteX129" fmla="*/ 1161 w 4388"/>
                  <a:gd name="connsiteY129" fmla="*/ 415 h 1043"/>
                  <a:gd name="connsiteX130" fmla="*/ 1202 w 4388"/>
                  <a:gd name="connsiteY130" fmla="*/ 357 h 1043"/>
                  <a:gd name="connsiteX131" fmla="*/ 1245 w 4388"/>
                  <a:gd name="connsiteY131" fmla="*/ 299 h 1043"/>
                  <a:gd name="connsiteX132" fmla="*/ 1291 w 4388"/>
                  <a:gd name="connsiteY132" fmla="*/ 245 h 1043"/>
                  <a:gd name="connsiteX133" fmla="*/ 1338 w 4388"/>
                  <a:gd name="connsiteY133" fmla="*/ 193 h 1043"/>
                  <a:gd name="connsiteX134" fmla="*/ 1392 w 4388"/>
                  <a:gd name="connsiteY134" fmla="*/ 145 h 1043"/>
                  <a:gd name="connsiteX135" fmla="*/ 1447 w 4388"/>
                  <a:gd name="connsiteY135" fmla="*/ 104 h 1043"/>
                  <a:gd name="connsiteX136" fmla="*/ 1509 w 4388"/>
                  <a:gd name="connsiteY136" fmla="*/ 69 h 1043"/>
                  <a:gd name="connsiteX137" fmla="*/ 1575 w 4388"/>
                  <a:gd name="connsiteY137" fmla="*/ 40 h 1043"/>
                  <a:gd name="connsiteX138" fmla="*/ 1648 w 4388"/>
                  <a:gd name="connsiteY138" fmla="*/ 19 h 1043"/>
                  <a:gd name="connsiteX139" fmla="*/ 1726 w 4388"/>
                  <a:gd name="connsiteY139" fmla="*/ 6 h 1043"/>
                  <a:gd name="connsiteX140" fmla="*/ 1796 w 4388"/>
                  <a:gd name="connsiteY140" fmla="*/ 4 h 1043"/>
                  <a:gd name="connsiteX141" fmla="*/ 1862 w 4388"/>
                  <a:gd name="connsiteY141" fmla="*/ 13 h 1043"/>
                  <a:gd name="connsiteX142" fmla="*/ 1922 w 4388"/>
                  <a:gd name="connsiteY142" fmla="*/ 27 h 1043"/>
                  <a:gd name="connsiteX143" fmla="*/ 1980 w 4388"/>
                  <a:gd name="connsiteY143" fmla="*/ 50 h 1043"/>
                  <a:gd name="connsiteX144" fmla="*/ 2034 w 4388"/>
                  <a:gd name="connsiteY144" fmla="*/ 81 h 1043"/>
                  <a:gd name="connsiteX145" fmla="*/ 2083 w 4388"/>
                  <a:gd name="connsiteY145" fmla="*/ 116 h 1043"/>
                  <a:gd name="connsiteX146" fmla="*/ 2129 w 4388"/>
                  <a:gd name="connsiteY146" fmla="*/ 158 h 1043"/>
                  <a:gd name="connsiteX147" fmla="*/ 2174 w 4388"/>
                  <a:gd name="connsiteY147" fmla="*/ 203 h 1043"/>
                  <a:gd name="connsiteX148" fmla="*/ 2216 w 4388"/>
                  <a:gd name="connsiteY148" fmla="*/ 251 h 1043"/>
                  <a:gd name="connsiteX149" fmla="*/ 2255 w 4388"/>
                  <a:gd name="connsiteY149" fmla="*/ 303 h 1043"/>
                  <a:gd name="connsiteX150" fmla="*/ 2292 w 4388"/>
                  <a:gd name="connsiteY150" fmla="*/ 357 h 1043"/>
                  <a:gd name="connsiteX151" fmla="*/ 2327 w 4388"/>
                  <a:gd name="connsiteY151" fmla="*/ 413 h 1043"/>
                  <a:gd name="connsiteX152" fmla="*/ 2362 w 4388"/>
                  <a:gd name="connsiteY152" fmla="*/ 467 h 1043"/>
                  <a:gd name="connsiteX153" fmla="*/ 2395 w 4388"/>
                  <a:gd name="connsiteY153" fmla="*/ 523 h 1043"/>
                  <a:gd name="connsiteX154" fmla="*/ 2432 w 4388"/>
                  <a:gd name="connsiteY154" fmla="*/ 585 h 1043"/>
                  <a:gd name="connsiteX155" fmla="*/ 2469 w 4388"/>
                  <a:gd name="connsiteY155" fmla="*/ 643 h 1043"/>
                  <a:gd name="connsiteX156" fmla="*/ 2509 w 4388"/>
                  <a:gd name="connsiteY156" fmla="*/ 701 h 1043"/>
                  <a:gd name="connsiteX157" fmla="*/ 2546 w 4388"/>
                  <a:gd name="connsiteY157" fmla="*/ 755 h 1043"/>
                  <a:gd name="connsiteX158" fmla="*/ 2587 w 4388"/>
                  <a:gd name="connsiteY158" fmla="*/ 805 h 1043"/>
                  <a:gd name="connsiteX159" fmla="*/ 2628 w 4388"/>
                  <a:gd name="connsiteY159" fmla="*/ 848 h 1043"/>
                  <a:gd name="connsiteX160" fmla="*/ 2672 w 4388"/>
                  <a:gd name="connsiteY160" fmla="*/ 886 h 1043"/>
                  <a:gd name="connsiteX161" fmla="*/ 2717 w 4388"/>
                  <a:gd name="connsiteY161" fmla="*/ 917 h 1043"/>
                  <a:gd name="connsiteX162" fmla="*/ 2767 w 4388"/>
                  <a:gd name="connsiteY162" fmla="*/ 940 h 1043"/>
                  <a:gd name="connsiteX163" fmla="*/ 2820 w 4388"/>
                  <a:gd name="connsiteY163" fmla="*/ 952 h 1043"/>
                  <a:gd name="connsiteX164" fmla="*/ 2876 w 4388"/>
                  <a:gd name="connsiteY164" fmla="*/ 956 h 1043"/>
                  <a:gd name="connsiteX165" fmla="*/ 2932 w 4388"/>
                  <a:gd name="connsiteY165" fmla="*/ 950 h 1043"/>
                  <a:gd name="connsiteX166" fmla="*/ 2982 w 4388"/>
                  <a:gd name="connsiteY166" fmla="*/ 935 h 1043"/>
                  <a:gd name="connsiteX167" fmla="*/ 3029 w 4388"/>
                  <a:gd name="connsiteY167" fmla="*/ 915 h 1043"/>
                  <a:gd name="connsiteX168" fmla="*/ 3072 w 4388"/>
                  <a:gd name="connsiteY168" fmla="*/ 884 h 1043"/>
                  <a:gd name="connsiteX169" fmla="*/ 3112 w 4388"/>
                  <a:gd name="connsiteY169" fmla="*/ 848 h 1043"/>
                  <a:gd name="connsiteX170" fmla="*/ 3149 w 4388"/>
                  <a:gd name="connsiteY170" fmla="*/ 807 h 1043"/>
                  <a:gd name="connsiteX171" fmla="*/ 3184 w 4388"/>
                  <a:gd name="connsiteY171" fmla="*/ 759 h 1043"/>
                  <a:gd name="connsiteX172" fmla="*/ 3217 w 4388"/>
                  <a:gd name="connsiteY172" fmla="*/ 709 h 1043"/>
                  <a:gd name="connsiteX173" fmla="*/ 3250 w 4388"/>
                  <a:gd name="connsiteY173" fmla="*/ 655 h 1043"/>
                  <a:gd name="connsiteX174" fmla="*/ 3283 w 4388"/>
                  <a:gd name="connsiteY174" fmla="*/ 597 h 1043"/>
                  <a:gd name="connsiteX175" fmla="*/ 3316 w 4388"/>
                  <a:gd name="connsiteY175" fmla="*/ 537 h 1043"/>
                  <a:gd name="connsiteX176" fmla="*/ 3345 w 4388"/>
                  <a:gd name="connsiteY176" fmla="*/ 483 h 1043"/>
                  <a:gd name="connsiteX177" fmla="*/ 3407 w 4388"/>
                  <a:gd name="connsiteY177" fmla="*/ 375 h 1043"/>
                  <a:gd name="connsiteX178" fmla="*/ 3477 w 4388"/>
                  <a:gd name="connsiteY178" fmla="*/ 272 h 1043"/>
                  <a:gd name="connsiteX179" fmla="*/ 3514 w 4388"/>
                  <a:gd name="connsiteY179" fmla="*/ 224 h 1043"/>
                  <a:gd name="connsiteX180" fmla="*/ 3555 w 4388"/>
                  <a:gd name="connsiteY180" fmla="*/ 178 h 1043"/>
                  <a:gd name="connsiteX181" fmla="*/ 3599 w 4388"/>
                  <a:gd name="connsiteY181" fmla="*/ 137 h 1043"/>
                  <a:gd name="connsiteX182" fmla="*/ 3646 w 4388"/>
                  <a:gd name="connsiteY182" fmla="*/ 100 h 1043"/>
                  <a:gd name="connsiteX183" fmla="*/ 3698 w 4388"/>
                  <a:gd name="connsiteY183" fmla="*/ 66 h 1043"/>
                  <a:gd name="connsiteX184" fmla="*/ 3756 w 4388"/>
                  <a:gd name="connsiteY184" fmla="*/ 40 h 1043"/>
                  <a:gd name="connsiteX185" fmla="*/ 3816 w 4388"/>
                  <a:gd name="connsiteY185" fmla="*/ 19 h 1043"/>
                  <a:gd name="connsiteX186" fmla="*/ 3882 w 4388"/>
                  <a:gd name="connsiteY186" fmla="*/ 6 h 1043"/>
                  <a:gd name="connsiteX187" fmla="*/ 3954 w 4388"/>
                  <a:gd name="connsiteY187" fmla="*/ 0 h 1043"/>
                  <a:gd name="connsiteX0" fmla="*/ 3954 w 4383"/>
                  <a:gd name="connsiteY0" fmla="*/ 0 h 1043"/>
                  <a:gd name="connsiteX1" fmla="*/ 4004 w 4383"/>
                  <a:gd name="connsiteY1" fmla="*/ 0 h 1043"/>
                  <a:gd name="connsiteX2" fmla="*/ 4032 w 4383"/>
                  <a:gd name="connsiteY2" fmla="*/ 4 h 1043"/>
                  <a:gd name="connsiteX3" fmla="*/ 4063 w 4383"/>
                  <a:gd name="connsiteY3" fmla="*/ 13 h 1043"/>
                  <a:gd name="connsiteX4" fmla="*/ 4101 w 4383"/>
                  <a:gd name="connsiteY4" fmla="*/ 23 h 1043"/>
                  <a:gd name="connsiteX5" fmla="*/ 4142 w 4383"/>
                  <a:gd name="connsiteY5" fmla="*/ 40 h 1043"/>
                  <a:gd name="connsiteX6" fmla="*/ 4185 w 4383"/>
                  <a:gd name="connsiteY6" fmla="*/ 60 h 1043"/>
                  <a:gd name="connsiteX7" fmla="*/ 4233 w 4383"/>
                  <a:gd name="connsiteY7" fmla="*/ 89 h 1043"/>
                  <a:gd name="connsiteX8" fmla="*/ 4282 w 4383"/>
                  <a:gd name="connsiteY8" fmla="*/ 125 h 1043"/>
                  <a:gd name="connsiteX9" fmla="*/ 4332 w 4383"/>
                  <a:gd name="connsiteY9" fmla="*/ 170 h 1043"/>
                  <a:gd name="connsiteX10" fmla="*/ 4383 w 4383"/>
                  <a:gd name="connsiteY10" fmla="*/ 224 h 1043"/>
                  <a:gd name="connsiteX11" fmla="*/ 4315 w 4383"/>
                  <a:gd name="connsiteY11" fmla="*/ 276 h 1043"/>
                  <a:gd name="connsiteX12" fmla="*/ 4268 w 4383"/>
                  <a:gd name="connsiteY12" fmla="*/ 228 h 1043"/>
                  <a:gd name="connsiteX13" fmla="*/ 4222 w 4383"/>
                  <a:gd name="connsiteY13" fmla="*/ 189 h 1043"/>
                  <a:gd name="connsiteX14" fmla="*/ 4181 w 4383"/>
                  <a:gd name="connsiteY14" fmla="*/ 158 h 1043"/>
                  <a:gd name="connsiteX15" fmla="*/ 4142 w 4383"/>
                  <a:gd name="connsiteY15" fmla="*/ 135 h 1043"/>
                  <a:gd name="connsiteX16" fmla="*/ 4092 w 4383"/>
                  <a:gd name="connsiteY16" fmla="*/ 112 h 1043"/>
                  <a:gd name="connsiteX17" fmla="*/ 4049 w 4383"/>
                  <a:gd name="connsiteY17" fmla="*/ 98 h 1043"/>
                  <a:gd name="connsiteX18" fmla="*/ 4014 w 4383"/>
                  <a:gd name="connsiteY18" fmla="*/ 89 h 1043"/>
                  <a:gd name="connsiteX19" fmla="*/ 3985 w 4383"/>
                  <a:gd name="connsiteY19" fmla="*/ 87 h 1043"/>
                  <a:gd name="connsiteX20" fmla="*/ 3958 w 4383"/>
                  <a:gd name="connsiteY20" fmla="*/ 87 h 1043"/>
                  <a:gd name="connsiteX21" fmla="*/ 3892 w 4383"/>
                  <a:gd name="connsiteY21" fmla="*/ 93 h 1043"/>
                  <a:gd name="connsiteX22" fmla="*/ 3830 w 4383"/>
                  <a:gd name="connsiteY22" fmla="*/ 106 h 1043"/>
                  <a:gd name="connsiteX23" fmla="*/ 3774 w 4383"/>
                  <a:gd name="connsiteY23" fmla="*/ 127 h 1043"/>
                  <a:gd name="connsiteX24" fmla="*/ 3723 w 4383"/>
                  <a:gd name="connsiteY24" fmla="*/ 154 h 1043"/>
                  <a:gd name="connsiteX25" fmla="*/ 3675 w 4383"/>
                  <a:gd name="connsiteY25" fmla="*/ 187 h 1043"/>
                  <a:gd name="connsiteX26" fmla="*/ 3632 w 4383"/>
                  <a:gd name="connsiteY26" fmla="*/ 224 h 1043"/>
                  <a:gd name="connsiteX27" fmla="*/ 3593 w 4383"/>
                  <a:gd name="connsiteY27" fmla="*/ 268 h 1043"/>
                  <a:gd name="connsiteX28" fmla="*/ 3553 w 4383"/>
                  <a:gd name="connsiteY28" fmla="*/ 313 h 1043"/>
                  <a:gd name="connsiteX29" fmla="*/ 3518 w 4383"/>
                  <a:gd name="connsiteY29" fmla="*/ 363 h 1043"/>
                  <a:gd name="connsiteX30" fmla="*/ 3485 w 4383"/>
                  <a:gd name="connsiteY30" fmla="*/ 415 h 1043"/>
                  <a:gd name="connsiteX31" fmla="*/ 3423 w 4383"/>
                  <a:gd name="connsiteY31" fmla="*/ 523 h 1043"/>
                  <a:gd name="connsiteX32" fmla="*/ 3330 w 4383"/>
                  <a:gd name="connsiteY32" fmla="*/ 691 h 1043"/>
                  <a:gd name="connsiteX33" fmla="*/ 3297 w 4383"/>
                  <a:gd name="connsiteY33" fmla="*/ 747 h 1043"/>
                  <a:gd name="connsiteX34" fmla="*/ 3262 w 4383"/>
                  <a:gd name="connsiteY34" fmla="*/ 799 h 1043"/>
                  <a:gd name="connsiteX35" fmla="*/ 3227 w 4383"/>
                  <a:gd name="connsiteY35" fmla="*/ 848 h 1043"/>
                  <a:gd name="connsiteX36" fmla="*/ 3188 w 4383"/>
                  <a:gd name="connsiteY36" fmla="*/ 894 h 1043"/>
                  <a:gd name="connsiteX37" fmla="*/ 3147 w 4383"/>
                  <a:gd name="connsiteY37" fmla="*/ 935 h 1043"/>
                  <a:gd name="connsiteX38" fmla="*/ 3101 w 4383"/>
                  <a:gd name="connsiteY38" fmla="*/ 971 h 1043"/>
                  <a:gd name="connsiteX39" fmla="*/ 3052 w 4383"/>
                  <a:gd name="connsiteY39" fmla="*/ 1000 h 1043"/>
                  <a:gd name="connsiteX40" fmla="*/ 3000 w 4383"/>
                  <a:gd name="connsiteY40" fmla="*/ 1022 h 1043"/>
                  <a:gd name="connsiteX41" fmla="*/ 2942 w 4383"/>
                  <a:gd name="connsiteY41" fmla="*/ 1037 h 1043"/>
                  <a:gd name="connsiteX42" fmla="*/ 2878 w 4383"/>
                  <a:gd name="connsiteY42" fmla="*/ 1043 h 1043"/>
                  <a:gd name="connsiteX43" fmla="*/ 2870 w 4383"/>
                  <a:gd name="connsiteY43" fmla="*/ 1043 h 1043"/>
                  <a:gd name="connsiteX44" fmla="*/ 2808 w 4383"/>
                  <a:gd name="connsiteY44" fmla="*/ 1039 h 1043"/>
                  <a:gd name="connsiteX45" fmla="*/ 2748 w 4383"/>
                  <a:gd name="connsiteY45" fmla="*/ 1025 h 1043"/>
                  <a:gd name="connsiteX46" fmla="*/ 2695 w 4383"/>
                  <a:gd name="connsiteY46" fmla="*/ 1002 h 1043"/>
                  <a:gd name="connsiteX47" fmla="*/ 2643 w 4383"/>
                  <a:gd name="connsiteY47" fmla="*/ 973 h 1043"/>
                  <a:gd name="connsiteX48" fmla="*/ 2595 w 4383"/>
                  <a:gd name="connsiteY48" fmla="*/ 935 h 1043"/>
                  <a:gd name="connsiteX49" fmla="*/ 2552 w 4383"/>
                  <a:gd name="connsiteY49" fmla="*/ 894 h 1043"/>
                  <a:gd name="connsiteX50" fmla="*/ 2509 w 4383"/>
                  <a:gd name="connsiteY50" fmla="*/ 846 h 1043"/>
                  <a:gd name="connsiteX51" fmla="*/ 2469 w 4383"/>
                  <a:gd name="connsiteY51" fmla="*/ 796 h 1043"/>
                  <a:gd name="connsiteX52" fmla="*/ 2430 w 4383"/>
                  <a:gd name="connsiteY52" fmla="*/ 740 h 1043"/>
                  <a:gd name="connsiteX53" fmla="*/ 2393 w 4383"/>
                  <a:gd name="connsiteY53" fmla="*/ 684 h 1043"/>
                  <a:gd name="connsiteX54" fmla="*/ 2288 w 4383"/>
                  <a:gd name="connsiteY54" fmla="*/ 510 h 1043"/>
                  <a:gd name="connsiteX55" fmla="*/ 2251 w 4383"/>
                  <a:gd name="connsiteY55" fmla="*/ 452 h 1043"/>
                  <a:gd name="connsiteX56" fmla="*/ 2213 w 4383"/>
                  <a:gd name="connsiteY56" fmla="*/ 396 h 1043"/>
                  <a:gd name="connsiteX57" fmla="*/ 2176 w 4383"/>
                  <a:gd name="connsiteY57" fmla="*/ 342 h 1043"/>
                  <a:gd name="connsiteX58" fmla="*/ 2137 w 4383"/>
                  <a:gd name="connsiteY58" fmla="*/ 293 h 1043"/>
                  <a:gd name="connsiteX59" fmla="*/ 2096 w 4383"/>
                  <a:gd name="connsiteY59" fmla="*/ 247 h 1043"/>
                  <a:gd name="connsiteX60" fmla="*/ 2054 w 4383"/>
                  <a:gd name="connsiteY60" fmla="*/ 205 h 1043"/>
                  <a:gd name="connsiteX61" fmla="*/ 2009 w 4383"/>
                  <a:gd name="connsiteY61" fmla="*/ 168 h 1043"/>
                  <a:gd name="connsiteX62" fmla="*/ 1962 w 4383"/>
                  <a:gd name="connsiteY62" fmla="*/ 139 h 1043"/>
                  <a:gd name="connsiteX63" fmla="*/ 1910 w 4383"/>
                  <a:gd name="connsiteY63" fmla="*/ 116 h 1043"/>
                  <a:gd name="connsiteX64" fmla="*/ 1854 w 4383"/>
                  <a:gd name="connsiteY64" fmla="*/ 100 h 1043"/>
                  <a:gd name="connsiteX65" fmla="*/ 1796 w 4383"/>
                  <a:gd name="connsiteY65" fmla="*/ 91 h 1043"/>
                  <a:gd name="connsiteX66" fmla="*/ 1732 w 4383"/>
                  <a:gd name="connsiteY66" fmla="*/ 93 h 1043"/>
                  <a:gd name="connsiteX67" fmla="*/ 1664 w 4383"/>
                  <a:gd name="connsiteY67" fmla="*/ 104 h 1043"/>
                  <a:gd name="connsiteX68" fmla="*/ 1602 w 4383"/>
                  <a:gd name="connsiteY68" fmla="*/ 122 h 1043"/>
                  <a:gd name="connsiteX69" fmla="*/ 1545 w 4383"/>
                  <a:gd name="connsiteY69" fmla="*/ 147 h 1043"/>
                  <a:gd name="connsiteX70" fmla="*/ 1491 w 4383"/>
                  <a:gd name="connsiteY70" fmla="*/ 181 h 1043"/>
                  <a:gd name="connsiteX71" fmla="*/ 1439 w 4383"/>
                  <a:gd name="connsiteY71" fmla="*/ 218 h 1043"/>
                  <a:gd name="connsiteX72" fmla="*/ 1394 w 4383"/>
                  <a:gd name="connsiteY72" fmla="*/ 261 h 1043"/>
                  <a:gd name="connsiteX73" fmla="*/ 1348 w 4383"/>
                  <a:gd name="connsiteY73" fmla="*/ 307 h 1043"/>
                  <a:gd name="connsiteX74" fmla="*/ 1307 w 4383"/>
                  <a:gd name="connsiteY74" fmla="*/ 359 h 1043"/>
                  <a:gd name="connsiteX75" fmla="*/ 1268 w 4383"/>
                  <a:gd name="connsiteY75" fmla="*/ 413 h 1043"/>
                  <a:gd name="connsiteX76" fmla="*/ 1231 w 4383"/>
                  <a:gd name="connsiteY76" fmla="*/ 467 h 1043"/>
                  <a:gd name="connsiteX77" fmla="*/ 1194 w 4383"/>
                  <a:gd name="connsiteY77" fmla="*/ 523 h 1043"/>
                  <a:gd name="connsiteX78" fmla="*/ 1156 w 4383"/>
                  <a:gd name="connsiteY78" fmla="*/ 581 h 1043"/>
                  <a:gd name="connsiteX79" fmla="*/ 1121 w 4383"/>
                  <a:gd name="connsiteY79" fmla="*/ 637 h 1043"/>
                  <a:gd name="connsiteX80" fmla="*/ 1047 w 4383"/>
                  <a:gd name="connsiteY80" fmla="*/ 749 h 1043"/>
                  <a:gd name="connsiteX81" fmla="*/ 1008 w 4383"/>
                  <a:gd name="connsiteY81" fmla="*/ 801 h 1043"/>
                  <a:gd name="connsiteX82" fmla="*/ 966 w 4383"/>
                  <a:gd name="connsiteY82" fmla="*/ 850 h 1043"/>
                  <a:gd name="connsiteX83" fmla="*/ 923 w 4383"/>
                  <a:gd name="connsiteY83" fmla="*/ 896 h 1043"/>
                  <a:gd name="connsiteX84" fmla="*/ 876 w 4383"/>
                  <a:gd name="connsiteY84" fmla="*/ 937 h 1043"/>
                  <a:gd name="connsiteX85" fmla="*/ 826 w 4383"/>
                  <a:gd name="connsiteY85" fmla="*/ 973 h 1043"/>
                  <a:gd name="connsiteX86" fmla="*/ 772 w 4383"/>
                  <a:gd name="connsiteY86" fmla="*/ 1002 h 1043"/>
                  <a:gd name="connsiteX87" fmla="*/ 717 w 4383"/>
                  <a:gd name="connsiteY87" fmla="*/ 1025 h 1043"/>
                  <a:gd name="connsiteX88" fmla="*/ 653 w 4383"/>
                  <a:gd name="connsiteY88" fmla="*/ 1037 h 1043"/>
                  <a:gd name="connsiteX89" fmla="*/ 587 w 4383"/>
                  <a:gd name="connsiteY89" fmla="*/ 1043 h 1043"/>
                  <a:gd name="connsiteX90" fmla="*/ 580 w 4383"/>
                  <a:gd name="connsiteY90" fmla="*/ 1043 h 1043"/>
                  <a:gd name="connsiteX91" fmla="*/ 512 w 4383"/>
                  <a:gd name="connsiteY91" fmla="*/ 1039 h 1043"/>
                  <a:gd name="connsiteX92" fmla="*/ 450 w 4383"/>
                  <a:gd name="connsiteY92" fmla="*/ 1027 h 1043"/>
                  <a:gd name="connsiteX93" fmla="*/ 392 w 4383"/>
                  <a:gd name="connsiteY93" fmla="*/ 1008 h 1043"/>
                  <a:gd name="connsiteX94" fmla="*/ 341 w 4383"/>
                  <a:gd name="connsiteY94" fmla="*/ 983 h 1043"/>
                  <a:gd name="connsiteX95" fmla="*/ 293 w 4383"/>
                  <a:gd name="connsiteY95" fmla="*/ 952 h 1043"/>
                  <a:gd name="connsiteX96" fmla="*/ 248 w 4383"/>
                  <a:gd name="connsiteY96" fmla="*/ 915 h 1043"/>
                  <a:gd name="connsiteX97" fmla="*/ 207 w 4383"/>
                  <a:gd name="connsiteY97" fmla="*/ 873 h 1043"/>
                  <a:gd name="connsiteX98" fmla="*/ 169 w 4383"/>
                  <a:gd name="connsiteY98" fmla="*/ 828 h 1043"/>
                  <a:gd name="connsiteX99" fmla="*/ 132 w 4383"/>
                  <a:gd name="connsiteY99" fmla="*/ 780 h 1043"/>
                  <a:gd name="connsiteX100" fmla="*/ 99 w 4383"/>
                  <a:gd name="connsiteY100" fmla="*/ 728 h 1043"/>
                  <a:gd name="connsiteX101" fmla="*/ 64 w 4383"/>
                  <a:gd name="connsiteY101" fmla="*/ 674 h 1043"/>
                  <a:gd name="connsiteX102" fmla="*/ 33 w 4383"/>
                  <a:gd name="connsiteY102" fmla="*/ 618 h 1043"/>
                  <a:gd name="connsiteX103" fmla="*/ 0 w 4383"/>
                  <a:gd name="connsiteY103" fmla="*/ 560 h 1043"/>
                  <a:gd name="connsiteX104" fmla="*/ 77 w 4383"/>
                  <a:gd name="connsiteY104" fmla="*/ 516 h 1043"/>
                  <a:gd name="connsiteX105" fmla="*/ 110 w 4383"/>
                  <a:gd name="connsiteY105" fmla="*/ 575 h 1043"/>
                  <a:gd name="connsiteX106" fmla="*/ 143 w 4383"/>
                  <a:gd name="connsiteY106" fmla="*/ 631 h 1043"/>
                  <a:gd name="connsiteX107" fmla="*/ 176 w 4383"/>
                  <a:gd name="connsiteY107" fmla="*/ 684 h 1043"/>
                  <a:gd name="connsiteX108" fmla="*/ 209 w 4383"/>
                  <a:gd name="connsiteY108" fmla="*/ 736 h 1043"/>
                  <a:gd name="connsiteX109" fmla="*/ 244 w 4383"/>
                  <a:gd name="connsiteY109" fmla="*/ 782 h 1043"/>
                  <a:gd name="connsiteX110" fmla="*/ 281 w 4383"/>
                  <a:gd name="connsiteY110" fmla="*/ 825 h 1043"/>
                  <a:gd name="connsiteX111" fmla="*/ 322 w 4383"/>
                  <a:gd name="connsiteY111" fmla="*/ 863 h 1043"/>
                  <a:gd name="connsiteX112" fmla="*/ 366 w 4383"/>
                  <a:gd name="connsiteY112" fmla="*/ 894 h 1043"/>
                  <a:gd name="connsiteX113" fmla="*/ 413 w 4383"/>
                  <a:gd name="connsiteY113" fmla="*/ 921 h 1043"/>
                  <a:gd name="connsiteX114" fmla="*/ 463 w 4383"/>
                  <a:gd name="connsiteY114" fmla="*/ 940 h 1043"/>
                  <a:gd name="connsiteX115" fmla="*/ 518 w 4383"/>
                  <a:gd name="connsiteY115" fmla="*/ 952 h 1043"/>
                  <a:gd name="connsiteX116" fmla="*/ 580 w 4383"/>
                  <a:gd name="connsiteY116" fmla="*/ 956 h 1043"/>
                  <a:gd name="connsiteX117" fmla="*/ 587 w 4383"/>
                  <a:gd name="connsiteY117" fmla="*/ 956 h 1043"/>
                  <a:gd name="connsiteX118" fmla="*/ 646 w 4383"/>
                  <a:gd name="connsiteY118" fmla="*/ 950 h 1043"/>
                  <a:gd name="connsiteX119" fmla="*/ 702 w 4383"/>
                  <a:gd name="connsiteY119" fmla="*/ 935 h 1043"/>
                  <a:gd name="connsiteX120" fmla="*/ 756 w 4383"/>
                  <a:gd name="connsiteY120" fmla="*/ 913 h 1043"/>
                  <a:gd name="connsiteX121" fmla="*/ 803 w 4383"/>
                  <a:gd name="connsiteY121" fmla="*/ 884 h 1043"/>
                  <a:gd name="connsiteX122" fmla="*/ 849 w 4383"/>
                  <a:gd name="connsiteY122" fmla="*/ 846 h 1043"/>
                  <a:gd name="connsiteX123" fmla="*/ 892 w 4383"/>
                  <a:gd name="connsiteY123" fmla="*/ 803 h 1043"/>
                  <a:gd name="connsiteX124" fmla="*/ 931 w 4383"/>
                  <a:gd name="connsiteY124" fmla="*/ 755 h 1043"/>
                  <a:gd name="connsiteX125" fmla="*/ 971 w 4383"/>
                  <a:gd name="connsiteY125" fmla="*/ 703 h 1043"/>
                  <a:gd name="connsiteX126" fmla="*/ 1010 w 4383"/>
                  <a:gd name="connsiteY126" fmla="*/ 649 h 1043"/>
                  <a:gd name="connsiteX127" fmla="*/ 1121 w 4383"/>
                  <a:gd name="connsiteY127" fmla="*/ 475 h 1043"/>
                  <a:gd name="connsiteX128" fmla="*/ 1161 w 4383"/>
                  <a:gd name="connsiteY128" fmla="*/ 415 h 1043"/>
                  <a:gd name="connsiteX129" fmla="*/ 1202 w 4383"/>
                  <a:gd name="connsiteY129" fmla="*/ 357 h 1043"/>
                  <a:gd name="connsiteX130" fmla="*/ 1245 w 4383"/>
                  <a:gd name="connsiteY130" fmla="*/ 299 h 1043"/>
                  <a:gd name="connsiteX131" fmla="*/ 1291 w 4383"/>
                  <a:gd name="connsiteY131" fmla="*/ 245 h 1043"/>
                  <a:gd name="connsiteX132" fmla="*/ 1338 w 4383"/>
                  <a:gd name="connsiteY132" fmla="*/ 193 h 1043"/>
                  <a:gd name="connsiteX133" fmla="*/ 1392 w 4383"/>
                  <a:gd name="connsiteY133" fmla="*/ 145 h 1043"/>
                  <a:gd name="connsiteX134" fmla="*/ 1447 w 4383"/>
                  <a:gd name="connsiteY134" fmla="*/ 104 h 1043"/>
                  <a:gd name="connsiteX135" fmla="*/ 1509 w 4383"/>
                  <a:gd name="connsiteY135" fmla="*/ 69 h 1043"/>
                  <a:gd name="connsiteX136" fmla="*/ 1575 w 4383"/>
                  <a:gd name="connsiteY136" fmla="*/ 40 h 1043"/>
                  <a:gd name="connsiteX137" fmla="*/ 1648 w 4383"/>
                  <a:gd name="connsiteY137" fmla="*/ 19 h 1043"/>
                  <a:gd name="connsiteX138" fmla="*/ 1726 w 4383"/>
                  <a:gd name="connsiteY138" fmla="*/ 6 h 1043"/>
                  <a:gd name="connsiteX139" fmla="*/ 1796 w 4383"/>
                  <a:gd name="connsiteY139" fmla="*/ 4 h 1043"/>
                  <a:gd name="connsiteX140" fmla="*/ 1862 w 4383"/>
                  <a:gd name="connsiteY140" fmla="*/ 13 h 1043"/>
                  <a:gd name="connsiteX141" fmla="*/ 1922 w 4383"/>
                  <a:gd name="connsiteY141" fmla="*/ 27 h 1043"/>
                  <a:gd name="connsiteX142" fmla="*/ 1980 w 4383"/>
                  <a:gd name="connsiteY142" fmla="*/ 50 h 1043"/>
                  <a:gd name="connsiteX143" fmla="*/ 2034 w 4383"/>
                  <a:gd name="connsiteY143" fmla="*/ 81 h 1043"/>
                  <a:gd name="connsiteX144" fmla="*/ 2083 w 4383"/>
                  <a:gd name="connsiteY144" fmla="*/ 116 h 1043"/>
                  <a:gd name="connsiteX145" fmla="*/ 2129 w 4383"/>
                  <a:gd name="connsiteY145" fmla="*/ 158 h 1043"/>
                  <a:gd name="connsiteX146" fmla="*/ 2174 w 4383"/>
                  <a:gd name="connsiteY146" fmla="*/ 203 h 1043"/>
                  <a:gd name="connsiteX147" fmla="*/ 2216 w 4383"/>
                  <a:gd name="connsiteY147" fmla="*/ 251 h 1043"/>
                  <a:gd name="connsiteX148" fmla="*/ 2255 w 4383"/>
                  <a:gd name="connsiteY148" fmla="*/ 303 h 1043"/>
                  <a:gd name="connsiteX149" fmla="*/ 2292 w 4383"/>
                  <a:gd name="connsiteY149" fmla="*/ 357 h 1043"/>
                  <a:gd name="connsiteX150" fmla="*/ 2327 w 4383"/>
                  <a:gd name="connsiteY150" fmla="*/ 413 h 1043"/>
                  <a:gd name="connsiteX151" fmla="*/ 2362 w 4383"/>
                  <a:gd name="connsiteY151" fmla="*/ 467 h 1043"/>
                  <a:gd name="connsiteX152" fmla="*/ 2395 w 4383"/>
                  <a:gd name="connsiteY152" fmla="*/ 523 h 1043"/>
                  <a:gd name="connsiteX153" fmla="*/ 2432 w 4383"/>
                  <a:gd name="connsiteY153" fmla="*/ 585 h 1043"/>
                  <a:gd name="connsiteX154" fmla="*/ 2469 w 4383"/>
                  <a:gd name="connsiteY154" fmla="*/ 643 h 1043"/>
                  <a:gd name="connsiteX155" fmla="*/ 2509 w 4383"/>
                  <a:gd name="connsiteY155" fmla="*/ 701 h 1043"/>
                  <a:gd name="connsiteX156" fmla="*/ 2546 w 4383"/>
                  <a:gd name="connsiteY156" fmla="*/ 755 h 1043"/>
                  <a:gd name="connsiteX157" fmla="*/ 2587 w 4383"/>
                  <a:gd name="connsiteY157" fmla="*/ 805 h 1043"/>
                  <a:gd name="connsiteX158" fmla="*/ 2628 w 4383"/>
                  <a:gd name="connsiteY158" fmla="*/ 848 h 1043"/>
                  <a:gd name="connsiteX159" fmla="*/ 2672 w 4383"/>
                  <a:gd name="connsiteY159" fmla="*/ 886 h 1043"/>
                  <a:gd name="connsiteX160" fmla="*/ 2717 w 4383"/>
                  <a:gd name="connsiteY160" fmla="*/ 917 h 1043"/>
                  <a:gd name="connsiteX161" fmla="*/ 2767 w 4383"/>
                  <a:gd name="connsiteY161" fmla="*/ 940 h 1043"/>
                  <a:gd name="connsiteX162" fmla="*/ 2820 w 4383"/>
                  <a:gd name="connsiteY162" fmla="*/ 952 h 1043"/>
                  <a:gd name="connsiteX163" fmla="*/ 2876 w 4383"/>
                  <a:gd name="connsiteY163" fmla="*/ 956 h 1043"/>
                  <a:gd name="connsiteX164" fmla="*/ 2932 w 4383"/>
                  <a:gd name="connsiteY164" fmla="*/ 950 h 1043"/>
                  <a:gd name="connsiteX165" fmla="*/ 2982 w 4383"/>
                  <a:gd name="connsiteY165" fmla="*/ 935 h 1043"/>
                  <a:gd name="connsiteX166" fmla="*/ 3029 w 4383"/>
                  <a:gd name="connsiteY166" fmla="*/ 915 h 1043"/>
                  <a:gd name="connsiteX167" fmla="*/ 3072 w 4383"/>
                  <a:gd name="connsiteY167" fmla="*/ 884 h 1043"/>
                  <a:gd name="connsiteX168" fmla="*/ 3112 w 4383"/>
                  <a:gd name="connsiteY168" fmla="*/ 848 h 1043"/>
                  <a:gd name="connsiteX169" fmla="*/ 3149 w 4383"/>
                  <a:gd name="connsiteY169" fmla="*/ 807 h 1043"/>
                  <a:gd name="connsiteX170" fmla="*/ 3184 w 4383"/>
                  <a:gd name="connsiteY170" fmla="*/ 759 h 1043"/>
                  <a:gd name="connsiteX171" fmla="*/ 3217 w 4383"/>
                  <a:gd name="connsiteY171" fmla="*/ 709 h 1043"/>
                  <a:gd name="connsiteX172" fmla="*/ 3250 w 4383"/>
                  <a:gd name="connsiteY172" fmla="*/ 655 h 1043"/>
                  <a:gd name="connsiteX173" fmla="*/ 3283 w 4383"/>
                  <a:gd name="connsiteY173" fmla="*/ 597 h 1043"/>
                  <a:gd name="connsiteX174" fmla="*/ 3316 w 4383"/>
                  <a:gd name="connsiteY174" fmla="*/ 537 h 1043"/>
                  <a:gd name="connsiteX175" fmla="*/ 3345 w 4383"/>
                  <a:gd name="connsiteY175" fmla="*/ 483 h 1043"/>
                  <a:gd name="connsiteX176" fmla="*/ 3407 w 4383"/>
                  <a:gd name="connsiteY176" fmla="*/ 375 h 1043"/>
                  <a:gd name="connsiteX177" fmla="*/ 3477 w 4383"/>
                  <a:gd name="connsiteY177" fmla="*/ 272 h 1043"/>
                  <a:gd name="connsiteX178" fmla="*/ 3514 w 4383"/>
                  <a:gd name="connsiteY178" fmla="*/ 224 h 1043"/>
                  <a:gd name="connsiteX179" fmla="*/ 3555 w 4383"/>
                  <a:gd name="connsiteY179" fmla="*/ 178 h 1043"/>
                  <a:gd name="connsiteX180" fmla="*/ 3599 w 4383"/>
                  <a:gd name="connsiteY180" fmla="*/ 137 h 1043"/>
                  <a:gd name="connsiteX181" fmla="*/ 3646 w 4383"/>
                  <a:gd name="connsiteY181" fmla="*/ 100 h 1043"/>
                  <a:gd name="connsiteX182" fmla="*/ 3698 w 4383"/>
                  <a:gd name="connsiteY182" fmla="*/ 66 h 1043"/>
                  <a:gd name="connsiteX183" fmla="*/ 3756 w 4383"/>
                  <a:gd name="connsiteY183" fmla="*/ 40 h 1043"/>
                  <a:gd name="connsiteX184" fmla="*/ 3816 w 4383"/>
                  <a:gd name="connsiteY184" fmla="*/ 19 h 1043"/>
                  <a:gd name="connsiteX185" fmla="*/ 3882 w 4383"/>
                  <a:gd name="connsiteY185" fmla="*/ 6 h 1043"/>
                  <a:gd name="connsiteX186" fmla="*/ 3954 w 4383"/>
                  <a:gd name="connsiteY186" fmla="*/ 0 h 1043"/>
                  <a:gd name="connsiteX0" fmla="*/ 3954 w 4332"/>
                  <a:gd name="connsiteY0" fmla="*/ 0 h 1043"/>
                  <a:gd name="connsiteX1" fmla="*/ 4004 w 4332"/>
                  <a:gd name="connsiteY1" fmla="*/ 0 h 1043"/>
                  <a:gd name="connsiteX2" fmla="*/ 4032 w 4332"/>
                  <a:gd name="connsiteY2" fmla="*/ 4 h 1043"/>
                  <a:gd name="connsiteX3" fmla="*/ 4063 w 4332"/>
                  <a:gd name="connsiteY3" fmla="*/ 13 h 1043"/>
                  <a:gd name="connsiteX4" fmla="*/ 4101 w 4332"/>
                  <a:gd name="connsiteY4" fmla="*/ 23 h 1043"/>
                  <a:gd name="connsiteX5" fmla="*/ 4142 w 4332"/>
                  <a:gd name="connsiteY5" fmla="*/ 40 h 1043"/>
                  <a:gd name="connsiteX6" fmla="*/ 4185 w 4332"/>
                  <a:gd name="connsiteY6" fmla="*/ 60 h 1043"/>
                  <a:gd name="connsiteX7" fmla="*/ 4233 w 4332"/>
                  <a:gd name="connsiteY7" fmla="*/ 89 h 1043"/>
                  <a:gd name="connsiteX8" fmla="*/ 4282 w 4332"/>
                  <a:gd name="connsiteY8" fmla="*/ 125 h 1043"/>
                  <a:gd name="connsiteX9" fmla="*/ 4332 w 4332"/>
                  <a:gd name="connsiteY9" fmla="*/ 170 h 1043"/>
                  <a:gd name="connsiteX10" fmla="*/ 4315 w 4332"/>
                  <a:gd name="connsiteY10" fmla="*/ 276 h 1043"/>
                  <a:gd name="connsiteX11" fmla="*/ 4268 w 4332"/>
                  <a:gd name="connsiteY11" fmla="*/ 228 h 1043"/>
                  <a:gd name="connsiteX12" fmla="*/ 4222 w 4332"/>
                  <a:gd name="connsiteY12" fmla="*/ 189 h 1043"/>
                  <a:gd name="connsiteX13" fmla="*/ 4181 w 4332"/>
                  <a:gd name="connsiteY13" fmla="*/ 158 h 1043"/>
                  <a:gd name="connsiteX14" fmla="*/ 4142 w 4332"/>
                  <a:gd name="connsiteY14" fmla="*/ 135 h 1043"/>
                  <a:gd name="connsiteX15" fmla="*/ 4092 w 4332"/>
                  <a:gd name="connsiteY15" fmla="*/ 112 h 1043"/>
                  <a:gd name="connsiteX16" fmla="*/ 4049 w 4332"/>
                  <a:gd name="connsiteY16" fmla="*/ 98 h 1043"/>
                  <a:gd name="connsiteX17" fmla="*/ 4014 w 4332"/>
                  <a:gd name="connsiteY17" fmla="*/ 89 h 1043"/>
                  <a:gd name="connsiteX18" fmla="*/ 3985 w 4332"/>
                  <a:gd name="connsiteY18" fmla="*/ 87 h 1043"/>
                  <a:gd name="connsiteX19" fmla="*/ 3958 w 4332"/>
                  <a:gd name="connsiteY19" fmla="*/ 87 h 1043"/>
                  <a:gd name="connsiteX20" fmla="*/ 3892 w 4332"/>
                  <a:gd name="connsiteY20" fmla="*/ 93 h 1043"/>
                  <a:gd name="connsiteX21" fmla="*/ 3830 w 4332"/>
                  <a:gd name="connsiteY21" fmla="*/ 106 h 1043"/>
                  <a:gd name="connsiteX22" fmla="*/ 3774 w 4332"/>
                  <a:gd name="connsiteY22" fmla="*/ 127 h 1043"/>
                  <a:gd name="connsiteX23" fmla="*/ 3723 w 4332"/>
                  <a:gd name="connsiteY23" fmla="*/ 154 h 1043"/>
                  <a:gd name="connsiteX24" fmla="*/ 3675 w 4332"/>
                  <a:gd name="connsiteY24" fmla="*/ 187 h 1043"/>
                  <a:gd name="connsiteX25" fmla="*/ 3632 w 4332"/>
                  <a:gd name="connsiteY25" fmla="*/ 224 h 1043"/>
                  <a:gd name="connsiteX26" fmla="*/ 3593 w 4332"/>
                  <a:gd name="connsiteY26" fmla="*/ 268 h 1043"/>
                  <a:gd name="connsiteX27" fmla="*/ 3553 w 4332"/>
                  <a:gd name="connsiteY27" fmla="*/ 313 h 1043"/>
                  <a:gd name="connsiteX28" fmla="*/ 3518 w 4332"/>
                  <a:gd name="connsiteY28" fmla="*/ 363 h 1043"/>
                  <a:gd name="connsiteX29" fmla="*/ 3485 w 4332"/>
                  <a:gd name="connsiteY29" fmla="*/ 415 h 1043"/>
                  <a:gd name="connsiteX30" fmla="*/ 3423 w 4332"/>
                  <a:gd name="connsiteY30" fmla="*/ 523 h 1043"/>
                  <a:gd name="connsiteX31" fmla="*/ 3330 w 4332"/>
                  <a:gd name="connsiteY31" fmla="*/ 691 h 1043"/>
                  <a:gd name="connsiteX32" fmla="*/ 3297 w 4332"/>
                  <a:gd name="connsiteY32" fmla="*/ 747 h 1043"/>
                  <a:gd name="connsiteX33" fmla="*/ 3262 w 4332"/>
                  <a:gd name="connsiteY33" fmla="*/ 799 h 1043"/>
                  <a:gd name="connsiteX34" fmla="*/ 3227 w 4332"/>
                  <a:gd name="connsiteY34" fmla="*/ 848 h 1043"/>
                  <a:gd name="connsiteX35" fmla="*/ 3188 w 4332"/>
                  <a:gd name="connsiteY35" fmla="*/ 894 h 1043"/>
                  <a:gd name="connsiteX36" fmla="*/ 3147 w 4332"/>
                  <a:gd name="connsiteY36" fmla="*/ 935 h 1043"/>
                  <a:gd name="connsiteX37" fmla="*/ 3101 w 4332"/>
                  <a:gd name="connsiteY37" fmla="*/ 971 h 1043"/>
                  <a:gd name="connsiteX38" fmla="*/ 3052 w 4332"/>
                  <a:gd name="connsiteY38" fmla="*/ 1000 h 1043"/>
                  <a:gd name="connsiteX39" fmla="*/ 3000 w 4332"/>
                  <a:gd name="connsiteY39" fmla="*/ 1022 h 1043"/>
                  <a:gd name="connsiteX40" fmla="*/ 2942 w 4332"/>
                  <a:gd name="connsiteY40" fmla="*/ 1037 h 1043"/>
                  <a:gd name="connsiteX41" fmla="*/ 2878 w 4332"/>
                  <a:gd name="connsiteY41" fmla="*/ 1043 h 1043"/>
                  <a:gd name="connsiteX42" fmla="*/ 2870 w 4332"/>
                  <a:gd name="connsiteY42" fmla="*/ 1043 h 1043"/>
                  <a:gd name="connsiteX43" fmla="*/ 2808 w 4332"/>
                  <a:gd name="connsiteY43" fmla="*/ 1039 h 1043"/>
                  <a:gd name="connsiteX44" fmla="*/ 2748 w 4332"/>
                  <a:gd name="connsiteY44" fmla="*/ 1025 h 1043"/>
                  <a:gd name="connsiteX45" fmla="*/ 2695 w 4332"/>
                  <a:gd name="connsiteY45" fmla="*/ 1002 h 1043"/>
                  <a:gd name="connsiteX46" fmla="*/ 2643 w 4332"/>
                  <a:gd name="connsiteY46" fmla="*/ 973 h 1043"/>
                  <a:gd name="connsiteX47" fmla="*/ 2595 w 4332"/>
                  <a:gd name="connsiteY47" fmla="*/ 935 h 1043"/>
                  <a:gd name="connsiteX48" fmla="*/ 2552 w 4332"/>
                  <a:gd name="connsiteY48" fmla="*/ 894 h 1043"/>
                  <a:gd name="connsiteX49" fmla="*/ 2509 w 4332"/>
                  <a:gd name="connsiteY49" fmla="*/ 846 h 1043"/>
                  <a:gd name="connsiteX50" fmla="*/ 2469 w 4332"/>
                  <a:gd name="connsiteY50" fmla="*/ 796 h 1043"/>
                  <a:gd name="connsiteX51" fmla="*/ 2430 w 4332"/>
                  <a:gd name="connsiteY51" fmla="*/ 740 h 1043"/>
                  <a:gd name="connsiteX52" fmla="*/ 2393 w 4332"/>
                  <a:gd name="connsiteY52" fmla="*/ 684 h 1043"/>
                  <a:gd name="connsiteX53" fmla="*/ 2288 w 4332"/>
                  <a:gd name="connsiteY53" fmla="*/ 510 h 1043"/>
                  <a:gd name="connsiteX54" fmla="*/ 2251 w 4332"/>
                  <a:gd name="connsiteY54" fmla="*/ 452 h 1043"/>
                  <a:gd name="connsiteX55" fmla="*/ 2213 w 4332"/>
                  <a:gd name="connsiteY55" fmla="*/ 396 h 1043"/>
                  <a:gd name="connsiteX56" fmla="*/ 2176 w 4332"/>
                  <a:gd name="connsiteY56" fmla="*/ 342 h 1043"/>
                  <a:gd name="connsiteX57" fmla="*/ 2137 w 4332"/>
                  <a:gd name="connsiteY57" fmla="*/ 293 h 1043"/>
                  <a:gd name="connsiteX58" fmla="*/ 2096 w 4332"/>
                  <a:gd name="connsiteY58" fmla="*/ 247 h 1043"/>
                  <a:gd name="connsiteX59" fmla="*/ 2054 w 4332"/>
                  <a:gd name="connsiteY59" fmla="*/ 205 h 1043"/>
                  <a:gd name="connsiteX60" fmla="*/ 2009 w 4332"/>
                  <a:gd name="connsiteY60" fmla="*/ 168 h 1043"/>
                  <a:gd name="connsiteX61" fmla="*/ 1962 w 4332"/>
                  <a:gd name="connsiteY61" fmla="*/ 139 h 1043"/>
                  <a:gd name="connsiteX62" fmla="*/ 1910 w 4332"/>
                  <a:gd name="connsiteY62" fmla="*/ 116 h 1043"/>
                  <a:gd name="connsiteX63" fmla="*/ 1854 w 4332"/>
                  <a:gd name="connsiteY63" fmla="*/ 100 h 1043"/>
                  <a:gd name="connsiteX64" fmla="*/ 1796 w 4332"/>
                  <a:gd name="connsiteY64" fmla="*/ 91 h 1043"/>
                  <a:gd name="connsiteX65" fmla="*/ 1732 w 4332"/>
                  <a:gd name="connsiteY65" fmla="*/ 93 h 1043"/>
                  <a:gd name="connsiteX66" fmla="*/ 1664 w 4332"/>
                  <a:gd name="connsiteY66" fmla="*/ 104 h 1043"/>
                  <a:gd name="connsiteX67" fmla="*/ 1602 w 4332"/>
                  <a:gd name="connsiteY67" fmla="*/ 122 h 1043"/>
                  <a:gd name="connsiteX68" fmla="*/ 1545 w 4332"/>
                  <a:gd name="connsiteY68" fmla="*/ 147 h 1043"/>
                  <a:gd name="connsiteX69" fmla="*/ 1491 w 4332"/>
                  <a:gd name="connsiteY69" fmla="*/ 181 h 1043"/>
                  <a:gd name="connsiteX70" fmla="*/ 1439 w 4332"/>
                  <a:gd name="connsiteY70" fmla="*/ 218 h 1043"/>
                  <a:gd name="connsiteX71" fmla="*/ 1394 w 4332"/>
                  <a:gd name="connsiteY71" fmla="*/ 261 h 1043"/>
                  <a:gd name="connsiteX72" fmla="*/ 1348 w 4332"/>
                  <a:gd name="connsiteY72" fmla="*/ 307 h 1043"/>
                  <a:gd name="connsiteX73" fmla="*/ 1307 w 4332"/>
                  <a:gd name="connsiteY73" fmla="*/ 359 h 1043"/>
                  <a:gd name="connsiteX74" fmla="*/ 1268 w 4332"/>
                  <a:gd name="connsiteY74" fmla="*/ 413 h 1043"/>
                  <a:gd name="connsiteX75" fmla="*/ 1231 w 4332"/>
                  <a:gd name="connsiteY75" fmla="*/ 467 h 1043"/>
                  <a:gd name="connsiteX76" fmla="*/ 1194 w 4332"/>
                  <a:gd name="connsiteY76" fmla="*/ 523 h 1043"/>
                  <a:gd name="connsiteX77" fmla="*/ 1156 w 4332"/>
                  <a:gd name="connsiteY77" fmla="*/ 581 h 1043"/>
                  <a:gd name="connsiteX78" fmla="*/ 1121 w 4332"/>
                  <a:gd name="connsiteY78" fmla="*/ 637 h 1043"/>
                  <a:gd name="connsiteX79" fmla="*/ 1047 w 4332"/>
                  <a:gd name="connsiteY79" fmla="*/ 749 h 1043"/>
                  <a:gd name="connsiteX80" fmla="*/ 1008 w 4332"/>
                  <a:gd name="connsiteY80" fmla="*/ 801 h 1043"/>
                  <a:gd name="connsiteX81" fmla="*/ 966 w 4332"/>
                  <a:gd name="connsiteY81" fmla="*/ 850 h 1043"/>
                  <a:gd name="connsiteX82" fmla="*/ 923 w 4332"/>
                  <a:gd name="connsiteY82" fmla="*/ 896 h 1043"/>
                  <a:gd name="connsiteX83" fmla="*/ 876 w 4332"/>
                  <a:gd name="connsiteY83" fmla="*/ 937 h 1043"/>
                  <a:gd name="connsiteX84" fmla="*/ 826 w 4332"/>
                  <a:gd name="connsiteY84" fmla="*/ 973 h 1043"/>
                  <a:gd name="connsiteX85" fmla="*/ 772 w 4332"/>
                  <a:gd name="connsiteY85" fmla="*/ 1002 h 1043"/>
                  <a:gd name="connsiteX86" fmla="*/ 717 w 4332"/>
                  <a:gd name="connsiteY86" fmla="*/ 1025 h 1043"/>
                  <a:gd name="connsiteX87" fmla="*/ 653 w 4332"/>
                  <a:gd name="connsiteY87" fmla="*/ 1037 h 1043"/>
                  <a:gd name="connsiteX88" fmla="*/ 587 w 4332"/>
                  <a:gd name="connsiteY88" fmla="*/ 1043 h 1043"/>
                  <a:gd name="connsiteX89" fmla="*/ 580 w 4332"/>
                  <a:gd name="connsiteY89" fmla="*/ 1043 h 1043"/>
                  <a:gd name="connsiteX90" fmla="*/ 512 w 4332"/>
                  <a:gd name="connsiteY90" fmla="*/ 1039 h 1043"/>
                  <a:gd name="connsiteX91" fmla="*/ 450 w 4332"/>
                  <a:gd name="connsiteY91" fmla="*/ 1027 h 1043"/>
                  <a:gd name="connsiteX92" fmla="*/ 392 w 4332"/>
                  <a:gd name="connsiteY92" fmla="*/ 1008 h 1043"/>
                  <a:gd name="connsiteX93" fmla="*/ 341 w 4332"/>
                  <a:gd name="connsiteY93" fmla="*/ 983 h 1043"/>
                  <a:gd name="connsiteX94" fmla="*/ 293 w 4332"/>
                  <a:gd name="connsiteY94" fmla="*/ 952 h 1043"/>
                  <a:gd name="connsiteX95" fmla="*/ 248 w 4332"/>
                  <a:gd name="connsiteY95" fmla="*/ 915 h 1043"/>
                  <a:gd name="connsiteX96" fmla="*/ 207 w 4332"/>
                  <a:gd name="connsiteY96" fmla="*/ 873 h 1043"/>
                  <a:gd name="connsiteX97" fmla="*/ 169 w 4332"/>
                  <a:gd name="connsiteY97" fmla="*/ 828 h 1043"/>
                  <a:gd name="connsiteX98" fmla="*/ 132 w 4332"/>
                  <a:gd name="connsiteY98" fmla="*/ 780 h 1043"/>
                  <a:gd name="connsiteX99" fmla="*/ 99 w 4332"/>
                  <a:gd name="connsiteY99" fmla="*/ 728 h 1043"/>
                  <a:gd name="connsiteX100" fmla="*/ 64 w 4332"/>
                  <a:gd name="connsiteY100" fmla="*/ 674 h 1043"/>
                  <a:gd name="connsiteX101" fmla="*/ 33 w 4332"/>
                  <a:gd name="connsiteY101" fmla="*/ 618 h 1043"/>
                  <a:gd name="connsiteX102" fmla="*/ 0 w 4332"/>
                  <a:gd name="connsiteY102" fmla="*/ 560 h 1043"/>
                  <a:gd name="connsiteX103" fmla="*/ 77 w 4332"/>
                  <a:gd name="connsiteY103" fmla="*/ 516 h 1043"/>
                  <a:gd name="connsiteX104" fmla="*/ 110 w 4332"/>
                  <a:gd name="connsiteY104" fmla="*/ 575 h 1043"/>
                  <a:gd name="connsiteX105" fmla="*/ 143 w 4332"/>
                  <a:gd name="connsiteY105" fmla="*/ 631 h 1043"/>
                  <a:gd name="connsiteX106" fmla="*/ 176 w 4332"/>
                  <a:gd name="connsiteY106" fmla="*/ 684 h 1043"/>
                  <a:gd name="connsiteX107" fmla="*/ 209 w 4332"/>
                  <a:gd name="connsiteY107" fmla="*/ 736 h 1043"/>
                  <a:gd name="connsiteX108" fmla="*/ 244 w 4332"/>
                  <a:gd name="connsiteY108" fmla="*/ 782 h 1043"/>
                  <a:gd name="connsiteX109" fmla="*/ 281 w 4332"/>
                  <a:gd name="connsiteY109" fmla="*/ 825 h 1043"/>
                  <a:gd name="connsiteX110" fmla="*/ 322 w 4332"/>
                  <a:gd name="connsiteY110" fmla="*/ 863 h 1043"/>
                  <a:gd name="connsiteX111" fmla="*/ 366 w 4332"/>
                  <a:gd name="connsiteY111" fmla="*/ 894 h 1043"/>
                  <a:gd name="connsiteX112" fmla="*/ 413 w 4332"/>
                  <a:gd name="connsiteY112" fmla="*/ 921 h 1043"/>
                  <a:gd name="connsiteX113" fmla="*/ 463 w 4332"/>
                  <a:gd name="connsiteY113" fmla="*/ 940 h 1043"/>
                  <a:gd name="connsiteX114" fmla="*/ 518 w 4332"/>
                  <a:gd name="connsiteY114" fmla="*/ 952 h 1043"/>
                  <a:gd name="connsiteX115" fmla="*/ 580 w 4332"/>
                  <a:gd name="connsiteY115" fmla="*/ 956 h 1043"/>
                  <a:gd name="connsiteX116" fmla="*/ 587 w 4332"/>
                  <a:gd name="connsiteY116" fmla="*/ 956 h 1043"/>
                  <a:gd name="connsiteX117" fmla="*/ 646 w 4332"/>
                  <a:gd name="connsiteY117" fmla="*/ 950 h 1043"/>
                  <a:gd name="connsiteX118" fmla="*/ 702 w 4332"/>
                  <a:gd name="connsiteY118" fmla="*/ 935 h 1043"/>
                  <a:gd name="connsiteX119" fmla="*/ 756 w 4332"/>
                  <a:gd name="connsiteY119" fmla="*/ 913 h 1043"/>
                  <a:gd name="connsiteX120" fmla="*/ 803 w 4332"/>
                  <a:gd name="connsiteY120" fmla="*/ 884 h 1043"/>
                  <a:gd name="connsiteX121" fmla="*/ 849 w 4332"/>
                  <a:gd name="connsiteY121" fmla="*/ 846 h 1043"/>
                  <a:gd name="connsiteX122" fmla="*/ 892 w 4332"/>
                  <a:gd name="connsiteY122" fmla="*/ 803 h 1043"/>
                  <a:gd name="connsiteX123" fmla="*/ 931 w 4332"/>
                  <a:gd name="connsiteY123" fmla="*/ 755 h 1043"/>
                  <a:gd name="connsiteX124" fmla="*/ 971 w 4332"/>
                  <a:gd name="connsiteY124" fmla="*/ 703 h 1043"/>
                  <a:gd name="connsiteX125" fmla="*/ 1010 w 4332"/>
                  <a:gd name="connsiteY125" fmla="*/ 649 h 1043"/>
                  <a:gd name="connsiteX126" fmla="*/ 1121 w 4332"/>
                  <a:gd name="connsiteY126" fmla="*/ 475 h 1043"/>
                  <a:gd name="connsiteX127" fmla="*/ 1161 w 4332"/>
                  <a:gd name="connsiteY127" fmla="*/ 415 h 1043"/>
                  <a:gd name="connsiteX128" fmla="*/ 1202 w 4332"/>
                  <a:gd name="connsiteY128" fmla="*/ 357 h 1043"/>
                  <a:gd name="connsiteX129" fmla="*/ 1245 w 4332"/>
                  <a:gd name="connsiteY129" fmla="*/ 299 h 1043"/>
                  <a:gd name="connsiteX130" fmla="*/ 1291 w 4332"/>
                  <a:gd name="connsiteY130" fmla="*/ 245 h 1043"/>
                  <a:gd name="connsiteX131" fmla="*/ 1338 w 4332"/>
                  <a:gd name="connsiteY131" fmla="*/ 193 h 1043"/>
                  <a:gd name="connsiteX132" fmla="*/ 1392 w 4332"/>
                  <a:gd name="connsiteY132" fmla="*/ 145 h 1043"/>
                  <a:gd name="connsiteX133" fmla="*/ 1447 w 4332"/>
                  <a:gd name="connsiteY133" fmla="*/ 104 h 1043"/>
                  <a:gd name="connsiteX134" fmla="*/ 1509 w 4332"/>
                  <a:gd name="connsiteY134" fmla="*/ 69 h 1043"/>
                  <a:gd name="connsiteX135" fmla="*/ 1575 w 4332"/>
                  <a:gd name="connsiteY135" fmla="*/ 40 h 1043"/>
                  <a:gd name="connsiteX136" fmla="*/ 1648 w 4332"/>
                  <a:gd name="connsiteY136" fmla="*/ 19 h 1043"/>
                  <a:gd name="connsiteX137" fmla="*/ 1726 w 4332"/>
                  <a:gd name="connsiteY137" fmla="*/ 6 h 1043"/>
                  <a:gd name="connsiteX138" fmla="*/ 1796 w 4332"/>
                  <a:gd name="connsiteY138" fmla="*/ 4 h 1043"/>
                  <a:gd name="connsiteX139" fmla="*/ 1862 w 4332"/>
                  <a:gd name="connsiteY139" fmla="*/ 13 h 1043"/>
                  <a:gd name="connsiteX140" fmla="*/ 1922 w 4332"/>
                  <a:gd name="connsiteY140" fmla="*/ 27 h 1043"/>
                  <a:gd name="connsiteX141" fmla="*/ 1980 w 4332"/>
                  <a:gd name="connsiteY141" fmla="*/ 50 h 1043"/>
                  <a:gd name="connsiteX142" fmla="*/ 2034 w 4332"/>
                  <a:gd name="connsiteY142" fmla="*/ 81 h 1043"/>
                  <a:gd name="connsiteX143" fmla="*/ 2083 w 4332"/>
                  <a:gd name="connsiteY143" fmla="*/ 116 h 1043"/>
                  <a:gd name="connsiteX144" fmla="*/ 2129 w 4332"/>
                  <a:gd name="connsiteY144" fmla="*/ 158 h 1043"/>
                  <a:gd name="connsiteX145" fmla="*/ 2174 w 4332"/>
                  <a:gd name="connsiteY145" fmla="*/ 203 h 1043"/>
                  <a:gd name="connsiteX146" fmla="*/ 2216 w 4332"/>
                  <a:gd name="connsiteY146" fmla="*/ 251 h 1043"/>
                  <a:gd name="connsiteX147" fmla="*/ 2255 w 4332"/>
                  <a:gd name="connsiteY147" fmla="*/ 303 h 1043"/>
                  <a:gd name="connsiteX148" fmla="*/ 2292 w 4332"/>
                  <a:gd name="connsiteY148" fmla="*/ 357 h 1043"/>
                  <a:gd name="connsiteX149" fmla="*/ 2327 w 4332"/>
                  <a:gd name="connsiteY149" fmla="*/ 413 h 1043"/>
                  <a:gd name="connsiteX150" fmla="*/ 2362 w 4332"/>
                  <a:gd name="connsiteY150" fmla="*/ 467 h 1043"/>
                  <a:gd name="connsiteX151" fmla="*/ 2395 w 4332"/>
                  <a:gd name="connsiteY151" fmla="*/ 523 h 1043"/>
                  <a:gd name="connsiteX152" fmla="*/ 2432 w 4332"/>
                  <a:gd name="connsiteY152" fmla="*/ 585 h 1043"/>
                  <a:gd name="connsiteX153" fmla="*/ 2469 w 4332"/>
                  <a:gd name="connsiteY153" fmla="*/ 643 h 1043"/>
                  <a:gd name="connsiteX154" fmla="*/ 2509 w 4332"/>
                  <a:gd name="connsiteY154" fmla="*/ 701 h 1043"/>
                  <a:gd name="connsiteX155" fmla="*/ 2546 w 4332"/>
                  <a:gd name="connsiteY155" fmla="*/ 755 h 1043"/>
                  <a:gd name="connsiteX156" fmla="*/ 2587 w 4332"/>
                  <a:gd name="connsiteY156" fmla="*/ 805 h 1043"/>
                  <a:gd name="connsiteX157" fmla="*/ 2628 w 4332"/>
                  <a:gd name="connsiteY157" fmla="*/ 848 h 1043"/>
                  <a:gd name="connsiteX158" fmla="*/ 2672 w 4332"/>
                  <a:gd name="connsiteY158" fmla="*/ 886 h 1043"/>
                  <a:gd name="connsiteX159" fmla="*/ 2717 w 4332"/>
                  <a:gd name="connsiteY159" fmla="*/ 917 h 1043"/>
                  <a:gd name="connsiteX160" fmla="*/ 2767 w 4332"/>
                  <a:gd name="connsiteY160" fmla="*/ 940 h 1043"/>
                  <a:gd name="connsiteX161" fmla="*/ 2820 w 4332"/>
                  <a:gd name="connsiteY161" fmla="*/ 952 h 1043"/>
                  <a:gd name="connsiteX162" fmla="*/ 2876 w 4332"/>
                  <a:gd name="connsiteY162" fmla="*/ 956 h 1043"/>
                  <a:gd name="connsiteX163" fmla="*/ 2932 w 4332"/>
                  <a:gd name="connsiteY163" fmla="*/ 950 h 1043"/>
                  <a:gd name="connsiteX164" fmla="*/ 2982 w 4332"/>
                  <a:gd name="connsiteY164" fmla="*/ 935 h 1043"/>
                  <a:gd name="connsiteX165" fmla="*/ 3029 w 4332"/>
                  <a:gd name="connsiteY165" fmla="*/ 915 h 1043"/>
                  <a:gd name="connsiteX166" fmla="*/ 3072 w 4332"/>
                  <a:gd name="connsiteY166" fmla="*/ 884 h 1043"/>
                  <a:gd name="connsiteX167" fmla="*/ 3112 w 4332"/>
                  <a:gd name="connsiteY167" fmla="*/ 848 h 1043"/>
                  <a:gd name="connsiteX168" fmla="*/ 3149 w 4332"/>
                  <a:gd name="connsiteY168" fmla="*/ 807 h 1043"/>
                  <a:gd name="connsiteX169" fmla="*/ 3184 w 4332"/>
                  <a:gd name="connsiteY169" fmla="*/ 759 h 1043"/>
                  <a:gd name="connsiteX170" fmla="*/ 3217 w 4332"/>
                  <a:gd name="connsiteY170" fmla="*/ 709 h 1043"/>
                  <a:gd name="connsiteX171" fmla="*/ 3250 w 4332"/>
                  <a:gd name="connsiteY171" fmla="*/ 655 h 1043"/>
                  <a:gd name="connsiteX172" fmla="*/ 3283 w 4332"/>
                  <a:gd name="connsiteY172" fmla="*/ 597 h 1043"/>
                  <a:gd name="connsiteX173" fmla="*/ 3316 w 4332"/>
                  <a:gd name="connsiteY173" fmla="*/ 537 h 1043"/>
                  <a:gd name="connsiteX174" fmla="*/ 3345 w 4332"/>
                  <a:gd name="connsiteY174" fmla="*/ 483 h 1043"/>
                  <a:gd name="connsiteX175" fmla="*/ 3407 w 4332"/>
                  <a:gd name="connsiteY175" fmla="*/ 375 h 1043"/>
                  <a:gd name="connsiteX176" fmla="*/ 3477 w 4332"/>
                  <a:gd name="connsiteY176" fmla="*/ 272 h 1043"/>
                  <a:gd name="connsiteX177" fmla="*/ 3514 w 4332"/>
                  <a:gd name="connsiteY177" fmla="*/ 224 h 1043"/>
                  <a:gd name="connsiteX178" fmla="*/ 3555 w 4332"/>
                  <a:gd name="connsiteY178" fmla="*/ 178 h 1043"/>
                  <a:gd name="connsiteX179" fmla="*/ 3599 w 4332"/>
                  <a:gd name="connsiteY179" fmla="*/ 137 h 1043"/>
                  <a:gd name="connsiteX180" fmla="*/ 3646 w 4332"/>
                  <a:gd name="connsiteY180" fmla="*/ 100 h 1043"/>
                  <a:gd name="connsiteX181" fmla="*/ 3698 w 4332"/>
                  <a:gd name="connsiteY181" fmla="*/ 66 h 1043"/>
                  <a:gd name="connsiteX182" fmla="*/ 3756 w 4332"/>
                  <a:gd name="connsiteY182" fmla="*/ 40 h 1043"/>
                  <a:gd name="connsiteX183" fmla="*/ 3816 w 4332"/>
                  <a:gd name="connsiteY183" fmla="*/ 19 h 1043"/>
                  <a:gd name="connsiteX184" fmla="*/ 3882 w 4332"/>
                  <a:gd name="connsiteY184" fmla="*/ 6 h 1043"/>
                  <a:gd name="connsiteX185" fmla="*/ 3954 w 4332"/>
                  <a:gd name="connsiteY185" fmla="*/ 0 h 1043"/>
                  <a:gd name="connsiteX0" fmla="*/ 3954 w 4332"/>
                  <a:gd name="connsiteY0" fmla="*/ 0 h 1043"/>
                  <a:gd name="connsiteX1" fmla="*/ 4004 w 4332"/>
                  <a:gd name="connsiteY1" fmla="*/ 0 h 1043"/>
                  <a:gd name="connsiteX2" fmla="*/ 4032 w 4332"/>
                  <a:gd name="connsiteY2" fmla="*/ 4 h 1043"/>
                  <a:gd name="connsiteX3" fmla="*/ 4063 w 4332"/>
                  <a:gd name="connsiteY3" fmla="*/ 13 h 1043"/>
                  <a:gd name="connsiteX4" fmla="*/ 4101 w 4332"/>
                  <a:gd name="connsiteY4" fmla="*/ 23 h 1043"/>
                  <a:gd name="connsiteX5" fmla="*/ 4142 w 4332"/>
                  <a:gd name="connsiteY5" fmla="*/ 40 h 1043"/>
                  <a:gd name="connsiteX6" fmla="*/ 4185 w 4332"/>
                  <a:gd name="connsiteY6" fmla="*/ 60 h 1043"/>
                  <a:gd name="connsiteX7" fmla="*/ 4233 w 4332"/>
                  <a:gd name="connsiteY7" fmla="*/ 89 h 1043"/>
                  <a:gd name="connsiteX8" fmla="*/ 4282 w 4332"/>
                  <a:gd name="connsiteY8" fmla="*/ 125 h 1043"/>
                  <a:gd name="connsiteX9" fmla="*/ 4332 w 4332"/>
                  <a:gd name="connsiteY9" fmla="*/ 170 h 1043"/>
                  <a:gd name="connsiteX10" fmla="*/ 4268 w 4332"/>
                  <a:gd name="connsiteY10" fmla="*/ 228 h 1043"/>
                  <a:gd name="connsiteX11" fmla="*/ 4222 w 4332"/>
                  <a:gd name="connsiteY11" fmla="*/ 189 h 1043"/>
                  <a:gd name="connsiteX12" fmla="*/ 4181 w 4332"/>
                  <a:gd name="connsiteY12" fmla="*/ 158 h 1043"/>
                  <a:gd name="connsiteX13" fmla="*/ 4142 w 4332"/>
                  <a:gd name="connsiteY13" fmla="*/ 135 h 1043"/>
                  <a:gd name="connsiteX14" fmla="*/ 4092 w 4332"/>
                  <a:gd name="connsiteY14" fmla="*/ 112 h 1043"/>
                  <a:gd name="connsiteX15" fmla="*/ 4049 w 4332"/>
                  <a:gd name="connsiteY15" fmla="*/ 98 h 1043"/>
                  <a:gd name="connsiteX16" fmla="*/ 4014 w 4332"/>
                  <a:gd name="connsiteY16" fmla="*/ 89 h 1043"/>
                  <a:gd name="connsiteX17" fmla="*/ 3985 w 4332"/>
                  <a:gd name="connsiteY17" fmla="*/ 87 h 1043"/>
                  <a:gd name="connsiteX18" fmla="*/ 3958 w 4332"/>
                  <a:gd name="connsiteY18" fmla="*/ 87 h 1043"/>
                  <a:gd name="connsiteX19" fmla="*/ 3892 w 4332"/>
                  <a:gd name="connsiteY19" fmla="*/ 93 h 1043"/>
                  <a:gd name="connsiteX20" fmla="*/ 3830 w 4332"/>
                  <a:gd name="connsiteY20" fmla="*/ 106 h 1043"/>
                  <a:gd name="connsiteX21" fmla="*/ 3774 w 4332"/>
                  <a:gd name="connsiteY21" fmla="*/ 127 h 1043"/>
                  <a:gd name="connsiteX22" fmla="*/ 3723 w 4332"/>
                  <a:gd name="connsiteY22" fmla="*/ 154 h 1043"/>
                  <a:gd name="connsiteX23" fmla="*/ 3675 w 4332"/>
                  <a:gd name="connsiteY23" fmla="*/ 187 h 1043"/>
                  <a:gd name="connsiteX24" fmla="*/ 3632 w 4332"/>
                  <a:gd name="connsiteY24" fmla="*/ 224 h 1043"/>
                  <a:gd name="connsiteX25" fmla="*/ 3593 w 4332"/>
                  <a:gd name="connsiteY25" fmla="*/ 268 h 1043"/>
                  <a:gd name="connsiteX26" fmla="*/ 3553 w 4332"/>
                  <a:gd name="connsiteY26" fmla="*/ 313 h 1043"/>
                  <a:gd name="connsiteX27" fmla="*/ 3518 w 4332"/>
                  <a:gd name="connsiteY27" fmla="*/ 363 h 1043"/>
                  <a:gd name="connsiteX28" fmla="*/ 3485 w 4332"/>
                  <a:gd name="connsiteY28" fmla="*/ 415 h 1043"/>
                  <a:gd name="connsiteX29" fmla="*/ 3423 w 4332"/>
                  <a:gd name="connsiteY29" fmla="*/ 523 h 1043"/>
                  <a:gd name="connsiteX30" fmla="*/ 3330 w 4332"/>
                  <a:gd name="connsiteY30" fmla="*/ 691 h 1043"/>
                  <a:gd name="connsiteX31" fmla="*/ 3297 w 4332"/>
                  <a:gd name="connsiteY31" fmla="*/ 747 h 1043"/>
                  <a:gd name="connsiteX32" fmla="*/ 3262 w 4332"/>
                  <a:gd name="connsiteY32" fmla="*/ 799 h 1043"/>
                  <a:gd name="connsiteX33" fmla="*/ 3227 w 4332"/>
                  <a:gd name="connsiteY33" fmla="*/ 848 h 1043"/>
                  <a:gd name="connsiteX34" fmla="*/ 3188 w 4332"/>
                  <a:gd name="connsiteY34" fmla="*/ 894 h 1043"/>
                  <a:gd name="connsiteX35" fmla="*/ 3147 w 4332"/>
                  <a:gd name="connsiteY35" fmla="*/ 935 h 1043"/>
                  <a:gd name="connsiteX36" fmla="*/ 3101 w 4332"/>
                  <a:gd name="connsiteY36" fmla="*/ 971 h 1043"/>
                  <a:gd name="connsiteX37" fmla="*/ 3052 w 4332"/>
                  <a:gd name="connsiteY37" fmla="*/ 1000 h 1043"/>
                  <a:gd name="connsiteX38" fmla="*/ 3000 w 4332"/>
                  <a:gd name="connsiteY38" fmla="*/ 1022 h 1043"/>
                  <a:gd name="connsiteX39" fmla="*/ 2942 w 4332"/>
                  <a:gd name="connsiteY39" fmla="*/ 1037 h 1043"/>
                  <a:gd name="connsiteX40" fmla="*/ 2878 w 4332"/>
                  <a:gd name="connsiteY40" fmla="*/ 1043 h 1043"/>
                  <a:gd name="connsiteX41" fmla="*/ 2870 w 4332"/>
                  <a:gd name="connsiteY41" fmla="*/ 1043 h 1043"/>
                  <a:gd name="connsiteX42" fmla="*/ 2808 w 4332"/>
                  <a:gd name="connsiteY42" fmla="*/ 1039 h 1043"/>
                  <a:gd name="connsiteX43" fmla="*/ 2748 w 4332"/>
                  <a:gd name="connsiteY43" fmla="*/ 1025 h 1043"/>
                  <a:gd name="connsiteX44" fmla="*/ 2695 w 4332"/>
                  <a:gd name="connsiteY44" fmla="*/ 1002 h 1043"/>
                  <a:gd name="connsiteX45" fmla="*/ 2643 w 4332"/>
                  <a:gd name="connsiteY45" fmla="*/ 973 h 1043"/>
                  <a:gd name="connsiteX46" fmla="*/ 2595 w 4332"/>
                  <a:gd name="connsiteY46" fmla="*/ 935 h 1043"/>
                  <a:gd name="connsiteX47" fmla="*/ 2552 w 4332"/>
                  <a:gd name="connsiteY47" fmla="*/ 894 h 1043"/>
                  <a:gd name="connsiteX48" fmla="*/ 2509 w 4332"/>
                  <a:gd name="connsiteY48" fmla="*/ 846 h 1043"/>
                  <a:gd name="connsiteX49" fmla="*/ 2469 w 4332"/>
                  <a:gd name="connsiteY49" fmla="*/ 796 h 1043"/>
                  <a:gd name="connsiteX50" fmla="*/ 2430 w 4332"/>
                  <a:gd name="connsiteY50" fmla="*/ 740 h 1043"/>
                  <a:gd name="connsiteX51" fmla="*/ 2393 w 4332"/>
                  <a:gd name="connsiteY51" fmla="*/ 684 h 1043"/>
                  <a:gd name="connsiteX52" fmla="*/ 2288 w 4332"/>
                  <a:gd name="connsiteY52" fmla="*/ 510 h 1043"/>
                  <a:gd name="connsiteX53" fmla="*/ 2251 w 4332"/>
                  <a:gd name="connsiteY53" fmla="*/ 452 h 1043"/>
                  <a:gd name="connsiteX54" fmla="*/ 2213 w 4332"/>
                  <a:gd name="connsiteY54" fmla="*/ 396 h 1043"/>
                  <a:gd name="connsiteX55" fmla="*/ 2176 w 4332"/>
                  <a:gd name="connsiteY55" fmla="*/ 342 h 1043"/>
                  <a:gd name="connsiteX56" fmla="*/ 2137 w 4332"/>
                  <a:gd name="connsiteY56" fmla="*/ 293 h 1043"/>
                  <a:gd name="connsiteX57" fmla="*/ 2096 w 4332"/>
                  <a:gd name="connsiteY57" fmla="*/ 247 h 1043"/>
                  <a:gd name="connsiteX58" fmla="*/ 2054 w 4332"/>
                  <a:gd name="connsiteY58" fmla="*/ 205 h 1043"/>
                  <a:gd name="connsiteX59" fmla="*/ 2009 w 4332"/>
                  <a:gd name="connsiteY59" fmla="*/ 168 h 1043"/>
                  <a:gd name="connsiteX60" fmla="*/ 1962 w 4332"/>
                  <a:gd name="connsiteY60" fmla="*/ 139 h 1043"/>
                  <a:gd name="connsiteX61" fmla="*/ 1910 w 4332"/>
                  <a:gd name="connsiteY61" fmla="*/ 116 h 1043"/>
                  <a:gd name="connsiteX62" fmla="*/ 1854 w 4332"/>
                  <a:gd name="connsiteY62" fmla="*/ 100 h 1043"/>
                  <a:gd name="connsiteX63" fmla="*/ 1796 w 4332"/>
                  <a:gd name="connsiteY63" fmla="*/ 91 h 1043"/>
                  <a:gd name="connsiteX64" fmla="*/ 1732 w 4332"/>
                  <a:gd name="connsiteY64" fmla="*/ 93 h 1043"/>
                  <a:gd name="connsiteX65" fmla="*/ 1664 w 4332"/>
                  <a:gd name="connsiteY65" fmla="*/ 104 h 1043"/>
                  <a:gd name="connsiteX66" fmla="*/ 1602 w 4332"/>
                  <a:gd name="connsiteY66" fmla="*/ 122 h 1043"/>
                  <a:gd name="connsiteX67" fmla="*/ 1545 w 4332"/>
                  <a:gd name="connsiteY67" fmla="*/ 147 h 1043"/>
                  <a:gd name="connsiteX68" fmla="*/ 1491 w 4332"/>
                  <a:gd name="connsiteY68" fmla="*/ 181 h 1043"/>
                  <a:gd name="connsiteX69" fmla="*/ 1439 w 4332"/>
                  <a:gd name="connsiteY69" fmla="*/ 218 h 1043"/>
                  <a:gd name="connsiteX70" fmla="*/ 1394 w 4332"/>
                  <a:gd name="connsiteY70" fmla="*/ 261 h 1043"/>
                  <a:gd name="connsiteX71" fmla="*/ 1348 w 4332"/>
                  <a:gd name="connsiteY71" fmla="*/ 307 h 1043"/>
                  <a:gd name="connsiteX72" fmla="*/ 1307 w 4332"/>
                  <a:gd name="connsiteY72" fmla="*/ 359 h 1043"/>
                  <a:gd name="connsiteX73" fmla="*/ 1268 w 4332"/>
                  <a:gd name="connsiteY73" fmla="*/ 413 h 1043"/>
                  <a:gd name="connsiteX74" fmla="*/ 1231 w 4332"/>
                  <a:gd name="connsiteY74" fmla="*/ 467 h 1043"/>
                  <a:gd name="connsiteX75" fmla="*/ 1194 w 4332"/>
                  <a:gd name="connsiteY75" fmla="*/ 523 h 1043"/>
                  <a:gd name="connsiteX76" fmla="*/ 1156 w 4332"/>
                  <a:gd name="connsiteY76" fmla="*/ 581 h 1043"/>
                  <a:gd name="connsiteX77" fmla="*/ 1121 w 4332"/>
                  <a:gd name="connsiteY77" fmla="*/ 637 h 1043"/>
                  <a:gd name="connsiteX78" fmla="*/ 1047 w 4332"/>
                  <a:gd name="connsiteY78" fmla="*/ 749 h 1043"/>
                  <a:gd name="connsiteX79" fmla="*/ 1008 w 4332"/>
                  <a:gd name="connsiteY79" fmla="*/ 801 h 1043"/>
                  <a:gd name="connsiteX80" fmla="*/ 966 w 4332"/>
                  <a:gd name="connsiteY80" fmla="*/ 850 h 1043"/>
                  <a:gd name="connsiteX81" fmla="*/ 923 w 4332"/>
                  <a:gd name="connsiteY81" fmla="*/ 896 h 1043"/>
                  <a:gd name="connsiteX82" fmla="*/ 876 w 4332"/>
                  <a:gd name="connsiteY82" fmla="*/ 937 h 1043"/>
                  <a:gd name="connsiteX83" fmla="*/ 826 w 4332"/>
                  <a:gd name="connsiteY83" fmla="*/ 973 h 1043"/>
                  <a:gd name="connsiteX84" fmla="*/ 772 w 4332"/>
                  <a:gd name="connsiteY84" fmla="*/ 1002 h 1043"/>
                  <a:gd name="connsiteX85" fmla="*/ 717 w 4332"/>
                  <a:gd name="connsiteY85" fmla="*/ 1025 h 1043"/>
                  <a:gd name="connsiteX86" fmla="*/ 653 w 4332"/>
                  <a:gd name="connsiteY86" fmla="*/ 1037 h 1043"/>
                  <a:gd name="connsiteX87" fmla="*/ 587 w 4332"/>
                  <a:gd name="connsiteY87" fmla="*/ 1043 h 1043"/>
                  <a:gd name="connsiteX88" fmla="*/ 580 w 4332"/>
                  <a:gd name="connsiteY88" fmla="*/ 1043 h 1043"/>
                  <a:gd name="connsiteX89" fmla="*/ 512 w 4332"/>
                  <a:gd name="connsiteY89" fmla="*/ 1039 h 1043"/>
                  <a:gd name="connsiteX90" fmla="*/ 450 w 4332"/>
                  <a:gd name="connsiteY90" fmla="*/ 1027 h 1043"/>
                  <a:gd name="connsiteX91" fmla="*/ 392 w 4332"/>
                  <a:gd name="connsiteY91" fmla="*/ 1008 h 1043"/>
                  <a:gd name="connsiteX92" fmla="*/ 341 w 4332"/>
                  <a:gd name="connsiteY92" fmla="*/ 983 h 1043"/>
                  <a:gd name="connsiteX93" fmla="*/ 293 w 4332"/>
                  <a:gd name="connsiteY93" fmla="*/ 952 h 1043"/>
                  <a:gd name="connsiteX94" fmla="*/ 248 w 4332"/>
                  <a:gd name="connsiteY94" fmla="*/ 915 h 1043"/>
                  <a:gd name="connsiteX95" fmla="*/ 207 w 4332"/>
                  <a:gd name="connsiteY95" fmla="*/ 873 h 1043"/>
                  <a:gd name="connsiteX96" fmla="*/ 169 w 4332"/>
                  <a:gd name="connsiteY96" fmla="*/ 828 h 1043"/>
                  <a:gd name="connsiteX97" fmla="*/ 132 w 4332"/>
                  <a:gd name="connsiteY97" fmla="*/ 780 h 1043"/>
                  <a:gd name="connsiteX98" fmla="*/ 99 w 4332"/>
                  <a:gd name="connsiteY98" fmla="*/ 728 h 1043"/>
                  <a:gd name="connsiteX99" fmla="*/ 64 w 4332"/>
                  <a:gd name="connsiteY99" fmla="*/ 674 h 1043"/>
                  <a:gd name="connsiteX100" fmla="*/ 33 w 4332"/>
                  <a:gd name="connsiteY100" fmla="*/ 618 h 1043"/>
                  <a:gd name="connsiteX101" fmla="*/ 0 w 4332"/>
                  <a:gd name="connsiteY101" fmla="*/ 560 h 1043"/>
                  <a:gd name="connsiteX102" fmla="*/ 77 w 4332"/>
                  <a:gd name="connsiteY102" fmla="*/ 516 h 1043"/>
                  <a:gd name="connsiteX103" fmla="*/ 110 w 4332"/>
                  <a:gd name="connsiteY103" fmla="*/ 575 h 1043"/>
                  <a:gd name="connsiteX104" fmla="*/ 143 w 4332"/>
                  <a:gd name="connsiteY104" fmla="*/ 631 h 1043"/>
                  <a:gd name="connsiteX105" fmla="*/ 176 w 4332"/>
                  <a:gd name="connsiteY105" fmla="*/ 684 h 1043"/>
                  <a:gd name="connsiteX106" fmla="*/ 209 w 4332"/>
                  <a:gd name="connsiteY106" fmla="*/ 736 h 1043"/>
                  <a:gd name="connsiteX107" fmla="*/ 244 w 4332"/>
                  <a:gd name="connsiteY107" fmla="*/ 782 h 1043"/>
                  <a:gd name="connsiteX108" fmla="*/ 281 w 4332"/>
                  <a:gd name="connsiteY108" fmla="*/ 825 h 1043"/>
                  <a:gd name="connsiteX109" fmla="*/ 322 w 4332"/>
                  <a:gd name="connsiteY109" fmla="*/ 863 h 1043"/>
                  <a:gd name="connsiteX110" fmla="*/ 366 w 4332"/>
                  <a:gd name="connsiteY110" fmla="*/ 894 h 1043"/>
                  <a:gd name="connsiteX111" fmla="*/ 413 w 4332"/>
                  <a:gd name="connsiteY111" fmla="*/ 921 h 1043"/>
                  <a:gd name="connsiteX112" fmla="*/ 463 w 4332"/>
                  <a:gd name="connsiteY112" fmla="*/ 940 h 1043"/>
                  <a:gd name="connsiteX113" fmla="*/ 518 w 4332"/>
                  <a:gd name="connsiteY113" fmla="*/ 952 h 1043"/>
                  <a:gd name="connsiteX114" fmla="*/ 580 w 4332"/>
                  <a:gd name="connsiteY114" fmla="*/ 956 h 1043"/>
                  <a:gd name="connsiteX115" fmla="*/ 587 w 4332"/>
                  <a:gd name="connsiteY115" fmla="*/ 956 h 1043"/>
                  <a:gd name="connsiteX116" fmla="*/ 646 w 4332"/>
                  <a:gd name="connsiteY116" fmla="*/ 950 h 1043"/>
                  <a:gd name="connsiteX117" fmla="*/ 702 w 4332"/>
                  <a:gd name="connsiteY117" fmla="*/ 935 h 1043"/>
                  <a:gd name="connsiteX118" fmla="*/ 756 w 4332"/>
                  <a:gd name="connsiteY118" fmla="*/ 913 h 1043"/>
                  <a:gd name="connsiteX119" fmla="*/ 803 w 4332"/>
                  <a:gd name="connsiteY119" fmla="*/ 884 h 1043"/>
                  <a:gd name="connsiteX120" fmla="*/ 849 w 4332"/>
                  <a:gd name="connsiteY120" fmla="*/ 846 h 1043"/>
                  <a:gd name="connsiteX121" fmla="*/ 892 w 4332"/>
                  <a:gd name="connsiteY121" fmla="*/ 803 h 1043"/>
                  <a:gd name="connsiteX122" fmla="*/ 931 w 4332"/>
                  <a:gd name="connsiteY122" fmla="*/ 755 h 1043"/>
                  <a:gd name="connsiteX123" fmla="*/ 971 w 4332"/>
                  <a:gd name="connsiteY123" fmla="*/ 703 h 1043"/>
                  <a:gd name="connsiteX124" fmla="*/ 1010 w 4332"/>
                  <a:gd name="connsiteY124" fmla="*/ 649 h 1043"/>
                  <a:gd name="connsiteX125" fmla="*/ 1121 w 4332"/>
                  <a:gd name="connsiteY125" fmla="*/ 475 h 1043"/>
                  <a:gd name="connsiteX126" fmla="*/ 1161 w 4332"/>
                  <a:gd name="connsiteY126" fmla="*/ 415 h 1043"/>
                  <a:gd name="connsiteX127" fmla="*/ 1202 w 4332"/>
                  <a:gd name="connsiteY127" fmla="*/ 357 h 1043"/>
                  <a:gd name="connsiteX128" fmla="*/ 1245 w 4332"/>
                  <a:gd name="connsiteY128" fmla="*/ 299 h 1043"/>
                  <a:gd name="connsiteX129" fmla="*/ 1291 w 4332"/>
                  <a:gd name="connsiteY129" fmla="*/ 245 h 1043"/>
                  <a:gd name="connsiteX130" fmla="*/ 1338 w 4332"/>
                  <a:gd name="connsiteY130" fmla="*/ 193 h 1043"/>
                  <a:gd name="connsiteX131" fmla="*/ 1392 w 4332"/>
                  <a:gd name="connsiteY131" fmla="*/ 145 h 1043"/>
                  <a:gd name="connsiteX132" fmla="*/ 1447 w 4332"/>
                  <a:gd name="connsiteY132" fmla="*/ 104 h 1043"/>
                  <a:gd name="connsiteX133" fmla="*/ 1509 w 4332"/>
                  <a:gd name="connsiteY133" fmla="*/ 69 h 1043"/>
                  <a:gd name="connsiteX134" fmla="*/ 1575 w 4332"/>
                  <a:gd name="connsiteY134" fmla="*/ 40 h 1043"/>
                  <a:gd name="connsiteX135" fmla="*/ 1648 w 4332"/>
                  <a:gd name="connsiteY135" fmla="*/ 19 h 1043"/>
                  <a:gd name="connsiteX136" fmla="*/ 1726 w 4332"/>
                  <a:gd name="connsiteY136" fmla="*/ 6 h 1043"/>
                  <a:gd name="connsiteX137" fmla="*/ 1796 w 4332"/>
                  <a:gd name="connsiteY137" fmla="*/ 4 h 1043"/>
                  <a:gd name="connsiteX138" fmla="*/ 1862 w 4332"/>
                  <a:gd name="connsiteY138" fmla="*/ 13 h 1043"/>
                  <a:gd name="connsiteX139" fmla="*/ 1922 w 4332"/>
                  <a:gd name="connsiteY139" fmla="*/ 27 h 1043"/>
                  <a:gd name="connsiteX140" fmla="*/ 1980 w 4332"/>
                  <a:gd name="connsiteY140" fmla="*/ 50 h 1043"/>
                  <a:gd name="connsiteX141" fmla="*/ 2034 w 4332"/>
                  <a:gd name="connsiteY141" fmla="*/ 81 h 1043"/>
                  <a:gd name="connsiteX142" fmla="*/ 2083 w 4332"/>
                  <a:gd name="connsiteY142" fmla="*/ 116 h 1043"/>
                  <a:gd name="connsiteX143" fmla="*/ 2129 w 4332"/>
                  <a:gd name="connsiteY143" fmla="*/ 158 h 1043"/>
                  <a:gd name="connsiteX144" fmla="*/ 2174 w 4332"/>
                  <a:gd name="connsiteY144" fmla="*/ 203 h 1043"/>
                  <a:gd name="connsiteX145" fmla="*/ 2216 w 4332"/>
                  <a:gd name="connsiteY145" fmla="*/ 251 h 1043"/>
                  <a:gd name="connsiteX146" fmla="*/ 2255 w 4332"/>
                  <a:gd name="connsiteY146" fmla="*/ 303 h 1043"/>
                  <a:gd name="connsiteX147" fmla="*/ 2292 w 4332"/>
                  <a:gd name="connsiteY147" fmla="*/ 357 h 1043"/>
                  <a:gd name="connsiteX148" fmla="*/ 2327 w 4332"/>
                  <a:gd name="connsiteY148" fmla="*/ 413 h 1043"/>
                  <a:gd name="connsiteX149" fmla="*/ 2362 w 4332"/>
                  <a:gd name="connsiteY149" fmla="*/ 467 h 1043"/>
                  <a:gd name="connsiteX150" fmla="*/ 2395 w 4332"/>
                  <a:gd name="connsiteY150" fmla="*/ 523 h 1043"/>
                  <a:gd name="connsiteX151" fmla="*/ 2432 w 4332"/>
                  <a:gd name="connsiteY151" fmla="*/ 585 h 1043"/>
                  <a:gd name="connsiteX152" fmla="*/ 2469 w 4332"/>
                  <a:gd name="connsiteY152" fmla="*/ 643 h 1043"/>
                  <a:gd name="connsiteX153" fmla="*/ 2509 w 4332"/>
                  <a:gd name="connsiteY153" fmla="*/ 701 h 1043"/>
                  <a:gd name="connsiteX154" fmla="*/ 2546 w 4332"/>
                  <a:gd name="connsiteY154" fmla="*/ 755 h 1043"/>
                  <a:gd name="connsiteX155" fmla="*/ 2587 w 4332"/>
                  <a:gd name="connsiteY155" fmla="*/ 805 h 1043"/>
                  <a:gd name="connsiteX156" fmla="*/ 2628 w 4332"/>
                  <a:gd name="connsiteY156" fmla="*/ 848 h 1043"/>
                  <a:gd name="connsiteX157" fmla="*/ 2672 w 4332"/>
                  <a:gd name="connsiteY157" fmla="*/ 886 h 1043"/>
                  <a:gd name="connsiteX158" fmla="*/ 2717 w 4332"/>
                  <a:gd name="connsiteY158" fmla="*/ 917 h 1043"/>
                  <a:gd name="connsiteX159" fmla="*/ 2767 w 4332"/>
                  <a:gd name="connsiteY159" fmla="*/ 940 h 1043"/>
                  <a:gd name="connsiteX160" fmla="*/ 2820 w 4332"/>
                  <a:gd name="connsiteY160" fmla="*/ 952 h 1043"/>
                  <a:gd name="connsiteX161" fmla="*/ 2876 w 4332"/>
                  <a:gd name="connsiteY161" fmla="*/ 956 h 1043"/>
                  <a:gd name="connsiteX162" fmla="*/ 2932 w 4332"/>
                  <a:gd name="connsiteY162" fmla="*/ 950 h 1043"/>
                  <a:gd name="connsiteX163" fmla="*/ 2982 w 4332"/>
                  <a:gd name="connsiteY163" fmla="*/ 935 h 1043"/>
                  <a:gd name="connsiteX164" fmla="*/ 3029 w 4332"/>
                  <a:gd name="connsiteY164" fmla="*/ 915 h 1043"/>
                  <a:gd name="connsiteX165" fmla="*/ 3072 w 4332"/>
                  <a:gd name="connsiteY165" fmla="*/ 884 h 1043"/>
                  <a:gd name="connsiteX166" fmla="*/ 3112 w 4332"/>
                  <a:gd name="connsiteY166" fmla="*/ 848 h 1043"/>
                  <a:gd name="connsiteX167" fmla="*/ 3149 w 4332"/>
                  <a:gd name="connsiteY167" fmla="*/ 807 h 1043"/>
                  <a:gd name="connsiteX168" fmla="*/ 3184 w 4332"/>
                  <a:gd name="connsiteY168" fmla="*/ 759 h 1043"/>
                  <a:gd name="connsiteX169" fmla="*/ 3217 w 4332"/>
                  <a:gd name="connsiteY169" fmla="*/ 709 h 1043"/>
                  <a:gd name="connsiteX170" fmla="*/ 3250 w 4332"/>
                  <a:gd name="connsiteY170" fmla="*/ 655 h 1043"/>
                  <a:gd name="connsiteX171" fmla="*/ 3283 w 4332"/>
                  <a:gd name="connsiteY171" fmla="*/ 597 h 1043"/>
                  <a:gd name="connsiteX172" fmla="*/ 3316 w 4332"/>
                  <a:gd name="connsiteY172" fmla="*/ 537 h 1043"/>
                  <a:gd name="connsiteX173" fmla="*/ 3345 w 4332"/>
                  <a:gd name="connsiteY173" fmla="*/ 483 h 1043"/>
                  <a:gd name="connsiteX174" fmla="*/ 3407 w 4332"/>
                  <a:gd name="connsiteY174" fmla="*/ 375 h 1043"/>
                  <a:gd name="connsiteX175" fmla="*/ 3477 w 4332"/>
                  <a:gd name="connsiteY175" fmla="*/ 272 h 1043"/>
                  <a:gd name="connsiteX176" fmla="*/ 3514 w 4332"/>
                  <a:gd name="connsiteY176" fmla="*/ 224 h 1043"/>
                  <a:gd name="connsiteX177" fmla="*/ 3555 w 4332"/>
                  <a:gd name="connsiteY177" fmla="*/ 178 h 1043"/>
                  <a:gd name="connsiteX178" fmla="*/ 3599 w 4332"/>
                  <a:gd name="connsiteY178" fmla="*/ 137 h 1043"/>
                  <a:gd name="connsiteX179" fmla="*/ 3646 w 4332"/>
                  <a:gd name="connsiteY179" fmla="*/ 100 h 1043"/>
                  <a:gd name="connsiteX180" fmla="*/ 3698 w 4332"/>
                  <a:gd name="connsiteY180" fmla="*/ 66 h 1043"/>
                  <a:gd name="connsiteX181" fmla="*/ 3756 w 4332"/>
                  <a:gd name="connsiteY181" fmla="*/ 40 h 1043"/>
                  <a:gd name="connsiteX182" fmla="*/ 3816 w 4332"/>
                  <a:gd name="connsiteY182" fmla="*/ 19 h 1043"/>
                  <a:gd name="connsiteX183" fmla="*/ 3882 w 4332"/>
                  <a:gd name="connsiteY183" fmla="*/ 6 h 1043"/>
                  <a:gd name="connsiteX184" fmla="*/ 3954 w 4332"/>
                  <a:gd name="connsiteY184" fmla="*/ 0 h 1043"/>
                  <a:gd name="connsiteX0" fmla="*/ 3954 w 4288"/>
                  <a:gd name="connsiteY0" fmla="*/ 0 h 1043"/>
                  <a:gd name="connsiteX1" fmla="*/ 4004 w 4288"/>
                  <a:gd name="connsiteY1" fmla="*/ 0 h 1043"/>
                  <a:gd name="connsiteX2" fmla="*/ 4032 w 4288"/>
                  <a:gd name="connsiteY2" fmla="*/ 4 h 1043"/>
                  <a:gd name="connsiteX3" fmla="*/ 4063 w 4288"/>
                  <a:gd name="connsiteY3" fmla="*/ 13 h 1043"/>
                  <a:gd name="connsiteX4" fmla="*/ 4101 w 4288"/>
                  <a:gd name="connsiteY4" fmla="*/ 23 h 1043"/>
                  <a:gd name="connsiteX5" fmla="*/ 4142 w 4288"/>
                  <a:gd name="connsiteY5" fmla="*/ 40 h 1043"/>
                  <a:gd name="connsiteX6" fmla="*/ 4185 w 4288"/>
                  <a:gd name="connsiteY6" fmla="*/ 60 h 1043"/>
                  <a:gd name="connsiteX7" fmla="*/ 4233 w 4288"/>
                  <a:gd name="connsiteY7" fmla="*/ 89 h 1043"/>
                  <a:gd name="connsiteX8" fmla="*/ 4282 w 4288"/>
                  <a:gd name="connsiteY8" fmla="*/ 125 h 1043"/>
                  <a:gd name="connsiteX9" fmla="*/ 4268 w 4288"/>
                  <a:gd name="connsiteY9" fmla="*/ 228 h 1043"/>
                  <a:gd name="connsiteX10" fmla="*/ 4222 w 4288"/>
                  <a:gd name="connsiteY10" fmla="*/ 189 h 1043"/>
                  <a:gd name="connsiteX11" fmla="*/ 4181 w 4288"/>
                  <a:gd name="connsiteY11" fmla="*/ 158 h 1043"/>
                  <a:gd name="connsiteX12" fmla="*/ 4142 w 4288"/>
                  <a:gd name="connsiteY12" fmla="*/ 135 h 1043"/>
                  <a:gd name="connsiteX13" fmla="*/ 4092 w 4288"/>
                  <a:gd name="connsiteY13" fmla="*/ 112 h 1043"/>
                  <a:gd name="connsiteX14" fmla="*/ 4049 w 4288"/>
                  <a:gd name="connsiteY14" fmla="*/ 98 h 1043"/>
                  <a:gd name="connsiteX15" fmla="*/ 4014 w 4288"/>
                  <a:gd name="connsiteY15" fmla="*/ 89 h 1043"/>
                  <a:gd name="connsiteX16" fmla="*/ 3985 w 4288"/>
                  <a:gd name="connsiteY16" fmla="*/ 87 h 1043"/>
                  <a:gd name="connsiteX17" fmla="*/ 3958 w 4288"/>
                  <a:gd name="connsiteY17" fmla="*/ 87 h 1043"/>
                  <a:gd name="connsiteX18" fmla="*/ 3892 w 4288"/>
                  <a:gd name="connsiteY18" fmla="*/ 93 h 1043"/>
                  <a:gd name="connsiteX19" fmla="*/ 3830 w 4288"/>
                  <a:gd name="connsiteY19" fmla="*/ 106 h 1043"/>
                  <a:gd name="connsiteX20" fmla="*/ 3774 w 4288"/>
                  <a:gd name="connsiteY20" fmla="*/ 127 h 1043"/>
                  <a:gd name="connsiteX21" fmla="*/ 3723 w 4288"/>
                  <a:gd name="connsiteY21" fmla="*/ 154 h 1043"/>
                  <a:gd name="connsiteX22" fmla="*/ 3675 w 4288"/>
                  <a:gd name="connsiteY22" fmla="*/ 187 h 1043"/>
                  <a:gd name="connsiteX23" fmla="*/ 3632 w 4288"/>
                  <a:gd name="connsiteY23" fmla="*/ 224 h 1043"/>
                  <a:gd name="connsiteX24" fmla="*/ 3593 w 4288"/>
                  <a:gd name="connsiteY24" fmla="*/ 268 h 1043"/>
                  <a:gd name="connsiteX25" fmla="*/ 3553 w 4288"/>
                  <a:gd name="connsiteY25" fmla="*/ 313 h 1043"/>
                  <a:gd name="connsiteX26" fmla="*/ 3518 w 4288"/>
                  <a:gd name="connsiteY26" fmla="*/ 363 h 1043"/>
                  <a:gd name="connsiteX27" fmla="*/ 3485 w 4288"/>
                  <a:gd name="connsiteY27" fmla="*/ 415 h 1043"/>
                  <a:gd name="connsiteX28" fmla="*/ 3423 w 4288"/>
                  <a:gd name="connsiteY28" fmla="*/ 523 h 1043"/>
                  <a:gd name="connsiteX29" fmla="*/ 3330 w 4288"/>
                  <a:gd name="connsiteY29" fmla="*/ 691 h 1043"/>
                  <a:gd name="connsiteX30" fmla="*/ 3297 w 4288"/>
                  <a:gd name="connsiteY30" fmla="*/ 747 h 1043"/>
                  <a:gd name="connsiteX31" fmla="*/ 3262 w 4288"/>
                  <a:gd name="connsiteY31" fmla="*/ 799 h 1043"/>
                  <a:gd name="connsiteX32" fmla="*/ 3227 w 4288"/>
                  <a:gd name="connsiteY32" fmla="*/ 848 h 1043"/>
                  <a:gd name="connsiteX33" fmla="*/ 3188 w 4288"/>
                  <a:gd name="connsiteY33" fmla="*/ 894 h 1043"/>
                  <a:gd name="connsiteX34" fmla="*/ 3147 w 4288"/>
                  <a:gd name="connsiteY34" fmla="*/ 935 h 1043"/>
                  <a:gd name="connsiteX35" fmla="*/ 3101 w 4288"/>
                  <a:gd name="connsiteY35" fmla="*/ 971 h 1043"/>
                  <a:gd name="connsiteX36" fmla="*/ 3052 w 4288"/>
                  <a:gd name="connsiteY36" fmla="*/ 1000 h 1043"/>
                  <a:gd name="connsiteX37" fmla="*/ 3000 w 4288"/>
                  <a:gd name="connsiteY37" fmla="*/ 1022 h 1043"/>
                  <a:gd name="connsiteX38" fmla="*/ 2942 w 4288"/>
                  <a:gd name="connsiteY38" fmla="*/ 1037 h 1043"/>
                  <a:gd name="connsiteX39" fmla="*/ 2878 w 4288"/>
                  <a:gd name="connsiteY39" fmla="*/ 1043 h 1043"/>
                  <a:gd name="connsiteX40" fmla="*/ 2870 w 4288"/>
                  <a:gd name="connsiteY40" fmla="*/ 1043 h 1043"/>
                  <a:gd name="connsiteX41" fmla="*/ 2808 w 4288"/>
                  <a:gd name="connsiteY41" fmla="*/ 1039 h 1043"/>
                  <a:gd name="connsiteX42" fmla="*/ 2748 w 4288"/>
                  <a:gd name="connsiteY42" fmla="*/ 1025 h 1043"/>
                  <a:gd name="connsiteX43" fmla="*/ 2695 w 4288"/>
                  <a:gd name="connsiteY43" fmla="*/ 1002 h 1043"/>
                  <a:gd name="connsiteX44" fmla="*/ 2643 w 4288"/>
                  <a:gd name="connsiteY44" fmla="*/ 973 h 1043"/>
                  <a:gd name="connsiteX45" fmla="*/ 2595 w 4288"/>
                  <a:gd name="connsiteY45" fmla="*/ 935 h 1043"/>
                  <a:gd name="connsiteX46" fmla="*/ 2552 w 4288"/>
                  <a:gd name="connsiteY46" fmla="*/ 894 h 1043"/>
                  <a:gd name="connsiteX47" fmla="*/ 2509 w 4288"/>
                  <a:gd name="connsiteY47" fmla="*/ 846 h 1043"/>
                  <a:gd name="connsiteX48" fmla="*/ 2469 w 4288"/>
                  <a:gd name="connsiteY48" fmla="*/ 796 h 1043"/>
                  <a:gd name="connsiteX49" fmla="*/ 2430 w 4288"/>
                  <a:gd name="connsiteY49" fmla="*/ 740 h 1043"/>
                  <a:gd name="connsiteX50" fmla="*/ 2393 w 4288"/>
                  <a:gd name="connsiteY50" fmla="*/ 684 h 1043"/>
                  <a:gd name="connsiteX51" fmla="*/ 2288 w 4288"/>
                  <a:gd name="connsiteY51" fmla="*/ 510 h 1043"/>
                  <a:gd name="connsiteX52" fmla="*/ 2251 w 4288"/>
                  <a:gd name="connsiteY52" fmla="*/ 452 h 1043"/>
                  <a:gd name="connsiteX53" fmla="*/ 2213 w 4288"/>
                  <a:gd name="connsiteY53" fmla="*/ 396 h 1043"/>
                  <a:gd name="connsiteX54" fmla="*/ 2176 w 4288"/>
                  <a:gd name="connsiteY54" fmla="*/ 342 h 1043"/>
                  <a:gd name="connsiteX55" fmla="*/ 2137 w 4288"/>
                  <a:gd name="connsiteY55" fmla="*/ 293 h 1043"/>
                  <a:gd name="connsiteX56" fmla="*/ 2096 w 4288"/>
                  <a:gd name="connsiteY56" fmla="*/ 247 h 1043"/>
                  <a:gd name="connsiteX57" fmla="*/ 2054 w 4288"/>
                  <a:gd name="connsiteY57" fmla="*/ 205 h 1043"/>
                  <a:gd name="connsiteX58" fmla="*/ 2009 w 4288"/>
                  <a:gd name="connsiteY58" fmla="*/ 168 h 1043"/>
                  <a:gd name="connsiteX59" fmla="*/ 1962 w 4288"/>
                  <a:gd name="connsiteY59" fmla="*/ 139 h 1043"/>
                  <a:gd name="connsiteX60" fmla="*/ 1910 w 4288"/>
                  <a:gd name="connsiteY60" fmla="*/ 116 h 1043"/>
                  <a:gd name="connsiteX61" fmla="*/ 1854 w 4288"/>
                  <a:gd name="connsiteY61" fmla="*/ 100 h 1043"/>
                  <a:gd name="connsiteX62" fmla="*/ 1796 w 4288"/>
                  <a:gd name="connsiteY62" fmla="*/ 91 h 1043"/>
                  <a:gd name="connsiteX63" fmla="*/ 1732 w 4288"/>
                  <a:gd name="connsiteY63" fmla="*/ 93 h 1043"/>
                  <a:gd name="connsiteX64" fmla="*/ 1664 w 4288"/>
                  <a:gd name="connsiteY64" fmla="*/ 104 h 1043"/>
                  <a:gd name="connsiteX65" fmla="*/ 1602 w 4288"/>
                  <a:gd name="connsiteY65" fmla="*/ 122 h 1043"/>
                  <a:gd name="connsiteX66" fmla="*/ 1545 w 4288"/>
                  <a:gd name="connsiteY66" fmla="*/ 147 h 1043"/>
                  <a:gd name="connsiteX67" fmla="*/ 1491 w 4288"/>
                  <a:gd name="connsiteY67" fmla="*/ 181 h 1043"/>
                  <a:gd name="connsiteX68" fmla="*/ 1439 w 4288"/>
                  <a:gd name="connsiteY68" fmla="*/ 218 h 1043"/>
                  <a:gd name="connsiteX69" fmla="*/ 1394 w 4288"/>
                  <a:gd name="connsiteY69" fmla="*/ 261 h 1043"/>
                  <a:gd name="connsiteX70" fmla="*/ 1348 w 4288"/>
                  <a:gd name="connsiteY70" fmla="*/ 307 h 1043"/>
                  <a:gd name="connsiteX71" fmla="*/ 1307 w 4288"/>
                  <a:gd name="connsiteY71" fmla="*/ 359 h 1043"/>
                  <a:gd name="connsiteX72" fmla="*/ 1268 w 4288"/>
                  <a:gd name="connsiteY72" fmla="*/ 413 h 1043"/>
                  <a:gd name="connsiteX73" fmla="*/ 1231 w 4288"/>
                  <a:gd name="connsiteY73" fmla="*/ 467 h 1043"/>
                  <a:gd name="connsiteX74" fmla="*/ 1194 w 4288"/>
                  <a:gd name="connsiteY74" fmla="*/ 523 h 1043"/>
                  <a:gd name="connsiteX75" fmla="*/ 1156 w 4288"/>
                  <a:gd name="connsiteY75" fmla="*/ 581 h 1043"/>
                  <a:gd name="connsiteX76" fmla="*/ 1121 w 4288"/>
                  <a:gd name="connsiteY76" fmla="*/ 637 h 1043"/>
                  <a:gd name="connsiteX77" fmla="*/ 1047 w 4288"/>
                  <a:gd name="connsiteY77" fmla="*/ 749 h 1043"/>
                  <a:gd name="connsiteX78" fmla="*/ 1008 w 4288"/>
                  <a:gd name="connsiteY78" fmla="*/ 801 h 1043"/>
                  <a:gd name="connsiteX79" fmla="*/ 966 w 4288"/>
                  <a:gd name="connsiteY79" fmla="*/ 850 h 1043"/>
                  <a:gd name="connsiteX80" fmla="*/ 923 w 4288"/>
                  <a:gd name="connsiteY80" fmla="*/ 896 h 1043"/>
                  <a:gd name="connsiteX81" fmla="*/ 876 w 4288"/>
                  <a:gd name="connsiteY81" fmla="*/ 937 h 1043"/>
                  <a:gd name="connsiteX82" fmla="*/ 826 w 4288"/>
                  <a:gd name="connsiteY82" fmla="*/ 973 h 1043"/>
                  <a:gd name="connsiteX83" fmla="*/ 772 w 4288"/>
                  <a:gd name="connsiteY83" fmla="*/ 1002 h 1043"/>
                  <a:gd name="connsiteX84" fmla="*/ 717 w 4288"/>
                  <a:gd name="connsiteY84" fmla="*/ 1025 h 1043"/>
                  <a:gd name="connsiteX85" fmla="*/ 653 w 4288"/>
                  <a:gd name="connsiteY85" fmla="*/ 1037 h 1043"/>
                  <a:gd name="connsiteX86" fmla="*/ 587 w 4288"/>
                  <a:gd name="connsiteY86" fmla="*/ 1043 h 1043"/>
                  <a:gd name="connsiteX87" fmla="*/ 580 w 4288"/>
                  <a:gd name="connsiteY87" fmla="*/ 1043 h 1043"/>
                  <a:gd name="connsiteX88" fmla="*/ 512 w 4288"/>
                  <a:gd name="connsiteY88" fmla="*/ 1039 h 1043"/>
                  <a:gd name="connsiteX89" fmla="*/ 450 w 4288"/>
                  <a:gd name="connsiteY89" fmla="*/ 1027 h 1043"/>
                  <a:gd name="connsiteX90" fmla="*/ 392 w 4288"/>
                  <a:gd name="connsiteY90" fmla="*/ 1008 h 1043"/>
                  <a:gd name="connsiteX91" fmla="*/ 341 w 4288"/>
                  <a:gd name="connsiteY91" fmla="*/ 983 h 1043"/>
                  <a:gd name="connsiteX92" fmla="*/ 293 w 4288"/>
                  <a:gd name="connsiteY92" fmla="*/ 952 h 1043"/>
                  <a:gd name="connsiteX93" fmla="*/ 248 w 4288"/>
                  <a:gd name="connsiteY93" fmla="*/ 915 h 1043"/>
                  <a:gd name="connsiteX94" fmla="*/ 207 w 4288"/>
                  <a:gd name="connsiteY94" fmla="*/ 873 h 1043"/>
                  <a:gd name="connsiteX95" fmla="*/ 169 w 4288"/>
                  <a:gd name="connsiteY95" fmla="*/ 828 h 1043"/>
                  <a:gd name="connsiteX96" fmla="*/ 132 w 4288"/>
                  <a:gd name="connsiteY96" fmla="*/ 780 h 1043"/>
                  <a:gd name="connsiteX97" fmla="*/ 99 w 4288"/>
                  <a:gd name="connsiteY97" fmla="*/ 728 h 1043"/>
                  <a:gd name="connsiteX98" fmla="*/ 64 w 4288"/>
                  <a:gd name="connsiteY98" fmla="*/ 674 h 1043"/>
                  <a:gd name="connsiteX99" fmla="*/ 33 w 4288"/>
                  <a:gd name="connsiteY99" fmla="*/ 618 h 1043"/>
                  <a:gd name="connsiteX100" fmla="*/ 0 w 4288"/>
                  <a:gd name="connsiteY100" fmla="*/ 560 h 1043"/>
                  <a:gd name="connsiteX101" fmla="*/ 77 w 4288"/>
                  <a:gd name="connsiteY101" fmla="*/ 516 h 1043"/>
                  <a:gd name="connsiteX102" fmla="*/ 110 w 4288"/>
                  <a:gd name="connsiteY102" fmla="*/ 575 h 1043"/>
                  <a:gd name="connsiteX103" fmla="*/ 143 w 4288"/>
                  <a:gd name="connsiteY103" fmla="*/ 631 h 1043"/>
                  <a:gd name="connsiteX104" fmla="*/ 176 w 4288"/>
                  <a:gd name="connsiteY104" fmla="*/ 684 h 1043"/>
                  <a:gd name="connsiteX105" fmla="*/ 209 w 4288"/>
                  <a:gd name="connsiteY105" fmla="*/ 736 h 1043"/>
                  <a:gd name="connsiteX106" fmla="*/ 244 w 4288"/>
                  <a:gd name="connsiteY106" fmla="*/ 782 h 1043"/>
                  <a:gd name="connsiteX107" fmla="*/ 281 w 4288"/>
                  <a:gd name="connsiteY107" fmla="*/ 825 h 1043"/>
                  <a:gd name="connsiteX108" fmla="*/ 322 w 4288"/>
                  <a:gd name="connsiteY108" fmla="*/ 863 h 1043"/>
                  <a:gd name="connsiteX109" fmla="*/ 366 w 4288"/>
                  <a:gd name="connsiteY109" fmla="*/ 894 h 1043"/>
                  <a:gd name="connsiteX110" fmla="*/ 413 w 4288"/>
                  <a:gd name="connsiteY110" fmla="*/ 921 h 1043"/>
                  <a:gd name="connsiteX111" fmla="*/ 463 w 4288"/>
                  <a:gd name="connsiteY111" fmla="*/ 940 h 1043"/>
                  <a:gd name="connsiteX112" fmla="*/ 518 w 4288"/>
                  <a:gd name="connsiteY112" fmla="*/ 952 h 1043"/>
                  <a:gd name="connsiteX113" fmla="*/ 580 w 4288"/>
                  <a:gd name="connsiteY113" fmla="*/ 956 h 1043"/>
                  <a:gd name="connsiteX114" fmla="*/ 587 w 4288"/>
                  <a:gd name="connsiteY114" fmla="*/ 956 h 1043"/>
                  <a:gd name="connsiteX115" fmla="*/ 646 w 4288"/>
                  <a:gd name="connsiteY115" fmla="*/ 950 h 1043"/>
                  <a:gd name="connsiteX116" fmla="*/ 702 w 4288"/>
                  <a:gd name="connsiteY116" fmla="*/ 935 h 1043"/>
                  <a:gd name="connsiteX117" fmla="*/ 756 w 4288"/>
                  <a:gd name="connsiteY117" fmla="*/ 913 h 1043"/>
                  <a:gd name="connsiteX118" fmla="*/ 803 w 4288"/>
                  <a:gd name="connsiteY118" fmla="*/ 884 h 1043"/>
                  <a:gd name="connsiteX119" fmla="*/ 849 w 4288"/>
                  <a:gd name="connsiteY119" fmla="*/ 846 h 1043"/>
                  <a:gd name="connsiteX120" fmla="*/ 892 w 4288"/>
                  <a:gd name="connsiteY120" fmla="*/ 803 h 1043"/>
                  <a:gd name="connsiteX121" fmla="*/ 931 w 4288"/>
                  <a:gd name="connsiteY121" fmla="*/ 755 h 1043"/>
                  <a:gd name="connsiteX122" fmla="*/ 971 w 4288"/>
                  <a:gd name="connsiteY122" fmla="*/ 703 h 1043"/>
                  <a:gd name="connsiteX123" fmla="*/ 1010 w 4288"/>
                  <a:gd name="connsiteY123" fmla="*/ 649 h 1043"/>
                  <a:gd name="connsiteX124" fmla="*/ 1121 w 4288"/>
                  <a:gd name="connsiteY124" fmla="*/ 475 h 1043"/>
                  <a:gd name="connsiteX125" fmla="*/ 1161 w 4288"/>
                  <a:gd name="connsiteY125" fmla="*/ 415 h 1043"/>
                  <a:gd name="connsiteX126" fmla="*/ 1202 w 4288"/>
                  <a:gd name="connsiteY126" fmla="*/ 357 h 1043"/>
                  <a:gd name="connsiteX127" fmla="*/ 1245 w 4288"/>
                  <a:gd name="connsiteY127" fmla="*/ 299 h 1043"/>
                  <a:gd name="connsiteX128" fmla="*/ 1291 w 4288"/>
                  <a:gd name="connsiteY128" fmla="*/ 245 h 1043"/>
                  <a:gd name="connsiteX129" fmla="*/ 1338 w 4288"/>
                  <a:gd name="connsiteY129" fmla="*/ 193 h 1043"/>
                  <a:gd name="connsiteX130" fmla="*/ 1392 w 4288"/>
                  <a:gd name="connsiteY130" fmla="*/ 145 h 1043"/>
                  <a:gd name="connsiteX131" fmla="*/ 1447 w 4288"/>
                  <a:gd name="connsiteY131" fmla="*/ 104 h 1043"/>
                  <a:gd name="connsiteX132" fmla="*/ 1509 w 4288"/>
                  <a:gd name="connsiteY132" fmla="*/ 69 h 1043"/>
                  <a:gd name="connsiteX133" fmla="*/ 1575 w 4288"/>
                  <a:gd name="connsiteY133" fmla="*/ 40 h 1043"/>
                  <a:gd name="connsiteX134" fmla="*/ 1648 w 4288"/>
                  <a:gd name="connsiteY134" fmla="*/ 19 h 1043"/>
                  <a:gd name="connsiteX135" fmla="*/ 1726 w 4288"/>
                  <a:gd name="connsiteY135" fmla="*/ 6 h 1043"/>
                  <a:gd name="connsiteX136" fmla="*/ 1796 w 4288"/>
                  <a:gd name="connsiteY136" fmla="*/ 4 h 1043"/>
                  <a:gd name="connsiteX137" fmla="*/ 1862 w 4288"/>
                  <a:gd name="connsiteY137" fmla="*/ 13 h 1043"/>
                  <a:gd name="connsiteX138" fmla="*/ 1922 w 4288"/>
                  <a:gd name="connsiteY138" fmla="*/ 27 h 1043"/>
                  <a:gd name="connsiteX139" fmla="*/ 1980 w 4288"/>
                  <a:gd name="connsiteY139" fmla="*/ 50 h 1043"/>
                  <a:gd name="connsiteX140" fmla="*/ 2034 w 4288"/>
                  <a:gd name="connsiteY140" fmla="*/ 81 h 1043"/>
                  <a:gd name="connsiteX141" fmla="*/ 2083 w 4288"/>
                  <a:gd name="connsiteY141" fmla="*/ 116 h 1043"/>
                  <a:gd name="connsiteX142" fmla="*/ 2129 w 4288"/>
                  <a:gd name="connsiteY142" fmla="*/ 158 h 1043"/>
                  <a:gd name="connsiteX143" fmla="*/ 2174 w 4288"/>
                  <a:gd name="connsiteY143" fmla="*/ 203 h 1043"/>
                  <a:gd name="connsiteX144" fmla="*/ 2216 w 4288"/>
                  <a:gd name="connsiteY144" fmla="*/ 251 h 1043"/>
                  <a:gd name="connsiteX145" fmla="*/ 2255 w 4288"/>
                  <a:gd name="connsiteY145" fmla="*/ 303 h 1043"/>
                  <a:gd name="connsiteX146" fmla="*/ 2292 w 4288"/>
                  <a:gd name="connsiteY146" fmla="*/ 357 h 1043"/>
                  <a:gd name="connsiteX147" fmla="*/ 2327 w 4288"/>
                  <a:gd name="connsiteY147" fmla="*/ 413 h 1043"/>
                  <a:gd name="connsiteX148" fmla="*/ 2362 w 4288"/>
                  <a:gd name="connsiteY148" fmla="*/ 467 h 1043"/>
                  <a:gd name="connsiteX149" fmla="*/ 2395 w 4288"/>
                  <a:gd name="connsiteY149" fmla="*/ 523 h 1043"/>
                  <a:gd name="connsiteX150" fmla="*/ 2432 w 4288"/>
                  <a:gd name="connsiteY150" fmla="*/ 585 h 1043"/>
                  <a:gd name="connsiteX151" fmla="*/ 2469 w 4288"/>
                  <a:gd name="connsiteY151" fmla="*/ 643 h 1043"/>
                  <a:gd name="connsiteX152" fmla="*/ 2509 w 4288"/>
                  <a:gd name="connsiteY152" fmla="*/ 701 h 1043"/>
                  <a:gd name="connsiteX153" fmla="*/ 2546 w 4288"/>
                  <a:gd name="connsiteY153" fmla="*/ 755 h 1043"/>
                  <a:gd name="connsiteX154" fmla="*/ 2587 w 4288"/>
                  <a:gd name="connsiteY154" fmla="*/ 805 h 1043"/>
                  <a:gd name="connsiteX155" fmla="*/ 2628 w 4288"/>
                  <a:gd name="connsiteY155" fmla="*/ 848 h 1043"/>
                  <a:gd name="connsiteX156" fmla="*/ 2672 w 4288"/>
                  <a:gd name="connsiteY156" fmla="*/ 886 h 1043"/>
                  <a:gd name="connsiteX157" fmla="*/ 2717 w 4288"/>
                  <a:gd name="connsiteY157" fmla="*/ 917 h 1043"/>
                  <a:gd name="connsiteX158" fmla="*/ 2767 w 4288"/>
                  <a:gd name="connsiteY158" fmla="*/ 940 h 1043"/>
                  <a:gd name="connsiteX159" fmla="*/ 2820 w 4288"/>
                  <a:gd name="connsiteY159" fmla="*/ 952 h 1043"/>
                  <a:gd name="connsiteX160" fmla="*/ 2876 w 4288"/>
                  <a:gd name="connsiteY160" fmla="*/ 956 h 1043"/>
                  <a:gd name="connsiteX161" fmla="*/ 2932 w 4288"/>
                  <a:gd name="connsiteY161" fmla="*/ 950 h 1043"/>
                  <a:gd name="connsiteX162" fmla="*/ 2982 w 4288"/>
                  <a:gd name="connsiteY162" fmla="*/ 935 h 1043"/>
                  <a:gd name="connsiteX163" fmla="*/ 3029 w 4288"/>
                  <a:gd name="connsiteY163" fmla="*/ 915 h 1043"/>
                  <a:gd name="connsiteX164" fmla="*/ 3072 w 4288"/>
                  <a:gd name="connsiteY164" fmla="*/ 884 h 1043"/>
                  <a:gd name="connsiteX165" fmla="*/ 3112 w 4288"/>
                  <a:gd name="connsiteY165" fmla="*/ 848 h 1043"/>
                  <a:gd name="connsiteX166" fmla="*/ 3149 w 4288"/>
                  <a:gd name="connsiteY166" fmla="*/ 807 h 1043"/>
                  <a:gd name="connsiteX167" fmla="*/ 3184 w 4288"/>
                  <a:gd name="connsiteY167" fmla="*/ 759 h 1043"/>
                  <a:gd name="connsiteX168" fmla="*/ 3217 w 4288"/>
                  <a:gd name="connsiteY168" fmla="*/ 709 h 1043"/>
                  <a:gd name="connsiteX169" fmla="*/ 3250 w 4288"/>
                  <a:gd name="connsiteY169" fmla="*/ 655 h 1043"/>
                  <a:gd name="connsiteX170" fmla="*/ 3283 w 4288"/>
                  <a:gd name="connsiteY170" fmla="*/ 597 h 1043"/>
                  <a:gd name="connsiteX171" fmla="*/ 3316 w 4288"/>
                  <a:gd name="connsiteY171" fmla="*/ 537 h 1043"/>
                  <a:gd name="connsiteX172" fmla="*/ 3345 w 4288"/>
                  <a:gd name="connsiteY172" fmla="*/ 483 h 1043"/>
                  <a:gd name="connsiteX173" fmla="*/ 3407 w 4288"/>
                  <a:gd name="connsiteY173" fmla="*/ 375 h 1043"/>
                  <a:gd name="connsiteX174" fmla="*/ 3477 w 4288"/>
                  <a:gd name="connsiteY174" fmla="*/ 272 h 1043"/>
                  <a:gd name="connsiteX175" fmla="*/ 3514 w 4288"/>
                  <a:gd name="connsiteY175" fmla="*/ 224 h 1043"/>
                  <a:gd name="connsiteX176" fmla="*/ 3555 w 4288"/>
                  <a:gd name="connsiteY176" fmla="*/ 178 h 1043"/>
                  <a:gd name="connsiteX177" fmla="*/ 3599 w 4288"/>
                  <a:gd name="connsiteY177" fmla="*/ 137 h 1043"/>
                  <a:gd name="connsiteX178" fmla="*/ 3646 w 4288"/>
                  <a:gd name="connsiteY178" fmla="*/ 100 h 1043"/>
                  <a:gd name="connsiteX179" fmla="*/ 3698 w 4288"/>
                  <a:gd name="connsiteY179" fmla="*/ 66 h 1043"/>
                  <a:gd name="connsiteX180" fmla="*/ 3756 w 4288"/>
                  <a:gd name="connsiteY180" fmla="*/ 40 h 1043"/>
                  <a:gd name="connsiteX181" fmla="*/ 3816 w 4288"/>
                  <a:gd name="connsiteY181" fmla="*/ 19 h 1043"/>
                  <a:gd name="connsiteX182" fmla="*/ 3882 w 4288"/>
                  <a:gd name="connsiteY182" fmla="*/ 6 h 1043"/>
                  <a:gd name="connsiteX183" fmla="*/ 3954 w 4288"/>
                  <a:gd name="connsiteY183" fmla="*/ 0 h 1043"/>
                  <a:gd name="connsiteX0" fmla="*/ 3954 w 4282"/>
                  <a:gd name="connsiteY0" fmla="*/ 0 h 1043"/>
                  <a:gd name="connsiteX1" fmla="*/ 4004 w 4282"/>
                  <a:gd name="connsiteY1" fmla="*/ 0 h 1043"/>
                  <a:gd name="connsiteX2" fmla="*/ 4032 w 4282"/>
                  <a:gd name="connsiteY2" fmla="*/ 4 h 1043"/>
                  <a:gd name="connsiteX3" fmla="*/ 4063 w 4282"/>
                  <a:gd name="connsiteY3" fmla="*/ 13 h 1043"/>
                  <a:gd name="connsiteX4" fmla="*/ 4101 w 4282"/>
                  <a:gd name="connsiteY4" fmla="*/ 23 h 1043"/>
                  <a:gd name="connsiteX5" fmla="*/ 4142 w 4282"/>
                  <a:gd name="connsiteY5" fmla="*/ 40 h 1043"/>
                  <a:gd name="connsiteX6" fmla="*/ 4185 w 4282"/>
                  <a:gd name="connsiteY6" fmla="*/ 60 h 1043"/>
                  <a:gd name="connsiteX7" fmla="*/ 4233 w 4282"/>
                  <a:gd name="connsiteY7" fmla="*/ 89 h 1043"/>
                  <a:gd name="connsiteX8" fmla="*/ 4282 w 4282"/>
                  <a:gd name="connsiteY8" fmla="*/ 125 h 1043"/>
                  <a:gd name="connsiteX9" fmla="*/ 4222 w 4282"/>
                  <a:gd name="connsiteY9" fmla="*/ 189 h 1043"/>
                  <a:gd name="connsiteX10" fmla="*/ 4181 w 4282"/>
                  <a:gd name="connsiteY10" fmla="*/ 158 h 1043"/>
                  <a:gd name="connsiteX11" fmla="*/ 4142 w 4282"/>
                  <a:gd name="connsiteY11" fmla="*/ 135 h 1043"/>
                  <a:gd name="connsiteX12" fmla="*/ 4092 w 4282"/>
                  <a:gd name="connsiteY12" fmla="*/ 112 h 1043"/>
                  <a:gd name="connsiteX13" fmla="*/ 4049 w 4282"/>
                  <a:gd name="connsiteY13" fmla="*/ 98 h 1043"/>
                  <a:gd name="connsiteX14" fmla="*/ 4014 w 4282"/>
                  <a:gd name="connsiteY14" fmla="*/ 89 h 1043"/>
                  <a:gd name="connsiteX15" fmla="*/ 3985 w 4282"/>
                  <a:gd name="connsiteY15" fmla="*/ 87 h 1043"/>
                  <a:gd name="connsiteX16" fmla="*/ 3958 w 4282"/>
                  <a:gd name="connsiteY16" fmla="*/ 87 h 1043"/>
                  <a:gd name="connsiteX17" fmla="*/ 3892 w 4282"/>
                  <a:gd name="connsiteY17" fmla="*/ 93 h 1043"/>
                  <a:gd name="connsiteX18" fmla="*/ 3830 w 4282"/>
                  <a:gd name="connsiteY18" fmla="*/ 106 h 1043"/>
                  <a:gd name="connsiteX19" fmla="*/ 3774 w 4282"/>
                  <a:gd name="connsiteY19" fmla="*/ 127 h 1043"/>
                  <a:gd name="connsiteX20" fmla="*/ 3723 w 4282"/>
                  <a:gd name="connsiteY20" fmla="*/ 154 h 1043"/>
                  <a:gd name="connsiteX21" fmla="*/ 3675 w 4282"/>
                  <a:gd name="connsiteY21" fmla="*/ 187 h 1043"/>
                  <a:gd name="connsiteX22" fmla="*/ 3632 w 4282"/>
                  <a:gd name="connsiteY22" fmla="*/ 224 h 1043"/>
                  <a:gd name="connsiteX23" fmla="*/ 3593 w 4282"/>
                  <a:gd name="connsiteY23" fmla="*/ 268 h 1043"/>
                  <a:gd name="connsiteX24" fmla="*/ 3553 w 4282"/>
                  <a:gd name="connsiteY24" fmla="*/ 313 h 1043"/>
                  <a:gd name="connsiteX25" fmla="*/ 3518 w 4282"/>
                  <a:gd name="connsiteY25" fmla="*/ 363 h 1043"/>
                  <a:gd name="connsiteX26" fmla="*/ 3485 w 4282"/>
                  <a:gd name="connsiteY26" fmla="*/ 415 h 1043"/>
                  <a:gd name="connsiteX27" fmla="*/ 3423 w 4282"/>
                  <a:gd name="connsiteY27" fmla="*/ 523 h 1043"/>
                  <a:gd name="connsiteX28" fmla="*/ 3330 w 4282"/>
                  <a:gd name="connsiteY28" fmla="*/ 691 h 1043"/>
                  <a:gd name="connsiteX29" fmla="*/ 3297 w 4282"/>
                  <a:gd name="connsiteY29" fmla="*/ 747 h 1043"/>
                  <a:gd name="connsiteX30" fmla="*/ 3262 w 4282"/>
                  <a:gd name="connsiteY30" fmla="*/ 799 h 1043"/>
                  <a:gd name="connsiteX31" fmla="*/ 3227 w 4282"/>
                  <a:gd name="connsiteY31" fmla="*/ 848 h 1043"/>
                  <a:gd name="connsiteX32" fmla="*/ 3188 w 4282"/>
                  <a:gd name="connsiteY32" fmla="*/ 894 h 1043"/>
                  <a:gd name="connsiteX33" fmla="*/ 3147 w 4282"/>
                  <a:gd name="connsiteY33" fmla="*/ 935 h 1043"/>
                  <a:gd name="connsiteX34" fmla="*/ 3101 w 4282"/>
                  <a:gd name="connsiteY34" fmla="*/ 971 h 1043"/>
                  <a:gd name="connsiteX35" fmla="*/ 3052 w 4282"/>
                  <a:gd name="connsiteY35" fmla="*/ 1000 h 1043"/>
                  <a:gd name="connsiteX36" fmla="*/ 3000 w 4282"/>
                  <a:gd name="connsiteY36" fmla="*/ 1022 h 1043"/>
                  <a:gd name="connsiteX37" fmla="*/ 2942 w 4282"/>
                  <a:gd name="connsiteY37" fmla="*/ 1037 h 1043"/>
                  <a:gd name="connsiteX38" fmla="*/ 2878 w 4282"/>
                  <a:gd name="connsiteY38" fmla="*/ 1043 h 1043"/>
                  <a:gd name="connsiteX39" fmla="*/ 2870 w 4282"/>
                  <a:gd name="connsiteY39" fmla="*/ 1043 h 1043"/>
                  <a:gd name="connsiteX40" fmla="*/ 2808 w 4282"/>
                  <a:gd name="connsiteY40" fmla="*/ 1039 h 1043"/>
                  <a:gd name="connsiteX41" fmla="*/ 2748 w 4282"/>
                  <a:gd name="connsiteY41" fmla="*/ 1025 h 1043"/>
                  <a:gd name="connsiteX42" fmla="*/ 2695 w 4282"/>
                  <a:gd name="connsiteY42" fmla="*/ 1002 h 1043"/>
                  <a:gd name="connsiteX43" fmla="*/ 2643 w 4282"/>
                  <a:gd name="connsiteY43" fmla="*/ 973 h 1043"/>
                  <a:gd name="connsiteX44" fmla="*/ 2595 w 4282"/>
                  <a:gd name="connsiteY44" fmla="*/ 935 h 1043"/>
                  <a:gd name="connsiteX45" fmla="*/ 2552 w 4282"/>
                  <a:gd name="connsiteY45" fmla="*/ 894 h 1043"/>
                  <a:gd name="connsiteX46" fmla="*/ 2509 w 4282"/>
                  <a:gd name="connsiteY46" fmla="*/ 846 h 1043"/>
                  <a:gd name="connsiteX47" fmla="*/ 2469 w 4282"/>
                  <a:gd name="connsiteY47" fmla="*/ 796 h 1043"/>
                  <a:gd name="connsiteX48" fmla="*/ 2430 w 4282"/>
                  <a:gd name="connsiteY48" fmla="*/ 740 h 1043"/>
                  <a:gd name="connsiteX49" fmla="*/ 2393 w 4282"/>
                  <a:gd name="connsiteY49" fmla="*/ 684 h 1043"/>
                  <a:gd name="connsiteX50" fmla="*/ 2288 w 4282"/>
                  <a:gd name="connsiteY50" fmla="*/ 510 h 1043"/>
                  <a:gd name="connsiteX51" fmla="*/ 2251 w 4282"/>
                  <a:gd name="connsiteY51" fmla="*/ 452 h 1043"/>
                  <a:gd name="connsiteX52" fmla="*/ 2213 w 4282"/>
                  <a:gd name="connsiteY52" fmla="*/ 396 h 1043"/>
                  <a:gd name="connsiteX53" fmla="*/ 2176 w 4282"/>
                  <a:gd name="connsiteY53" fmla="*/ 342 h 1043"/>
                  <a:gd name="connsiteX54" fmla="*/ 2137 w 4282"/>
                  <a:gd name="connsiteY54" fmla="*/ 293 h 1043"/>
                  <a:gd name="connsiteX55" fmla="*/ 2096 w 4282"/>
                  <a:gd name="connsiteY55" fmla="*/ 247 h 1043"/>
                  <a:gd name="connsiteX56" fmla="*/ 2054 w 4282"/>
                  <a:gd name="connsiteY56" fmla="*/ 205 h 1043"/>
                  <a:gd name="connsiteX57" fmla="*/ 2009 w 4282"/>
                  <a:gd name="connsiteY57" fmla="*/ 168 h 1043"/>
                  <a:gd name="connsiteX58" fmla="*/ 1962 w 4282"/>
                  <a:gd name="connsiteY58" fmla="*/ 139 h 1043"/>
                  <a:gd name="connsiteX59" fmla="*/ 1910 w 4282"/>
                  <a:gd name="connsiteY59" fmla="*/ 116 h 1043"/>
                  <a:gd name="connsiteX60" fmla="*/ 1854 w 4282"/>
                  <a:gd name="connsiteY60" fmla="*/ 100 h 1043"/>
                  <a:gd name="connsiteX61" fmla="*/ 1796 w 4282"/>
                  <a:gd name="connsiteY61" fmla="*/ 91 h 1043"/>
                  <a:gd name="connsiteX62" fmla="*/ 1732 w 4282"/>
                  <a:gd name="connsiteY62" fmla="*/ 93 h 1043"/>
                  <a:gd name="connsiteX63" fmla="*/ 1664 w 4282"/>
                  <a:gd name="connsiteY63" fmla="*/ 104 h 1043"/>
                  <a:gd name="connsiteX64" fmla="*/ 1602 w 4282"/>
                  <a:gd name="connsiteY64" fmla="*/ 122 h 1043"/>
                  <a:gd name="connsiteX65" fmla="*/ 1545 w 4282"/>
                  <a:gd name="connsiteY65" fmla="*/ 147 h 1043"/>
                  <a:gd name="connsiteX66" fmla="*/ 1491 w 4282"/>
                  <a:gd name="connsiteY66" fmla="*/ 181 h 1043"/>
                  <a:gd name="connsiteX67" fmla="*/ 1439 w 4282"/>
                  <a:gd name="connsiteY67" fmla="*/ 218 h 1043"/>
                  <a:gd name="connsiteX68" fmla="*/ 1394 w 4282"/>
                  <a:gd name="connsiteY68" fmla="*/ 261 h 1043"/>
                  <a:gd name="connsiteX69" fmla="*/ 1348 w 4282"/>
                  <a:gd name="connsiteY69" fmla="*/ 307 h 1043"/>
                  <a:gd name="connsiteX70" fmla="*/ 1307 w 4282"/>
                  <a:gd name="connsiteY70" fmla="*/ 359 h 1043"/>
                  <a:gd name="connsiteX71" fmla="*/ 1268 w 4282"/>
                  <a:gd name="connsiteY71" fmla="*/ 413 h 1043"/>
                  <a:gd name="connsiteX72" fmla="*/ 1231 w 4282"/>
                  <a:gd name="connsiteY72" fmla="*/ 467 h 1043"/>
                  <a:gd name="connsiteX73" fmla="*/ 1194 w 4282"/>
                  <a:gd name="connsiteY73" fmla="*/ 523 h 1043"/>
                  <a:gd name="connsiteX74" fmla="*/ 1156 w 4282"/>
                  <a:gd name="connsiteY74" fmla="*/ 581 h 1043"/>
                  <a:gd name="connsiteX75" fmla="*/ 1121 w 4282"/>
                  <a:gd name="connsiteY75" fmla="*/ 637 h 1043"/>
                  <a:gd name="connsiteX76" fmla="*/ 1047 w 4282"/>
                  <a:gd name="connsiteY76" fmla="*/ 749 h 1043"/>
                  <a:gd name="connsiteX77" fmla="*/ 1008 w 4282"/>
                  <a:gd name="connsiteY77" fmla="*/ 801 h 1043"/>
                  <a:gd name="connsiteX78" fmla="*/ 966 w 4282"/>
                  <a:gd name="connsiteY78" fmla="*/ 850 h 1043"/>
                  <a:gd name="connsiteX79" fmla="*/ 923 w 4282"/>
                  <a:gd name="connsiteY79" fmla="*/ 896 h 1043"/>
                  <a:gd name="connsiteX80" fmla="*/ 876 w 4282"/>
                  <a:gd name="connsiteY80" fmla="*/ 937 h 1043"/>
                  <a:gd name="connsiteX81" fmla="*/ 826 w 4282"/>
                  <a:gd name="connsiteY81" fmla="*/ 973 h 1043"/>
                  <a:gd name="connsiteX82" fmla="*/ 772 w 4282"/>
                  <a:gd name="connsiteY82" fmla="*/ 1002 h 1043"/>
                  <a:gd name="connsiteX83" fmla="*/ 717 w 4282"/>
                  <a:gd name="connsiteY83" fmla="*/ 1025 h 1043"/>
                  <a:gd name="connsiteX84" fmla="*/ 653 w 4282"/>
                  <a:gd name="connsiteY84" fmla="*/ 1037 h 1043"/>
                  <a:gd name="connsiteX85" fmla="*/ 587 w 4282"/>
                  <a:gd name="connsiteY85" fmla="*/ 1043 h 1043"/>
                  <a:gd name="connsiteX86" fmla="*/ 580 w 4282"/>
                  <a:gd name="connsiteY86" fmla="*/ 1043 h 1043"/>
                  <a:gd name="connsiteX87" fmla="*/ 512 w 4282"/>
                  <a:gd name="connsiteY87" fmla="*/ 1039 h 1043"/>
                  <a:gd name="connsiteX88" fmla="*/ 450 w 4282"/>
                  <a:gd name="connsiteY88" fmla="*/ 1027 h 1043"/>
                  <a:gd name="connsiteX89" fmla="*/ 392 w 4282"/>
                  <a:gd name="connsiteY89" fmla="*/ 1008 h 1043"/>
                  <a:gd name="connsiteX90" fmla="*/ 341 w 4282"/>
                  <a:gd name="connsiteY90" fmla="*/ 983 h 1043"/>
                  <a:gd name="connsiteX91" fmla="*/ 293 w 4282"/>
                  <a:gd name="connsiteY91" fmla="*/ 952 h 1043"/>
                  <a:gd name="connsiteX92" fmla="*/ 248 w 4282"/>
                  <a:gd name="connsiteY92" fmla="*/ 915 h 1043"/>
                  <a:gd name="connsiteX93" fmla="*/ 207 w 4282"/>
                  <a:gd name="connsiteY93" fmla="*/ 873 h 1043"/>
                  <a:gd name="connsiteX94" fmla="*/ 169 w 4282"/>
                  <a:gd name="connsiteY94" fmla="*/ 828 h 1043"/>
                  <a:gd name="connsiteX95" fmla="*/ 132 w 4282"/>
                  <a:gd name="connsiteY95" fmla="*/ 780 h 1043"/>
                  <a:gd name="connsiteX96" fmla="*/ 99 w 4282"/>
                  <a:gd name="connsiteY96" fmla="*/ 728 h 1043"/>
                  <a:gd name="connsiteX97" fmla="*/ 64 w 4282"/>
                  <a:gd name="connsiteY97" fmla="*/ 674 h 1043"/>
                  <a:gd name="connsiteX98" fmla="*/ 33 w 4282"/>
                  <a:gd name="connsiteY98" fmla="*/ 618 h 1043"/>
                  <a:gd name="connsiteX99" fmla="*/ 0 w 4282"/>
                  <a:gd name="connsiteY99" fmla="*/ 560 h 1043"/>
                  <a:gd name="connsiteX100" fmla="*/ 77 w 4282"/>
                  <a:gd name="connsiteY100" fmla="*/ 516 h 1043"/>
                  <a:gd name="connsiteX101" fmla="*/ 110 w 4282"/>
                  <a:gd name="connsiteY101" fmla="*/ 575 h 1043"/>
                  <a:gd name="connsiteX102" fmla="*/ 143 w 4282"/>
                  <a:gd name="connsiteY102" fmla="*/ 631 h 1043"/>
                  <a:gd name="connsiteX103" fmla="*/ 176 w 4282"/>
                  <a:gd name="connsiteY103" fmla="*/ 684 h 1043"/>
                  <a:gd name="connsiteX104" fmla="*/ 209 w 4282"/>
                  <a:gd name="connsiteY104" fmla="*/ 736 h 1043"/>
                  <a:gd name="connsiteX105" fmla="*/ 244 w 4282"/>
                  <a:gd name="connsiteY105" fmla="*/ 782 h 1043"/>
                  <a:gd name="connsiteX106" fmla="*/ 281 w 4282"/>
                  <a:gd name="connsiteY106" fmla="*/ 825 h 1043"/>
                  <a:gd name="connsiteX107" fmla="*/ 322 w 4282"/>
                  <a:gd name="connsiteY107" fmla="*/ 863 h 1043"/>
                  <a:gd name="connsiteX108" fmla="*/ 366 w 4282"/>
                  <a:gd name="connsiteY108" fmla="*/ 894 h 1043"/>
                  <a:gd name="connsiteX109" fmla="*/ 413 w 4282"/>
                  <a:gd name="connsiteY109" fmla="*/ 921 h 1043"/>
                  <a:gd name="connsiteX110" fmla="*/ 463 w 4282"/>
                  <a:gd name="connsiteY110" fmla="*/ 940 h 1043"/>
                  <a:gd name="connsiteX111" fmla="*/ 518 w 4282"/>
                  <a:gd name="connsiteY111" fmla="*/ 952 h 1043"/>
                  <a:gd name="connsiteX112" fmla="*/ 580 w 4282"/>
                  <a:gd name="connsiteY112" fmla="*/ 956 h 1043"/>
                  <a:gd name="connsiteX113" fmla="*/ 587 w 4282"/>
                  <a:gd name="connsiteY113" fmla="*/ 956 h 1043"/>
                  <a:gd name="connsiteX114" fmla="*/ 646 w 4282"/>
                  <a:gd name="connsiteY114" fmla="*/ 950 h 1043"/>
                  <a:gd name="connsiteX115" fmla="*/ 702 w 4282"/>
                  <a:gd name="connsiteY115" fmla="*/ 935 h 1043"/>
                  <a:gd name="connsiteX116" fmla="*/ 756 w 4282"/>
                  <a:gd name="connsiteY116" fmla="*/ 913 h 1043"/>
                  <a:gd name="connsiteX117" fmla="*/ 803 w 4282"/>
                  <a:gd name="connsiteY117" fmla="*/ 884 h 1043"/>
                  <a:gd name="connsiteX118" fmla="*/ 849 w 4282"/>
                  <a:gd name="connsiteY118" fmla="*/ 846 h 1043"/>
                  <a:gd name="connsiteX119" fmla="*/ 892 w 4282"/>
                  <a:gd name="connsiteY119" fmla="*/ 803 h 1043"/>
                  <a:gd name="connsiteX120" fmla="*/ 931 w 4282"/>
                  <a:gd name="connsiteY120" fmla="*/ 755 h 1043"/>
                  <a:gd name="connsiteX121" fmla="*/ 971 w 4282"/>
                  <a:gd name="connsiteY121" fmla="*/ 703 h 1043"/>
                  <a:gd name="connsiteX122" fmla="*/ 1010 w 4282"/>
                  <a:gd name="connsiteY122" fmla="*/ 649 h 1043"/>
                  <a:gd name="connsiteX123" fmla="*/ 1121 w 4282"/>
                  <a:gd name="connsiteY123" fmla="*/ 475 h 1043"/>
                  <a:gd name="connsiteX124" fmla="*/ 1161 w 4282"/>
                  <a:gd name="connsiteY124" fmla="*/ 415 h 1043"/>
                  <a:gd name="connsiteX125" fmla="*/ 1202 w 4282"/>
                  <a:gd name="connsiteY125" fmla="*/ 357 h 1043"/>
                  <a:gd name="connsiteX126" fmla="*/ 1245 w 4282"/>
                  <a:gd name="connsiteY126" fmla="*/ 299 h 1043"/>
                  <a:gd name="connsiteX127" fmla="*/ 1291 w 4282"/>
                  <a:gd name="connsiteY127" fmla="*/ 245 h 1043"/>
                  <a:gd name="connsiteX128" fmla="*/ 1338 w 4282"/>
                  <a:gd name="connsiteY128" fmla="*/ 193 h 1043"/>
                  <a:gd name="connsiteX129" fmla="*/ 1392 w 4282"/>
                  <a:gd name="connsiteY129" fmla="*/ 145 h 1043"/>
                  <a:gd name="connsiteX130" fmla="*/ 1447 w 4282"/>
                  <a:gd name="connsiteY130" fmla="*/ 104 h 1043"/>
                  <a:gd name="connsiteX131" fmla="*/ 1509 w 4282"/>
                  <a:gd name="connsiteY131" fmla="*/ 69 h 1043"/>
                  <a:gd name="connsiteX132" fmla="*/ 1575 w 4282"/>
                  <a:gd name="connsiteY132" fmla="*/ 40 h 1043"/>
                  <a:gd name="connsiteX133" fmla="*/ 1648 w 4282"/>
                  <a:gd name="connsiteY133" fmla="*/ 19 h 1043"/>
                  <a:gd name="connsiteX134" fmla="*/ 1726 w 4282"/>
                  <a:gd name="connsiteY134" fmla="*/ 6 h 1043"/>
                  <a:gd name="connsiteX135" fmla="*/ 1796 w 4282"/>
                  <a:gd name="connsiteY135" fmla="*/ 4 h 1043"/>
                  <a:gd name="connsiteX136" fmla="*/ 1862 w 4282"/>
                  <a:gd name="connsiteY136" fmla="*/ 13 h 1043"/>
                  <a:gd name="connsiteX137" fmla="*/ 1922 w 4282"/>
                  <a:gd name="connsiteY137" fmla="*/ 27 h 1043"/>
                  <a:gd name="connsiteX138" fmla="*/ 1980 w 4282"/>
                  <a:gd name="connsiteY138" fmla="*/ 50 h 1043"/>
                  <a:gd name="connsiteX139" fmla="*/ 2034 w 4282"/>
                  <a:gd name="connsiteY139" fmla="*/ 81 h 1043"/>
                  <a:gd name="connsiteX140" fmla="*/ 2083 w 4282"/>
                  <a:gd name="connsiteY140" fmla="*/ 116 h 1043"/>
                  <a:gd name="connsiteX141" fmla="*/ 2129 w 4282"/>
                  <a:gd name="connsiteY141" fmla="*/ 158 h 1043"/>
                  <a:gd name="connsiteX142" fmla="*/ 2174 w 4282"/>
                  <a:gd name="connsiteY142" fmla="*/ 203 h 1043"/>
                  <a:gd name="connsiteX143" fmla="*/ 2216 w 4282"/>
                  <a:gd name="connsiteY143" fmla="*/ 251 h 1043"/>
                  <a:gd name="connsiteX144" fmla="*/ 2255 w 4282"/>
                  <a:gd name="connsiteY144" fmla="*/ 303 h 1043"/>
                  <a:gd name="connsiteX145" fmla="*/ 2292 w 4282"/>
                  <a:gd name="connsiteY145" fmla="*/ 357 h 1043"/>
                  <a:gd name="connsiteX146" fmla="*/ 2327 w 4282"/>
                  <a:gd name="connsiteY146" fmla="*/ 413 h 1043"/>
                  <a:gd name="connsiteX147" fmla="*/ 2362 w 4282"/>
                  <a:gd name="connsiteY147" fmla="*/ 467 h 1043"/>
                  <a:gd name="connsiteX148" fmla="*/ 2395 w 4282"/>
                  <a:gd name="connsiteY148" fmla="*/ 523 h 1043"/>
                  <a:gd name="connsiteX149" fmla="*/ 2432 w 4282"/>
                  <a:gd name="connsiteY149" fmla="*/ 585 h 1043"/>
                  <a:gd name="connsiteX150" fmla="*/ 2469 w 4282"/>
                  <a:gd name="connsiteY150" fmla="*/ 643 h 1043"/>
                  <a:gd name="connsiteX151" fmla="*/ 2509 w 4282"/>
                  <a:gd name="connsiteY151" fmla="*/ 701 h 1043"/>
                  <a:gd name="connsiteX152" fmla="*/ 2546 w 4282"/>
                  <a:gd name="connsiteY152" fmla="*/ 755 h 1043"/>
                  <a:gd name="connsiteX153" fmla="*/ 2587 w 4282"/>
                  <a:gd name="connsiteY153" fmla="*/ 805 h 1043"/>
                  <a:gd name="connsiteX154" fmla="*/ 2628 w 4282"/>
                  <a:gd name="connsiteY154" fmla="*/ 848 h 1043"/>
                  <a:gd name="connsiteX155" fmla="*/ 2672 w 4282"/>
                  <a:gd name="connsiteY155" fmla="*/ 886 h 1043"/>
                  <a:gd name="connsiteX156" fmla="*/ 2717 w 4282"/>
                  <a:gd name="connsiteY156" fmla="*/ 917 h 1043"/>
                  <a:gd name="connsiteX157" fmla="*/ 2767 w 4282"/>
                  <a:gd name="connsiteY157" fmla="*/ 940 h 1043"/>
                  <a:gd name="connsiteX158" fmla="*/ 2820 w 4282"/>
                  <a:gd name="connsiteY158" fmla="*/ 952 h 1043"/>
                  <a:gd name="connsiteX159" fmla="*/ 2876 w 4282"/>
                  <a:gd name="connsiteY159" fmla="*/ 956 h 1043"/>
                  <a:gd name="connsiteX160" fmla="*/ 2932 w 4282"/>
                  <a:gd name="connsiteY160" fmla="*/ 950 h 1043"/>
                  <a:gd name="connsiteX161" fmla="*/ 2982 w 4282"/>
                  <a:gd name="connsiteY161" fmla="*/ 935 h 1043"/>
                  <a:gd name="connsiteX162" fmla="*/ 3029 w 4282"/>
                  <a:gd name="connsiteY162" fmla="*/ 915 h 1043"/>
                  <a:gd name="connsiteX163" fmla="*/ 3072 w 4282"/>
                  <a:gd name="connsiteY163" fmla="*/ 884 h 1043"/>
                  <a:gd name="connsiteX164" fmla="*/ 3112 w 4282"/>
                  <a:gd name="connsiteY164" fmla="*/ 848 h 1043"/>
                  <a:gd name="connsiteX165" fmla="*/ 3149 w 4282"/>
                  <a:gd name="connsiteY165" fmla="*/ 807 h 1043"/>
                  <a:gd name="connsiteX166" fmla="*/ 3184 w 4282"/>
                  <a:gd name="connsiteY166" fmla="*/ 759 h 1043"/>
                  <a:gd name="connsiteX167" fmla="*/ 3217 w 4282"/>
                  <a:gd name="connsiteY167" fmla="*/ 709 h 1043"/>
                  <a:gd name="connsiteX168" fmla="*/ 3250 w 4282"/>
                  <a:gd name="connsiteY168" fmla="*/ 655 h 1043"/>
                  <a:gd name="connsiteX169" fmla="*/ 3283 w 4282"/>
                  <a:gd name="connsiteY169" fmla="*/ 597 h 1043"/>
                  <a:gd name="connsiteX170" fmla="*/ 3316 w 4282"/>
                  <a:gd name="connsiteY170" fmla="*/ 537 h 1043"/>
                  <a:gd name="connsiteX171" fmla="*/ 3345 w 4282"/>
                  <a:gd name="connsiteY171" fmla="*/ 483 h 1043"/>
                  <a:gd name="connsiteX172" fmla="*/ 3407 w 4282"/>
                  <a:gd name="connsiteY172" fmla="*/ 375 h 1043"/>
                  <a:gd name="connsiteX173" fmla="*/ 3477 w 4282"/>
                  <a:gd name="connsiteY173" fmla="*/ 272 h 1043"/>
                  <a:gd name="connsiteX174" fmla="*/ 3514 w 4282"/>
                  <a:gd name="connsiteY174" fmla="*/ 224 h 1043"/>
                  <a:gd name="connsiteX175" fmla="*/ 3555 w 4282"/>
                  <a:gd name="connsiteY175" fmla="*/ 178 h 1043"/>
                  <a:gd name="connsiteX176" fmla="*/ 3599 w 4282"/>
                  <a:gd name="connsiteY176" fmla="*/ 137 h 1043"/>
                  <a:gd name="connsiteX177" fmla="*/ 3646 w 4282"/>
                  <a:gd name="connsiteY177" fmla="*/ 100 h 1043"/>
                  <a:gd name="connsiteX178" fmla="*/ 3698 w 4282"/>
                  <a:gd name="connsiteY178" fmla="*/ 66 h 1043"/>
                  <a:gd name="connsiteX179" fmla="*/ 3756 w 4282"/>
                  <a:gd name="connsiteY179" fmla="*/ 40 h 1043"/>
                  <a:gd name="connsiteX180" fmla="*/ 3816 w 4282"/>
                  <a:gd name="connsiteY180" fmla="*/ 19 h 1043"/>
                  <a:gd name="connsiteX181" fmla="*/ 3882 w 4282"/>
                  <a:gd name="connsiteY181" fmla="*/ 6 h 1043"/>
                  <a:gd name="connsiteX182" fmla="*/ 3954 w 4282"/>
                  <a:gd name="connsiteY182" fmla="*/ 0 h 1043"/>
                  <a:gd name="connsiteX0" fmla="*/ 3954 w 4239"/>
                  <a:gd name="connsiteY0" fmla="*/ 0 h 1043"/>
                  <a:gd name="connsiteX1" fmla="*/ 4004 w 4239"/>
                  <a:gd name="connsiteY1" fmla="*/ 0 h 1043"/>
                  <a:gd name="connsiteX2" fmla="*/ 4032 w 4239"/>
                  <a:gd name="connsiteY2" fmla="*/ 4 h 1043"/>
                  <a:gd name="connsiteX3" fmla="*/ 4063 w 4239"/>
                  <a:gd name="connsiteY3" fmla="*/ 13 h 1043"/>
                  <a:gd name="connsiteX4" fmla="*/ 4101 w 4239"/>
                  <a:gd name="connsiteY4" fmla="*/ 23 h 1043"/>
                  <a:gd name="connsiteX5" fmla="*/ 4142 w 4239"/>
                  <a:gd name="connsiteY5" fmla="*/ 40 h 1043"/>
                  <a:gd name="connsiteX6" fmla="*/ 4185 w 4239"/>
                  <a:gd name="connsiteY6" fmla="*/ 60 h 1043"/>
                  <a:gd name="connsiteX7" fmla="*/ 4233 w 4239"/>
                  <a:gd name="connsiteY7" fmla="*/ 89 h 1043"/>
                  <a:gd name="connsiteX8" fmla="*/ 4222 w 4239"/>
                  <a:gd name="connsiteY8" fmla="*/ 189 h 1043"/>
                  <a:gd name="connsiteX9" fmla="*/ 4181 w 4239"/>
                  <a:gd name="connsiteY9" fmla="*/ 158 h 1043"/>
                  <a:gd name="connsiteX10" fmla="*/ 4142 w 4239"/>
                  <a:gd name="connsiteY10" fmla="*/ 135 h 1043"/>
                  <a:gd name="connsiteX11" fmla="*/ 4092 w 4239"/>
                  <a:gd name="connsiteY11" fmla="*/ 112 h 1043"/>
                  <a:gd name="connsiteX12" fmla="*/ 4049 w 4239"/>
                  <a:gd name="connsiteY12" fmla="*/ 98 h 1043"/>
                  <a:gd name="connsiteX13" fmla="*/ 4014 w 4239"/>
                  <a:gd name="connsiteY13" fmla="*/ 89 h 1043"/>
                  <a:gd name="connsiteX14" fmla="*/ 3985 w 4239"/>
                  <a:gd name="connsiteY14" fmla="*/ 87 h 1043"/>
                  <a:gd name="connsiteX15" fmla="*/ 3958 w 4239"/>
                  <a:gd name="connsiteY15" fmla="*/ 87 h 1043"/>
                  <a:gd name="connsiteX16" fmla="*/ 3892 w 4239"/>
                  <a:gd name="connsiteY16" fmla="*/ 93 h 1043"/>
                  <a:gd name="connsiteX17" fmla="*/ 3830 w 4239"/>
                  <a:gd name="connsiteY17" fmla="*/ 106 h 1043"/>
                  <a:gd name="connsiteX18" fmla="*/ 3774 w 4239"/>
                  <a:gd name="connsiteY18" fmla="*/ 127 h 1043"/>
                  <a:gd name="connsiteX19" fmla="*/ 3723 w 4239"/>
                  <a:gd name="connsiteY19" fmla="*/ 154 h 1043"/>
                  <a:gd name="connsiteX20" fmla="*/ 3675 w 4239"/>
                  <a:gd name="connsiteY20" fmla="*/ 187 h 1043"/>
                  <a:gd name="connsiteX21" fmla="*/ 3632 w 4239"/>
                  <a:gd name="connsiteY21" fmla="*/ 224 h 1043"/>
                  <a:gd name="connsiteX22" fmla="*/ 3593 w 4239"/>
                  <a:gd name="connsiteY22" fmla="*/ 268 h 1043"/>
                  <a:gd name="connsiteX23" fmla="*/ 3553 w 4239"/>
                  <a:gd name="connsiteY23" fmla="*/ 313 h 1043"/>
                  <a:gd name="connsiteX24" fmla="*/ 3518 w 4239"/>
                  <a:gd name="connsiteY24" fmla="*/ 363 h 1043"/>
                  <a:gd name="connsiteX25" fmla="*/ 3485 w 4239"/>
                  <a:gd name="connsiteY25" fmla="*/ 415 h 1043"/>
                  <a:gd name="connsiteX26" fmla="*/ 3423 w 4239"/>
                  <a:gd name="connsiteY26" fmla="*/ 523 h 1043"/>
                  <a:gd name="connsiteX27" fmla="*/ 3330 w 4239"/>
                  <a:gd name="connsiteY27" fmla="*/ 691 h 1043"/>
                  <a:gd name="connsiteX28" fmla="*/ 3297 w 4239"/>
                  <a:gd name="connsiteY28" fmla="*/ 747 h 1043"/>
                  <a:gd name="connsiteX29" fmla="*/ 3262 w 4239"/>
                  <a:gd name="connsiteY29" fmla="*/ 799 h 1043"/>
                  <a:gd name="connsiteX30" fmla="*/ 3227 w 4239"/>
                  <a:gd name="connsiteY30" fmla="*/ 848 h 1043"/>
                  <a:gd name="connsiteX31" fmla="*/ 3188 w 4239"/>
                  <a:gd name="connsiteY31" fmla="*/ 894 h 1043"/>
                  <a:gd name="connsiteX32" fmla="*/ 3147 w 4239"/>
                  <a:gd name="connsiteY32" fmla="*/ 935 h 1043"/>
                  <a:gd name="connsiteX33" fmla="*/ 3101 w 4239"/>
                  <a:gd name="connsiteY33" fmla="*/ 971 h 1043"/>
                  <a:gd name="connsiteX34" fmla="*/ 3052 w 4239"/>
                  <a:gd name="connsiteY34" fmla="*/ 1000 h 1043"/>
                  <a:gd name="connsiteX35" fmla="*/ 3000 w 4239"/>
                  <a:gd name="connsiteY35" fmla="*/ 1022 h 1043"/>
                  <a:gd name="connsiteX36" fmla="*/ 2942 w 4239"/>
                  <a:gd name="connsiteY36" fmla="*/ 1037 h 1043"/>
                  <a:gd name="connsiteX37" fmla="*/ 2878 w 4239"/>
                  <a:gd name="connsiteY37" fmla="*/ 1043 h 1043"/>
                  <a:gd name="connsiteX38" fmla="*/ 2870 w 4239"/>
                  <a:gd name="connsiteY38" fmla="*/ 1043 h 1043"/>
                  <a:gd name="connsiteX39" fmla="*/ 2808 w 4239"/>
                  <a:gd name="connsiteY39" fmla="*/ 1039 h 1043"/>
                  <a:gd name="connsiteX40" fmla="*/ 2748 w 4239"/>
                  <a:gd name="connsiteY40" fmla="*/ 1025 h 1043"/>
                  <a:gd name="connsiteX41" fmla="*/ 2695 w 4239"/>
                  <a:gd name="connsiteY41" fmla="*/ 1002 h 1043"/>
                  <a:gd name="connsiteX42" fmla="*/ 2643 w 4239"/>
                  <a:gd name="connsiteY42" fmla="*/ 973 h 1043"/>
                  <a:gd name="connsiteX43" fmla="*/ 2595 w 4239"/>
                  <a:gd name="connsiteY43" fmla="*/ 935 h 1043"/>
                  <a:gd name="connsiteX44" fmla="*/ 2552 w 4239"/>
                  <a:gd name="connsiteY44" fmla="*/ 894 h 1043"/>
                  <a:gd name="connsiteX45" fmla="*/ 2509 w 4239"/>
                  <a:gd name="connsiteY45" fmla="*/ 846 h 1043"/>
                  <a:gd name="connsiteX46" fmla="*/ 2469 w 4239"/>
                  <a:gd name="connsiteY46" fmla="*/ 796 h 1043"/>
                  <a:gd name="connsiteX47" fmla="*/ 2430 w 4239"/>
                  <a:gd name="connsiteY47" fmla="*/ 740 h 1043"/>
                  <a:gd name="connsiteX48" fmla="*/ 2393 w 4239"/>
                  <a:gd name="connsiteY48" fmla="*/ 684 h 1043"/>
                  <a:gd name="connsiteX49" fmla="*/ 2288 w 4239"/>
                  <a:gd name="connsiteY49" fmla="*/ 510 h 1043"/>
                  <a:gd name="connsiteX50" fmla="*/ 2251 w 4239"/>
                  <a:gd name="connsiteY50" fmla="*/ 452 h 1043"/>
                  <a:gd name="connsiteX51" fmla="*/ 2213 w 4239"/>
                  <a:gd name="connsiteY51" fmla="*/ 396 h 1043"/>
                  <a:gd name="connsiteX52" fmla="*/ 2176 w 4239"/>
                  <a:gd name="connsiteY52" fmla="*/ 342 h 1043"/>
                  <a:gd name="connsiteX53" fmla="*/ 2137 w 4239"/>
                  <a:gd name="connsiteY53" fmla="*/ 293 h 1043"/>
                  <a:gd name="connsiteX54" fmla="*/ 2096 w 4239"/>
                  <a:gd name="connsiteY54" fmla="*/ 247 h 1043"/>
                  <a:gd name="connsiteX55" fmla="*/ 2054 w 4239"/>
                  <a:gd name="connsiteY55" fmla="*/ 205 h 1043"/>
                  <a:gd name="connsiteX56" fmla="*/ 2009 w 4239"/>
                  <a:gd name="connsiteY56" fmla="*/ 168 h 1043"/>
                  <a:gd name="connsiteX57" fmla="*/ 1962 w 4239"/>
                  <a:gd name="connsiteY57" fmla="*/ 139 h 1043"/>
                  <a:gd name="connsiteX58" fmla="*/ 1910 w 4239"/>
                  <a:gd name="connsiteY58" fmla="*/ 116 h 1043"/>
                  <a:gd name="connsiteX59" fmla="*/ 1854 w 4239"/>
                  <a:gd name="connsiteY59" fmla="*/ 100 h 1043"/>
                  <a:gd name="connsiteX60" fmla="*/ 1796 w 4239"/>
                  <a:gd name="connsiteY60" fmla="*/ 91 h 1043"/>
                  <a:gd name="connsiteX61" fmla="*/ 1732 w 4239"/>
                  <a:gd name="connsiteY61" fmla="*/ 93 h 1043"/>
                  <a:gd name="connsiteX62" fmla="*/ 1664 w 4239"/>
                  <a:gd name="connsiteY62" fmla="*/ 104 h 1043"/>
                  <a:gd name="connsiteX63" fmla="*/ 1602 w 4239"/>
                  <a:gd name="connsiteY63" fmla="*/ 122 h 1043"/>
                  <a:gd name="connsiteX64" fmla="*/ 1545 w 4239"/>
                  <a:gd name="connsiteY64" fmla="*/ 147 h 1043"/>
                  <a:gd name="connsiteX65" fmla="*/ 1491 w 4239"/>
                  <a:gd name="connsiteY65" fmla="*/ 181 h 1043"/>
                  <a:gd name="connsiteX66" fmla="*/ 1439 w 4239"/>
                  <a:gd name="connsiteY66" fmla="*/ 218 h 1043"/>
                  <a:gd name="connsiteX67" fmla="*/ 1394 w 4239"/>
                  <a:gd name="connsiteY67" fmla="*/ 261 h 1043"/>
                  <a:gd name="connsiteX68" fmla="*/ 1348 w 4239"/>
                  <a:gd name="connsiteY68" fmla="*/ 307 h 1043"/>
                  <a:gd name="connsiteX69" fmla="*/ 1307 w 4239"/>
                  <a:gd name="connsiteY69" fmla="*/ 359 h 1043"/>
                  <a:gd name="connsiteX70" fmla="*/ 1268 w 4239"/>
                  <a:gd name="connsiteY70" fmla="*/ 413 h 1043"/>
                  <a:gd name="connsiteX71" fmla="*/ 1231 w 4239"/>
                  <a:gd name="connsiteY71" fmla="*/ 467 h 1043"/>
                  <a:gd name="connsiteX72" fmla="*/ 1194 w 4239"/>
                  <a:gd name="connsiteY72" fmla="*/ 523 h 1043"/>
                  <a:gd name="connsiteX73" fmla="*/ 1156 w 4239"/>
                  <a:gd name="connsiteY73" fmla="*/ 581 h 1043"/>
                  <a:gd name="connsiteX74" fmla="*/ 1121 w 4239"/>
                  <a:gd name="connsiteY74" fmla="*/ 637 h 1043"/>
                  <a:gd name="connsiteX75" fmla="*/ 1047 w 4239"/>
                  <a:gd name="connsiteY75" fmla="*/ 749 h 1043"/>
                  <a:gd name="connsiteX76" fmla="*/ 1008 w 4239"/>
                  <a:gd name="connsiteY76" fmla="*/ 801 h 1043"/>
                  <a:gd name="connsiteX77" fmla="*/ 966 w 4239"/>
                  <a:gd name="connsiteY77" fmla="*/ 850 h 1043"/>
                  <a:gd name="connsiteX78" fmla="*/ 923 w 4239"/>
                  <a:gd name="connsiteY78" fmla="*/ 896 h 1043"/>
                  <a:gd name="connsiteX79" fmla="*/ 876 w 4239"/>
                  <a:gd name="connsiteY79" fmla="*/ 937 h 1043"/>
                  <a:gd name="connsiteX80" fmla="*/ 826 w 4239"/>
                  <a:gd name="connsiteY80" fmla="*/ 973 h 1043"/>
                  <a:gd name="connsiteX81" fmla="*/ 772 w 4239"/>
                  <a:gd name="connsiteY81" fmla="*/ 1002 h 1043"/>
                  <a:gd name="connsiteX82" fmla="*/ 717 w 4239"/>
                  <a:gd name="connsiteY82" fmla="*/ 1025 h 1043"/>
                  <a:gd name="connsiteX83" fmla="*/ 653 w 4239"/>
                  <a:gd name="connsiteY83" fmla="*/ 1037 h 1043"/>
                  <a:gd name="connsiteX84" fmla="*/ 587 w 4239"/>
                  <a:gd name="connsiteY84" fmla="*/ 1043 h 1043"/>
                  <a:gd name="connsiteX85" fmla="*/ 580 w 4239"/>
                  <a:gd name="connsiteY85" fmla="*/ 1043 h 1043"/>
                  <a:gd name="connsiteX86" fmla="*/ 512 w 4239"/>
                  <a:gd name="connsiteY86" fmla="*/ 1039 h 1043"/>
                  <a:gd name="connsiteX87" fmla="*/ 450 w 4239"/>
                  <a:gd name="connsiteY87" fmla="*/ 1027 h 1043"/>
                  <a:gd name="connsiteX88" fmla="*/ 392 w 4239"/>
                  <a:gd name="connsiteY88" fmla="*/ 1008 h 1043"/>
                  <a:gd name="connsiteX89" fmla="*/ 341 w 4239"/>
                  <a:gd name="connsiteY89" fmla="*/ 983 h 1043"/>
                  <a:gd name="connsiteX90" fmla="*/ 293 w 4239"/>
                  <a:gd name="connsiteY90" fmla="*/ 952 h 1043"/>
                  <a:gd name="connsiteX91" fmla="*/ 248 w 4239"/>
                  <a:gd name="connsiteY91" fmla="*/ 915 h 1043"/>
                  <a:gd name="connsiteX92" fmla="*/ 207 w 4239"/>
                  <a:gd name="connsiteY92" fmla="*/ 873 h 1043"/>
                  <a:gd name="connsiteX93" fmla="*/ 169 w 4239"/>
                  <a:gd name="connsiteY93" fmla="*/ 828 h 1043"/>
                  <a:gd name="connsiteX94" fmla="*/ 132 w 4239"/>
                  <a:gd name="connsiteY94" fmla="*/ 780 h 1043"/>
                  <a:gd name="connsiteX95" fmla="*/ 99 w 4239"/>
                  <a:gd name="connsiteY95" fmla="*/ 728 h 1043"/>
                  <a:gd name="connsiteX96" fmla="*/ 64 w 4239"/>
                  <a:gd name="connsiteY96" fmla="*/ 674 h 1043"/>
                  <a:gd name="connsiteX97" fmla="*/ 33 w 4239"/>
                  <a:gd name="connsiteY97" fmla="*/ 618 h 1043"/>
                  <a:gd name="connsiteX98" fmla="*/ 0 w 4239"/>
                  <a:gd name="connsiteY98" fmla="*/ 560 h 1043"/>
                  <a:gd name="connsiteX99" fmla="*/ 77 w 4239"/>
                  <a:gd name="connsiteY99" fmla="*/ 516 h 1043"/>
                  <a:gd name="connsiteX100" fmla="*/ 110 w 4239"/>
                  <a:gd name="connsiteY100" fmla="*/ 575 h 1043"/>
                  <a:gd name="connsiteX101" fmla="*/ 143 w 4239"/>
                  <a:gd name="connsiteY101" fmla="*/ 631 h 1043"/>
                  <a:gd name="connsiteX102" fmla="*/ 176 w 4239"/>
                  <a:gd name="connsiteY102" fmla="*/ 684 h 1043"/>
                  <a:gd name="connsiteX103" fmla="*/ 209 w 4239"/>
                  <a:gd name="connsiteY103" fmla="*/ 736 h 1043"/>
                  <a:gd name="connsiteX104" fmla="*/ 244 w 4239"/>
                  <a:gd name="connsiteY104" fmla="*/ 782 h 1043"/>
                  <a:gd name="connsiteX105" fmla="*/ 281 w 4239"/>
                  <a:gd name="connsiteY105" fmla="*/ 825 h 1043"/>
                  <a:gd name="connsiteX106" fmla="*/ 322 w 4239"/>
                  <a:gd name="connsiteY106" fmla="*/ 863 h 1043"/>
                  <a:gd name="connsiteX107" fmla="*/ 366 w 4239"/>
                  <a:gd name="connsiteY107" fmla="*/ 894 h 1043"/>
                  <a:gd name="connsiteX108" fmla="*/ 413 w 4239"/>
                  <a:gd name="connsiteY108" fmla="*/ 921 h 1043"/>
                  <a:gd name="connsiteX109" fmla="*/ 463 w 4239"/>
                  <a:gd name="connsiteY109" fmla="*/ 940 h 1043"/>
                  <a:gd name="connsiteX110" fmla="*/ 518 w 4239"/>
                  <a:gd name="connsiteY110" fmla="*/ 952 h 1043"/>
                  <a:gd name="connsiteX111" fmla="*/ 580 w 4239"/>
                  <a:gd name="connsiteY111" fmla="*/ 956 h 1043"/>
                  <a:gd name="connsiteX112" fmla="*/ 587 w 4239"/>
                  <a:gd name="connsiteY112" fmla="*/ 956 h 1043"/>
                  <a:gd name="connsiteX113" fmla="*/ 646 w 4239"/>
                  <a:gd name="connsiteY113" fmla="*/ 950 h 1043"/>
                  <a:gd name="connsiteX114" fmla="*/ 702 w 4239"/>
                  <a:gd name="connsiteY114" fmla="*/ 935 h 1043"/>
                  <a:gd name="connsiteX115" fmla="*/ 756 w 4239"/>
                  <a:gd name="connsiteY115" fmla="*/ 913 h 1043"/>
                  <a:gd name="connsiteX116" fmla="*/ 803 w 4239"/>
                  <a:gd name="connsiteY116" fmla="*/ 884 h 1043"/>
                  <a:gd name="connsiteX117" fmla="*/ 849 w 4239"/>
                  <a:gd name="connsiteY117" fmla="*/ 846 h 1043"/>
                  <a:gd name="connsiteX118" fmla="*/ 892 w 4239"/>
                  <a:gd name="connsiteY118" fmla="*/ 803 h 1043"/>
                  <a:gd name="connsiteX119" fmla="*/ 931 w 4239"/>
                  <a:gd name="connsiteY119" fmla="*/ 755 h 1043"/>
                  <a:gd name="connsiteX120" fmla="*/ 971 w 4239"/>
                  <a:gd name="connsiteY120" fmla="*/ 703 h 1043"/>
                  <a:gd name="connsiteX121" fmla="*/ 1010 w 4239"/>
                  <a:gd name="connsiteY121" fmla="*/ 649 h 1043"/>
                  <a:gd name="connsiteX122" fmla="*/ 1121 w 4239"/>
                  <a:gd name="connsiteY122" fmla="*/ 475 h 1043"/>
                  <a:gd name="connsiteX123" fmla="*/ 1161 w 4239"/>
                  <a:gd name="connsiteY123" fmla="*/ 415 h 1043"/>
                  <a:gd name="connsiteX124" fmla="*/ 1202 w 4239"/>
                  <a:gd name="connsiteY124" fmla="*/ 357 h 1043"/>
                  <a:gd name="connsiteX125" fmla="*/ 1245 w 4239"/>
                  <a:gd name="connsiteY125" fmla="*/ 299 h 1043"/>
                  <a:gd name="connsiteX126" fmla="*/ 1291 w 4239"/>
                  <a:gd name="connsiteY126" fmla="*/ 245 h 1043"/>
                  <a:gd name="connsiteX127" fmla="*/ 1338 w 4239"/>
                  <a:gd name="connsiteY127" fmla="*/ 193 h 1043"/>
                  <a:gd name="connsiteX128" fmla="*/ 1392 w 4239"/>
                  <a:gd name="connsiteY128" fmla="*/ 145 h 1043"/>
                  <a:gd name="connsiteX129" fmla="*/ 1447 w 4239"/>
                  <a:gd name="connsiteY129" fmla="*/ 104 h 1043"/>
                  <a:gd name="connsiteX130" fmla="*/ 1509 w 4239"/>
                  <a:gd name="connsiteY130" fmla="*/ 69 h 1043"/>
                  <a:gd name="connsiteX131" fmla="*/ 1575 w 4239"/>
                  <a:gd name="connsiteY131" fmla="*/ 40 h 1043"/>
                  <a:gd name="connsiteX132" fmla="*/ 1648 w 4239"/>
                  <a:gd name="connsiteY132" fmla="*/ 19 h 1043"/>
                  <a:gd name="connsiteX133" fmla="*/ 1726 w 4239"/>
                  <a:gd name="connsiteY133" fmla="*/ 6 h 1043"/>
                  <a:gd name="connsiteX134" fmla="*/ 1796 w 4239"/>
                  <a:gd name="connsiteY134" fmla="*/ 4 h 1043"/>
                  <a:gd name="connsiteX135" fmla="*/ 1862 w 4239"/>
                  <a:gd name="connsiteY135" fmla="*/ 13 h 1043"/>
                  <a:gd name="connsiteX136" fmla="*/ 1922 w 4239"/>
                  <a:gd name="connsiteY136" fmla="*/ 27 h 1043"/>
                  <a:gd name="connsiteX137" fmla="*/ 1980 w 4239"/>
                  <a:gd name="connsiteY137" fmla="*/ 50 h 1043"/>
                  <a:gd name="connsiteX138" fmla="*/ 2034 w 4239"/>
                  <a:gd name="connsiteY138" fmla="*/ 81 h 1043"/>
                  <a:gd name="connsiteX139" fmla="*/ 2083 w 4239"/>
                  <a:gd name="connsiteY139" fmla="*/ 116 h 1043"/>
                  <a:gd name="connsiteX140" fmla="*/ 2129 w 4239"/>
                  <a:gd name="connsiteY140" fmla="*/ 158 h 1043"/>
                  <a:gd name="connsiteX141" fmla="*/ 2174 w 4239"/>
                  <a:gd name="connsiteY141" fmla="*/ 203 h 1043"/>
                  <a:gd name="connsiteX142" fmla="*/ 2216 w 4239"/>
                  <a:gd name="connsiteY142" fmla="*/ 251 h 1043"/>
                  <a:gd name="connsiteX143" fmla="*/ 2255 w 4239"/>
                  <a:gd name="connsiteY143" fmla="*/ 303 h 1043"/>
                  <a:gd name="connsiteX144" fmla="*/ 2292 w 4239"/>
                  <a:gd name="connsiteY144" fmla="*/ 357 h 1043"/>
                  <a:gd name="connsiteX145" fmla="*/ 2327 w 4239"/>
                  <a:gd name="connsiteY145" fmla="*/ 413 h 1043"/>
                  <a:gd name="connsiteX146" fmla="*/ 2362 w 4239"/>
                  <a:gd name="connsiteY146" fmla="*/ 467 h 1043"/>
                  <a:gd name="connsiteX147" fmla="*/ 2395 w 4239"/>
                  <a:gd name="connsiteY147" fmla="*/ 523 h 1043"/>
                  <a:gd name="connsiteX148" fmla="*/ 2432 w 4239"/>
                  <a:gd name="connsiteY148" fmla="*/ 585 h 1043"/>
                  <a:gd name="connsiteX149" fmla="*/ 2469 w 4239"/>
                  <a:gd name="connsiteY149" fmla="*/ 643 h 1043"/>
                  <a:gd name="connsiteX150" fmla="*/ 2509 w 4239"/>
                  <a:gd name="connsiteY150" fmla="*/ 701 h 1043"/>
                  <a:gd name="connsiteX151" fmla="*/ 2546 w 4239"/>
                  <a:gd name="connsiteY151" fmla="*/ 755 h 1043"/>
                  <a:gd name="connsiteX152" fmla="*/ 2587 w 4239"/>
                  <a:gd name="connsiteY152" fmla="*/ 805 h 1043"/>
                  <a:gd name="connsiteX153" fmla="*/ 2628 w 4239"/>
                  <a:gd name="connsiteY153" fmla="*/ 848 h 1043"/>
                  <a:gd name="connsiteX154" fmla="*/ 2672 w 4239"/>
                  <a:gd name="connsiteY154" fmla="*/ 886 h 1043"/>
                  <a:gd name="connsiteX155" fmla="*/ 2717 w 4239"/>
                  <a:gd name="connsiteY155" fmla="*/ 917 h 1043"/>
                  <a:gd name="connsiteX156" fmla="*/ 2767 w 4239"/>
                  <a:gd name="connsiteY156" fmla="*/ 940 h 1043"/>
                  <a:gd name="connsiteX157" fmla="*/ 2820 w 4239"/>
                  <a:gd name="connsiteY157" fmla="*/ 952 h 1043"/>
                  <a:gd name="connsiteX158" fmla="*/ 2876 w 4239"/>
                  <a:gd name="connsiteY158" fmla="*/ 956 h 1043"/>
                  <a:gd name="connsiteX159" fmla="*/ 2932 w 4239"/>
                  <a:gd name="connsiteY159" fmla="*/ 950 h 1043"/>
                  <a:gd name="connsiteX160" fmla="*/ 2982 w 4239"/>
                  <a:gd name="connsiteY160" fmla="*/ 935 h 1043"/>
                  <a:gd name="connsiteX161" fmla="*/ 3029 w 4239"/>
                  <a:gd name="connsiteY161" fmla="*/ 915 h 1043"/>
                  <a:gd name="connsiteX162" fmla="*/ 3072 w 4239"/>
                  <a:gd name="connsiteY162" fmla="*/ 884 h 1043"/>
                  <a:gd name="connsiteX163" fmla="*/ 3112 w 4239"/>
                  <a:gd name="connsiteY163" fmla="*/ 848 h 1043"/>
                  <a:gd name="connsiteX164" fmla="*/ 3149 w 4239"/>
                  <a:gd name="connsiteY164" fmla="*/ 807 h 1043"/>
                  <a:gd name="connsiteX165" fmla="*/ 3184 w 4239"/>
                  <a:gd name="connsiteY165" fmla="*/ 759 h 1043"/>
                  <a:gd name="connsiteX166" fmla="*/ 3217 w 4239"/>
                  <a:gd name="connsiteY166" fmla="*/ 709 h 1043"/>
                  <a:gd name="connsiteX167" fmla="*/ 3250 w 4239"/>
                  <a:gd name="connsiteY167" fmla="*/ 655 h 1043"/>
                  <a:gd name="connsiteX168" fmla="*/ 3283 w 4239"/>
                  <a:gd name="connsiteY168" fmla="*/ 597 h 1043"/>
                  <a:gd name="connsiteX169" fmla="*/ 3316 w 4239"/>
                  <a:gd name="connsiteY169" fmla="*/ 537 h 1043"/>
                  <a:gd name="connsiteX170" fmla="*/ 3345 w 4239"/>
                  <a:gd name="connsiteY170" fmla="*/ 483 h 1043"/>
                  <a:gd name="connsiteX171" fmla="*/ 3407 w 4239"/>
                  <a:gd name="connsiteY171" fmla="*/ 375 h 1043"/>
                  <a:gd name="connsiteX172" fmla="*/ 3477 w 4239"/>
                  <a:gd name="connsiteY172" fmla="*/ 272 h 1043"/>
                  <a:gd name="connsiteX173" fmla="*/ 3514 w 4239"/>
                  <a:gd name="connsiteY173" fmla="*/ 224 h 1043"/>
                  <a:gd name="connsiteX174" fmla="*/ 3555 w 4239"/>
                  <a:gd name="connsiteY174" fmla="*/ 178 h 1043"/>
                  <a:gd name="connsiteX175" fmla="*/ 3599 w 4239"/>
                  <a:gd name="connsiteY175" fmla="*/ 137 h 1043"/>
                  <a:gd name="connsiteX176" fmla="*/ 3646 w 4239"/>
                  <a:gd name="connsiteY176" fmla="*/ 100 h 1043"/>
                  <a:gd name="connsiteX177" fmla="*/ 3698 w 4239"/>
                  <a:gd name="connsiteY177" fmla="*/ 66 h 1043"/>
                  <a:gd name="connsiteX178" fmla="*/ 3756 w 4239"/>
                  <a:gd name="connsiteY178" fmla="*/ 40 h 1043"/>
                  <a:gd name="connsiteX179" fmla="*/ 3816 w 4239"/>
                  <a:gd name="connsiteY179" fmla="*/ 19 h 1043"/>
                  <a:gd name="connsiteX180" fmla="*/ 3882 w 4239"/>
                  <a:gd name="connsiteY180" fmla="*/ 6 h 1043"/>
                  <a:gd name="connsiteX181" fmla="*/ 3954 w 4239"/>
                  <a:gd name="connsiteY181" fmla="*/ 0 h 1043"/>
                  <a:gd name="connsiteX0" fmla="*/ 3954 w 4233"/>
                  <a:gd name="connsiteY0" fmla="*/ 0 h 1043"/>
                  <a:gd name="connsiteX1" fmla="*/ 4004 w 4233"/>
                  <a:gd name="connsiteY1" fmla="*/ 0 h 1043"/>
                  <a:gd name="connsiteX2" fmla="*/ 4032 w 4233"/>
                  <a:gd name="connsiteY2" fmla="*/ 4 h 1043"/>
                  <a:gd name="connsiteX3" fmla="*/ 4063 w 4233"/>
                  <a:gd name="connsiteY3" fmla="*/ 13 h 1043"/>
                  <a:gd name="connsiteX4" fmla="*/ 4101 w 4233"/>
                  <a:gd name="connsiteY4" fmla="*/ 23 h 1043"/>
                  <a:gd name="connsiteX5" fmla="*/ 4142 w 4233"/>
                  <a:gd name="connsiteY5" fmla="*/ 40 h 1043"/>
                  <a:gd name="connsiteX6" fmla="*/ 4185 w 4233"/>
                  <a:gd name="connsiteY6" fmla="*/ 60 h 1043"/>
                  <a:gd name="connsiteX7" fmla="*/ 4233 w 4233"/>
                  <a:gd name="connsiteY7" fmla="*/ 89 h 1043"/>
                  <a:gd name="connsiteX8" fmla="*/ 4181 w 4233"/>
                  <a:gd name="connsiteY8" fmla="*/ 158 h 1043"/>
                  <a:gd name="connsiteX9" fmla="*/ 4142 w 4233"/>
                  <a:gd name="connsiteY9" fmla="*/ 135 h 1043"/>
                  <a:gd name="connsiteX10" fmla="*/ 4092 w 4233"/>
                  <a:gd name="connsiteY10" fmla="*/ 112 h 1043"/>
                  <a:gd name="connsiteX11" fmla="*/ 4049 w 4233"/>
                  <a:gd name="connsiteY11" fmla="*/ 98 h 1043"/>
                  <a:gd name="connsiteX12" fmla="*/ 4014 w 4233"/>
                  <a:gd name="connsiteY12" fmla="*/ 89 h 1043"/>
                  <a:gd name="connsiteX13" fmla="*/ 3985 w 4233"/>
                  <a:gd name="connsiteY13" fmla="*/ 87 h 1043"/>
                  <a:gd name="connsiteX14" fmla="*/ 3958 w 4233"/>
                  <a:gd name="connsiteY14" fmla="*/ 87 h 1043"/>
                  <a:gd name="connsiteX15" fmla="*/ 3892 w 4233"/>
                  <a:gd name="connsiteY15" fmla="*/ 93 h 1043"/>
                  <a:gd name="connsiteX16" fmla="*/ 3830 w 4233"/>
                  <a:gd name="connsiteY16" fmla="*/ 106 h 1043"/>
                  <a:gd name="connsiteX17" fmla="*/ 3774 w 4233"/>
                  <a:gd name="connsiteY17" fmla="*/ 127 h 1043"/>
                  <a:gd name="connsiteX18" fmla="*/ 3723 w 4233"/>
                  <a:gd name="connsiteY18" fmla="*/ 154 h 1043"/>
                  <a:gd name="connsiteX19" fmla="*/ 3675 w 4233"/>
                  <a:gd name="connsiteY19" fmla="*/ 187 h 1043"/>
                  <a:gd name="connsiteX20" fmla="*/ 3632 w 4233"/>
                  <a:gd name="connsiteY20" fmla="*/ 224 h 1043"/>
                  <a:gd name="connsiteX21" fmla="*/ 3593 w 4233"/>
                  <a:gd name="connsiteY21" fmla="*/ 268 h 1043"/>
                  <a:gd name="connsiteX22" fmla="*/ 3553 w 4233"/>
                  <a:gd name="connsiteY22" fmla="*/ 313 h 1043"/>
                  <a:gd name="connsiteX23" fmla="*/ 3518 w 4233"/>
                  <a:gd name="connsiteY23" fmla="*/ 363 h 1043"/>
                  <a:gd name="connsiteX24" fmla="*/ 3485 w 4233"/>
                  <a:gd name="connsiteY24" fmla="*/ 415 h 1043"/>
                  <a:gd name="connsiteX25" fmla="*/ 3423 w 4233"/>
                  <a:gd name="connsiteY25" fmla="*/ 523 h 1043"/>
                  <a:gd name="connsiteX26" fmla="*/ 3330 w 4233"/>
                  <a:gd name="connsiteY26" fmla="*/ 691 h 1043"/>
                  <a:gd name="connsiteX27" fmla="*/ 3297 w 4233"/>
                  <a:gd name="connsiteY27" fmla="*/ 747 h 1043"/>
                  <a:gd name="connsiteX28" fmla="*/ 3262 w 4233"/>
                  <a:gd name="connsiteY28" fmla="*/ 799 h 1043"/>
                  <a:gd name="connsiteX29" fmla="*/ 3227 w 4233"/>
                  <a:gd name="connsiteY29" fmla="*/ 848 h 1043"/>
                  <a:gd name="connsiteX30" fmla="*/ 3188 w 4233"/>
                  <a:gd name="connsiteY30" fmla="*/ 894 h 1043"/>
                  <a:gd name="connsiteX31" fmla="*/ 3147 w 4233"/>
                  <a:gd name="connsiteY31" fmla="*/ 935 h 1043"/>
                  <a:gd name="connsiteX32" fmla="*/ 3101 w 4233"/>
                  <a:gd name="connsiteY32" fmla="*/ 971 h 1043"/>
                  <a:gd name="connsiteX33" fmla="*/ 3052 w 4233"/>
                  <a:gd name="connsiteY33" fmla="*/ 1000 h 1043"/>
                  <a:gd name="connsiteX34" fmla="*/ 3000 w 4233"/>
                  <a:gd name="connsiteY34" fmla="*/ 1022 h 1043"/>
                  <a:gd name="connsiteX35" fmla="*/ 2942 w 4233"/>
                  <a:gd name="connsiteY35" fmla="*/ 1037 h 1043"/>
                  <a:gd name="connsiteX36" fmla="*/ 2878 w 4233"/>
                  <a:gd name="connsiteY36" fmla="*/ 1043 h 1043"/>
                  <a:gd name="connsiteX37" fmla="*/ 2870 w 4233"/>
                  <a:gd name="connsiteY37" fmla="*/ 1043 h 1043"/>
                  <a:gd name="connsiteX38" fmla="*/ 2808 w 4233"/>
                  <a:gd name="connsiteY38" fmla="*/ 1039 h 1043"/>
                  <a:gd name="connsiteX39" fmla="*/ 2748 w 4233"/>
                  <a:gd name="connsiteY39" fmla="*/ 1025 h 1043"/>
                  <a:gd name="connsiteX40" fmla="*/ 2695 w 4233"/>
                  <a:gd name="connsiteY40" fmla="*/ 1002 h 1043"/>
                  <a:gd name="connsiteX41" fmla="*/ 2643 w 4233"/>
                  <a:gd name="connsiteY41" fmla="*/ 973 h 1043"/>
                  <a:gd name="connsiteX42" fmla="*/ 2595 w 4233"/>
                  <a:gd name="connsiteY42" fmla="*/ 935 h 1043"/>
                  <a:gd name="connsiteX43" fmla="*/ 2552 w 4233"/>
                  <a:gd name="connsiteY43" fmla="*/ 894 h 1043"/>
                  <a:gd name="connsiteX44" fmla="*/ 2509 w 4233"/>
                  <a:gd name="connsiteY44" fmla="*/ 846 h 1043"/>
                  <a:gd name="connsiteX45" fmla="*/ 2469 w 4233"/>
                  <a:gd name="connsiteY45" fmla="*/ 796 h 1043"/>
                  <a:gd name="connsiteX46" fmla="*/ 2430 w 4233"/>
                  <a:gd name="connsiteY46" fmla="*/ 740 h 1043"/>
                  <a:gd name="connsiteX47" fmla="*/ 2393 w 4233"/>
                  <a:gd name="connsiteY47" fmla="*/ 684 h 1043"/>
                  <a:gd name="connsiteX48" fmla="*/ 2288 w 4233"/>
                  <a:gd name="connsiteY48" fmla="*/ 510 h 1043"/>
                  <a:gd name="connsiteX49" fmla="*/ 2251 w 4233"/>
                  <a:gd name="connsiteY49" fmla="*/ 452 h 1043"/>
                  <a:gd name="connsiteX50" fmla="*/ 2213 w 4233"/>
                  <a:gd name="connsiteY50" fmla="*/ 396 h 1043"/>
                  <a:gd name="connsiteX51" fmla="*/ 2176 w 4233"/>
                  <a:gd name="connsiteY51" fmla="*/ 342 h 1043"/>
                  <a:gd name="connsiteX52" fmla="*/ 2137 w 4233"/>
                  <a:gd name="connsiteY52" fmla="*/ 293 h 1043"/>
                  <a:gd name="connsiteX53" fmla="*/ 2096 w 4233"/>
                  <a:gd name="connsiteY53" fmla="*/ 247 h 1043"/>
                  <a:gd name="connsiteX54" fmla="*/ 2054 w 4233"/>
                  <a:gd name="connsiteY54" fmla="*/ 205 h 1043"/>
                  <a:gd name="connsiteX55" fmla="*/ 2009 w 4233"/>
                  <a:gd name="connsiteY55" fmla="*/ 168 h 1043"/>
                  <a:gd name="connsiteX56" fmla="*/ 1962 w 4233"/>
                  <a:gd name="connsiteY56" fmla="*/ 139 h 1043"/>
                  <a:gd name="connsiteX57" fmla="*/ 1910 w 4233"/>
                  <a:gd name="connsiteY57" fmla="*/ 116 h 1043"/>
                  <a:gd name="connsiteX58" fmla="*/ 1854 w 4233"/>
                  <a:gd name="connsiteY58" fmla="*/ 100 h 1043"/>
                  <a:gd name="connsiteX59" fmla="*/ 1796 w 4233"/>
                  <a:gd name="connsiteY59" fmla="*/ 91 h 1043"/>
                  <a:gd name="connsiteX60" fmla="*/ 1732 w 4233"/>
                  <a:gd name="connsiteY60" fmla="*/ 93 h 1043"/>
                  <a:gd name="connsiteX61" fmla="*/ 1664 w 4233"/>
                  <a:gd name="connsiteY61" fmla="*/ 104 h 1043"/>
                  <a:gd name="connsiteX62" fmla="*/ 1602 w 4233"/>
                  <a:gd name="connsiteY62" fmla="*/ 122 h 1043"/>
                  <a:gd name="connsiteX63" fmla="*/ 1545 w 4233"/>
                  <a:gd name="connsiteY63" fmla="*/ 147 h 1043"/>
                  <a:gd name="connsiteX64" fmla="*/ 1491 w 4233"/>
                  <a:gd name="connsiteY64" fmla="*/ 181 h 1043"/>
                  <a:gd name="connsiteX65" fmla="*/ 1439 w 4233"/>
                  <a:gd name="connsiteY65" fmla="*/ 218 h 1043"/>
                  <a:gd name="connsiteX66" fmla="*/ 1394 w 4233"/>
                  <a:gd name="connsiteY66" fmla="*/ 261 h 1043"/>
                  <a:gd name="connsiteX67" fmla="*/ 1348 w 4233"/>
                  <a:gd name="connsiteY67" fmla="*/ 307 h 1043"/>
                  <a:gd name="connsiteX68" fmla="*/ 1307 w 4233"/>
                  <a:gd name="connsiteY68" fmla="*/ 359 h 1043"/>
                  <a:gd name="connsiteX69" fmla="*/ 1268 w 4233"/>
                  <a:gd name="connsiteY69" fmla="*/ 413 h 1043"/>
                  <a:gd name="connsiteX70" fmla="*/ 1231 w 4233"/>
                  <a:gd name="connsiteY70" fmla="*/ 467 h 1043"/>
                  <a:gd name="connsiteX71" fmla="*/ 1194 w 4233"/>
                  <a:gd name="connsiteY71" fmla="*/ 523 h 1043"/>
                  <a:gd name="connsiteX72" fmla="*/ 1156 w 4233"/>
                  <a:gd name="connsiteY72" fmla="*/ 581 h 1043"/>
                  <a:gd name="connsiteX73" fmla="*/ 1121 w 4233"/>
                  <a:gd name="connsiteY73" fmla="*/ 637 h 1043"/>
                  <a:gd name="connsiteX74" fmla="*/ 1047 w 4233"/>
                  <a:gd name="connsiteY74" fmla="*/ 749 h 1043"/>
                  <a:gd name="connsiteX75" fmla="*/ 1008 w 4233"/>
                  <a:gd name="connsiteY75" fmla="*/ 801 h 1043"/>
                  <a:gd name="connsiteX76" fmla="*/ 966 w 4233"/>
                  <a:gd name="connsiteY76" fmla="*/ 850 h 1043"/>
                  <a:gd name="connsiteX77" fmla="*/ 923 w 4233"/>
                  <a:gd name="connsiteY77" fmla="*/ 896 h 1043"/>
                  <a:gd name="connsiteX78" fmla="*/ 876 w 4233"/>
                  <a:gd name="connsiteY78" fmla="*/ 937 h 1043"/>
                  <a:gd name="connsiteX79" fmla="*/ 826 w 4233"/>
                  <a:gd name="connsiteY79" fmla="*/ 973 h 1043"/>
                  <a:gd name="connsiteX80" fmla="*/ 772 w 4233"/>
                  <a:gd name="connsiteY80" fmla="*/ 1002 h 1043"/>
                  <a:gd name="connsiteX81" fmla="*/ 717 w 4233"/>
                  <a:gd name="connsiteY81" fmla="*/ 1025 h 1043"/>
                  <a:gd name="connsiteX82" fmla="*/ 653 w 4233"/>
                  <a:gd name="connsiteY82" fmla="*/ 1037 h 1043"/>
                  <a:gd name="connsiteX83" fmla="*/ 587 w 4233"/>
                  <a:gd name="connsiteY83" fmla="*/ 1043 h 1043"/>
                  <a:gd name="connsiteX84" fmla="*/ 580 w 4233"/>
                  <a:gd name="connsiteY84" fmla="*/ 1043 h 1043"/>
                  <a:gd name="connsiteX85" fmla="*/ 512 w 4233"/>
                  <a:gd name="connsiteY85" fmla="*/ 1039 h 1043"/>
                  <a:gd name="connsiteX86" fmla="*/ 450 w 4233"/>
                  <a:gd name="connsiteY86" fmla="*/ 1027 h 1043"/>
                  <a:gd name="connsiteX87" fmla="*/ 392 w 4233"/>
                  <a:gd name="connsiteY87" fmla="*/ 1008 h 1043"/>
                  <a:gd name="connsiteX88" fmla="*/ 341 w 4233"/>
                  <a:gd name="connsiteY88" fmla="*/ 983 h 1043"/>
                  <a:gd name="connsiteX89" fmla="*/ 293 w 4233"/>
                  <a:gd name="connsiteY89" fmla="*/ 952 h 1043"/>
                  <a:gd name="connsiteX90" fmla="*/ 248 w 4233"/>
                  <a:gd name="connsiteY90" fmla="*/ 915 h 1043"/>
                  <a:gd name="connsiteX91" fmla="*/ 207 w 4233"/>
                  <a:gd name="connsiteY91" fmla="*/ 873 h 1043"/>
                  <a:gd name="connsiteX92" fmla="*/ 169 w 4233"/>
                  <a:gd name="connsiteY92" fmla="*/ 828 h 1043"/>
                  <a:gd name="connsiteX93" fmla="*/ 132 w 4233"/>
                  <a:gd name="connsiteY93" fmla="*/ 780 h 1043"/>
                  <a:gd name="connsiteX94" fmla="*/ 99 w 4233"/>
                  <a:gd name="connsiteY94" fmla="*/ 728 h 1043"/>
                  <a:gd name="connsiteX95" fmla="*/ 64 w 4233"/>
                  <a:gd name="connsiteY95" fmla="*/ 674 h 1043"/>
                  <a:gd name="connsiteX96" fmla="*/ 33 w 4233"/>
                  <a:gd name="connsiteY96" fmla="*/ 618 h 1043"/>
                  <a:gd name="connsiteX97" fmla="*/ 0 w 4233"/>
                  <a:gd name="connsiteY97" fmla="*/ 560 h 1043"/>
                  <a:gd name="connsiteX98" fmla="*/ 77 w 4233"/>
                  <a:gd name="connsiteY98" fmla="*/ 516 h 1043"/>
                  <a:gd name="connsiteX99" fmla="*/ 110 w 4233"/>
                  <a:gd name="connsiteY99" fmla="*/ 575 h 1043"/>
                  <a:gd name="connsiteX100" fmla="*/ 143 w 4233"/>
                  <a:gd name="connsiteY100" fmla="*/ 631 h 1043"/>
                  <a:gd name="connsiteX101" fmla="*/ 176 w 4233"/>
                  <a:gd name="connsiteY101" fmla="*/ 684 h 1043"/>
                  <a:gd name="connsiteX102" fmla="*/ 209 w 4233"/>
                  <a:gd name="connsiteY102" fmla="*/ 736 h 1043"/>
                  <a:gd name="connsiteX103" fmla="*/ 244 w 4233"/>
                  <a:gd name="connsiteY103" fmla="*/ 782 h 1043"/>
                  <a:gd name="connsiteX104" fmla="*/ 281 w 4233"/>
                  <a:gd name="connsiteY104" fmla="*/ 825 h 1043"/>
                  <a:gd name="connsiteX105" fmla="*/ 322 w 4233"/>
                  <a:gd name="connsiteY105" fmla="*/ 863 h 1043"/>
                  <a:gd name="connsiteX106" fmla="*/ 366 w 4233"/>
                  <a:gd name="connsiteY106" fmla="*/ 894 h 1043"/>
                  <a:gd name="connsiteX107" fmla="*/ 413 w 4233"/>
                  <a:gd name="connsiteY107" fmla="*/ 921 h 1043"/>
                  <a:gd name="connsiteX108" fmla="*/ 463 w 4233"/>
                  <a:gd name="connsiteY108" fmla="*/ 940 h 1043"/>
                  <a:gd name="connsiteX109" fmla="*/ 518 w 4233"/>
                  <a:gd name="connsiteY109" fmla="*/ 952 h 1043"/>
                  <a:gd name="connsiteX110" fmla="*/ 580 w 4233"/>
                  <a:gd name="connsiteY110" fmla="*/ 956 h 1043"/>
                  <a:gd name="connsiteX111" fmla="*/ 587 w 4233"/>
                  <a:gd name="connsiteY111" fmla="*/ 956 h 1043"/>
                  <a:gd name="connsiteX112" fmla="*/ 646 w 4233"/>
                  <a:gd name="connsiteY112" fmla="*/ 950 h 1043"/>
                  <a:gd name="connsiteX113" fmla="*/ 702 w 4233"/>
                  <a:gd name="connsiteY113" fmla="*/ 935 h 1043"/>
                  <a:gd name="connsiteX114" fmla="*/ 756 w 4233"/>
                  <a:gd name="connsiteY114" fmla="*/ 913 h 1043"/>
                  <a:gd name="connsiteX115" fmla="*/ 803 w 4233"/>
                  <a:gd name="connsiteY115" fmla="*/ 884 h 1043"/>
                  <a:gd name="connsiteX116" fmla="*/ 849 w 4233"/>
                  <a:gd name="connsiteY116" fmla="*/ 846 h 1043"/>
                  <a:gd name="connsiteX117" fmla="*/ 892 w 4233"/>
                  <a:gd name="connsiteY117" fmla="*/ 803 h 1043"/>
                  <a:gd name="connsiteX118" fmla="*/ 931 w 4233"/>
                  <a:gd name="connsiteY118" fmla="*/ 755 h 1043"/>
                  <a:gd name="connsiteX119" fmla="*/ 971 w 4233"/>
                  <a:gd name="connsiteY119" fmla="*/ 703 h 1043"/>
                  <a:gd name="connsiteX120" fmla="*/ 1010 w 4233"/>
                  <a:gd name="connsiteY120" fmla="*/ 649 h 1043"/>
                  <a:gd name="connsiteX121" fmla="*/ 1121 w 4233"/>
                  <a:gd name="connsiteY121" fmla="*/ 475 h 1043"/>
                  <a:gd name="connsiteX122" fmla="*/ 1161 w 4233"/>
                  <a:gd name="connsiteY122" fmla="*/ 415 h 1043"/>
                  <a:gd name="connsiteX123" fmla="*/ 1202 w 4233"/>
                  <a:gd name="connsiteY123" fmla="*/ 357 h 1043"/>
                  <a:gd name="connsiteX124" fmla="*/ 1245 w 4233"/>
                  <a:gd name="connsiteY124" fmla="*/ 299 h 1043"/>
                  <a:gd name="connsiteX125" fmla="*/ 1291 w 4233"/>
                  <a:gd name="connsiteY125" fmla="*/ 245 h 1043"/>
                  <a:gd name="connsiteX126" fmla="*/ 1338 w 4233"/>
                  <a:gd name="connsiteY126" fmla="*/ 193 h 1043"/>
                  <a:gd name="connsiteX127" fmla="*/ 1392 w 4233"/>
                  <a:gd name="connsiteY127" fmla="*/ 145 h 1043"/>
                  <a:gd name="connsiteX128" fmla="*/ 1447 w 4233"/>
                  <a:gd name="connsiteY128" fmla="*/ 104 h 1043"/>
                  <a:gd name="connsiteX129" fmla="*/ 1509 w 4233"/>
                  <a:gd name="connsiteY129" fmla="*/ 69 h 1043"/>
                  <a:gd name="connsiteX130" fmla="*/ 1575 w 4233"/>
                  <a:gd name="connsiteY130" fmla="*/ 40 h 1043"/>
                  <a:gd name="connsiteX131" fmla="*/ 1648 w 4233"/>
                  <a:gd name="connsiteY131" fmla="*/ 19 h 1043"/>
                  <a:gd name="connsiteX132" fmla="*/ 1726 w 4233"/>
                  <a:gd name="connsiteY132" fmla="*/ 6 h 1043"/>
                  <a:gd name="connsiteX133" fmla="*/ 1796 w 4233"/>
                  <a:gd name="connsiteY133" fmla="*/ 4 h 1043"/>
                  <a:gd name="connsiteX134" fmla="*/ 1862 w 4233"/>
                  <a:gd name="connsiteY134" fmla="*/ 13 h 1043"/>
                  <a:gd name="connsiteX135" fmla="*/ 1922 w 4233"/>
                  <a:gd name="connsiteY135" fmla="*/ 27 h 1043"/>
                  <a:gd name="connsiteX136" fmla="*/ 1980 w 4233"/>
                  <a:gd name="connsiteY136" fmla="*/ 50 h 1043"/>
                  <a:gd name="connsiteX137" fmla="*/ 2034 w 4233"/>
                  <a:gd name="connsiteY137" fmla="*/ 81 h 1043"/>
                  <a:gd name="connsiteX138" fmla="*/ 2083 w 4233"/>
                  <a:gd name="connsiteY138" fmla="*/ 116 h 1043"/>
                  <a:gd name="connsiteX139" fmla="*/ 2129 w 4233"/>
                  <a:gd name="connsiteY139" fmla="*/ 158 h 1043"/>
                  <a:gd name="connsiteX140" fmla="*/ 2174 w 4233"/>
                  <a:gd name="connsiteY140" fmla="*/ 203 h 1043"/>
                  <a:gd name="connsiteX141" fmla="*/ 2216 w 4233"/>
                  <a:gd name="connsiteY141" fmla="*/ 251 h 1043"/>
                  <a:gd name="connsiteX142" fmla="*/ 2255 w 4233"/>
                  <a:gd name="connsiteY142" fmla="*/ 303 h 1043"/>
                  <a:gd name="connsiteX143" fmla="*/ 2292 w 4233"/>
                  <a:gd name="connsiteY143" fmla="*/ 357 h 1043"/>
                  <a:gd name="connsiteX144" fmla="*/ 2327 w 4233"/>
                  <a:gd name="connsiteY144" fmla="*/ 413 h 1043"/>
                  <a:gd name="connsiteX145" fmla="*/ 2362 w 4233"/>
                  <a:gd name="connsiteY145" fmla="*/ 467 h 1043"/>
                  <a:gd name="connsiteX146" fmla="*/ 2395 w 4233"/>
                  <a:gd name="connsiteY146" fmla="*/ 523 h 1043"/>
                  <a:gd name="connsiteX147" fmla="*/ 2432 w 4233"/>
                  <a:gd name="connsiteY147" fmla="*/ 585 h 1043"/>
                  <a:gd name="connsiteX148" fmla="*/ 2469 w 4233"/>
                  <a:gd name="connsiteY148" fmla="*/ 643 h 1043"/>
                  <a:gd name="connsiteX149" fmla="*/ 2509 w 4233"/>
                  <a:gd name="connsiteY149" fmla="*/ 701 h 1043"/>
                  <a:gd name="connsiteX150" fmla="*/ 2546 w 4233"/>
                  <a:gd name="connsiteY150" fmla="*/ 755 h 1043"/>
                  <a:gd name="connsiteX151" fmla="*/ 2587 w 4233"/>
                  <a:gd name="connsiteY151" fmla="*/ 805 h 1043"/>
                  <a:gd name="connsiteX152" fmla="*/ 2628 w 4233"/>
                  <a:gd name="connsiteY152" fmla="*/ 848 h 1043"/>
                  <a:gd name="connsiteX153" fmla="*/ 2672 w 4233"/>
                  <a:gd name="connsiteY153" fmla="*/ 886 h 1043"/>
                  <a:gd name="connsiteX154" fmla="*/ 2717 w 4233"/>
                  <a:gd name="connsiteY154" fmla="*/ 917 h 1043"/>
                  <a:gd name="connsiteX155" fmla="*/ 2767 w 4233"/>
                  <a:gd name="connsiteY155" fmla="*/ 940 h 1043"/>
                  <a:gd name="connsiteX156" fmla="*/ 2820 w 4233"/>
                  <a:gd name="connsiteY156" fmla="*/ 952 h 1043"/>
                  <a:gd name="connsiteX157" fmla="*/ 2876 w 4233"/>
                  <a:gd name="connsiteY157" fmla="*/ 956 h 1043"/>
                  <a:gd name="connsiteX158" fmla="*/ 2932 w 4233"/>
                  <a:gd name="connsiteY158" fmla="*/ 950 h 1043"/>
                  <a:gd name="connsiteX159" fmla="*/ 2982 w 4233"/>
                  <a:gd name="connsiteY159" fmla="*/ 935 h 1043"/>
                  <a:gd name="connsiteX160" fmla="*/ 3029 w 4233"/>
                  <a:gd name="connsiteY160" fmla="*/ 915 h 1043"/>
                  <a:gd name="connsiteX161" fmla="*/ 3072 w 4233"/>
                  <a:gd name="connsiteY161" fmla="*/ 884 h 1043"/>
                  <a:gd name="connsiteX162" fmla="*/ 3112 w 4233"/>
                  <a:gd name="connsiteY162" fmla="*/ 848 h 1043"/>
                  <a:gd name="connsiteX163" fmla="*/ 3149 w 4233"/>
                  <a:gd name="connsiteY163" fmla="*/ 807 h 1043"/>
                  <a:gd name="connsiteX164" fmla="*/ 3184 w 4233"/>
                  <a:gd name="connsiteY164" fmla="*/ 759 h 1043"/>
                  <a:gd name="connsiteX165" fmla="*/ 3217 w 4233"/>
                  <a:gd name="connsiteY165" fmla="*/ 709 h 1043"/>
                  <a:gd name="connsiteX166" fmla="*/ 3250 w 4233"/>
                  <a:gd name="connsiteY166" fmla="*/ 655 h 1043"/>
                  <a:gd name="connsiteX167" fmla="*/ 3283 w 4233"/>
                  <a:gd name="connsiteY167" fmla="*/ 597 h 1043"/>
                  <a:gd name="connsiteX168" fmla="*/ 3316 w 4233"/>
                  <a:gd name="connsiteY168" fmla="*/ 537 h 1043"/>
                  <a:gd name="connsiteX169" fmla="*/ 3345 w 4233"/>
                  <a:gd name="connsiteY169" fmla="*/ 483 h 1043"/>
                  <a:gd name="connsiteX170" fmla="*/ 3407 w 4233"/>
                  <a:gd name="connsiteY170" fmla="*/ 375 h 1043"/>
                  <a:gd name="connsiteX171" fmla="*/ 3477 w 4233"/>
                  <a:gd name="connsiteY171" fmla="*/ 272 h 1043"/>
                  <a:gd name="connsiteX172" fmla="*/ 3514 w 4233"/>
                  <a:gd name="connsiteY172" fmla="*/ 224 h 1043"/>
                  <a:gd name="connsiteX173" fmla="*/ 3555 w 4233"/>
                  <a:gd name="connsiteY173" fmla="*/ 178 h 1043"/>
                  <a:gd name="connsiteX174" fmla="*/ 3599 w 4233"/>
                  <a:gd name="connsiteY174" fmla="*/ 137 h 1043"/>
                  <a:gd name="connsiteX175" fmla="*/ 3646 w 4233"/>
                  <a:gd name="connsiteY175" fmla="*/ 100 h 1043"/>
                  <a:gd name="connsiteX176" fmla="*/ 3698 w 4233"/>
                  <a:gd name="connsiteY176" fmla="*/ 66 h 1043"/>
                  <a:gd name="connsiteX177" fmla="*/ 3756 w 4233"/>
                  <a:gd name="connsiteY177" fmla="*/ 40 h 1043"/>
                  <a:gd name="connsiteX178" fmla="*/ 3816 w 4233"/>
                  <a:gd name="connsiteY178" fmla="*/ 19 h 1043"/>
                  <a:gd name="connsiteX179" fmla="*/ 3882 w 4233"/>
                  <a:gd name="connsiteY179" fmla="*/ 6 h 1043"/>
                  <a:gd name="connsiteX180" fmla="*/ 3954 w 4233"/>
                  <a:gd name="connsiteY180" fmla="*/ 0 h 1043"/>
                  <a:gd name="connsiteX0" fmla="*/ 3954 w 4192"/>
                  <a:gd name="connsiteY0" fmla="*/ 0 h 1043"/>
                  <a:gd name="connsiteX1" fmla="*/ 4004 w 4192"/>
                  <a:gd name="connsiteY1" fmla="*/ 0 h 1043"/>
                  <a:gd name="connsiteX2" fmla="*/ 4032 w 4192"/>
                  <a:gd name="connsiteY2" fmla="*/ 4 h 1043"/>
                  <a:gd name="connsiteX3" fmla="*/ 4063 w 4192"/>
                  <a:gd name="connsiteY3" fmla="*/ 13 h 1043"/>
                  <a:gd name="connsiteX4" fmla="*/ 4101 w 4192"/>
                  <a:gd name="connsiteY4" fmla="*/ 23 h 1043"/>
                  <a:gd name="connsiteX5" fmla="*/ 4142 w 4192"/>
                  <a:gd name="connsiteY5" fmla="*/ 40 h 1043"/>
                  <a:gd name="connsiteX6" fmla="*/ 4185 w 4192"/>
                  <a:gd name="connsiteY6" fmla="*/ 60 h 1043"/>
                  <a:gd name="connsiteX7" fmla="*/ 4181 w 4192"/>
                  <a:gd name="connsiteY7" fmla="*/ 158 h 1043"/>
                  <a:gd name="connsiteX8" fmla="*/ 4142 w 4192"/>
                  <a:gd name="connsiteY8" fmla="*/ 135 h 1043"/>
                  <a:gd name="connsiteX9" fmla="*/ 4092 w 4192"/>
                  <a:gd name="connsiteY9" fmla="*/ 112 h 1043"/>
                  <a:gd name="connsiteX10" fmla="*/ 4049 w 4192"/>
                  <a:gd name="connsiteY10" fmla="*/ 98 h 1043"/>
                  <a:gd name="connsiteX11" fmla="*/ 4014 w 4192"/>
                  <a:gd name="connsiteY11" fmla="*/ 89 h 1043"/>
                  <a:gd name="connsiteX12" fmla="*/ 3985 w 4192"/>
                  <a:gd name="connsiteY12" fmla="*/ 87 h 1043"/>
                  <a:gd name="connsiteX13" fmla="*/ 3958 w 4192"/>
                  <a:gd name="connsiteY13" fmla="*/ 87 h 1043"/>
                  <a:gd name="connsiteX14" fmla="*/ 3892 w 4192"/>
                  <a:gd name="connsiteY14" fmla="*/ 93 h 1043"/>
                  <a:gd name="connsiteX15" fmla="*/ 3830 w 4192"/>
                  <a:gd name="connsiteY15" fmla="*/ 106 h 1043"/>
                  <a:gd name="connsiteX16" fmla="*/ 3774 w 4192"/>
                  <a:gd name="connsiteY16" fmla="*/ 127 h 1043"/>
                  <a:gd name="connsiteX17" fmla="*/ 3723 w 4192"/>
                  <a:gd name="connsiteY17" fmla="*/ 154 h 1043"/>
                  <a:gd name="connsiteX18" fmla="*/ 3675 w 4192"/>
                  <a:gd name="connsiteY18" fmla="*/ 187 h 1043"/>
                  <a:gd name="connsiteX19" fmla="*/ 3632 w 4192"/>
                  <a:gd name="connsiteY19" fmla="*/ 224 h 1043"/>
                  <a:gd name="connsiteX20" fmla="*/ 3593 w 4192"/>
                  <a:gd name="connsiteY20" fmla="*/ 268 h 1043"/>
                  <a:gd name="connsiteX21" fmla="*/ 3553 w 4192"/>
                  <a:gd name="connsiteY21" fmla="*/ 313 h 1043"/>
                  <a:gd name="connsiteX22" fmla="*/ 3518 w 4192"/>
                  <a:gd name="connsiteY22" fmla="*/ 363 h 1043"/>
                  <a:gd name="connsiteX23" fmla="*/ 3485 w 4192"/>
                  <a:gd name="connsiteY23" fmla="*/ 415 h 1043"/>
                  <a:gd name="connsiteX24" fmla="*/ 3423 w 4192"/>
                  <a:gd name="connsiteY24" fmla="*/ 523 h 1043"/>
                  <a:gd name="connsiteX25" fmla="*/ 3330 w 4192"/>
                  <a:gd name="connsiteY25" fmla="*/ 691 h 1043"/>
                  <a:gd name="connsiteX26" fmla="*/ 3297 w 4192"/>
                  <a:gd name="connsiteY26" fmla="*/ 747 h 1043"/>
                  <a:gd name="connsiteX27" fmla="*/ 3262 w 4192"/>
                  <a:gd name="connsiteY27" fmla="*/ 799 h 1043"/>
                  <a:gd name="connsiteX28" fmla="*/ 3227 w 4192"/>
                  <a:gd name="connsiteY28" fmla="*/ 848 h 1043"/>
                  <a:gd name="connsiteX29" fmla="*/ 3188 w 4192"/>
                  <a:gd name="connsiteY29" fmla="*/ 894 h 1043"/>
                  <a:gd name="connsiteX30" fmla="*/ 3147 w 4192"/>
                  <a:gd name="connsiteY30" fmla="*/ 935 h 1043"/>
                  <a:gd name="connsiteX31" fmla="*/ 3101 w 4192"/>
                  <a:gd name="connsiteY31" fmla="*/ 971 h 1043"/>
                  <a:gd name="connsiteX32" fmla="*/ 3052 w 4192"/>
                  <a:gd name="connsiteY32" fmla="*/ 1000 h 1043"/>
                  <a:gd name="connsiteX33" fmla="*/ 3000 w 4192"/>
                  <a:gd name="connsiteY33" fmla="*/ 1022 h 1043"/>
                  <a:gd name="connsiteX34" fmla="*/ 2942 w 4192"/>
                  <a:gd name="connsiteY34" fmla="*/ 1037 h 1043"/>
                  <a:gd name="connsiteX35" fmla="*/ 2878 w 4192"/>
                  <a:gd name="connsiteY35" fmla="*/ 1043 h 1043"/>
                  <a:gd name="connsiteX36" fmla="*/ 2870 w 4192"/>
                  <a:gd name="connsiteY36" fmla="*/ 1043 h 1043"/>
                  <a:gd name="connsiteX37" fmla="*/ 2808 w 4192"/>
                  <a:gd name="connsiteY37" fmla="*/ 1039 h 1043"/>
                  <a:gd name="connsiteX38" fmla="*/ 2748 w 4192"/>
                  <a:gd name="connsiteY38" fmla="*/ 1025 h 1043"/>
                  <a:gd name="connsiteX39" fmla="*/ 2695 w 4192"/>
                  <a:gd name="connsiteY39" fmla="*/ 1002 h 1043"/>
                  <a:gd name="connsiteX40" fmla="*/ 2643 w 4192"/>
                  <a:gd name="connsiteY40" fmla="*/ 973 h 1043"/>
                  <a:gd name="connsiteX41" fmla="*/ 2595 w 4192"/>
                  <a:gd name="connsiteY41" fmla="*/ 935 h 1043"/>
                  <a:gd name="connsiteX42" fmla="*/ 2552 w 4192"/>
                  <a:gd name="connsiteY42" fmla="*/ 894 h 1043"/>
                  <a:gd name="connsiteX43" fmla="*/ 2509 w 4192"/>
                  <a:gd name="connsiteY43" fmla="*/ 846 h 1043"/>
                  <a:gd name="connsiteX44" fmla="*/ 2469 w 4192"/>
                  <a:gd name="connsiteY44" fmla="*/ 796 h 1043"/>
                  <a:gd name="connsiteX45" fmla="*/ 2430 w 4192"/>
                  <a:gd name="connsiteY45" fmla="*/ 740 h 1043"/>
                  <a:gd name="connsiteX46" fmla="*/ 2393 w 4192"/>
                  <a:gd name="connsiteY46" fmla="*/ 684 h 1043"/>
                  <a:gd name="connsiteX47" fmla="*/ 2288 w 4192"/>
                  <a:gd name="connsiteY47" fmla="*/ 510 h 1043"/>
                  <a:gd name="connsiteX48" fmla="*/ 2251 w 4192"/>
                  <a:gd name="connsiteY48" fmla="*/ 452 h 1043"/>
                  <a:gd name="connsiteX49" fmla="*/ 2213 w 4192"/>
                  <a:gd name="connsiteY49" fmla="*/ 396 h 1043"/>
                  <a:gd name="connsiteX50" fmla="*/ 2176 w 4192"/>
                  <a:gd name="connsiteY50" fmla="*/ 342 h 1043"/>
                  <a:gd name="connsiteX51" fmla="*/ 2137 w 4192"/>
                  <a:gd name="connsiteY51" fmla="*/ 293 h 1043"/>
                  <a:gd name="connsiteX52" fmla="*/ 2096 w 4192"/>
                  <a:gd name="connsiteY52" fmla="*/ 247 h 1043"/>
                  <a:gd name="connsiteX53" fmla="*/ 2054 w 4192"/>
                  <a:gd name="connsiteY53" fmla="*/ 205 h 1043"/>
                  <a:gd name="connsiteX54" fmla="*/ 2009 w 4192"/>
                  <a:gd name="connsiteY54" fmla="*/ 168 h 1043"/>
                  <a:gd name="connsiteX55" fmla="*/ 1962 w 4192"/>
                  <a:gd name="connsiteY55" fmla="*/ 139 h 1043"/>
                  <a:gd name="connsiteX56" fmla="*/ 1910 w 4192"/>
                  <a:gd name="connsiteY56" fmla="*/ 116 h 1043"/>
                  <a:gd name="connsiteX57" fmla="*/ 1854 w 4192"/>
                  <a:gd name="connsiteY57" fmla="*/ 100 h 1043"/>
                  <a:gd name="connsiteX58" fmla="*/ 1796 w 4192"/>
                  <a:gd name="connsiteY58" fmla="*/ 91 h 1043"/>
                  <a:gd name="connsiteX59" fmla="*/ 1732 w 4192"/>
                  <a:gd name="connsiteY59" fmla="*/ 93 h 1043"/>
                  <a:gd name="connsiteX60" fmla="*/ 1664 w 4192"/>
                  <a:gd name="connsiteY60" fmla="*/ 104 h 1043"/>
                  <a:gd name="connsiteX61" fmla="*/ 1602 w 4192"/>
                  <a:gd name="connsiteY61" fmla="*/ 122 h 1043"/>
                  <a:gd name="connsiteX62" fmla="*/ 1545 w 4192"/>
                  <a:gd name="connsiteY62" fmla="*/ 147 h 1043"/>
                  <a:gd name="connsiteX63" fmla="*/ 1491 w 4192"/>
                  <a:gd name="connsiteY63" fmla="*/ 181 h 1043"/>
                  <a:gd name="connsiteX64" fmla="*/ 1439 w 4192"/>
                  <a:gd name="connsiteY64" fmla="*/ 218 h 1043"/>
                  <a:gd name="connsiteX65" fmla="*/ 1394 w 4192"/>
                  <a:gd name="connsiteY65" fmla="*/ 261 h 1043"/>
                  <a:gd name="connsiteX66" fmla="*/ 1348 w 4192"/>
                  <a:gd name="connsiteY66" fmla="*/ 307 h 1043"/>
                  <a:gd name="connsiteX67" fmla="*/ 1307 w 4192"/>
                  <a:gd name="connsiteY67" fmla="*/ 359 h 1043"/>
                  <a:gd name="connsiteX68" fmla="*/ 1268 w 4192"/>
                  <a:gd name="connsiteY68" fmla="*/ 413 h 1043"/>
                  <a:gd name="connsiteX69" fmla="*/ 1231 w 4192"/>
                  <a:gd name="connsiteY69" fmla="*/ 467 h 1043"/>
                  <a:gd name="connsiteX70" fmla="*/ 1194 w 4192"/>
                  <a:gd name="connsiteY70" fmla="*/ 523 h 1043"/>
                  <a:gd name="connsiteX71" fmla="*/ 1156 w 4192"/>
                  <a:gd name="connsiteY71" fmla="*/ 581 h 1043"/>
                  <a:gd name="connsiteX72" fmla="*/ 1121 w 4192"/>
                  <a:gd name="connsiteY72" fmla="*/ 637 h 1043"/>
                  <a:gd name="connsiteX73" fmla="*/ 1047 w 4192"/>
                  <a:gd name="connsiteY73" fmla="*/ 749 h 1043"/>
                  <a:gd name="connsiteX74" fmla="*/ 1008 w 4192"/>
                  <a:gd name="connsiteY74" fmla="*/ 801 h 1043"/>
                  <a:gd name="connsiteX75" fmla="*/ 966 w 4192"/>
                  <a:gd name="connsiteY75" fmla="*/ 850 h 1043"/>
                  <a:gd name="connsiteX76" fmla="*/ 923 w 4192"/>
                  <a:gd name="connsiteY76" fmla="*/ 896 h 1043"/>
                  <a:gd name="connsiteX77" fmla="*/ 876 w 4192"/>
                  <a:gd name="connsiteY77" fmla="*/ 937 h 1043"/>
                  <a:gd name="connsiteX78" fmla="*/ 826 w 4192"/>
                  <a:gd name="connsiteY78" fmla="*/ 973 h 1043"/>
                  <a:gd name="connsiteX79" fmla="*/ 772 w 4192"/>
                  <a:gd name="connsiteY79" fmla="*/ 1002 h 1043"/>
                  <a:gd name="connsiteX80" fmla="*/ 717 w 4192"/>
                  <a:gd name="connsiteY80" fmla="*/ 1025 h 1043"/>
                  <a:gd name="connsiteX81" fmla="*/ 653 w 4192"/>
                  <a:gd name="connsiteY81" fmla="*/ 1037 h 1043"/>
                  <a:gd name="connsiteX82" fmla="*/ 587 w 4192"/>
                  <a:gd name="connsiteY82" fmla="*/ 1043 h 1043"/>
                  <a:gd name="connsiteX83" fmla="*/ 580 w 4192"/>
                  <a:gd name="connsiteY83" fmla="*/ 1043 h 1043"/>
                  <a:gd name="connsiteX84" fmla="*/ 512 w 4192"/>
                  <a:gd name="connsiteY84" fmla="*/ 1039 h 1043"/>
                  <a:gd name="connsiteX85" fmla="*/ 450 w 4192"/>
                  <a:gd name="connsiteY85" fmla="*/ 1027 h 1043"/>
                  <a:gd name="connsiteX86" fmla="*/ 392 w 4192"/>
                  <a:gd name="connsiteY86" fmla="*/ 1008 h 1043"/>
                  <a:gd name="connsiteX87" fmla="*/ 341 w 4192"/>
                  <a:gd name="connsiteY87" fmla="*/ 983 h 1043"/>
                  <a:gd name="connsiteX88" fmla="*/ 293 w 4192"/>
                  <a:gd name="connsiteY88" fmla="*/ 952 h 1043"/>
                  <a:gd name="connsiteX89" fmla="*/ 248 w 4192"/>
                  <a:gd name="connsiteY89" fmla="*/ 915 h 1043"/>
                  <a:gd name="connsiteX90" fmla="*/ 207 w 4192"/>
                  <a:gd name="connsiteY90" fmla="*/ 873 h 1043"/>
                  <a:gd name="connsiteX91" fmla="*/ 169 w 4192"/>
                  <a:gd name="connsiteY91" fmla="*/ 828 h 1043"/>
                  <a:gd name="connsiteX92" fmla="*/ 132 w 4192"/>
                  <a:gd name="connsiteY92" fmla="*/ 780 h 1043"/>
                  <a:gd name="connsiteX93" fmla="*/ 99 w 4192"/>
                  <a:gd name="connsiteY93" fmla="*/ 728 h 1043"/>
                  <a:gd name="connsiteX94" fmla="*/ 64 w 4192"/>
                  <a:gd name="connsiteY94" fmla="*/ 674 h 1043"/>
                  <a:gd name="connsiteX95" fmla="*/ 33 w 4192"/>
                  <a:gd name="connsiteY95" fmla="*/ 618 h 1043"/>
                  <a:gd name="connsiteX96" fmla="*/ 0 w 4192"/>
                  <a:gd name="connsiteY96" fmla="*/ 560 h 1043"/>
                  <a:gd name="connsiteX97" fmla="*/ 77 w 4192"/>
                  <a:gd name="connsiteY97" fmla="*/ 516 h 1043"/>
                  <a:gd name="connsiteX98" fmla="*/ 110 w 4192"/>
                  <a:gd name="connsiteY98" fmla="*/ 575 h 1043"/>
                  <a:gd name="connsiteX99" fmla="*/ 143 w 4192"/>
                  <a:gd name="connsiteY99" fmla="*/ 631 h 1043"/>
                  <a:gd name="connsiteX100" fmla="*/ 176 w 4192"/>
                  <a:gd name="connsiteY100" fmla="*/ 684 h 1043"/>
                  <a:gd name="connsiteX101" fmla="*/ 209 w 4192"/>
                  <a:gd name="connsiteY101" fmla="*/ 736 h 1043"/>
                  <a:gd name="connsiteX102" fmla="*/ 244 w 4192"/>
                  <a:gd name="connsiteY102" fmla="*/ 782 h 1043"/>
                  <a:gd name="connsiteX103" fmla="*/ 281 w 4192"/>
                  <a:gd name="connsiteY103" fmla="*/ 825 h 1043"/>
                  <a:gd name="connsiteX104" fmla="*/ 322 w 4192"/>
                  <a:gd name="connsiteY104" fmla="*/ 863 h 1043"/>
                  <a:gd name="connsiteX105" fmla="*/ 366 w 4192"/>
                  <a:gd name="connsiteY105" fmla="*/ 894 h 1043"/>
                  <a:gd name="connsiteX106" fmla="*/ 413 w 4192"/>
                  <a:gd name="connsiteY106" fmla="*/ 921 h 1043"/>
                  <a:gd name="connsiteX107" fmla="*/ 463 w 4192"/>
                  <a:gd name="connsiteY107" fmla="*/ 940 h 1043"/>
                  <a:gd name="connsiteX108" fmla="*/ 518 w 4192"/>
                  <a:gd name="connsiteY108" fmla="*/ 952 h 1043"/>
                  <a:gd name="connsiteX109" fmla="*/ 580 w 4192"/>
                  <a:gd name="connsiteY109" fmla="*/ 956 h 1043"/>
                  <a:gd name="connsiteX110" fmla="*/ 587 w 4192"/>
                  <a:gd name="connsiteY110" fmla="*/ 956 h 1043"/>
                  <a:gd name="connsiteX111" fmla="*/ 646 w 4192"/>
                  <a:gd name="connsiteY111" fmla="*/ 950 h 1043"/>
                  <a:gd name="connsiteX112" fmla="*/ 702 w 4192"/>
                  <a:gd name="connsiteY112" fmla="*/ 935 h 1043"/>
                  <a:gd name="connsiteX113" fmla="*/ 756 w 4192"/>
                  <a:gd name="connsiteY113" fmla="*/ 913 h 1043"/>
                  <a:gd name="connsiteX114" fmla="*/ 803 w 4192"/>
                  <a:gd name="connsiteY114" fmla="*/ 884 h 1043"/>
                  <a:gd name="connsiteX115" fmla="*/ 849 w 4192"/>
                  <a:gd name="connsiteY115" fmla="*/ 846 h 1043"/>
                  <a:gd name="connsiteX116" fmla="*/ 892 w 4192"/>
                  <a:gd name="connsiteY116" fmla="*/ 803 h 1043"/>
                  <a:gd name="connsiteX117" fmla="*/ 931 w 4192"/>
                  <a:gd name="connsiteY117" fmla="*/ 755 h 1043"/>
                  <a:gd name="connsiteX118" fmla="*/ 971 w 4192"/>
                  <a:gd name="connsiteY118" fmla="*/ 703 h 1043"/>
                  <a:gd name="connsiteX119" fmla="*/ 1010 w 4192"/>
                  <a:gd name="connsiteY119" fmla="*/ 649 h 1043"/>
                  <a:gd name="connsiteX120" fmla="*/ 1121 w 4192"/>
                  <a:gd name="connsiteY120" fmla="*/ 475 h 1043"/>
                  <a:gd name="connsiteX121" fmla="*/ 1161 w 4192"/>
                  <a:gd name="connsiteY121" fmla="*/ 415 h 1043"/>
                  <a:gd name="connsiteX122" fmla="*/ 1202 w 4192"/>
                  <a:gd name="connsiteY122" fmla="*/ 357 h 1043"/>
                  <a:gd name="connsiteX123" fmla="*/ 1245 w 4192"/>
                  <a:gd name="connsiteY123" fmla="*/ 299 h 1043"/>
                  <a:gd name="connsiteX124" fmla="*/ 1291 w 4192"/>
                  <a:gd name="connsiteY124" fmla="*/ 245 h 1043"/>
                  <a:gd name="connsiteX125" fmla="*/ 1338 w 4192"/>
                  <a:gd name="connsiteY125" fmla="*/ 193 h 1043"/>
                  <a:gd name="connsiteX126" fmla="*/ 1392 w 4192"/>
                  <a:gd name="connsiteY126" fmla="*/ 145 h 1043"/>
                  <a:gd name="connsiteX127" fmla="*/ 1447 w 4192"/>
                  <a:gd name="connsiteY127" fmla="*/ 104 h 1043"/>
                  <a:gd name="connsiteX128" fmla="*/ 1509 w 4192"/>
                  <a:gd name="connsiteY128" fmla="*/ 69 h 1043"/>
                  <a:gd name="connsiteX129" fmla="*/ 1575 w 4192"/>
                  <a:gd name="connsiteY129" fmla="*/ 40 h 1043"/>
                  <a:gd name="connsiteX130" fmla="*/ 1648 w 4192"/>
                  <a:gd name="connsiteY130" fmla="*/ 19 h 1043"/>
                  <a:gd name="connsiteX131" fmla="*/ 1726 w 4192"/>
                  <a:gd name="connsiteY131" fmla="*/ 6 h 1043"/>
                  <a:gd name="connsiteX132" fmla="*/ 1796 w 4192"/>
                  <a:gd name="connsiteY132" fmla="*/ 4 h 1043"/>
                  <a:gd name="connsiteX133" fmla="*/ 1862 w 4192"/>
                  <a:gd name="connsiteY133" fmla="*/ 13 h 1043"/>
                  <a:gd name="connsiteX134" fmla="*/ 1922 w 4192"/>
                  <a:gd name="connsiteY134" fmla="*/ 27 h 1043"/>
                  <a:gd name="connsiteX135" fmla="*/ 1980 w 4192"/>
                  <a:gd name="connsiteY135" fmla="*/ 50 h 1043"/>
                  <a:gd name="connsiteX136" fmla="*/ 2034 w 4192"/>
                  <a:gd name="connsiteY136" fmla="*/ 81 h 1043"/>
                  <a:gd name="connsiteX137" fmla="*/ 2083 w 4192"/>
                  <a:gd name="connsiteY137" fmla="*/ 116 h 1043"/>
                  <a:gd name="connsiteX138" fmla="*/ 2129 w 4192"/>
                  <a:gd name="connsiteY138" fmla="*/ 158 h 1043"/>
                  <a:gd name="connsiteX139" fmla="*/ 2174 w 4192"/>
                  <a:gd name="connsiteY139" fmla="*/ 203 h 1043"/>
                  <a:gd name="connsiteX140" fmla="*/ 2216 w 4192"/>
                  <a:gd name="connsiteY140" fmla="*/ 251 h 1043"/>
                  <a:gd name="connsiteX141" fmla="*/ 2255 w 4192"/>
                  <a:gd name="connsiteY141" fmla="*/ 303 h 1043"/>
                  <a:gd name="connsiteX142" fmla="*/ 2292 w 4192"/>
                  <a:gd name="connsiteY142" fmla="*/ 357 h 1043"/>
                  <a:gd name="connsiteX143" fmla="*/ 2327 w 4192"/>
                  <a:gd name="connsiteY143" fmla="*/ 413 h 1043"/>
                  <a:gd name="connsiteX144" fmla="*/ 2362 w 4192"/>
                  <a:gd name="connsiteY144" fmla="*/ 467 h 1043"/>
                  <a:gd name="connsiteX145" fmla="*/ 2395 w 4192"/>
                  <a:gd name="connsiteY145" fmla="*/ 523 h 1043"/>
                  <a:gd name="connsiteX146" fmla="*/ 2432 w 4192"/>
                  <a:gd name="connsiteY146" fmla="*/ 585 h 1043"/>
                  <a:gd name="connsiteX147" fmla="*/ 2469 w 4192"/>
                  <a:gd name="connsiteY147" fmla="*/ 643 h 1043"/>
                  <a:gd name="connsiteX148" fmla="*/ 2509 w 4192"/>
                  <a:gd name="connsiteY148" fmla="*/ 701 h 1043"/>
                  <a:gd name="connsiteX149" fmla="*/ 2546 w 4192"/>
                  <a:gd name="connsiteY149" fmla="*/ 755 h 1043"/>
                  <a:gd name="connsiteX150" fmla="*/ 2587 w 4192"/>
                  <a:gd name="connsiteY150" fmla="*/ 805 h 1043"/>
                  <a:gd name="connsiteX151" fmla="*/ 2628 w 4192"/>
                  <a:gd name="connsiteY151" fmla="*/ 848 h 1043"/>
                  <a:gd name="connsiteX152" fmla="*/ 2672 w 4192"/>
                  <a:gd name="connsiteY152" fmla="*/ 886 h 1043"/>
                  <a:gd name="connsiteX153" fmla="*/ 2717 w 4192"/>
                  <a:gd name="connsiteY153" fmla="*/ 917 h 1043"/>
                  <a:gd name="connsiteX154" fmla="*/ 2767 w 4192"/>
                  <a:gd name="connsiteY154" fmla="*/ 940 h 1043"/>
                  <a:gd name="connsiteX155" fmla="*/ 2820 w 4192"/>
                  <a:gd name="connsiteY155" fmla="*/ 952 h 1043"/>
                  <a:gd name="connsiteX156" fmla="*/ 2876 w 4192"/>
                  <a:gd name="connsiteY156" fmla="*/ 956 h 1043"/>
                  <a:gd name="connsiteX157" fmla="*/ 2932 w 4192"/>
                  <a:gd name="connsiteY157" fmla="*/ 950 h 1043"/>
                  <a:gd name="connsiteX158" fmla="*/ 2982 w 4192"/>
                  <a:gd name="connsiteY158" fmla="*/ 935 h 1043"/>
                  <a:gd name="connsiteX159" fmla="*/ 3029 w 4192"/>
                  <a:gd name="connsiteY159" fmla="*/ 915 h 1043"/>
                  <a:gd name="connsiteX160" fmla="*/ 3072 w 4192"/>
                  <a:gd name="connsiteY160" fmla="*/ 884 h 1043"/>
                  <a:gd name="connsiteX161" fmla="*/ 3112 w 4192"/>
                  <a:gd name="connsiteY161" fmla="*/ 848 h 1043"/>
                  <a:gd name="connsiteX162" fmla="*/ 3149 w 4192"/>
                  <a:gd name="connsiteY162" fmla="*/ 807 h 1043"/>
                  <a:gd name="connsiteX163" fmla="*/ 3184 w 4192"/>
                  <a:gd name="connsiteY163" fmla="*/ 759 h 1043"/>
                  <a:gd name="connsiteX164" fmla="*/ 3217 w 4192"/>
                  <a:gd name="connsiteY164" fmla="*/ 709 h 1043"/>
                  <a:gd name="connsiteX165" fmla="*/ 3250 w 4192"/>
                  <a:gd name="connsiteY165" fmla="*/ 655 h 1043"/>
                  <a:gd name="connsiteX166" fmla="*/ 3283 w 4192"/>
                  <a:gd name="connsiteY166" fmla="*/ 597 h 1043"/>
                  <a:gd name="connsiteX167" fmla="*/ 3316 w 4192"/>
                  <a:gd name="connsiteY167" fmla="*/ 537 h 1043"/>
                  <a:gd name="connsiteX168" fmla="*/ 3345 w 4192"/>
                  <a:gd name="connsiteY168" fmla="*/ 483 h 1043"/>
                  <a:gd name="connsiteX169" fmla="*/ 3407 w 4192"/>
                  <a:gd name="connsiteY169" fmla="*/ 375 h 1043"/>
                  <a:gd name="connsiteX170" fmla="*/ 3477 w 4192"/>
                  <a:gd name="connsiteY170" fmla="*/ 272 h 1043"/>
                  <a:gd name="connsiteX171" fmla="*/ 3514 w 4192"/>
                  <a:gd name="connsiteY171" fmla="*/ 224 h 1043"/>
                  <a:gd name="connsiteX172" fmla="*/ 3555 w 4192"/>
                  <a:gd name="connsiteY172" fmla="*/ 178 h 1043"/>
                  <a:gd name="connsiteX173" fmla="*/ 3599 w 4192"/>
                  <a:gd name="connsiteY173" fmla="*/ 137 h 1043"/>
                  <a:gd name="connsiteX174" fmla="*/ 3646 w 4192"/>
                  <a:gd name="connsiteY174" fmla="*/ 100 h 1043"/>
                  <a:gd name="connsiteX175" fmla="*/ 3698 w 4192"/>
                  <a:gd name="connsiteY175" fmla="*/ 66 h 1043"/>
                  <a:gd name="connsiteX176" fmla="*/ 3756 w 4192"/>
                  <a:gd name="connsiteY176" fmla="*/ 40 h 1043"/>
                  <a:gd name="connsiteX177" fmla="*/ 3816 w 4192"/>
                  <a:gd name="connsiteY177" fmla="*/ 19 h 1043"/>
                  <a:gd name="connsiteX178" fmla="*/ 3882 w 4192"/>
                  <a:gd name="connsiteY178" fmla="*/ 6 h 1043"/>
                  <a:gd name="connsiteX179" fmla="*/ 3954 w 4192"/>
                  <a:gd name="connsiteY179" fmla="*/ 0 h 1043"/>
                  <a:gd name="connsiteX0" fmla="*/ 3954 w 4181"/>
                  <a:gd name="connsiteY0" fmla="*/ 0 h 1043"/>
                  <a:gd name="connsiteX1" fmla="*/ 4004 w 4181"/>
                  <a:gd name="connsiteY1" fmla="*/ 0 h 1043"/>
                  <a:gd name="connsiteX2" fmla="*/ 4032 w 4181"/>
                  <a:gd name="connsiteY2" fmla="*/ 4 h 1043"/>
                  <a:gd name="connsiteX3" fmla="*/ 4063 w 4181"/>
                  <a:gd name="connsiteY3" fmla="*/ 13 h 1043"/>
                  <a:gd name="connsiteX4" fmla="*/ 4101 w 4181"/>
                  <a:gd name="connsiteY4" fmla="*/ 23 h 1043"/>
                  <a:gd name="connsiteX5" fmla="*/ 4142 w 4181"/>
                  <a:gd name="connsiteY5" fmla="*/ 40 h 1043"/>
                  <a:gd name="connsiteX6" fmla="*/ 4181 w 4181"/>
                  <a:gd name="connsiteY6" fmla="*/ 158 h 1043"/>
                  <a:gd name="connsiteX7" fmla="*/ 4142 w 4181"/>
                  <a:gd name="connsiteY7" fmla="*/ 135 h 1043"/>
                  <a:gd name="connsiteX8" fmla="*/ 4092 w 4181"/>
                  <a:gd name="connsiteY8" fmla="*/ 112 h 1043"/>
                  <a:gd name="connsiteX9" fmla="*/ 4049 w 4181"/>
                  <a:gd name="connsiteY9" fmla="*/ 98 h 1043"/>
                  <a:gd name="connsiteX10" fmla="*/ 4014 w 4181"/>
                  <a:gd name="connsiteY10" fmla="*/ 89 h 1043"/>
                  <a:gd name="connsiteX11" fmla="*/ 3985 w 4181"/>
                  <a:gd name="connsiteY11" fmla="*/ 87 h 1043"/>
                  <a:gd name="connsiteX12" fmla="*/ 3958 w 4181"/>
                  <a:gd name="connsiteY12" fmla="*/ 87 h 1043"/>
                  <a:gd name="connsiteX13" fmla="*/ 3892 w 4181"/>
                  <a:gd name="connsiteY13" fmla="*/ 93 h 1043"/>
                  <a:gd name="connsiteX14" fmla="*/ 3830 w 4181"/>
                  <a:gd name="connsiteY14" fmla="*/ 106 h 1043"/>
                  <a:gd name="connsiteX15" fmla="*/ 3774 w 4181"/>
                  <a:gd name="connsiteY15" fmla="*/ 127 h 1043"/>
                  <a:gd name="connsiteX16" fmla="*/ 3723 w 4181"/>
                  <a:gd name="connsiteY16" fmla="*/ 154 h 1043"/>
                  <a:gd name="connsiteX17" fmla="*/ 3675 w 4181"/>
                  <a:gd name="connsiteY17" fmla="*/ 187 h 1043"/>
                  <a:gd name="connsiteX18" fmla="*/ 3632 w 4181"/>
                  <a:gd name="connsiteY18" fmla="*/ 224 h 1043"/>
                  <a:gd name="connsiteX19" fmla="*/ 3593 w 4181"/>
                  <a:gd name="connsiteY19" fmla="*/ 268 h 1043"/>
                  <a:gd name="connsiteX20" fmla="*/ 3553 w 4181"/>
                  <a:gd name="connsiteY20" fmla="*/ 313 h 1043"/>
                  <a:gd name="connsiteX21" fmla="*/ 3518 w 4181"/>
                  <a:gd name="connsiteY21" fmla="*/ 363 h 1043"/>
                  <a:gd name="connsiteX22" fmla="*/ 3485 w 4181"/>
                  <a:gd name="connsiteY22" fmla="*/ 415 h 1043"/>
                  <a:gd name="connsiteX23" fmla="*/ 3423 w 4181"/>
                  <a:gd name="connsiteY23" fmla="*/ 523 h 1043"/>
                  <a:gd name="connsiteX24" fmla="*/ 3330 w 4181"/>
                  <a:gd name="connsiteY24" fmla="*/ 691 h 1043"/>
                  <a:gd name="connsiteX25" fmla="*/ 3297 w 4181"/>
                  <a:gd name="connsiteY25" fmla="*/ 747 h 1043"/>
                  <a:gd name="connsiteX26" fmla="*/ 3262 w 4181"/>
                  <a:gd name="connsiteY26" fmla="*/ 799 h 1043"/>
                  <a:gd name="connsiteX27" fmla="*/ 3227 w 4181"/>
                  <a:gd name="connsiteY27" fmla="*/ 848 h 1043"/>
                  <a:gd name="connsiteX28" fmla="*/ 3188 w 4181"/>
                  <a:gd name="connsiteY28" fmla="*/ 894 h 1043"/>
                  <a:gd name="connsiteX29" fmla="*/ 3147 w 4181"/>
                  <a:gd name="connsiteY29" fmla="*/ 935 h 1043"/>
                  <a:gd name="connsiteX30" fmla="*/ 3101 w 4181"/>
                  <a:gd name="connsiteY30" fmla="*/ 971 h 1043"/>
                  <a:gd name="connsiteX31" fmla="*/ 3052 w 4181"/>
                  <a:gd name="connsiteY31" fmla="*/ 1000 h 1043"/>
                  <a:gd name="connsiteX32" fmla="*/ 3000 w 4181"/>
                  <a:gd name="connsiteY32" fmla="*/ 1022 h 1043"/>
                  <a:gd name="connsiteX33" fmla="*/ 2942 w 4181"/>
                  <a:gd name="connsiteY33" fmla="*/ 1037 h 1043"/>
                  <a:gd name="connsiteX34" fmla="*/ 2878 w 4181"/>
                  <a:gd name="connsiteY34" fmla="*/ 1043 h 1043"/>
                  <a:gd name="connsiteX35" fmla="*/ 2870 w 4181"/>
                  <a:gd name="connsiteY35" fmla="*/ 1043 h 1043"/>
                  <a:gd name="connsiteX36" fmla="*/ 2808 w 4181"/>
                  <a:gd name="connsiteY36" fmla="*/ 1039 h 1043"/>
                  <a:gd name="connsiteX37" fmla="*/ 2748 w 4181"/>
                  <a:gd name="connsiteY37" fmla="*/ 1025 h 1043"/>
                  <a:gd name="connsiteX38" fmla="*/ 2695 w 4181"/>
                  <a:gd name="connsiteY38" fmla="*/ 1002 h 1043"/>
                  <a:gd name="connsiteX39" fmla="*/ 2643 w 4181"/>
                  <a:gd name="connsiteY39" fmla="*/ 973 h 1043"/>
                  <a:gd name="connsiteX40" fmla="*/ 2595 w 4181"/>
                  <a:gd name="connsiteY40" fmla="*/ 935 h 1043"/>
                  <a:gd name="connsiteX41" fmla="*/ 2552 w 4181"/>
                  <a:gd name="connsiteY41" fmla="*/ 894 h 1043"/>
                  <a:gd name="connsiteX42" fmla="*/ 2509 w 4181"/>
                  <a:gd name="connsiteY42" fmla="*/ 846 h 1043"/>
                  <a:gd name="connsiteX43" fmla="*/ 2469 w 4181"/>
                  <a:gd name="connsiteY43" fmla="*/ 796 h 1043"/>
                  <a:gd name="connsiteX44" fmla="*/ 2430 w 4181"/>
                  <a:gd name="connsiteY44" fmla="*/ 740 h 1043"/>
                  <a:gd name="connsiteX45" fmla="*/ 2393 w 4181"/>
                  <a:gd name="connsiteY45" fmla="*/ 684 h 1043"/>
                  <a:gd name="connsiteX46" fmla="*/ 2288 w 4181"/>
                  <a:gd name="connsiteY46" fmla="*/ 510 h 1043"/>
                  <a:gd name="connsiteX47" fmla="*/ 2251 w 4181"/>
                  <a:gd name="connsiteY47" fmla="*/ 452 h 1043"/>
                  <a:gd name="connsiteX48" fmla="*/ 2213 w 4181"/>
                  <a:gd name="connsiteY48" fmla="*/ 396 h 1043"/>
                  <a:gd name="connsiteX49" fmla="*/ 2176 w 4181"/>
                  <a:gd name="connsiteY49" fmla="*/ 342 h 1043"/>
                  <a:gd name="connsiteX50" fmla="*/ 2137 w 4181"/>
                  <a:gd name="connsiteY50" fmla="*/ 293 h 1043"/>
                  <a:gd name="connsiteX51" fmla="*/ 2096 w 4181"/>
                  <a:gd name="connsiteY51" fmla="*/ 247 h 1043"/>
                  <a:gd name="connsiteX52" fmla="*/ 2054 w 4181"/>
                  <a:gd name="connsiteY52" fmla="*/ 205 h 1043"/>
                  <a:gd name="connsiteX53" fmla="*/ 2009 w 4181"/>
                  <a:gd name="connsiteY53" fmla="*/ 168 h 1043"/>
                  <a:gd name="connsiteX54" fmla="*/ 1962 w 4181"/>
                  <a:gd name="connsiteY54" fmla="*/ 139 h 1043"/>
                  <a:gd name="connsiteX55" fmla="*/ 1910 w 4181"/>
                  <a:gd name="connsiteY55" fmla="*/ 116 h 1043"/>
                  <a:gd name="connsiteX56" fmla="*/ 1854 w 4181"/>
                  <a:gd name="connsiteY56" fmla="*/ 100 h 1043"/>
                  <a:gd name="connsiteX57" fmla="*/ 1796 w 4181"/>
                  <a:gd name="connsiteY57" fmla="*/ 91 h 1043"/>
                  <a:gd name="connsiteX58" fmla="*/ 1732 w 4181"/>
                  <a:gd name="connsiteY58" fmla="*/ 93 h 1043"/>
                  <a:gd name="connsiteX59" fmla="*/ 1664 w 4181"/>
                  <a:gd name="connsiteY59" fmla="*/ 104 h 1043"/>
                  <a:gd name="connsiteX60" fmla="*/ 1602 w 4181"/>
                  <a:gd name="connsiteY60" fmla="*/ 122 h 1043"/>
                  <a:gd name="connsiteX61" fmla="*/ 1545 w 4181"/>
                  <a:gd name="connsiteY61" fmla="*/ 147 h 1043"/>
                  <a:gd name="connsiteX62" fmla="*/ 1491 w 4181"/>
                  <a:gd name="connsiteY62" fmla="*/ 181 h 1043"/>
                  <a:gd name="connsiteX63" fmla="*/ 1439 w 4181"/>
                  <a:gd name="connsiteY63" fmla="*/ 218 h 1043"/>
                  <a:gd name="connsiteX64" fmla="*/ 1394 w 4181"/>
                  <a:gd name="connsiteY64" fmla="*/ 261 h 1043"/>
                  <a:gd name="connsiteX65" fmla="*/ 1348 w 4181"/>
                  <a:gd name="connsiteY65" fmla="*/ 307 h 1043"/>
                  <a:gd name="connsiteX66" fmla="*/ 1307 w 4181"/>
                  <a:gd name="connsiteY66" fmla="*/ 359 h 1043"/>
                  <a:gd name="connsiteX67" fmla="*/ 1268 w 4181"/>
                  <a:gd name="connsiteY67" fmla="*/ 413 h 1043"/>
                  <a:gd name="connsiteX68" fmla="*/ 1231 w 4181"/>
                  <a:gd name="connsiteY68" fmla="*/ 467 h 1043"/>
                  <a:gd name="connsiteX69" fmla="*/ 1194 w 4181"/>
                  <a:gd name="connsiteY69" fmla="*/ 523 h 1043"/>
                  <a:gd name="connsiteX70" fmla="*/ 1156 w 4181"/>
                  <a:gd name="connsiteY70" fmla="*/ 581 h 1043"/>
                  <a:gd name="connsiteX71" fmla="*/ 1121 w 4181"/>
                  <a:gd name="connsiteY71" fmla="*/ 637 h 1043"/>
                  <a:gd name="connsiteX72" fmla="*/ 1047 w 4181"/>
                  <a:gd name="connsiteY72" fmla="*/ 749 h 1043"/>
                  <a:gd name="connsiteX73" fmla="*/ 1008 w 4181"/>
                  <a:gd name="connsiteY73" fmla="*/ 801 h 1043"/>
                  <a:gd name="connsiteX74" fmla="*/ 966 w 4181"/>
                  <a:gd name="connsiteY74" fmla="*/ 850 h 1043"/>
                  <a:gd name="connsiteX75" fmla="*/ 923 w 4181"/>
                  <a:gd name="connsiteY75" fmla="*/ 896 h 1043"/>
                  <a:gd name="connsiteX76" fmla="*/ 876 w 4181"/>
                  <a:gd name="connsiteY76" fmla="*/ 937 h 1043"/>
                  <a:gd name="connsiteX77" fmla="*/ 826 w 4181"/>
                  <a:gd name="connsiteY77" fmla="*/ 973 h 1043"/>
                  <a:gd name="connsiteX78" fmla="*/ 772 w 4181"/>
                  <a:gd name="connsiteY78" fmla="*/ 1002 h 1043"/>
                  <a:gd name="connsiteX79" fmla="*/ 717 w 4181"/>
                  <a:gd name="connsiteY79" fmla="*/ 1025 h 1043"/>
                  <a:gd name="connsiteX80" fmla="*/ 653 w 4181"/>
                  <a:gd name="connsiteY80" fmla="*/ 1037 h 1043"/>
                  <a:gd name="connsiteX81" fmla="*/ 587 w 4181"/>
                  <a:gd name="connsiteY81" fmla="*/ 1043 h 1043"/>
                  <a:gd name="connsiteX82" fmla="*/ 580 w 4181"/>
                  <a:gd name="connsiteY82" fmla="*/ 1043 h 1043"/>
                  <a:gd name="connsiteX83" fmla="*/ 512 w 4181"/>
                  <a:gd name="connsiteY83" fmla="*/ 1039 h 1043"/>
                  <a:gd name="connsiteX84" fmla="*/ 450 w 4181"/>
                  <a:gd name="connsiteY84" fmla="*/ 1027 h 1043"/>
                  <a:gd name="connsiteX85" fmla="*/ 392 w 4181"/>
                  <a:gd name="connsiteY85" fmla="*/ 1008 h 1043"/>
                  <a:gd name="connsiteX86" fmla="*/ 341 w 4181"/>
                  <a:gd name="connsiteY86" fmla="*/ 983 h 1043"/>
                  <a:gd name="connsiteX87" fmla="*/ 293 w 4181"/>
                  <a:gd name="connsiteY87" fmla="*/ 952 h 1043"/>
                  <a:gd name="connsiteX88" fmla="*/ 248 w 4181"/>
                  <a:gd name="connsiteY88" fmla="*/ 915 h 1043"/>
                  <a:gd name="connsiteX89" fmla="*/ 207 w 4181"/>
                  <a:gd name="connsiteY89" fmla="*/ 873 h 1043"/>
                  <a:gd name="connsiteX90" fmla="*/ 169 w 4181"/>
                  <a:gd name="connsiteY90" fmla="*/ 828 h 1043"/>
                  <a:gd name="connsiteX91" fmla="*/ 132 w 4181"/>
                  <a:gd name="connsiteY91" fmla="*/ 780 h 1043"/>
                  <a:gd name="connsiteX92" fmla="*/ 99 w 4181"/>
                  <a:gd name="connsiteY92" fmla="*/ 728 h 1043"/>
                  <a:gd name="connsiteX93" fmla="*/ 64 w 4181"/>
                  <a:gd name="connsiteY93" fmla="*/ 674 h 1043"/>
                  <a:gd name="connsiteX94" fmla="*/ 33 w 4181"/>
                  <a:gd name="connsiteY94" fmla="*/ 618 h 1043"/>
                  <a:gd name="connsiteX95" fmla="*/ 0 w 4181"/>
                  <a:gd name="connsiteY95" fmla="*/ 560 h 1043"/>
                  <a:gd name="connsiteX96" fmla="*/ 77 w 4181"/>
                  <a:gd name="connsiteY96" fmla="*/ 516 h 1043"/>
                  <a:gd name="connsiteX97" fmla="*/ 110 w 4181"/>
                  <a:gd name="connsiteY97" fmla="*/ 575 h 1043"/>
                  <a:gd name="connsiteX98" fmla="*/ 143 w 4181"/>
                  <a:gd name="connsiteY98" fmla="*/ 631 h 1043"/>
                  <a:gd name="connsiteX99" fmla="*/ 176 w 4181"/>
                  <a:gd name="connsiteY99" fmla="*/ 684 h 1043"/>
                  <a:gd name="connsiteX100" fmla="*/ 209 w 4181"/>
                  <a:gd name="connsiteY100" fmla="*/ 736 h 1043"/>
                  <a:gd name="connsiteX101" fmla="*/ 244 w 4181"/>
                  <a:gd name="connsiteY101" fmla="*/ 782 h 1043"/>
                  <a:gd name="connsiteX102" fmla="*/ 281 w 4181"/>
                  <a:gd name="connsiteY102" fmla="*/ 825 h 1043"/>
                  <a:gd name="connsiteX103" fmla="*/ 322 w 4181"/>
                  <a:gd name="connsiteY103" fmla="*/ 863 h 1043"/>
                  <a:gd name="connsiteX104" fmla="*/ 366 w 4181"/>
                  <a:gd name="connsiteY104" fmla="*/ 894 h 1043"/>
                  <a:gd name="connsiteX105" fmla="*/ 413 w 4181"/>
                  <a:gd name="connsiteY105" fmla="*/ 921 h 1043"/>
                  <a:gd name="connsiteX106" fmla="*/ 463 w 4181"/>
                  <a:gd name="connsiteY106" fmla="*/ 940 h 1043"/>
                  <a:gd name="connsiteX107" fmla="*/ 518 w 4181"/>
                  <a:gd name="connsiteY107" fmla="*/ 952 h 1043"/>
                  <a:gd name="connsiteX108" fmla="*/ 580 w 4181"/>
                  <a:gd name="connsiteY108" fmla="*/ 956 h 1043"/>
                  <a:gd name="connsiteX109" fmla="*/ 587 w 4181"/>
                  <a:gd name="connsiteY109" fmla="*/ 956 h 1043"/>
                  <a:gd name="connsiteX110" fmla="*/ 646 w 4181"/>
                  <a:gd name="connsiteY110" fmla="*/ 950 h 1043"/>
                  <a:gd name="connsiteX111" fmla="*/ 702 w 4181"/>
                  <a:gd name="connsiteY111" fmla="*/ 935 h 1043"/>
                  <a:gd name="connsiteX112" fmla="*/ 756 w 4181"/>
                  <a:gd name="connsiteY112" fmla="*/ 913 h 1043"/>
                  <a:gd name="connsiteX113" fmla="*/ 803 w 4181"/>
                  <a:gd name="connsiteY113" fmla="*/ 884 h 1043"/>
                  <a:gd name="connsiteX114" fmla="*/ 849 w 4181"/>
                  <a:gd name="connsiteY114" fmla="*/ 846 h 1043"/>
                  <a:gd name="connsiteX115" fmla="*/ 892 w 4181"/>
                  <a:gd name="connsiteY115" fmla="*/ 803 h 1043"/>
                  <a:gd name="connsiteX116" fmla="*/ 931 w 4181"/>
                  <a:gd name="connsiteY116" fmla="*/ 755 h 1043"/>
                  <a:gd name="connsiteX117" fmla="*/ 971 w 4181"/>
                  <a:gd name="connsiteY117" fmla="*/ 703 h 1043"/>
                  <a:gd name="connsiteX118" fmla="*/ 1010 w 4181"/>
                  <a:gd name="connsiteY118" fmla="*/ 649 h 1043"/>
                  <a:gd name="connsiteX119" fmla="*/ 1121 w 4181"/>
                  <a:gd name="connsiteY119" fmla="*/ 475 h 1043"/>
                  <a:gd name="connsiteX120" fmla="*/ 1161 w 4181"/>
                  <a:gd name="connsiteY120" fmla="*/ 415 h 1043"/>
                  <a:gd name="connsiteX121" fmla="*/ 1202 w 4181"/>
                  <a:gd name="connsiteY121" fmla="*/ 357 h 1043"/>
                  <a:gd name="connsiteX122" fmla="*/ 1245 w 4181"/>
                  <a:gd name="connsiteY122" fmla="*/ 299 h 1043"/>
                  <a:gd name="connsiteX123" fmla="*/ 1291 w 4181"/>
                  <a:gd name="connsiteY123" fmla="*/ 245 h 1043"/>
                  <a:gd name="connsiteX124" fmla="*/ 1338 w 4181"/>
                  <a:gd name="connsiteY124" fmla="*/ 193 h 1043"/>
                  <a:gd name="connsiteX125" fmla="*/ 1392 w 4181"/>
                  <a:gd name="connsiteY125" fmla="*/ 145 h 1043"/>
                  <a:gd name="connsiteX126" fmla="*/ 1447 w 4181"/>
                  <a:gd name="connsiteY126" fmla="*/ 104 h 1043"/>
                  <a:gd name="connsiteX127" fmla="*/ 1509 w 4181"/>
                  <a:gd name="connsiteY127" fmla="*/ 69 h 1043"/>
                  <a:gd name="connsiteX128" fmla="*/ 1575 w 4181"/>
                  <a:gd name="connsiteY128" fmla="*/ 40 h 1043"/>
                  <a:gd name="connsiteX129" fmla="*/ 1648 w 4181"/>
                  <a:gd name="connsiteY129" fmla="*/ 19 h 1043"/>
                  <a:gd name="connsiteX130" fmla="*/ 1726 w 4181"/>
                  <a:gd name="connsiteY130" fmla="*/ 6 h 1043"/>
                  <a:gd name="connsiteX131" fmla="*/ 1796 w 4181"/>
                  <a:gd name="connsiteY131" fmla="*/ 4 h 1043"/>
                  <a:gd name="connsiteX132" fmla="*/ 1862 w 4181"/>
                  <a:gd name="connsiteY132" fmla="*/ 13 h 1043"/>
                  <a:gd name="connsiteX133" fmla="*/ 1922 w 4181"/>
                  <a:gd name="connsiteY133" fmla="*/ 27 h 1043"/>
                  <a:gd name="connsiteX134" fmla="*/ 1980 w 4181"/>
                  <a:gd name="connsiteY134" fmla="*/ 50 h 1043"/>
                  <a:gd name="connsiteX135" fmla="*/ 2034 w 4181"/>
                  <a:gd name="connsiteY135" fmla="*/ 81 h 1043"/>
                  <a:gd name="connsiteX136" fmla="*/ 2083 w 4181"/>
                  <a:gd name="connsiteY136" fmla="*/ 116 h 1043"/>
                  <a:gd name="connsiteX137" fmla="*/ 2129 w 4181"/>
                  <a:gd name="connsiteY137" fmla="*/ 158 h 1043"/>
                  <a:gd name="connsiteX138" fmla="*/ 2174 w 4181"/>
                  <a:gd name="connsiteY138" fmla="*/ 203 h 1043"/>
                  <a:gd name="connsiteX139" fmla="*/ 2216 w 4181"/>
                  <a:gd name="connsiteY139" fmla="*/ 251 h 1043"/>
                  <a:gd name="connsiteX140" fmla="*/ 2255 w 4181"/>
                  <a:gd name="connsiteY140" fmla="*/ 303 h 1043"/>
                  <a:gd name="connsiteX141" fmla="*/ 2292 w 4181"/>
                  <a:gd name="connsiteY141" fmla="*/ 357 h 1043"/>
                  <a:gd name="connsiteX142" fmla="*/ 2327 w 4181"/>
                  <a:gd name="connsiteY142" fmla="*/ 413 h 1043"/>
                  <a:gd name="connsiteX143" fmla="*/ 2362 w 4181"/>
                  <a:gd name="connsiteY143" fmla="*/ 467 h 1043"/>
                  <a:gd name="connsiteX144" fmla="*/ 2395 w 4181"/>
                  <a:gd name="connsiteY144" fmla="*/ 523 h 1043"/>
                  <a:gd name="connsiteX145" fmla="*/ 2432 w 4181"/>
                  <a:gd name="connsiteY145" fmla="*/ 585 h 1043"/>
                  <a:gd name="connsiteX146" fmla="*/ 2469 w 4181"/>
                  <a:gd name="connsiteY146" fmla="*/ 643 h 1043"/>
                  <a:gd name="connsiteX147" fmla="*/ 2509 w 4181"/>
                  <a:gd name="connsiteY147" fmla="*/ 701 h 1043"/>
                  <a:gd name="connsiteX148" fmla="*/ 2546 w 4181"/>
                  <a:gd name="connsiteY148" fmla="*/ 755 h 1043"/>
                  <a:gd name="connsiteX149" fmla="*/ 2587 w 4181"/>
                  <a:gd name="connsiteY149" fmla="*/ 805 h 1043"/>
                  <a:gd name="connsiteX150" fmla="*/ 2628 w 4181"/>
                  <a:gd name="connsiteY150" fmla="*/ 848 h 1043"/>
                  <a:gd name="connsiteX151" fmla="*/ 2672 w 4181"/>
                  <a:gd name="connsiteY151" fmla="*/ 886 h 1043"/>
                  <a:gd name="connsiteX152" fmla="*/ 2717 w 4181"/>
                  <a:gd name="connsiteY152" fmla="*/ 917 h 1043"/>
                  <a:gd name="connsiteX153" fmla="*/ 2767 w 4181"/>
                  <a:gd name="connsiteY153" fmla="*/ 940 h 1043"/>
                  <a:gd name="connsiteX154" fmla="*/ 2820 w 4181"/>
                  <a:gd name="connsiteY154" fmla="*/ 952 h 1043"/>
                  <a:gd name="connsiteX155" fmla="*/ 2876 w 4181"/>
                  <a:gd name="connsiteY155" fmla="*/ 956 h 1043"/>
                  <a:gd name="connsiteX156" fmla="*/ 2932 w 4181"/>
                  <a:gd name="connsiteY156" fmla="*/ 950 h 1043"/>
                  <a:gd name="connsiteX157" fmla="*/ 2982 w 4181"/>
                  <a:gd name="connsiteY157" fmla="*/ 935 h 1043"/>
                  <a:gd name="connsiteX158" fmla="*/ 3029 w 4181"/>
                  <a:gd name="connsiteY158" fmla="*/ 915 h 1043"/>
                  <a:gd name="connsiteX159" fmla="*/ 3072 w 4181"/>
                  <a:gd name="connsiteY159" fmla="*/ 884 h 1043"/>
                  <a:gd name="connsiteX160" fmla="*/ 3112 w 4181"/>
                  <a:gd name="connsiteY160" fmla="*/ 848 h 1043"/>
                  <a:gd name="connsiteX161" fmla="*/ 3149 w 4181"/>
                  <a:gd name="connsiteY161" fmla="*/ 807 h 1043"/>
                  <a:gd name="connsiteX162" fmla="*/ 3184 w 4181"/>
                  <a:gd name="connsiteY162" fmla="*/ 759 h 1043"/>
                  <a:gd name="connsiteX163" fmla="*/ 3217 w 4181"/>
                  <a:gd name="connsiteY163" fmla="*/ 709 h 1043"/>
                  <a:gd name="connsiteX164" fmla="*/ 3250 w 4181"/>
                  <a:gd name="connsiteY164" fmla="*/ 655 h 1043"/>
                  <a:gd name="connsiteX165" fmla="*/ 3283 w 4181"/>
                  <a:gd name="connsiteY165" fmla="*/ 597 h 1043"/>
                  <a:gd name="connsiteX166" fmla="*/ 3316 w 4181"/>
                  <a:gd name="connsiteY166" fmla="*/ 537 h 1043"/>
                  <a:gd name="connsiteX167" fmla="*/ 3345 w 4181"/>
                  <a:gd name="connsiteY167" fmla="*/ 483 h 1043"/>
                  <a:gd name="connsiteX168" fmla="*/ 3407 w 4181"/>
                  <a:gd name="connsiteY168" fmla="*/ 375 h 1043"/>
                  <a:gd name="connsiteX169" fmla="*/ 3477 w 4181"/>
                  <a:gd name="connsiteY169" fmla="*/ 272 h 1043"/>
                  <a:gd name="connsiteX170" fmla="*/ 3514 w 4181"/>
                  <a:gd name="connsiteY170" fmla="*/ 224 h 1043"/>
                  <a:gd name="connsiteX171" fmla="*/ 3555 w 4181"/>
                  <a:gd name="connsiteY171" fmla="*/ 178 h 1043"/>
                  <a:gd name="connsiteX172" fmla="*/ 3599 w 4181"/>
                  <a:gd name="connsiteY172" fmla="*/ 137 h 1043"/>
                  <a:gd name="connsiteX173" fmla="*/ 3646 w 4181"/>
                  <a:gd name="connsiteY173" fmla="*/ 100 h 1043"/>
                  <a:gd name="connsiteX174" fmla="*/ 3698 w 4181"/>
                  <a:gd name="connsiteY174" fmla="*/ 66 h 1043"/>
                  <a:gd name="connsiteX175" fmla="*/ 3756 w 4181"/>
                  <a:gd name="connsiteY175" fmla="*/ 40 h 1043"/>
                  <a:gd name="connsiteX176" fmla="*/ 3816 w 4181"/>
                  <a:gd name="connsiteY176" fmla="*/ 19 h 1043"/>
                  <a:gd name="connsiteX177" fmla="*/ 3882 w 4181"/>
                  <a:gd name="connsiteY177" fmla="*/ 6 h 1043"/>
                  <a:gd name="connsiteX178" fmla="*/ 3954 w 4181"/>
                  <a:gd name="connsiteY178" fmla="*/ 0 h 1043"/>
                  <a:gd name="connsiteX0" fmla="*/ 3954 w 4181"/>
                  <a:gd name="connsiteY0" fmla="*/ 0 h 1043"/>
                  <a:gd name="connsiteX1" fmla="*/ 4004 w 4181"/>
                  <a:gd name="connsiteY1" fmla="*/ 0 h 1043"/>
                  <a:gd name="connsiteX2" fmla="*/ 4032 w 4181"/>
                  <a:gd name="connsiteY2" fmla="*/ 4 h 1043"/>
                  <a:gd name="connsiteX3" fmla="*/ 4063 w 4181"/>
                  <a:gd name="connsiteY3" fmla="*/ 13 h 1043"/>
                  <a:gd name="connsiteX4" fmla="*/ 4101 w 4181"/>
                  <a:gd name="connsiteY4" fmla="*/ 23 h 1043"/>
                  <a:gd name="connsiteX5" fmla="*/ 4181 w 4181"/>
                  <a:gd name="connsiteY5" fmla="*/ 158 h 1043"/>
                  <a:gd name="connsiteX6" fmla="*/ 4142 w 4181"/>
                  <a:gd name="connsiteY6" fmla="*/ 135 h 1043"/>
                  <a:gd name="connsiteX7" fmla="*/ 4092 w 4181"/>
                  <a:gd name="connsiteY7" fmla="*/ 112 h 1043"/>
                  <a:gd name="connsiteX8" fmla="*/ 4049 w 4181"/>
                  <a:gd name="connsiteY8" fmla="*/ 98 h 1043"/>
                  <a:gd name="connsiteX9" fmla="*/ 4014 w 4181"/>
                  <a:gd name="connsiteY9" fmla="*/ 89 h 1043"/>
                  <a:gd name="connsiteX10" fmla="*/ 3985 w 4181"/>
                  <a:gd name="connsiteY10" fmla="*/ 87 h 1043"/>
                  <a:gd name="connsiteX11" fmla="*/ 3958 w 4181"/>
                  <a:gd name="connsiteY11" fmla="*/ 87 h 1043"/>
                  <a:gd name="connsiteX12" fmla="*/ 3892 w 4181"/>
                  <a:gd name="connsiteY12" fmla="*/ 93 h 1043"/>
                  <a:gd name="connsiteX13" fmla="*/ 3830 w 4181"/>
                  <a:gd name="connsiteY13" fmla="*/ 106 h 1043"/>
                  <a:gd name="connsiteX14" fmla="*/ 3774 w 4181"/>
                  <a:gd name="connsiteY14" fmla="*/ 127 h 1043"/>
                  <a:gd name="connsiteX15" fmla="*/ 3723 w 4181"/>
                  <a:gd name="connsiteY15" fmla="*/ 154 h 1043"/>
                  <a:gd name="connsiteX16" fmla="*/ 3675 w 4181"/>
                  <a:gd name="connsiteY16" fmla="*/ 187 h 1043"/>
                  <a:gd name="connsiteX17" fmla="*/ 3632 w 4181"/>
                  <a:gd name="connsiteY17" fmla="*/ 224 h 1043"/>
                  <a:gd name="connsiteX18" fmla="*/ 3593 w 4181"/>
                  <a:gd name="connsiteY18" fmla="*/ 268 h 1043"/>
                  <a:gd name="connsiteX19" fmla="*/ 3553 w 4181"/>
                  <a:gd name="connsiteY19" fmla="*/ 313 h 1043"/>
                  <a:gd name="connsiteX20" fmla="*/ 3518 w 4181"/>
                  <a:gd name="connsiteY20" fmla="*/ 363 h 1043"/>
                  <a:gd name="connsiteX21" fmla="*/ 3485 w 4181"/>
                  <a:gd name="connsiteY21" fmla="*/ 415 h 1043"/>
                  <a:gd name="connsiteX22" fmla="*/ 3423 w 4181"/>
                  <a:gd name="connsiteY22" fmla="*/ 523 h 1043"/>
                  <a:gd name="connsiteX23" fmla="*/ 3330 w 4181"/>
                  <a:gd name="connsiteY23" fmla="*/ 691 h 1043"/>
                  <a:gd name="connsiteX24" fmla="*/ 3297 w 4181"/>
                  <a:gd name="connsiteY24" fmla="*/ 747 h 1043"/>
                  <a:gd name="connsiteX25" fmla="*/ 3262 w 4181"/>
                  <a:gd name="connsiteY25" fmla="*/ 799 h 1043"/>
                  <a:gd name="connsiteX26" fmla="*/ 3227 w 4181"/>
                  <a:gd name="connsiteY26" fmla="*/ 848 h 1043"/>
                  <a:gd name="connsiteX27" fmla="*/ 3188 w 4181"/>
                  <a:gd name="connsiteY27" fmla="*/ 894 h 1043"/>
                  <a:gd name="connsiteX28" fmla="*/ 3147 w 4181"/>
                  <a:gd name="connsiteY28" fmla="*/ 935 h 1043"/>
                  <a:gd name="connsiteX29" fmla="*/ 3101 w 4181"/>
                  <a:gd name="connsiteY29" fmla="*/ 971 h 1043"/>
                  <a:gd name="connsiteX30" fmla="*/ 3052 w 4181"/>
                  <a:gd name="connsiteY30" fmla="*/ 1000 h 1043"/>
                  <a:gd name="connsiteX31" fmla="*/ 3000 w 4181"/>
                  <a:gd name="connsiteY31" fmla="*/ 1022 h 1043"/>
                  <a:gd name="connsiteX32" fmla="*/ 2942 w 4181"/>
                  <a:gd name="connsiteY32" fmla="*/ 1037 h 1043"/>
                  <a:gd name="connsiteX33" fmla="*/ 2878 w 4181"/>
                  <a:gd name="connsiteY33" fmla="*/ 1043 h 1043"/>
                  <a:gd name="connsiteX34" fmla="*/ 2870 w 4181"/>
                  <a:gd name="connsiteY34" fmla="*/ 1043 h 1043"/>
                  <a:gd name="connsiteX35" fmla="*/ 2808 w 4181"/>
                  <a:gd name="connsiteY35" fmla="*/ 1039 h 1043"/>
                  <a:gd name="connsiteX36" fmla="*/ 2748 w 4181"/>
                  <a:gd name="connsiteY36" fmla="*/ 1025 h 1043"/>
                  <a:gd name="connsiteX37" fmla="*/ 2695 w 4181"/>
                  <a:gd name="connsiteY37" fmla="*/ 1002 h 1043"/>
                  <a:gd name="connsiteX38" fmla="*/ 2643 w 4181"/>
                  <a:gd name="connsiteY38" fmla="*/ 973 h 1043"/>
                  <a:gd name="connsiteX39" fmla="*/ 2595 w 4181"/>
                  <a:gd name="connsiteY39" fmla="*/ 935 h 1043"/>
                  <a:gd name="connsiteX40" fmla="*/ 2552 w 4181"/>
                  <a:gd name="connsiteY40" fmla="*/ 894 h 1043"/>
                  <a:gd name="connsiteX41" fmla="*/ 2509 w 4181"/>
                  <a:gd name="connsiteY41" fmla="*/ 846 h 1043"/>
                  <a:gd name="connsiteX42" fmla="*/ 2469 w 4181"/>
                  <a:gd name="connsiteY42" fmla="*/ 796 h 1043"/>
                  <a:gd name="connsiteX43" fmla="*/ 2430 w 4181"/>
                  <a:gd name="connsiteY43" fmla="*/ 740 h 1043"/>
                  <a:gd name="connsiteX44" fmla="*/ 2393 w 4181"/>
                  <a:gd name="connsiteY44" fmla="*/ 684 h 1043"/>
                  <a:gd name="connsiteX45" fmla="*/ 2288 w 4181"/>
                  <a:gd name="connsiteY45" fmla="*/ 510 h 1043"/>
                  <a:gd name="connsiteX46" fmla="*/ 2251 w 4181"/>
                  <a:gd name="connsiteY46" fmla="*/ 452 h 1043"/>
                  <a:gd name="connsiteX47" fmla="*/ 2213 w 4181"/>
                  <a:gd name="connsiteY47" fmla="*/ 396 h 1043"/>
                  <a:gd name="connsiteX48" fmla="*/ 2176 w 4181"/>
                  <a:gd name="connsiteY48" fmla="*/ 342 h 1043"/>
                  <a:gd name="connsiteX49" fmla="*/ 2137 w 4181"/>
                  <a:gd name="connsiteY49" fmla="*/ 293 h 1043"/>
                  <a:gd name="connsiteX50" fmla="*/ 2096 w 4181"/>
                  <a:gd name="connsiteY50" fmla="*/ 247 h 1043"/>
                  <a:gd name="connsiteX51" fmla="*/ 2054 w 4181"/>
                  <a:gd name="connsiteY51" fmla="*/ 205 h 1043"/>
                  <a:gd name="connsiteX52" fmla="*/ 2009 w 4181"/>
                  <a:gd name="connsiteY52" fmla="*/ 168 h 1043"/>
                  <a:gd name="connsiteX53" fmla="*/ 1962 w 4181"/>
                  <a:gd name="connsiteY53" fmla="*/ 139 h 1043"/>
                  <a:gd name="connsiteX54" fmla="*/ 1910 w 4181"/>
                  <a:gd name="connsiteY54" fmla="*/ 116 h 1043"/>
                  <a:gd name="connsiteX55" fmla="*/ 1854 w 4181"/>
                  <a:gd name="connsiteY55" fmla="*/ 100 h 1043"/>
                  <a:gd name="connsiteX56" fmla="*/ 1796 w 4181"/>
                  <a:gd name="connsiteY56" fmla="*/ 91 h 1043"/>
                  <a:gd name="connsiteX57" fmla="*/ 1732 w 4181"/>
                  <a:gd name="connsiteY57" fmla="*/ 93 h 1043"/>
                  <a:gd name="connsiteX58" fmla="*/ 1664 w 4181"/>
                  <a:gd name="connsiteY58" fmla="*/ 104 h 1043"/>
                  <a:gd name="connsiteX59" fmla="*/ 1602 w 4181"/>
                  <a:gd name="connsiteY59" fmla="*/ 122 h 1043"/>
                  <a:gd name="connsiteX60" fmla="*/ 1545 w 4181"/>
                  <a:gd name="connsiteY60" fmla="*/ 147 h 1043"/>
                  <a:gd name="connsiteX61" fmla="*/ 1491 w 4181"/>
                  <a:gd name="connsiteY61" fmla="*/ 181 h 1043"/>
                  <a:gd name="connsiteX62" fmla="*/ 1439 w 4181"/>
                  <a:gd name="connsiteY62" fmla="*/ 218 h 1043"/>
                  <a:gd name="connsiteX63" fmla="*/ 1394 w 4181"/>
                  <a:gd name="connsiteY63" fmla="*/ 261 h 1043"/>
                  <a:gd name="connsiteX64" fmla="*/ 1348 w 4181"/>
                  <a:gd name="connsiteY64" fmla="*/ 307 h 1043"/>
                  <a:gd name="connsiteX65" fmla="*/ 1307 w 4181"/>
                  <a:gd name="connsiteY65" fmla="*/ 359 h 1043"/>
                  <a:gd name="connsiteX66" fmla="*/ 1268 w 4181"/>
                  <a:gd name="connsiteY66" fmla="*/ 413 h 1043"/>
                  <a:gd name="connsiteX67" fmla="*/ 1231 w 4181"/>
                  <a:gd name="connsiteY67" fmla="*/ 467 h 1043"/>
                  <a:gd name="connsiteX68" fmla="*/ 1194 w 4181"/>
                  <a:gd name="connsiteY68" fmla="*/ 523 h 1043"/>
                  <a:gd name="connsiteX69" fmla="*/ 1156 w 4181"/>
                  <a:gd name="connsiteY69" fmla="*/ 581 h 1043"/>
                  <a:gd name="connsiteX70" fmla="*/ 1121 w 4181"/>
                  <a:gd name="connsiteY70" fmla="*/ 637 h 1043"/>
                  <a:gd name="connsiteX71" fmla="*/ 1047 w 4181"/>
                  <a:gd name="connsiteY71" fmla="*/ 749 h 1043"/>
                  <a:gd name="connsiteX72" fmla="*/ 1008 w 4181"/>
                  <a:gd name="connsiteY72" fmla="*/ 801 h 1043"/>
                  <a:gd name="connsiteX73" fmla="*/ 966 w 4181"/>
                  <a:gd name="connsiteY73" fmla="*/ 850 h 1043"/>
                  <a:gd name="connsiteX74" fmla="*/ 923 w 4181"/>
                  <a:gd name="connsiteY74" fmla="*/ 896 h 1043"/>
                  <a:gd name="connsiteX75" fmla="*/ 876 w 4181"/>
                  <a:gd name="connsiteY75" fmla="*/ 937 h 1043"/>
                  <a:gd name="connsiteX76" fmla="*/ 826 w 4181"/>
                  <a:gd name="connsiteY76" fmla="*/ 973 h 1043"/>
                  <a:gd name="connsiteX77" fmla="*/ 772 w 4181"/>
                  <a:gd name="connsiteY77" fmla="*/ 1002 h 1043"/>
                  <a:gd name="connsiteX78" fmla="*/ 717 w 4181"/>
                  <a:gd name="connsiteY78" fmla="*/ 1025 h 1043"/>
                  <a:gd name="connsiteX79" fmla="*/ 653 w 4181"/>
                  <a:gd name="connsiteY79" fmla="*/ 1037 h 1043"/>
                  <a:gd name="connsiteX80" fmla="*/ 587 w 4181"/>
                  <a:gd name="connsiteY80" fmla="*/ 1043 h 1043"/>
                  <a:gd name="connsiteX81" fmla="*/ 580 w 4181"/>
                  <a:gd name="connsiteY81" fmla="*/ 1043 h 1043"/>
                  <a:gd name="connsiteX82" fmla="*/ 512 w 4181"/>
                  <a:gd name="connsiteY82" fmla="*/ 1039 h 1043"/>
                  <a:gd name="connsiteX83" fmla="*/ 450 w 4181"/>
                  <a:gd name="connsiteY83" fmla="*/ 1027 h 1043"/>
                  <a:gd name="connsiteX84" fmla="*/ 392 w 4181"/>
                  <a:gd name="connsiteY84" fmla="*/ 1008 h 1043"/>
                  <a:gd name="connsiteX85" fmla="*/ 341 w 4181"/>
                  <a:gd name="connsiteY85" fmla="*/ 983 h 1043"/>
                  <a:gd name="connsiteX86" fmla="*/ 293 w 4181"/>
                  <a:gd name="connsiteY86" fmla="*/ 952 h 1043"/>
                  <a:gd name="connsiteX87" fmla="*/ 248 w 4181"/>
                  <a:gd name="connsiteY87" fmla="*/ 915 h 1043"/>
                  <a:gd name="connsiteX88" fmla="*/ 207 w 4181"/>
                  <a:gd name="connsiteY88" fmla="*/ 873 h 1043"/>
                  <a:gd name="connsiteX89" fmla="*/ 169 w 4181"/>
                  <a:gd name="connsiteY89" fmla="*/ 828 h 1043"/>
                  <a:gd name="connsiteX90" fmla="*/ 132 w 4181"/>
                  <a:gd name="connsiteY90" fmla="*/ 780 h 1043"/>
                  <a:gd name="connsiteX91" fmla="*/ 99 w 4181"/>
                  <a:gd name="connsiteY91" fmla="*/ 728 h 1043"/>
                  <a:gd name="connsiteX92" fmla="*/ 64 w 4181"/>
                  <a:gd name="connsiteY92" fmla="*/ 674 h 1043"/>
                  <a:gd name="connsiteX93" fmla="*/ 33 w 4181"/>
                  <a:gd name="connsiteY93" fmla="*/ 618 h 1043"/>
                  <a:gd name="connsiteX94" fmla="*/ 0 w 4181"/>
                  <a:gd name="connsiteY94" fmla="*/ 560 h 1043"/>
                  <a:gd name="connsiteX95" fmla="*/ 77 w 4181"/>
                  <a:gd name="connsiteY95" fmla="*/ 516 h 1043"/>
                  <a:gd name="connsiteX96" fmla="*/ 110 w 4181"/>
                  <a:gd name="connsiteY96" fmla="*/ 575 h 1043"/>
                  <a:gd name="connsiteX97" fmla="*/ 143 w 4181"/>
                  <a:gd name="connsiteY97" fmla="*/ 631 h 1043"/>
                  <a:gd name="connsiteX98" fmla="*/ 176 w 4181"/>
                  <a:gd name="connsiteY98" fmla="*/ 684 h 1043"/>
                  <a:gd name="connsiteX99" fmla="*/ 209 w 4181"/>
                  <a:gd name="connsiteY99" fmla="*/ 736 h 1043"/>
                  <a:gd name="connsiteX100" fmla="*/ 244 w 4181"/>
                  <a:gd name="connsiteY100" fmla="*/ 782 h 1043"/>
                  <a:gd name="connsiteX101" fmla="*/ 281 w 4181"/>
                  <a:gd name="connsiteY101" fmla="*/ 825 h 1043"/>
                  <a:gd name="connsiteX102" fmla="*/ 322 w 4181"/>
                  <a:gd name="connsiteY102" fmla="*/ 863 h 1043"/>
                  <a:gd name="connsiteX103" fmla="*/ 366 w 4181"/>
                  <a:gd name="connsiteY103" fmla="*/ 894 h 1043"/>
                  <a:gd name="connsiteX104" fmla="*/ 413 w 4181"/>
                  <a:gd name="connsiteY104" fmla="*/ 921 h 1043"/>
                  <a:gd name="connsiteX105" fmla="*/ 463 w 4181"/>
                  <a:gd name="connsiteY105" fmla="*/ 940 h 1043"/>
                  <a:gd name="connsiteX106" fmla="*/ 518 w 4181"/>
                  <a:gd name="connsiteY106" fmla="*/ 952 h 1043"/>
                  <a:gd name="connsiteX107" fmla="*/ 580 w 4181"/>
                  <a:gd name="connsiteY107" fmla="*/ 956 h 1043"/>
                  <a:gd name="connsiteX108" fmla="*/ 587 w 4181"/>
                  <a:gd name="connsiteY108" fmla="*/ 956 h 1043"/>
                  <a:gd name="connsiteX109" fmla="*/ 646 w 4181"/>
                  <a:gd name="connsiteY109" fmla="*/ 950 h 1043"/>
                  <a:gd name="connsiteX110" fmla="*/ 702 w 4181"/>
                  <a:gd name="connsiteY110" fmla="*/ 935 h 1043"/>
                  <a:gd name="connsiteX111" fmla="*/ 756 w 4181"/>
                  <a:gd name="connsiteY111" fmla="*/ 913 h 1043"/>
                  <a:gd name="connsiteX112" fmla="*/ 803 w 4181"/>
                  <a:gd name="connsiteY112" fmla="*/ 884 h 1043"/>
                  <a:gd name="connsiteX113" fmla="*/ 849 w 4181"/>
                  <a:gd name="connsiteY113" fmla="*/ 846 h 1043"/>
                  <a:gd name="connsiteX114" fmla="*/ 892 w 4181"/>
                  <a:gd name="connsiteY114" fmla="*/ 803 h 1043"/>
                  <a:gd name="connsiteX115" fmla="*/ 931 w 4181"/>
                  <a:gd name="connsiteY115" fmla="*/ 755 h 1043"/>
                  <a:gd name="connsiteX116" fmla="*/ 971 w 4181"/>
                  <a:gd name="connsiteY116" fmla="*/ 703 h 1043"/>
                  <a:gd name="connsiteX117" fmla="*/ 1010 w 4181"/>
                  <a:gd name="connsiteY117" fmla="*/ 649 h 1043"/>
                  <a:gd name="connsiteX118" fmla="*/ 1121 w 4181"/>
                  <a:gd name="connsiteY118" fmla="*/ 475 h 1043"/>
                  <a:gd name="connsiteX119" fmla="*/ 1161 w 4181"/>
                  <a:gd name="connsiteY119" fmla="*/ 415 h 1043"/>
                  <a:gd name="connsiteX120" fmla="*/ 1202 w 4181"/>
                  <a:gd name="connsiteY120" fmla="*/ 357 h 1043"/>
                  <a:gd name="connsiteX121" fmla="*/ 1245 w 4181"/>
                  <a:gd name="connsiteY121" fmla="*/ 299 h 1043"/>
                  <a:gd name="connsiteX122" fmla="*/ 1291 w 4181"/>
                  <a:gd name="connsiteY122" fmla="*/ 245 h 1043"/>
                  <a:gd name="connsiteX123" fmla="*/ 1338 w 4181"/>
                  <a:gd name="connsiteY123" fmla="*/ 193 h 1043"/>
                  <a:gd name="connsiteX124" fmla="*/ 1392 w 4181"/>
                  <a:gd name="connsiteY124" fmla="*/ 145 h 1043"/>
                  <a:gd name="connsiteX125" fmla="*/ 1447 w 4181"/>
                  <a:gd name="connsiteY125" fmla="*/ 104 h 1043"/>
                  <a:gd name="connsiteX126" fmla="*/ 1509 w 4181"/>
                  <a:gd name="connsiteY126" fmla="*/ 69 h 1043"/>
                  <a:gd name="connsiteX127" fmla="*/ 1575 w 4181"/>
                  <a:gd name="connsiteY127" fmla="*/ 40 h 1043"/>
                  <a:gd name="connsiteX128" fmla="*/ 1648 w 4181"/>
                  <a:gd name="connsiteY128" fmla="*/ 19 h 1043"/>
                  <a:gd name="connsiteX129" fmla="*/ 1726 w 4181"/>
                  <a:gd name="connsiteY129" fmla="*/ 6 h 1043"/>
                  <a:gd name="connsiteX130" fmla="*/ 1796 w 4181"/>
                  <a:gd name="connsiteY130" fmla="*/ 4 h 1043"/>
                  <a:gd name="connsiteX131" fmla="*/ 1862 w 4181"/>
                  <a:gd name="connsiteY131" fmla="*/ 13 h 1043"/>
                  <a:gd name="connsiteX132" fmla="*/ 1922 w 4181"/>
                  <a:gd name="connsiteY132" fmla="*/ 27 h 1043"/>
                  <a:gd name="connsiteX133" fmla="*/ 1980 w 4181"/>
                  <a:gd name="connsiteY133" fmla="*/ 50 h 1043"/>
                  <a:gd name="connsiteX134" fmla="*/ 2034 w 4181"/>
                  <a:gd name="connsiteY134" fmla="*/ 81 h 1043"/>
                  <a:gd name="connsiteX135" fmla="*/ 2083 w 4181"/>
                  <a:gd name="connsiteY135" fmla="*/ 116 h 1043"/>
                  <a:gd name="connsiteX136" fmla="*/ 2129 w 4181"/>
                  <a:gd name="connsiteY136" fmla="*/ 158 h 1043"/>
                  <a:gd name="connsiteX137" fmla="*/ 2174 w 4181"/>
                  <a:gd name="connsiteY137" fmla="*/ 203 h 1043"/>
                  <a:gd name="connsiteX138" fmla="*/ 2216 w 4181"/>
                  <a:gd name="connsiteY138" fmla="*/ 251 h 1043"/>
                  <a:gd name="connsiteX139" fmla="*/ 2255 w 4181"/>
                  <a:gd name="connsiteY139" fmla="*/ 303 h 1043"/>
                  <a:gd name="connsiteX140" fmla="*/ 2292 w 4181"/>
                  <a:gd name="connsiteY140" fmla="*/ 357 h 1043"/>
                  <a:gd name="connsiteX141" fmla="*/ 2327 w 4181"/>
                  <a:gd name="connsiteY141" fmla="*/ 413 h 1043"/>
                  <a:gd name="connsiteX142" fmla="*/ 2362 w 4181"/>
                  <a:gd name="connsiteY142" fmla="*/ 467 h 1043"/>
                  <a:gd name="connsiteX143" fmla="*/ 2395 w 4181"/>
                  <a:gd name="connsiteY143" fmla="*/ 523 h 1043"/>
                  <a:gd name="connsiteX144" fmla="*/ 2432 w 4181"/>
                  <a:gd name="connsiteY144" fmla="*/ 585 h 1043"/>
                  <a:gd name="connsiteX145" fmla="*/ 2469 w 4181"/>
                  <a:gd name="connsiteY145" fmla="*/ 643 h 1043"/>
                  <a:gd name="connsiteX146" fmla="*/ 2509 w 4181"/>
                  <a:gd name="connsiteY146" fmla="*/ 701 h 1043"/>
                  <a:gd name="connsiteX147" fmla="*/ 2546 w 4181"/>
                  <a:gd name="connsiteY147" fmla="*/ 755 h 1043"/>
                  <a:gd name="connsiteX148" fmla="*/ 2587 w 4181"/>
                  <a:gd name="connsiteY148" fmla="*/ 805 h 1043"/>
                  <a:gd name="connsiteX149" fmla="*/ 2628 w 4181"/>
                  <a:gd name="connsiteY149" fmla="*/ 848 h 1043"/>
                  <a:gd name="connsiteX150" fmla="*/ 2672 w 4181"/>
                  <a:gd name="connsiteY150" fmla="*/ 886 h 1043"/>
                  <a:gd name="connsiteX151" fmla="*/ 2717 w 4181"/>
                  <a:gd name="connsiteY151" fmla="*/ 917 h 1043"/>
                  <a:gd name="connsiteX152" fmla="*/ 2767 w 4181"/>
                  <a:gd name="connsiteY152" fmla="*/ 940 h 1043"/>
                  <a:gd name="connsiteX153" fmla="*/ 2820 w 4181"/>
                  <a:gd name="connsiteY153" fmla="*/ 952 h 1043"/>
                  <a:gd name="connsiteX154" fmla="*/ 2876 w 4181"/>
                  <a:gd name="connsiteY154" fmla="*/ 956 h 1043"/>
                  <a:gd name="connsiteX155" fmla="*/ 2932 w 4181"/>
                  <a:gd name="connsiteY155" fmla="*/ 950 h 1043"/>
                  <a:gd name="connsiteX156" fmla="*/ 2982 w 4181"/>
                  <a:gd name="connsiteY156" fmla="*/ 935 h 1043"/>
                  <a:gd name="connsiteX157" fmla="*/ 3029 w 4181"/>
                  <a:gd name="connsiteY157" fmla="*/ 915 h 1043"/>
                  <a:gd name="connsiteX158" fmla="*/ 3072 w 4181"/>
                  <a:gd name="connsiteY158" fmla="*/ 884 h 1043"/>
                  <a:gd name="connsiteX159" fmla="*/ 3112 w 4181"/>
                  <a:gd name="connsiteY159" fmla="*/ 848 h 1043"/>
                  <a:gd name="connsiteX160" fmla="*/ 3149 w 4181"/>
                  <a:gd name="connsiteY160" fmla="*/ 807 h 1043"/>
                  <a:gd name="connsiteX161" fmla="*/ 3184 w 4181"/>
                  <a:gd name="connsiteY161" fmla="*/ 759 h 1043"/>
                  <a:gd name="connsiteX162" fmla="*/ 3217 w 4181"/>
                  <a:gd name="connsiteY162" fmla="*/ 709 h 1043"/>
                  <a:gd name="connsiteX163" fmla="*/ 3250 w 4181"/>
                  <a:gd name="connsiteY163" fmla="*/ 655 h 1043"/>
                  <a:gd name="connsiteX164" fmla="*/ 3283 w 4181"/>
                  <a:gd name="connsiteY164" fmla="*/ 597 h 1043"/>
                  <a:gd name="connsiteX165" fmla="*/ 3316 w 4181"/>
                  <a:gd name="connsiteY165" fmla="*/ 537 h 1043"/>
                  <a:gd name="connsiteX166" fmla="*/ 3345 w 4181"/>
                  <a:gd name="connsiteY166" fmla="*/ 483 h 1043"/>
                  <a:gd name="connsiteX167" fmla="*/ 3407 w 4181"/>
                  <a:gd name="connsiteY167" fmla="*/ 375 h 1043"/>
                  <a:gd name="connsiteX168" fmla="*/ 3477 w 4181"/>
                  <a:gd name="connsiteY168" fmla="*/ 272 h 1043"/>
                  <a:gd name="connsiteX169" fmla="*/ 3514 w 4181"/>
                  <a:gd name="connsiteY169" fmla="*/ 224 h 1043"/>
                  <a:gd name="connsiteX170" fmla="*/ 3555 w 4181"/>
                  <a:gd name="connsiteY170" fmla="*/ 178 h 1043"/>
                  <a:gd name="connsiteX171" fmla="*/ 3599 w 4181"/>
                  <a:gd name="connsiteY171" fmla="*/ 137 h 1043"/>
                  <a:gd name="connsiteX172" fmla="*/ 3646 w 4181"/>
                  <a:gd name="connsiteY172" fmla="*/ 100 h 1043"/>
                  <a:gd name="connsiteX173" fmla="*/ 3698 w 4181"/>
                  <a:gd name="connsiteY173" fmla="*/ 66 h 1043"/>
                  <a:gd name="connsiteX174" fmla="*/ 3756 w 4181"/>
                  <a:gd name="connsiteY174" fmla="*/ 40 h 1043"/>
                  <a:gd name="connsiteX175" fmla="*/ 3816 w 4181"/>
                  <a:gd name="connsiteY175" fmla="*/ 19 h 1043"/>
                  <a:gd name="connsiteX176" fmla="*/ 3882 w 4181"/>
                  <a:gd name="connsiteY176" fmla="*/ 6 h 1043"/>
                  <a:gd name="connsiteX177" fmla="*/ 3954 w 4181"/>
                  <a:gd name="connsiteY177" fmla="*/ 0 h 1043"/>
                  <a:gd name="connsiteX0" fmla="*/ 3954 w 4181"/>
                  <a:gd name="connsiteY0" fmla="*/ 0 h 1043"/>
                  <a:gd name="connsiteX1" fmla="*/ 4004 w 4181"/>
                  <a:gd name="connsiteY1" fmla="*/ 0 h 1043"/>
                  <a:gd name="connsiteX2" fmla="*/ 4032 w 4181"/>
                  <a:gd name="connsiteY2" fmla="*/ 4 h 1043"/>
                  <a:gd name="connsiteX3" fmla="*/ 4063 w 4181"/>
                  <a:gd name="connsiteY3" fmla="*/ 13 h 1043"/>
                  <a:gd name="connsiteX4" fmla="*/ 4181 w 4181"/>
                  <a:gd name="connsiteY4" fmla="*/ 158 h 1043"/>
                  <a:gd name="connsiteX5" fmla="*/ 4142 w 4181"/>
                  <a:gd name="connsiteY5" fmla="*/ 135 h 1043"/>
                  <a:gd name="connsiteX6" fmla="*/ 4092 w 4181"/>
                  <a:gd name="connsiteY6" fmla="*/ 112 h 1043"/>
                  <a:gd name="connsiteX7" fmla="*/ 4049 w 4181"/>
                  <a:gd name="connsiteY7" fmla="*/ 98 h 1043"/>
                  <a:gd name="connsiteX8" fmla="*/ 4014 w 4181"/>
                  <a:gd name="connsiteY8" fmla="*/ 89 h 1043"/>
                  <a:gd name="connsiteX9" fmla="*/ 3985 w 4181"/>
                  <a:gd name="connsiteY9" fmla="*/ 87 h 1043"/>
                  <a:gd name="connsiteX10" fmla="*/ 3958 w 4181"/>
                  <a:gd name="connsiteY10" fmla="*/ 87 h 1043"/>
                  <a:gd name="connsiteX11" fmla="*/ 3892 w 4181"/>
                  <a:gd name="connsiteY11" fmla="*/ 93 h 1043"/>
                  <a:gd name="connsiteX12" fmla="*/ 3830 w 4181"/>
                  <a:gd name="connsiteY12" fmla="*/ 106 h 1043"/>
                  <a:gd name="connsiteX13" fmla="*/ 3774 w 4181"/>
                  <a:gd name="connsiteY13" fmla="*/ 127 h 1043"/>
                  <a:gd name="connsiteX14" fmla="*/ 3723 w 4181"/>
                  <a:gd name="connsiteY14" fmla="*/ 154 h 1043"/>
                  <a:gd name="connsiteX15" fmla="*/ 3675 w 4181"/>
                  <a:gd name="connsiteY15" fmla="*/ 187 h 1043"/>
                  <a:gd name="connsiteX16" fmla="*/ 3632 w 4181"/>
                  <a:gd name="connsiteY16" fmla="*/ 224 h 1043"/>
                  <a:gd name="connsiteX17" fmla="*/ 3593 w 4181"/>
                  <a:gd name="connsiteY17" fmla="*/ 268 h 1043"/>
                  <a:gd name="connsiteX18" fmla="*/ 3553 w 4181"/>
                  <a:gd name="connsiteY18" fmla="*/ 313 h 1043"/>
                  <a:gd name="connsiteX19" fmla="*/ 3518 w 4181"/>
                  <a:gd name="connsiteY19" fmla="*/ 363 h 1043"/>
                  <a:gd name="connsiteX20" fmla="*/ 3485 w 4181"/>
                  <a:gd name="connsiteY20" fmla="*/ 415 h 1043"/>
                  <a:gd name="connsiteX21" fmla="*/ 3423 w 4181"/>
                  <a:gd name="connsiteY21" fmla="*/ 523 h 1043"/>
                  <a:gd name="connsiteX22" fmla="*/ 3330 w 4181"/>
                  <a:gd name="connsiteY22" fmla="*/ 691 h 1043"/>
                  <a:gd name="connsiteX23" fmla="*/ 3297 w 4181"/>
                  <a:gd name="connsiteY23" fmla="*/ 747 h 1043"/>
                  <a:gd name="connsiteX24" fmla="*/ 3262 w 4181"/>
                  <a:gd name="connsiteY24" fmla="*/ 799 h 1043"/>
                  <a:gd name="connsiteX25" fmla="*/ 3227 w 4181"/>
                  <a:gd name="connsiteY25" fmla="*/ 848 h 1043"/>
                  <a:gd name="connsiteX26" fmla="*/ 3188 w 4181"/>
                  <a:gd name="connsiteY26" fmla="*/ 894 h 1043"/>
                  <a:gd name="connsiteX27" fmla="*/ 3147 w 4181"/>
                  <a:gd name="connsiteY27" fmla="*/ 935 h 1043"/>
                  <a:gd name="connsiteX28" fmla="*/ 3101 w 4181"/>
                  <a:gd name="connsiteY28" fmla="*/ 971 h 1043"/>
                  <a:gd name="connsiteX29" fmla="*/ 3052 w 4181"/>
                  <a:gd name="connsiteY29" fmla="*/ 1000 h 1043"/>
                  <a:gd name="connsiteX30" fmla="*/ 3000 w 4181"/>
                  <a:gd name="connsiteY30" fmla="*/ 1022 h 1043"/>
                  <a:gd name="connsiteX31" fmla="*/ 2942 w 4181"/>
                  <a:gd name="connsiteY31" fmla="*/ 1037 h 1043"/>
                  <a:gd name="connsiteX32" fmla="*/ 2878 w 4181"/>
                  <a:gd name="connsiteY32" fmla="*/ 1043 h 1043"/>
                  <a:gd name="connsiteX33" fmla="*/ 2870 w 4181"/>
                  <a:gd name="connsiteY33" fmla="*/ 1043 h 1043"/>
                  <a:gd name="connsiteX34" fmla="*/ 2808 w 4181"/>
                  <a:gd name="connsiteY34" fmla="*/ 1039 h 1043"/>
                  <a:gd name="connsiteX35" fmla="*/ 2748 w 4181"/>
                  <a:gd name="connsiteY35" fmla="*/ 1025 h 1043"/>
                  <a:gd name="connsiteX36" fmla="*/ 2695 w 4181"/>
                  <a:gd name="connsiteY36" fmla="*/ 1002 h 1043"/>
                  <a:gd name="connsiteX37" fmla="*/ 2643 w 4181"/>
                  <a:gd name="connsiteY37" fmla="*/ 973 h 1043"/>
                  <a:gd name="connsiteX38" fmla="*/ 2595 w 4181"/>
                  <a:gd name="connsiteY38" fmla="*/ 935 h 1043"/>
                  <a:gd name="connsiteX39" fmla="*/ 2552 w 4181"/>
                  <a:gd name="connsiteY39" fmla="*/ 894 h 1043"/>
                  <a:gd name="connsiteX40" fmla="*/ 2509 w 4181"/>
                  <a:gd name="connsiteY40" fmla="*/ 846 h 1043"/>
                  <a:gd name="connsiteX41" fmla="*/ 2469 w 4181"/>
                  <a:gd name="connsiteY41" fmla="*/ 796 h 1043"/>
                  <a:gd name="connsiteX42" fmla="*/ 2430 w 4181"/>
                  <a:gd name="connsiteY42" fmla="*/ 740 h 1043"/>
                  <a:gd name="connsiteX43" fmla="*/ 2393 w 4181"/>
                  <a:gd name="connsiteY43" fmla="*/ 684 h 1043"/>
                  <a:gd name="connsiteX44" fmla="*/ 2288 w 4181"/>
                  <a:gd name="connsiteY44" fmla="*/ 510 h 1043"/>
                  <a:gd name="connsiteX45" fmla="*/ 2251 w 4181"/>
                  <a:gd name="connsiteY45" fmla="*/ 452 h 1043"/>
                  <a:gd name="connsiteX46" fmla="*/ 2213 w 4181"/>
                  <a:gd name="connsiteY46" fmla="*/ 396 h 1043"/>
                  <a:gd name="connsiteX47" fmla="*/ 2176 w 4181"/>
                  <a:gd name="connsiteY47" fmla="*/ 342 h 1043"/>
                  <a:gd name="connsiteX48" fmla="*/ 2137 w 4181"/>
                  <a:gd name="connsiteY48" fmla="*/ 293 h 1043"/>
                  <a:gd name="connsiteX49" fmla="*/ 2096 w 4181"/>
                  <a:gd name="connsiteY49" fmla="*/ 247 h 1043"/>
                  <a:gd name="connsiteX50" fmla="*/ 2054 w 4181"/>
                  <a:gd name="connsiteY50" fmla="*/ 205 h 1043"/>
                  <a:gd name="connsiteX51" fmla="*/ 2009 w 4181"/>
                  <a:gd name="connsiteY51" fmla="*/ 168 h 1043"/>
                  <a:gd name="connsiteX52" fmla="*/ 1962 w 4181"/>
                  <a:gd name="connsiteY52" fmla="*/ 139 h 1043"/>
                  <a:gd name="connsiteX53" fmla="*/ 1910 w 4181"/>
                  <a:gd name="connsiteY53" fmla="*/ 116 h 1043"/>
                  <a:gd name="connsiteX54" fmla="*/ 1854 w 4181"/>
                  <a:gd name="connsiteY54" fmla="*/ 100 h 1043"/>
                  <a:gd name="connsiteX55" fmla="*/ 1796 w 4181"/>
                  <a:gd name="connsiteY55" fmla="*/ 91 h 1043"/>
                  <a:gd name="connsiteX56" fmla="*/ 1732 w 4181"/>
                  <a:gd name="connsiteY56" fmla="*/ 93 h 1043"/>
                  <a:gd name="connsiteX57" fmla="*/ 1664 w 4181"/>
                  <a:gd name="connsiteY57" fmla="*/ 104 h 1043"/>
                  <a:gd name="connsiteX58" fmla="*/ 1602 w 4181"/>
                  <a:gd name="connsiteY58" fmla="*/ 122 h 1043"/>
                  <a:gd name="connsiteX59" fmla="*/ 1545 w 4181"/>
                  <a:gd name="connsiteY59" fmla="*/ 147 h 1043"/>
                  <a:gd name="connsiteX60" fmla="*/ 1491 w 4181"/>
                  <a:gd name="connsiteY60" fmla="*/ 181 h 1043"/>
                  <a:gd name="connsiteX61" fmla="*/ 1439 w 4181"/>
                  <a:gd name="connsiteY61" fmla="*/ 218 h 1043"/>
                  <a:gd name="connsiteX62" fmla="*/ 1394 w 4181"/>
                  <a:gd name="connsiteY62" fmla="*/ 261 h 1043"/>
                  <a:gd name="connsiteX63" fmla="*/ 1348 w 4181"/>
                  <a:gd name="connsiteY63" fmla="*/ 307 h 1043"/>
                  <a:gd name="connsiteX64" fmla="*/ 1307 w 4181"/>
                  <a:gd name="connsiteY64" fmla="*/ 359 h 1043"/>
                  <a:gd name="connsiteX65" fmla="*/ 1268 w 4181"/>
                  <a:gd name="connsiteY65" fmla="*/ 413 h 1043"/>
                  <a:gd name="connsiteX66" fmla="*/ 1231 w 4181"/>
                  <a:gd name="connsiteY66" fmla="*/ 467 h 1043"/>
                  <a:gd name="connsiteX67" fmla="*/ 1194 w 4181"/>
                  <a:gd name="connsiteY67" fmla="*/ 523 h 1043"/>
                  <a:gd name="connsiteX68" fmla="*/ 1156 w 4181"/>
                  <a:gd name="connsiteY68" fmla="*/ 581 h 1043"/>
                  <a:gd name="connsiteX69" fmla="*/ 1121 w 4181"/>
                  <a:gd name="connsiteY69" fmla="*/ 637 h 1043"/>
                  <a:gd name="connsiteX70" fmla="*/ 1047 w 4181"/>
                  <a:gd name="connsiteY70" fmla="*/ 749 h 1043"/>
                  <a:gd name="connsiteX71" fmla="*/ 1008 w 4181"/>
                  <a:gd name="connsiteY71" fmla="*/ 801 h 1043"/>
                  <a:gd name="connsiteX72" fmla="*/ 966 w 4181"/>
                  <a:gd name="connsiteY72" fmla="*/ 850 h 1043"/>
                  <a:gd name="connsiteX73" fmla="*/ 923 w 4181"/>
                  <a:gd name="connsiteY73" fmla="*/ 896 h 1043"/>
                  <a:gd name="connsiteX74" fmla="*/ 876 w 4181"/>
                  <a:gd name="connsiteY74" fmla="*/ 937 h 1043"/>
                  <a:gd name="connsiteX75" fmla="*/ 826 w 4181"/>
                  <a:gd name="connsiteY75" fmla="*/ 973 h 1043"/>
                  <a:gd name="connsiteX76" fmla="*/ 772 w 4181"/>
                  <a:gd name="connsiteY76" fmla="*/ 1002 h 1043"/>
                  <a:gd name="connsiteX77" fmla="*/ 717 w 4181"/>
                  <a:gd name="connsiteY77" fmla="*/ 1025 h 1043"/>
                  <a:gd name="connsiteX78" fmla="*/ 653 w 4181"/>
                  <a:gd name="connsiteY78" fmla="*/ 1037 h 1043"/>
                  <a:gd name="connsiteX79" fmla="*/ 587 w 4181"/>
                  <a:gd name="connsiteY79" fmla="*/ 1043 h 1043"/>
                  <a:gd name="connsiteX80" fmla="*/ 580 w 4181"/>
                  <a:gd name="connsiteY80" fmla="*/ 1043 h 1043"/>
                  <a:gd name="connsiteX81" fmla="*/ 512 w 4181"/>
                  <a:gd name="connsiteY81" fmla="*/ 1039 h 1043"/>
                  <a:gd name="connsiteX82" fmla="*/ 450 w 4181"/>
                  <a:gd name="connsiteY82" fmla="*/ 1027 h 1043"/>
                  <a:gd name="connsiteX83" fmla="*/ 392 w 4181"/>
                  <a:gd name="connsiteY83" fmla="*/ 1008 h 1043"/>
                  <a:gd name="connsiteX84" fmla="*/ 341 w 4181"/>
                  <a:gd name="connsiteY84" fmla="*/ 983 h 1043"/>
                  <a:gd name="connsiteX85" fmla="*/ 293 w 4181"/>
                  <a:gd name="connsiteY85" fmla="*/ 952 h 1043"/>
                  <a:gd name="connsiteX86" fmla="*/ 248 w 4181"/>
                  <a:gd name="connsiteY86" fmla="*/ 915 h 1043"/>
                  <a:gd name="connsiteX87" fmla="*/ 207 w 4181"/>
                  <a:gd name="connsiteY87" fmla="*/ 873 h 1043"/>
                  <a:gd name="connsiteX88" fmla="*/ 169 w 4181"/>
                  <a:gd name="connsiteY88" fmla="*/ 828 h 1043"/>
                  <a:gd name="connsiteX89" fmla="*/ 132 w 4181"/>
                  <a:gd name="connsiteY89" fmla="*/ 780 h 1043"/>
                  <a:gd name="connsiteX90" fmla="*/ 99 w 4181"/>
                  <a:gd name="connsiteY90" fmla="*/ 728 h 1043"/>
                  <a:gd name="connsiteX91" fmla="*/ 64 w 4181"/>
                  <a:gd name="connsiteY91" fmla="*/ 674 h 1043"/>
                  <a:gd name="connsiteX92" fmla="*/ 33 w 4181"/>
                  <a:gd name="connsiteY92" fmla="*/ 618 h 1043"/>
                  <a:gd name="connsiteX93" fmla="*/ 0 w 4181"/>
                  <a:gd name="connsiteY93" fmla="*/ 560 h 1043"/>
                  <a:gd name="connsiteX94" fmla="*/ 77 w 4181"/>
                  <a:gd name="connsiteY94" fmla="*/ 516 h 1043"/>
                  <a:gd name="connsiteX95" fmla="*/ 110 w 4181"/>
                  <a:gd name="connsiteY95" fmla="*/ 575 h 1043"/>
                  <a:gd name="connsiteX96" fmla="*/ 143 w 4181"/>
                  <a:gd name="connsiteY96" fmla="*/ 631 h 1043"/>
                  <a:gd name="connsiteX97" fmla="*/ 176 w 4181"/>
                  <a:gd name="connsiteY97" fmla="*/ 684 h 1043"/>
                  <a:gd name="connsiteX98" fmla="*/ 209 w 4181"/>
                  <a:gd name="connsiteY98" fmla="*/ 736 h 1043"/>
                  <a:gd name="connsiteX99" fmla="*/ 244 w 4181"/>
                  <a:gd name="connsiteY99" fmla="*/ 782 h 1043"/>
                  <a:gd name="connsiteX100" fmla="*/ 281 w 4181"/>
                  <a:gd name="connsiteY100" fmla="*/ 825 h 1043"/>
                  <a:gd name="connsiteX101" fmla="*/ 322 w 4181"/>
                  <a:gd name="connsiteY101" fmla="*/ 863 h 1043"/>
                  <a:gd name="connsiteX102" fmla="*/ 366 w 4181"/>
                  <a:gd name="connsiteY102" fmla="*/ 894 h 1043"/>
                  <a:gd name="connsiteX103" fmla="*/ 413 w 4181"/>
                  <a:gd name="connsiteY103" fmla="*/ 921 h 1043"/>
                  <a:gd name="connsiteX104" fmla="*/ 463 w 4181"/>
                  <a:gd name="connsiteY104" fmla="*/ 940 h 1043"/>
                  <a:gd name="connsiteX105" fmla="*/ 518 w 4181"/>
                  <a:gd name="connsiteY105" fmla="*/ 952 h 1043"/>
                  <a:gd name="connsiteX106" fmla="*/ 580 w 4181"/>
                  <a:gd name="connsiteY106" fmla="*/ 956 h 1043"/>
                  <a:gd name="connsiteX107" fmla="*/ 587 w 4181"/>
                  <a:gd name="connsiteY107" fmla="*/ 956 h 1043"/>
                  <a:gd name="connsiteX108" fmla="*/ 646 w 4181"/>
                  <a:gd name="connsiteY108" fmla="*/ 950 h 1043"/>
                  <a:gd name="connsiteX109" fmla="*/ 702 w 4181"/>
                  <a:gd name="connsiteY109" fmla="*/ 935 h 1043"/>
                  <a:gd name="connsiteX110" fmla="*/ 756 w 4181"/>
                  <a:gd name="connsiteY110" fmla="*/ 913 h 1043"/>
                  <a:gd name="connsiteX111" fmla="*/ 803 w 4181"/>
                  <a:gd name="connsiteY111" fmla="*/ 884 h 1043"/>
                  <a:gd name="connsiteX112" fmla="*/ 849 w 4181"/>
                  <a:gd name="connsiteY112" fmla="*/ 846 h 1043"/>
                  <a:gd name="connsiteX113" fmla="*/ 892 w 4181"/>
                  <a:gd name="connsiteY113" fmla="*/ 803 h 1043"/>
                  <a:gd name="connsiteX114" fmla="*/ 931 w 4181"/>
                  <a:gd name="connsiteY114" fmla="*/ 755 h 1043"/>
                  <a:gd name="connsiteX115" fmla="*/ 971 w 4181"/>
                  <a:gd name="connsiteY115" fmla="*/ 703 h 1043"/>
                  <a:gd name="connsiteX116" fmla="*/ 1010 w 4181"/>
                  <a:gd name="connsiteY116" fmla="*/ 649 h 1043"/>
                  <a:gd name="connsiteX117" fmla="*/ 1121 w 4181"/>
                  <a:gd name="connsiteY117" fmla="*/ 475 h 1043"/>
                  <a:gd name="connsiteX118" fmla="*/ 1161 w 4181"/>
                  <a:gd name="connsiteY118" fmla="*/ 415 h 1043"/>
                  <a:gd name="connsiteX119" fmla="*/ 1202 w 4181"/>
                  <a:gd name="connsiteY119" fmla="*/ 357 h 1043"/>
                  <a:gd name="connsiteX120" fmla="*/ 1245 w 4181"/>
                  <a:gd name="connsiteY120" fmla="*/ 299 h 1043"/>
                  <a:gd name="connsiteX121" fmla="*/ 1291 w 4181"/>
                  <a:gd name="connsiteY121" fmla="*/ 245 h 1043"/>
                  <a:gd name="connsiteX122" fmla="*/ 1338 w 4181"/>
                  <a:gd name="connsiteY122" fmla="*/ 193 h 1043"/>
                  <a:gd name="connsiteX123" fmla="*/ 1392 w 4181"/>
                  <a:gd name="connsiteY123" fmla="*/ 145 h 1043"/>
                  <a:gd name="connsiteX124" fmla="*/ 1447 w 4181"/>
                  <a:gd name="connsiteY124" fmla="*/ 104 h 1043"/>
                  <a:gd name="connsiteX125" fmla="*/ 1509 w 4181"/>
                  <a:gd name="connsiteY125" fmla="*/ 69 h 1043"/>
                  <a:gd name="connsiteX126" fmla="*/ 1575 w 4181"/>
                  <a:gd name="connsiteY126" fmla="*/ 40 h 1043"/>
                  <a:gd name="connsiteX127" fmla="*/ 1648 w 4181"/>
                  <a:gd name="connsiteY127" fmla="*/ 19 h 1043"/>
                  <a:gd name="connsiteX128" fmla="*/ 1726 w 4181"/>
                  <a:gd name="connsiteY128" fmla="*/ 6 h 1043"/>
                  <a:gd name="connsiteX129" fmla="*/ 1796 w 4181"/>
                  <a:gd name="connsiteY129" fmla="*/ 4 h 1043"/>
                  <a:gd name="connsiteX130" fmla="*/ 1862 w 4181"/>
                  <a:gd name="connsiteY130" fmla="*/ 13 h 1043"/>
                  <a:gd name="connsiteX131" fmla="*/ 1922 w 4181"/>
                  <a:gd name="connsiteY131" fmla="*/ 27 h 1043"/>
                  <a:gd name="connsiteX132" fmla="*/ 1980 w 4181"/>
                  <a:gd name="connsiteY132" fmla="*/ 50 h 1043"/>
                  <a:gd name="connsiteX133" fmla="*/ 2034 w 4181"/>
                  <a:gd name="connsiteY133" fmla="*/ 81 h 1043"/>
                  <a:gd name="connsiteX134" fmla="*/ 2083 w 4181"/>
                  <a:gd name="connsiteY134" fmla="*/ 116 h 1043"/>
                  <a:gd name="connsiteX135" fmla="*/ 2129 w 4181"/>
                  <a:gd name="connsiteY135" fmla="*/ 158 h 1043"/>
                  <a:gd name="connsiteX136" fmla="*/ 2174 w 4181"/>
                  <a:gd name="connsiteY136" fmla="*/ 203 h 1043"/>
                  <a:gd name="connsiteX137" fmla="*/ 2216 w 4181"/>
                  <a:gd name="connsiteY137" fmla="*/ 251 h 1043"/>
                  <a:gd name="connsiteX138" fmla="*/ 2255 w 4181"/>
                  <a:gd name="connsiteY138" fmla="*/ 303 h 1043"/>
                  <a:gd name="connsiteX139" fmla="*/ 2292 w 4181"/>
                  <a:gd name="connsiteY139" fmla="*/ 357 h 1043"/>
                  <a:gd name="connsiteX140" fmla="*/ 2327 w 4181"/>
                  <a:gd name="connsiteY140" fmla="*/ 413 h 1043"/>
                  <a:gd name="connsiteX141" fmla="*/ 2362 w 4181"/>
                  <a:gd name="connsiteY141" fmla="*/ 467 h 1043"/>
                  <a:gd name="connsiteX142" fmla="*/ 2395 w 4181"/>
                  <a:gd name="connsiteY142" fmla="*/ 523 h 1043"/>
                  <a:gd name="connsiteX143" fmla="*/ 2432 w 4181"/>
                  <a:gd name="connsiteY143" fmla="*/ 585 h 1043"/>
                  <a:gd name="connsiteX144" fmla="*/ 2469 w 4181"/>
                  <a:gd name="connsiteY144" fmla="*/ 643 h 1043"/>
                  <a:gd name="connsiteX145" fmla="*/ 2509 w 4181"/>
                  <a:gd name="connsiteY145" fmla="*/ 701 h 1043"/>
                  <a:gd name="connsiteX146" fmla="*/ 2546 w 4181"/>
                  <a:gd name="connsiteY146" fmla="*/ 755 h 1043"/>
                  <a:gd name="connsiteX147" fmla="*/ 2587 w 4181"/>
                  <a:gd name="connsiteY147" fmla="*/ 805 h 1043"/>
                  <a:gd name="connsiteX148" fmla="*/ 2628 w 4181"/>
                  <a:gd name="connsiteY148" fmla="*/ 848 h 1043"/>
                  <a:gd name="connsiteX149" fmla="*/ 2672 w 4181"/>
                  <a:gd name="connsiteY149" fmla="*/ 886 h 1043"/>
                  <a:gd name="connsiteX150" fmla="*/ 2717 w 4181"/>
                  <a:gd name="connsiteY150" fmla="*/ 917 h 1043"/>
                  <a:gd name="connsiteX151" fmla="*/ 2767 w 4181"/>
                  <a:gd name="connsiteY151" fmla="*/ 940 h 1043"/>
                  <a:gd name="connsiteX152" fmla="*/ 2820 w 4181"/>
                  <a:gd name="connsiteY152" fmla="*/ 952 h 1043"/>
                  <a:gd name="connsiteX153" fmla="*/ 2876 w 4181"/>
                  <a:gd name="connsiteY153" fmla="*/ 956 h 1043"/>
                  <a:gd name="connsiteX154" fmla="*/ 2932 w 4181"/>
                  <a:gd name="connsiteY154" fmla="*/ 950 h 1043"/>
                  <a:gd name="connsiteX155" fmla="*/ 2982 w 4181"/>
                  <a:gd name="connsiteY155" fmla="*/ 935 h 1043"/>
                  <a:gd name="connsiteX156" fmla="*/ 3029 w 4181"/>
                  <a:gd name="connsiteY156" fmla="*/ 915 h 1043"/>
                  <a:gd name="connsiteX157" fmla="*/ 3072 w 4181"/>
                  <a:gd name="connsiteY157" fmla="*/ 884 h 1043"/>
                  <a:gd name="connsiteX158" fmla="*/ 3112 w 4181"/>
                  <a:gd name="connsiteY158" fmla="*/ 848 h 1043"/>
                  <a:gd name="connsiteX159" fmla="*/ 3149 w 4181"/>
                  <a:gd name="connsiteY159" fmla="*/ 807 h 1043"/>
                  <a:gd name="connsiteX160" fmla="*/ 3184 w 4181"/>
                  <a:gd name="connsiteY160" fmla="*/ 759 h 1043"/>
                  <a:gd name="connsiteX161" fmla="*/ 3217 w 4181"/>
                  <a:gd name="connsiteY161" fmla="*/ 709 h 1043"/>
                  <a:gd name="connsiteX162" fmla="*/ 3250 w 4181"/>
                  <a:gd name="connsiteY162" fmla="*/ 655 h 1043"/>
                  <a:gd name="connsiteX163" fmla="*/ 3283 w 4181"/>
                  <a:gd name="connsiteY163" fmla="*/ 597 h 1043"/>
                  <a:gd name="connsiteX164" fmla="*/ 3316 w 4181"/>
                  <a:gd name="connsiteY164" fmla="*/ 537 h 1043"/>
                  <a:gd name="connsiteX165" fmla="*/ 3345 w 4181"/>
                  <a:gd name="connsiteY165" fmla="*/ 483 h 1043"/>
                  <a:gd name="connsiteX166" fmla="*/ 3407 w 4181"/>
                  <a:gd name="connsiteY166" fmla="*/ 375 h 1043"/>
                  <a:gd name="connsiteX167" fmla="*/ 3477 w 4181"/>
                  <a:gd name="connsiteY167" fmla="*/ 272 h 1043"/>
                  <a:gd name="connsiteX168" fmla="*/ 3514 w 4181"/>
                  <a:gd name="connsiteY168" fmla="*/ 224 h 1043"/>
                  <a:gd name="connsiteX169" fmla="*/ 3555 w 4181"/>
                  <a:gd name="connsiteY169" fmla="*/ 178 h 1043"/>
                  <a:gd name="connsiteX170" fmla="*/ 3599 w 4181"/>
                  <a:gd name="connsiteY170" fmla="*/ 137 h 1043"/>
                  <a:gd name="connsiteX171" fmla="*/ 3646 w 4181"/>
                  <a:gd name="connsiteY171" fmla="*/ 100 h 1043"/>
                  <a:gd name="connsiteX172" fmla="*/ 3698 w 4181"/>
                  <a:gd name="connsiteY172" fmla="*/ 66 h 1043"/>
                  <a:gd name="connsiteX173" fmla="*/ 3756 w 4181"/>
                  <a:gd name="connsiteY173" fmla="*/ 40 h 1043"/>
                  <a:gd name="connsiteX174" fmla="*/ 3816 w 4181"/>
                  <a:gd name="connsiteY174" fmla="*/ 19 h 1043"/>
                  <a:gd name="connsiteX175" fmla="*/ 3882 w 4181"/>
                  <a:gd name="connsiteY175" fmla="*/ 6 h 1043"/>
                  <a:gd name="connsiteX176" fmla="*/ 3954 w 4181"/>
                  <a:gd name="connsiteY176" fmla="*/ 0 h 1043"/>
                  <a:gd name="connsiteX0" fmla="*/ 3954 w 4181"/>
                  <a:gd name="connsiteY0" fmla="*/ 0 h 1043"/>
                  <a:gd name="connsiteX1" fmla="*/ 4004 w 4181"/>
                  <a:gd name="connsiteY1" fmla="*/ 0 h 1043"/>
                  <a:gd name="connsiteX2" fmla="*/ 4032 w 4181"/>
                  <a:gd name="connsiteY2" fmla="*/ 4 h 1043"/>
                  <a:gd name="connsiteX3" fmla="*/ 4181 w 4181"/>
                  <a:gd name="connsiteY3" fmla="*/ 158 h 1043"/>
                  <a:gd name="connsiteX4" fmla="*/ 4142 w 4181"/>
                  <a:gd name="connsiteY4" fmla="*/ 135 h 1043"/>
                  <a:gd name="connsiteX5" fmla="*/ 4092 w 4181"/>
                  <a:gd name="connsiteY5" fmla="*/ 112 h 1043"/>
                  <a:gd name="connsiteX6" fmla="*/ 4049 w 4181"/>
                  <a:gd name="connsiteY6" fmla="*/ 98 h 1043"/>
                  <a:gd name="connsiteX7" fmla="*/ 4014 w 4181"/>
                  <a:gd name="connsiteY7" fmla="*/ 89 h 1043"/>
                  <a:gd name="connsiteX8" fmla="*/ 3985 w 4181"/>
                  <a:gd name="connsiteY8" fmla="*/ 87 h 1043"/>
                  <a:gd name="connsiteX9" fmla="*/ 3958 w 4181"/>
                  <a:gd name="connsiteY9" fmla="*/ 87 h 1043"/>
                  <a:gd name="connsiteX10" fmla="*/ 3892 w 4181"/>
                  <a:gd name="connsiteY10" fmla="*/ 93 h 1043"/>
                  <a:gd name="connsiteX11" fmla="*/ 3830 w 4181"/>
                  <a:gd name="connsiteY11" fmla="*/ 106 h 1043"/>
                  <a:gd name="connsiteX12" fmla="*/ 3774 w 4181"/>
                  <a:gd name="connsiteY12" fmla="*/ 127 h 1043"/>
                  <a:gd name="connsiteX13" fmla="*/ 3723 w 4181"/>
                  <a:gd name="connsiteY13" fmla="*/ 154 h 1043"/>
                  <a:gd name="connsiteX14" fmla="*/ 3675 w 4181"/>
                  <a:gd name="connsiteY14" fmla="*/ 187 h 1043"/>
                  <a:gd name="connsiteX15" fmla="*/ 3632 w 4181"/>
                  <a:gd name="connsiteY15" fmla="*/ 224 h 1043"/>
                  <a:gd name="connsiteX16" fmla="*/ 3593 w 4181"/>
                  <a:gd name="connsiteY16" fmla="*/ 268 h 1043"/>
                  <a:gd name="connsiteX17" fmla="*/ 3553 w 4181"/>
                  <a:gd name="connsiteY17" fmla="*/ 313 h 1043"/>
                  <a:gd name="connsiteX18" fmla="*/ 3518 w 4181"/>
                  <a:gd name="connsiteY18" fmla="*/ 363 h 1043"/>
                  <a:gd name="connsiteX19" fmla="*/ 3485 w 4181"/>
                  <a:gd name="connsiteY19" fmla="*/ 415 h 1043"/>
                  <a:gd name="connsiteX20" fmla="*/ 3423 w 4181"/>
                  <a:gd name="connsiteY20" fmla="*/ 523 h 1043"/>
                  <a:gd name="connsiteX21" fmla="*/ 3330 w 4181"/>
                  <a:gd name="connsiteY21" fmla="*/ 691 h 1043"/>
                  <a:gd name="connsiteX22" fmla="*/ 3297 w 4181"/>
                  <a:gd name="connsiteY22" fmla="*/ 747 h 1043"/>
                  <a:gd name="connsiteX23" fmla="*/ 3262 w 4181"/>
                  <a:gd name="connsiteY23" fmla="*/ 799 h 1043"/>
                  <a:gd name="connsiteX24" fmla="*/ 3227 w 4181"/>
                  <a:gd name="connsiteY24" fmla="*/ 848 h 1043"/>
                  <a:gd name="connsiteX25" fmla="*/ 3188 w 4181"/>
                  <a:gd name="connsiteY25" fmla="*/ 894 h 1043"/>
                  <a:gd name="connsiteX26" fmla="*/ 3147 w 4181"/>
                  <a:gd name="connsiteY26" fmla="*/ 935 h 1043"/>
                  <a:gd name="connsiteX27" fmla="*/ 3101 w 4181"/>
                  <a:gd name="connsiteY27" fmla="*/ 971 h 1043"/>
                  <a:gd name="connsiteX28" fmla="*/ 3052 w 4181"/>
                  <a:gd name="connsiteY28" fmla="*/ 1000 h 1043"/>
                  <a:gd name="connsiteX29" fmla="*/ 3000 w 4181"/>
                  <a:gd name="connsiteY29" fmla="*/ 1022 h 1043"/>
                  <a:gd name="connsiteX30" fmla="*/ 2942 w 4181"/>
                  <a:gd name="connsiteY30" fmla="*/ 1037 h 1043"/>
                  <a:gd name="connsiteX31" fmla="*/ 2878 w 4181"/>
                  <a:gd name="connsiteY31" fmla="*/ 1043 h 1043"/>
                  <a:gd name="connsiteX32" fmla="*/ 2870 w 4181"/>
                  <a:gd name="connsiteY32" fmla="*/ 1043 h 1043"/>
                  <a:gd name="connsiteX33" fmla="*/ 2808 w 4181"/>
                  <a:gd name="connsiteY33" fmla="*/ 1039 h 1043"/>
                  <a:gd name="connsiteX34" fmla="*/ 2748 w 4181"/>
                  <a:gd name="connsiteY34" fmla="*/ 1025 h 1043"/>
                  <a:gd name="connsiteX35" fmla="*/ 2695 w 4181"/>
                  <a:gd name="connsiteY35" fmla="*/ 1002 h 1043"/>
                  <a:gd name="connsiteX36" fmla="*/ 2643 w 4181"/>
                  <a:gd name="connsiteY36" fmla="*/ 973 h 1043"/>
                  <a:gd name="connsiteX37" fmla="*/ 2595 w 4181"/>
                  <a:gd name="connsiteY37" fmla="*/ 935 h 1043"/>
                  <a:gd name="connsiteX38" fmla="*/ 2552 w 4181"/>
                  <a:gd name="connsiteY38" fmla="*/ 894 h 1043"/>
                  <a:gd name="connsiteX39" fmla="*/ 2509 w 4181"/>
                  <a:gd name="connsiteY39" fmla="*/ 846 h 1043"/>
                  <a:gd name="connsiteX40" fmla="*/ 2469 w 4181"/>
                  <a:gd name="connsiteY40" fmla="*/ 796 h 1043"/>
                  <a:gd name="connsiteX41" fmla="*/ 2430 w 4181"/>
                  <a:gd name="connsiteY41" fmla="*/ 740 h 1043"/>
                  <a:gd name="connsiteX42" fmla="*/ 2393 w 4181"/>
                  <a:gd name="connsiteY42" fmla="*/ 684 h 1043"/>
                  <a:gd name="connsiteX43" fmla="*/ 2288 w 4181"/>
                  <a:gd name="connsiteY43" fmla="*/ 510 h 1043"/>
                  <a:gd name="connsiteX44" fmla="*/ 2251 w 4181"/>
                  <a:gd name="connsiteY44" fmla="*/ 452 h 1043"/>
                  <a:gd name="connsiteX45" fmla="*/ 2213 w 4181"/>
                  <a:gd name="connsiteY45" fmla="*/ 396 h 1043"/>
                  <a:gd name="connsiteX46" fmla="*/ 2176 w 4181"/>
                  <a:gd name="connsiteY46" fmla="*/ 342 h 1043"/>
                  <a:gd name="connsiteX47" fmla="*/ 2137 w 4181"/>
                  <a:gd name="connsiteY47" fmla="*/ 293 h 1043"/>
                  <a:gd name="connsiteX48" fmla="*/ 2096 w 4181"/>
                  <a:gd name="connsiteY48" fmla="*/ 247 h 1043"/>
                  <a:gd name="connsiteX49" fmla="*/ 2054 w 4181"/>
                  <a:gd name="connsiteY49" fmla="*/ 205 h 1043"/>
                  <a:gd name="connsiteX50" fmla="*/ 2009 w 4181"/>
                  <a:gd name="connsiteY50" fmla="*/ 168 h 1043"/>
                  <a:gd name="connsiteX51" fmla="*/ 1962 w 4181"/>
                  <a:gd name="connsiteY51" fmla="*/ 139 h 1043"/>
                  <a:gd name="connsiteX52" fmla="*/ 1910 w 4181"/>
                  <a:gd name="connsiteY52" fmla="*/ 116 h 1043"/>
                  <a:gd name="connsiteX53" fmla="*/ 1854 w 4181"/>
                  <a:gd name="connsiteY53" fmla="*/ 100 h 1043"/>
                  <a:gd name="connsiteX54" fmla="*/ 1796 w 4181"/>
                  <a:gd name="connsiteY54" fmla="*/ 91 h 1043"/>
                  <a:gd name="connsiteX55" fmla="*/ 1732 w 4181"/>
                  <a:gd name="connsiteY55" fmla="*/ 93 h 1043"/>
                  <a:gd name="connsiteX56" fmla="*/ 1664 w 4181"/>
                  <a:gd name="connsiteY56" fmla="*/ 104 h 1043"/>
                  <a:gd name="connsiteX57" fmla="*/ 1602 w 4181"/>
                  <a:gd name="connsiteY57" fmla="*/ 122 h 1043"/>
                  <a:gd name="connsiteX58" fmla="*/ 1545 w 4181"/>
                  <a:gd name="connsiteY58" fmla="*/ 147 h 1043"/>
                  <a:gd name="connsiteX59" fmla="*/ 1491 w 4181"/>
                  <a:gd name="connsiteY59" fmla="*/ 181 h 1043"/>
                  <a:gd name="connsiteX60" fmla="*/ 1439 w 4181"/>
                  <a:gd name="connsiteY60" fmla="*/ 218 h 1043"/>
                  <a:gd name="connsiteX61" fmla="*/ 1394 w 4181"/>
                  <a:gd name="connsiteY61" fmla="*/ 261 h 1043"/>
                  <a:gd name="connsiteX62" fmla="*/ 1348 w 4181"/>
                  <a:gd name="connsiteY62" fmla="*/ 307 h 1043"/>
                  <a:gd name="connsiteX63" fmla="*/ 1307 w 4181"/>
                  <a:gd name="connsiteY63" fmla="*/ 359 h 1043"/>
                  <a:gd name="connsiteX64" fmla="*/ 1268 w 4181"/>
                  <a:gd name="connsiteY64" fmla="*/ 413 h 1043"/>
                  <a:gd name="connsiteX65" fmla="*/ 1231 w 4181"/>
                  <a:gd name="connsiteY65" fmla="*/ 467 h 1043"/>
                  <a:gd name="connsiteX66" fmla="*/ 1194 w 4181"/>
                  <a:gd name="connsiteY66" fmla="*/ 523 h 1043"/>
                  <a:gd name="connsiteX67" fmla="*/ 1156 w 4181"/>
                  <a:gd name="connsiteY67" fmla="*/ 581 h 1043"/>
                  <a:gd name="connsiteX68" fmla="*/ 1121 w 4181"/>
                  <a:gd name="connsiteY68" fmla="*/ 637 h 1043"/>
                  <a:gd name="connsiteX69" fmla="*/ 1047 w 4181"/>
                  <a:gd name="connsiteY69" fmla="*/ 749 h 1043"/>
                  <a:gd name="connsiteX70" fmla="*/ 1008 w 4181"/>
                  <a:gd name="connsiteY70" fmla="*/ 801 h 1043"/>
                  <a:gd name="connsiteX71" fmla="*/ 966 w 4181"/>
                  <a:gd name="connsiteY71" fmla="*/ 850 h 1043"/>
                  <a:gd name="connsiteX72" fmla="*/ 923 w 4181"/>
                  <a:gd name="connsiteY72" fmla="*/ 896 h 1043"/>
                  <a:gd name="connsiteX73" fmla="*/ 876 w 4181"/>
                  <a:gd name="connsiteY73" fmla="*/ 937 h 1043"/>
                  <a:gd name="connsiteX74" fmla="*/ 826 w 4181"/>
                  <a:gd name="connsiteY74" fmla="*/ 973 h 1043"/>
                  <a:gd name="connsiteX75" fmla="*/ 772 w 4181"/>
                  <a:gd name="connsiteY75" fmla="*/ 1002 h 1043"/>
                  <a:gd name="connsiteX76" fmla="*/ 717 w 4181"/>
                  <a:gd name="connsiteY76" fmla="*/ 1025 h 1043"/>
                  <a:gd name="connsiteX77" fmla="*/ 653 w 4181"/>
                  <a:gd name="connsiteY77" fmla="*/ 1037 h 1043"/>
                  <a:gd name="connsiteX78" fmla="*/ 587 w 4181"/>
                  <a:gd name="connsiteY78" fmla="*/ 1043 h 1043"/>
                  <a:gd name="connsiteX79" fmla="*/ 580 w 4181"/>
                  <a:gd name="connsiteY79" fmla="*/ 1043 h 1043"/>
                  <a:gd name="connsiteX80" fmla="*/ 512 w 4181"/>
                  <a:gd name="connsiteY80" fmla="*/ 1039 h 1043"/>
                  <a:gd name="connsiteX81" fmla="*/ 450 w 4181"/>
                  <a:gd name="connsiteY81" fmla="*/ 1027 h 1043"/>
                  <a:gd name="connsiteX82" fmla="*/ 392 w 4181"/>
                  <a:gd name="connsiteY82" fmla="*/ 1008 h 1043"/>
                  <a:gd name="connsiteX83" fmla="*/ 341 w 4181"/>
                  <a:gd name="connsiteY83" fmla="*/ 983 h 1043"/>
                  <a:gd name="connsiteX84" fmla="*/ 293 w 4181"/>
                  <a:gd name="connsiteY84" fmla="*/ 952 h 1043"/>
                  <a:gd name="connsiteX85" fmla="*/ 248 w 4181"/>
                  <a:gd name="connsiteY85" fmla="*/ 915 h 1043"/>
                  <a:gd name="connsiteX86" fmla="*/ 207 w 4181"/>
                  <a:gd name="connsiteY86" fmla="*/ 873 h 1043"/>
                  <a:gd name="connsiteX87" fmla="*/ 169 w 4181"/>
                  <a:gd name="connsiteY87" fmla="*/ 828 h 1043"/>
                  <a:gd name="connsiteX88" fmla="*/ 132 w 4181"/>
                  <a:gd name="connsiteY88" fmla="*/ 780 h 1043"/>
                  <a:gd name="connsiteX89" fmla="*/ 99 w 4181"/>
                  <a:gd name="connsiteY89" fmla="*/ 728 h 1043"/>
                  <a:gd name="connsiteX90" fmla="*/ 64 w 4181"/>
                  <a:gd name="connsiteY90" fmla="*/ 674 h 1043"/>
                  <a:gd name="connsiteX91" fmla="*/ 33 w 4181"/>
                  <a:gd name="connsiteY91" fmla="*/ 618 h 1043"/>
                  <a:gd name="connsiteX92" fmla="*/ 0 w 4181"/>
                  <a:gd name="connsiteY92" fmla="*/ 560 h 1043"/>
                  <a:gd name="connsiteX93" fmla="*/ 77 w 4181"/>
                  <a:gd name="connsiteY93" fmla="*/ 516 h 1043"/>
                  <a:gd name="connsiteX94" fmla="*/ 110 w 4181"/>
                  <a:gd name="connsiteY94" fmla="*/ 575 h 1043"/>
                  <a:gd name="connsiteX95" fmla="*/ 143 w 4181"/>
                  <a:gd name="connsiteY95" fmla="*/ 631 h 1043"/>
                  <a:gd name="connsiteX96" fmla="*/ 176 w 4181"/>
                  <a:gd name="connsiteY96" fmla="*/ 684 h 1043"/>
                  <a:gd name="connsiteX97" fmla="*/ 209 w 4181"/>
                  <a:gd name="connsiteY97" fmla="*/ 736 h 1043"/>
                  <a:gd name="connsiteX98" fmla="*/ 244 w 4181"/>
                  <a:gd name="connsiteY98" fmla="*/ 782 h 1043"/>
                  <a:gd name="connsiteX99" fmla="*/ 281 w 4181"/>
                  <a:gd name="connsiteY99" fmla="*/ 825 h 1043"/>
                  <a:gd name="connsiteX100" fmla="*/ 322 w 4181"/>
                  <a:gd name="connsiteY100" fmla="*/ 863 h 1043"/>
                  <a:gd name="connsiteX101" fmla="*/ 366 w 4181"/>
                  <a:gd name="connsiteY101" fmla="*/ 894 h 1043"/>
                  <a:gd name="connsiteX102" fmla="*/ 413 w 4181"/>
                  <a:gd name="connsiteY102" fmla="*/ 921 h 1043"/>
                  <a:gd name="connsiteX103" fmla="*/ 463 w 4181"/>
                  <a:gd name="connsiteY103" fmla="*/ 940 h 1043"/>
                  <a:gd name="connsiteX104" fmla="*/ 518 w 4181"/>
                  <a:gd name="connsiteY104" fmla="*/ 952 h 1043"/>
                  <a:gd name="connsiteX105" fmla="*/ 580 w 4181"/>
                  <a:gd name="connsiteY105" fmla="*/ 956 h 1043"/>
                  <a:gd name="connsiteX106" fmla="*/ 587 w 4181"/>
                  <a:gd name="connsiteY106" fmla="*/ 956 h 1043"/>
                  <a:gd name="connsiteX107" fmla="*/ 646 w 4181"/>
                  <a:gd name="connsiteY107" fmla="*/ 950 h 1043"/>
                  <a:gd name="connsiteX108" fmla="*/ 702 w 4181"/>
                  <a:gd name="connsiteY108" fmla="*/ 935 h 1043"/>
                  <a:gd name="connsiteX109" fmla="*/ 756 w 4181"/>
                  <a:gd name="connsiteY109" fmla="*/ 913 h 1043"/>
                  <a:gd name="connsiteX110" fmla="*/ 803 w 4181"/>
                  <a:gd name="connsiteY110" fmla="*/ 884 h 1043"/>
                  <a:gd name="connsiteX111" fmla="*/ 849 w 4181"/>
                  <a:gd name="connsiteY111" fmla="*/ 846 h 1043"/>
                  <a:gd name="connsiteX112" fmla="*/ 892 w 4181"/>
                  <a:gd name="connsiteY112" fmla="*/ 803 h 1043"/>
                  <a:gd name="connsiteX113" fmla="*/ 931 w 4181"/>
                  <a:gd name="connsiteY113" fmla="*/ 755 h 1043"/>
                  <a:gd name="connsiteX114" fmla="*/ 971 w 4181"/>
                  <a:gd name="connsiteY114" fmla="*/ 703 h 1043"/>
                  <a:gd name="connsiteX115" fmla="*/ 1010 w 4181"/>
                  <a:gd name="connsiteY115" fmla="*/ 649 h 1043"/>
                  <a:gd name="connsiteX116" fmla="*/ 1121 w 4181"/>
                  <a:gd name="connsiteY116" fmla="*/ 475 h 1043"/>
                  <a:gd name="connsiteX117" fmla="*/ 1161 w 4181"/>
                  <a:gd name="connsiteY117" fmla="*/ 415 h 1043"/>
                  <a:gd name="connsiteX118" fmla="*/ 1202 w 4181"/>
                  <a:gd name="connsiteY118" fmla="*/ 357 h 1043"/>
                  <a:gd name="connsiteX119" fmla="*/ 1245 w 4181"/>
                  <a:gd name="connsiteY119" fmla="*/ 299 h 1043"/>
                  <a:gd name="connsiteX120" fmla="*/ 1291 w 4181"/>
                  <a:gd name="connsiteY120" fmla="*/ 245 h 1043"/>
                  <a:gd name="connsiteX121" fmla="*/ 1338 w 4181"/>
                  <a:gd name="connsiteY121" fmla="*/ 193 h 1043"/>
                  <a:gd name="connsiteX122" fmla="*/ 1392 w 4181"/>
                  <a:gd name="connsiteY122" fmla="*/ 145 h 1043"/>
                  <a:gd name="connsiteX123" fmla="*/ 1447 w 4181"/>
                  <a:gd name="connsiteY123" fmla="*/ 104 h 1043"/>
                  <a:gd name="connsiteX124" fmla="*/ 1509 w 4181"/>
                  <a:gd name="connsiteY124" fmla="*/ 69 h 1043"/>
                  <a:gd name="connsiteX125" fmla="*/ 1575 w 4181"/>
                  <a:gd name="connsiteY125" fmla="*/ 40 h 1043"/>
                  <a:gd name="connsiteX126" fmla="*/ 1648 w 4181"/>
                  <a:gd name="connsiteY126" fmla="*/ 19 h 1043"/>
                  <a:gd name="connsiteX127" fmla="*/ 1726 w 4181"/>
                  <a:gd name="connsiteY127" fmla="*/ 6 h 1043"/>
                  <a:gd name="connsiteX128" fmla="*/ 1796 w 4181"/>
                  <a:gd name="connsiteY128" fmla="*/ 4 h 1043"/>
                  <a:gd name="connsiteX129" fmla="*/ 1862 w 4181"/>
                  <a:gd name="connsiteY129" fmla="*/ 13 h 1043"/>
                  <a:gd name="connsiteX130" fmla="*/ 1922 w 4181"/>
                  <a:gd name="connsiteY130" fmla="*/ 27 h 1043"/>
                  <a:gd name="connsiteX131" fmla="*/ 1980 w 4181"/>
                  <a:gd name="connsiteY131" fmla="*/ 50 h 1043"/>
                  <a:gd name="connsiteX132" fmla="*/ 2034 w 4181"/>
                  <a:gd name="connsiteY132" fmla="*/ 81 h 1043"/>
                  <a:gd name="connsiteX133" fmla="*/ 2083 w 4181"/>
                  <a:gd name="connsiteY133" fmla="*/ 116 h 1043"/>
                  <a:gd name="connsiteX134" fmla="*/ 2129 w 4181"/>
                  <a:gd name="connsiteY134" fmla="*/ 158 h 1043"/>
                  <a:gd name="connsiteX135" fmla="*/ 2174 w 4181"/>
                  <a:gd name="connsiteY135" fmla="*/ 203 h 1043"/>
                  <a:gd name="connsiteX136" fmla="*/ 2216 w 4181"/>
                  <a:gd name="connsiteY136" fmla="*/ 251 h 1043"/>
                  <a:gd name="connsiteX137" fmla="*/ 2255 w 4181"/>
                  <a:gd name="connsiteY137" fmla="*/ 303 h 1043"/>
                  <a:gd name="connsiteX138" fmla="*/ 2292 w 4181"/>
                  <a:gd name="connsiteY138" fmla="*/ 357 h 1043"/>
                  <a:gd name="connsiteX139" fmla="*/ 2327 w 4181"/>
                  <a:gd name="connsiteY139" fmla="*/ 413 h 1043"/>
                  <a:gd name="connsiteX140" fmla="*/ 2362 w 4181"/>
                  <a:gd name="connsiteY140" fmla="*/ 467 h 1043"/>
                  <a:gd name="connsiteX141" fmla="*/ 2395 w 4181"/>
                  <a:gd name="connsiteY141" fmla="*/ 523 h 1043"/>
                  <a:gd name="connsiteX142" fmla="*/ 2432 w 4181"/>
                  <a:gd name="connsiteY142" fmla="*/ 585 h 1043"/>
                  <a:gd name="connsiteX143" fmla="*/ 2469 w 4181"/>
                  <a:gd name="connsiteY143" fmla="*/ 643 h 1043"/>
                  <a:gd name="connsiteX144" fmla="*/ 2509 w 4181"/>
                  <a:gd name="connsiteY144" fmla="*/ 701 h 1043"/>
                  <a:gd name="connsiteX145" fmla="*/ 2546 w 4181"/>
                  <a:gd name="connsiteY145" fmla="*/ 755 h 1043"/>
                  <a:gd name="connsiteX146" fmla="*/ 2587 w 4181"/>
                  <a:gd name="connsiteY146" fmla="*/ 805 h 1043"/>
                  <a:gd name="connsiteX147" fmla="*/ 2628 w 4181"/>
                  <a:gd name="connsiteY147" fmla="*/ 848 h 1043"/>
                  <a:gd name="connsiteX148" fmla="*/ 2672 w 4181"/>
                  <a:gd name="connsiteY148" fmla="*/ 886 h 1043"/>
                  <a:gd name="connsiteX149" fmla="*/ 2717 w 4181"/>
                  <a:gd name="connsiteY149" fmla="*/ 917 h 1043"/>
                  <a:gd name="connsiteX150" fmla="*/ 2767 w 4181"/>
                  <a:gd name="connsiteY150" fmla="*/ 940 h 1043"/>
                  <a:gd name="connsiteX151" fmla="*/ 2820 w 4181"/>
                  <a:gd name="connsiteY151" fmla="*/ 952 h 1043"/>
                  <a:gd name="connsiteX152" fmla="*/ 2876 w 4181"/>
                  <a:gd name="connsiteY152" fmla="*/ 956 h 1043"/>
                  <a:gd name="connsiteX153" fmla="*/ 2932 w 4181"/>
                  <a:gd name="connsiteY153" fmla="*/ 950 h 1043"/>
                  <a:gd name="connsiteX154" fmla="*/ 2982 w 4181"/>
                  <a:gd name="connsiteY154" fmla="*/ 935 h 1043"/>
                  <a:gd name="connsiteX155" fmla="*/ 3029 w 4181"/>
                  <a:gd name="connsiteY155" fmla="*/ 915 h 1043"/>
                  <a:gd name="connsiteX156" fmla="*/ 3072 w 4181"/>
                  <a:gd name="connsiteY156" fmla="*/ 884 h 1043"/>
                  <a:gd name="connsiteX157" fmla="*/ 3112 w 4181"/>
                  <a:gd name="connsiteY157" fmla="*/ 848 h 1043"/>
                  <a:gd name="connsiteX158" fmla="*/ 3149 w 4181"/>
                  <a:gd name="connsiteY158" fmla="*/ 807 h 1043"/>
                  <a:gd name="connsiteX159" fmla="*/ 3184 w 4181"/>
                  <a:gd name="connsiteY159" fmla="*/ 759 h 1043"/>
                  <a:gd name="connsiteX160" fmla="*/ 3217 w 4181"/>
                  <a:gd name="connsiteY160" fmla="*/ 709 h 1043"/>
                  <a:gd name="connsiteX161" fmla="*/ 3250 w 4181"/>
                  <a:gd name="connsiteY161" fmla="*/ 655 h 1043"/>
                  <a:gd name="connsiteX162" fmla="*/ 3283 w 4181"/>
                  <a:gd name="connsiteY162" fmla="*/ 597 h 1043"/>
                  <a:gd name="connsiteX163" fmla="*/ 3316 w 4181"/>
                  <a:gd name="connsiteY163" fmla="*/ 537 h 1043"/>
                  <a:gd name="connsiteX164" fmla="*/ 3345 w 4181"/>
                  <a:gd name="connsiteY164" fmla="*/ 483 h 1043"/>
                  <a:gd name="connsiteX165" fmla="*/ 3407 w 4181"/>
                  <a:gd name="connsiteY165" fmla="*/ 375 h 1043"/>
                  <a:gd name="connsiteX166" fmla="*/ 3477 w 4181"/>
                  <a:gd name="connsiteY166" fmla="*/ 272 h 1043"/>
                  <a:gd name="connsiteX167" fmla="*/ 3514 w 4181"/>
                  <a:gd name="connsiteY167" fmla="*/ 224 h 1043"/>
                  <a:gd name="connsiteX168" fmla="*/ 3555 w 4181"/>
                  <a:gd name="connsiteY168" fmla="*/ 178 h 1043"/>
                  <a:gd name="connsiteX169" fmla="*/ 3599 w 4181"/>
                  <a:gd name="connsiteY169" fmla="*/ 137 h 1043"/>
                  <a:gd name="connsiteX170" fmla="*/ 3646 w 4181"/>
                  <a:gd name="connsiteY170" fmla="*/ 100 h 1043"/>
                  <a:gd name="connsiteX171" fmla="*/ 3698 w 4181"/>
                  <a:gd name="connsiteY171" fmla="*/ 66 h 1043"/>
                  <a:gd name="connsiteX172" fmla="*/ 3756 w 4181"/>
                  <a:gd name="connsiteY172" fmla="*/ 40 h 1043"/>
                  <a:gd name="connsiteX173" fmla="*/ 3816 w 4181"/>
                  <a:gd name="connsiteY173" fmla="*/ 19 h 1043"/>
                  <a:gd name="connsiteX174" fmla="*/ 3882 w 4181"/>
                  <a:gd name="connsiteY174" fmla="*/ 6 h 1043"/>
                  <a:gd name="connsiteX175" fmla="*/ 3954 w 4181"/>
                  <a:gd name="connsiteY175" fmla="*/ 0 h 1043"/>
                  <a:gd name="connsiteX0" fmla="*/ 3954 w 4181"/>
                  <a:gd name="connsiteY0" fmla="*/ 0 h 1043"/>
                  <a:gd name="connsiteX1" fmla="*/ 4004 w 4181"/>
                  <a:gd name="connsiteY1" fmla="*/ 0 h 1043"/>
                  <a:gd name="connsiteX2" fmla="*/ 4181 w 4181"/>
                  <a:gd name="connsiteY2" fmla="*/ 158 h 1043"/>
                  <a:gd name="connsiteX3" fmla="*/ 4142 w 4181"/>
                  <a:gd name="connsiteY3" fmla="*/ 135 h 1043"/>
                  <a:gd name="connsiteX4" fmla="*/ 4092 w 4181"/>
                  <a:gd name="connsiteY4" fmla="*/ 112 h 1043"/>
                  <a:gd name="connsiteX5" fmla="*/ 4049 w 4181"/>
                  <a:gd name="connsiteY5" fmla="*/ 98 h 1043"/>
                  <a:gd name="connsiteX6" fmla="*/ 4014 w 4181"/>
                  <a:gd name="connsiteY6" fmla="*/ 89 h 1043"/>
                  <a:gd name="connsiteX7" fmla="*/ 3985 w 4181"/>
                  <a:gd name="connsiteY7" fmla="*/ 87 h 1043"/>
                  <a:gd name="connsiteX8" fmla="*/ 3958 w 4181"/>
                  <a:gd name="connsiteY8" fmla="*/ 87 h 1043"/>
                  <a:gd name="connsiteX9" fmla="*/ 3892 w 4181"/>
                  <a:gd name="connsiteY9" fmla="*/ 93 h 1043"/>
                  <a:gd name="connsiteX10" fmla="*/ 3830 w 4181"/>
                  <a:gd name="connsiteY10" fmla="*/ 106 h 1043"/>
                  <a:gd name="connsiteX11" fmla="*/ 3774 w 4181"/>
                  <a:gd name="connsiteY11" fmla="*/ 127 h 1043"/>
                  <a:gd name="connsiteX12" fmla="*/ 3723 w 4181"/>
                  <a:gd name="connsiteY12" fmla="*/ 154 h 1043"/>
                  <a:gd name="connsiteX13" fmla="*/ 3675 w 4181"/>
                  <a:gd name="connsiteY13" fmla="*/ 187 h 1043"/>
                  <a:gd name="connsiteX14" fmla="*/ 3632 w 4181"/>
                  <a:gd name="connsiteY14" fmla="*/ 224 h 1043"/>
                  <a:gd name="connsiteX15" fmla="*/ 3593 w 4181"/>
                  <a:gd name="connsiteY15" fmla="*/ 268 h 1043"/>
                  <a:gd name="connsiteX16" fmla="*/ 3553 w 4181"/>
                  <a:gd name="connsiteY16" fmla="*/ 313 h 1043"/>
                  <a:gd name="connsiteX17" fmla="*/ 3518 w 4181"/>
                  <a:gd name="connsiteY17" fmla="*/ 363 h 1043"/>
                  <a:gd name="connsiteX18" fmla="*/ 3485 w 4181"/>
                  <a:gd name="connsiteY18" fmla="*/ 415 h 1043"/>
                  <a:gd name="connsiteX19" fmla="*/ 3423 w 4181"/>
                  <a:gd name="connsiteY19" fmla="*/ 523 h 1043"/>
                  <a:gd name="connsiteX20" fmla="*/ 3330 w 4181"/>
                  <a:gd name="connsiteY20" fmla="*/ 691 h 1043"/>
                  <a:gd name="connsiteX21" fmla="*/ 3297 w 4181"/>
                  <a:gd name="connsiteY21" fmla="*/ 747 h 1043"/>
                  <a:gd name="connsiteX22" fmla="*/ 3262 w 4181"/>
                  <a:gd name="connsiteY22" fmla="*/ 799 h 1043"/>
                  <a:gd name="connsiteX23" fmla="*/ 3227 w 4181"/>
                  <a:gd name="connsiteY23" fmla="*/ 848 h 1043"/>
                  <a:gd name="connsiteX24" fmla="*/ 3188 w 4181"/>
                  <a:gd name="connsiteY24" fmla="*/ 894 h 1043"/>
                  <a:gd name="connsiteX25" fmla="*/ 3147 w 4181"/>
                  <a:gd name="connsiteY25" fmla="*/ 935 h 1043"/>
                  <a:gd name="connsiteX26" fmla="*/ 3101 w 4181"/>
                  <a:gd name="connsiteY26" fmla="*/ 971 h 1043"/>
                  <a:gd name="connsiteX27" fmla="*/ 3052 w 4181"/>
                  <a:gd name="connsiteY27" fmla="*/ 1000 h 1043"/>
                  <a:gd name="connsiteX28" fmla="*/ 3000 w 4181"/>
                  <a:gd name="connsiteY28" fmla="*/ 1022 h 1043"/>
                  <a:gd name="connsiteX29" fmla="*/ 2942 w 4181"/>
                  <a:gd name="connsiteY29" fmla="*/ 1037 h 1043"/>
                  <a:gd name="connsiteX30" fmla="*/ 2878 w 4181"/>
                  <a:gd name="connsiteY30" fmla="*/ 1043 h 1043"/>
                  <a:gd name="connsiteX31" fmla="*/ 2870 w 4181"/>
                  <a:gd name="connsiteY31" fmla="*/ 1043 h 1043"/>
                  <a:gd name="connsiteX32" fmla="*/ 2808 w 4181"/>
                  <a:gd name="connsiteY32" fmla="*/ 1039 h 1043"/>
                  <a:gd name="connsiteX33" fmla="*/ 2748 w 4181"/>
                  <a:gd name="connsiteY33" fmla="*/ 1025 h 1043"/>
                  <a:gd name="connsiteX34" fmla="*/ 2695 w 4181"/>
                  <a:gd name="connsiteY34" fmla="*/ 1002 h 1043"/>
                  <a:gd name="connsiteX35" fmla="*/ 2643 w 4181"/>
                  <a:gd name="connsiteY35" fmla="*/ 973 h 1043"/>
                  <a:gd name="connsiteX36" fmla="*/ 2595 w 4181"/>
                  <a:gd name="connsiteY36" fmla="*/ 935 h 1043"/>
                  <a:gd name="connsiteX37" fmla="*/ 2552 w 4181"/>
                  <a:gd name="connsiteY37" fmla="*/ 894 h 1043"/>
                  <a:gd name="connsiteX38" fmla="*/ 2509 w 4181"/>
                  <a:gd name="connsiteY38" fmla="*/ 846 h 1043"/>
                  <a:gd name="connsiteX39" fmla="*/ 2469 w 4181"/>
                  <a:gd name="connsiteY39" fmla="*/ 796 h 1043"/>
                  <a:gd name="connsiteX40" fmla="*/ 2430 w 4181"/>
                  <a:gd name="connsiteY40" fmla="*/ 740 h 1043"/>
                  <a:gd name="connsiteX41" fmla="*/ 2393 w 4181"/>
                  <a:gd name="connsiteY41" fmla="*/ 684 h 1043"/>
                  <a:gd name="connsiteX42" fmla="*/ 2288 w 4181"/>
                  <a:gd name="connsiteY42" fmla="*/ 510 h 1043"/>
                  <a:gd name="connsiteX43" fmla="*/ 2251 w 4181"/>
                  <a:gd name="connsiteY43" fmla="*/ 452 h 1043"/>
                  <a:gd name="connsiteX44" fmla="*/ 2213 w 4181"/>
                  <a:gd name="connsiteY44" fmla="*/ 396 h 1043"/>
                  <a:gd name="connsiteX45" fmla="*/ 2176 w 4181"/>
                  <a:gd name="connsiteY45" fmla="*/ 342 h 1043"/>
                  <a:gd name="connsiteX46" fmla="*/ 2137 w 4181"/>
                  <a:gd name="connsiteY46" fmla="*/ 293 h 1043"/>
                  <a:gd name="connsiteX47" fmla="*/ 2096 w 4181"/>
                  <a:gd name="connsiteY47" fmla="*/ 247 h 1043"/>
                  <a:gd name="connsiteX48" fmla="*/ 2054 w 4181"/>
                  <a:gd name="connsiteY48" fmla="*/ 205 h 1043"/>
                  <a:gd name="connsiteX49" fmla="*/ 2009 w 4181"/>
                  <a:gd name="connsiteY49" fmla="*/ 168 h 1043"/>
                  <a:gd name="connsiteX50" fmla="*/ 1962 w 4181"/>
                  <a:gd name="connsiteY50" fmla="*/ 139 h 1043"/>
                  <a:gd name="connsiteX51" fmla="*/ 1910 w 4181"/>
                  <a:gd name="connsiteY51" fmla="*/ 116 h 1043"/>
                  <a:gd name="connsiteX52" fmla="*/ 1854 w 4181"/>
                  <a:gd name="connsiteY52" fmla="*/ 100 h 1043"/>
                  <a:gd name="connsiteX53" fmla="*/ 1796 w 4181"/>
                  <a:gd name="connsiteY53" fmla="*/ 91 h 1043"/>
                  <a:gd name="connsiteX54" fmla="*/ 1732 w 4181"/>
                  <a:gd name="connsiteY54" fmla="*/ 93 h 1043"/>
                  <a:gd name="connsiteX55" fmla="*/ 1664 w 4181"/>
                  <a:gd name="connsiteY55" fmla="*/ 104 h 1043"/>
                  <a:gd name="connsiteX56" fmla="*/ 1602 w 4181"/>
                  <a:gd name="connsiteY56" fmla="*/ 122 h 1043"/>
                  <a:gd name="connsiteX57" fmla="*/ 1545 w 4181"/>
                  <a:gd name="connsiteY57" fmla="*/ 147 h 1043"/>
                  <a:gd name="connsiteX58" fmla="*/ 1491 w 4181"/>
                  <a:gd name="connsiteY58" fmla="*/ 181 h 1043"/>
                  <a:gd name="connsiteX59" fmla="*/ 1439 w 4181"/>
                  <a:gd name="connsiteY59" fmla="*/ 218 h 1043"/>
                  <a:gd name="connsiteX60" fmla="*/ 1394 w 4181"/>
                  <a:gd name="connsiteY60" fmla="*/ 261 h 1043"/>
                  <a:gd name="connsiteX61" fmla="*/ 1348 w 4181"/>
                  <a:gd name="connsiteY61" fmla="*/ 307 h 1043"/>
                  <a:gd name="connsiteX62" fmla="*/ 1307 w 4181"/>
                  <a:gd name="connsiteY62" fmla="*/ 359 h 1043"/>
                  <a:gd name="connsiteX63" fmla="*/ 1268 w 4181"/>
                  <a:gd name="connsiteY63" fmla="*/ 413 h 1043"/>
                  <a:gd name="connsiteX64" fmla="*/ 1231 w 4181"/>
                  <a:gd name="connsiteY64" fmla="*/ 467 h 1043"/>
                  <a:gd name="connsiteX65" fmla="*/ 1194 w 4181"/>
                  <a:gd name="connsiteY65" fmla="*/ 523 h 1043"/>
                  <a:gd name="connsiteX66" fmla="*/ 1156 w 4181"/>
                  <a:gd name="connsiteY66" fmla="*/ 581 h 1043"/>
                  <a:gd name="connsiteX67" fmla="*/ 1121 w 4181"/>
                  <a:gd name="connsiteY67" fmla="*/ 637 h 1043"/>
                  <a:gd name="connsiteX68" fmla="*/ 1047 w 4181"/>
                  <a:gd name="connsiteY68" fmla="*/ 749 h 1043"/>
                  <a:gd name="connsiteX69" fmla="*/ 1008 w 4181"/>
                  <a:gd name="connsiteY69" fmla="*/ 801 h 1043"/>
                  <a:gd name="connsiteX70" fmla="*/ 966 w 4181"/>
                  <a:gd name="connsiteY70" fmla="*/ 850 h 1043"/>
                  <a:gd name="connsiteX71" fmla="*/ 923 w 4181"/>
                  <a:gd name="connsiteY71" fmla="*/ 896 h 1043"/>
                  <a:gd name="connsiteX72" fmla="*/ 876 w 4181"/>
                  <a:gd name="connsiteY72" fmla="*/ 937 h 1043"/>
                  <a:gd name="connsiteX73" fmla="*/ 826 w 4181"/>
                  <a:gd name="connsiteY73" fmla="*/ 973 h 1043"/>
                  <a:gd name="connsiteX74" fmla="*/ 772 w 4181"/>
                  <a:gd name="connsiteY74" fmla="*/ 1002 h 1043"/>
                  <a:gd name="connsiteX75" fmla="*/ 717 w 4181"/>
                  <a:gd name="connsiteY75" fmla="*/ 1025 h 1043"/>
                  <a:gd name="connsiteX76" fmla="*/ 653 w 4181"/>
                  <a:gd name="connsiteY76" fmla="*/ 1037 h 1043"/>
                  <a:gd name="connsiteX77" fmla="*/ 587 w 4181"/>
                  <a:gd name="connsiteY77" fmla="*/ 1043 h 1043"/>
                  <a:gd name="connsiteX78" fmla="*/ 580 w 4181"/>
                  <a:gd name="connsiteY78" fmla="*/ 1043 h 1043"/>
                  <a:gd name="connsiteX79" fmla="*/ 512 w 4181"/>
                  <a:gd name="connsiteY79" fmla="*/ 1039 h 1043"/>
                  <a:gd name="connsiteX80" fmla="*/ 450 w 4181"/>
                  <a:gd name="connsiteY80" fmla="*/ 1027 h 1043"/>
                  <a:gd name="connsiteX81" fmla="*/ 392 w 4181"/>
                  <a:gd name="connsiteY81" fmla="*/ 1008 h 1043"/>
                  <a:gd name="connsiteX82" fmla="*/ 341 w 4181"/>
                  <a:gd name="connsiteY82" fmla="*/ 983 h 1043"/>
                  <a:gd name="connsiteX83" fmla="*/ 293 w 4181"/>
                  <a:gd name="connsiteY83" fmla="*/ 952 h 1043"/>
                  <a:gd name="connsiteX84" fmla="*/ 248 w 4181"/>
                  <a:gd name="connsiteY84" fmla="*/ 915 h 1043"/>
                  <a:gd name="connsiteX85" fmla="*/ 207 w 4181"/>
                  <a:gd name="connsiteY85" fmla="*/ 873 h 1043"/>
                  <a:gd name="connsiteX86" fmla="*/ 169 w 4181"/>
                  <a:gd name="connsiteY86" fmla="*/ 828 h 1043"/>
                  <a:gd name="connsiteX87" fmla="*/ 132 w 4181"/>
                  <a:gd name="connsiteY87" fmla="*/ 780 h 1043"/>
                  <a:gd name="connsiteX88" fmla="*/ 99 w 4181"/>
                  <a:gd name="connsiteY88" fmla="*/ 728 h 1043"/>
                  <a:gd name="connsiteX89" fmla="*/ 64 w 4181"/>
                  <a:gd name="connsiteY89" fmla="*/ 674 h 1043"/>
                  <a:gd name="connsiteX90" fmla="*/ 33 w 4181"/>
                  <a:gd name="connsiteY90" fmla="*/ 618 h 1043"/>
                  <a:gd name="connsiteX91" fmla="*/ 0 w 4181"/>
                  <a:gd name="connsiteY91" fmla="*/ 560 h 1043"/>
                  <a:gd name="connsiteX92" fmla="*/ 77 w 4181"/>
                  <a:gd name="connsiteY92" fmla="*/ 516 h 1043"/>
                  <a:gd name="connsiteX93" fmla="*/ 110 w 4181"/>
                  <a:gd name="connsiteY93" fmla="*/ 575 h 1043"/>
                  <a:gd name="connsiteX94" fmla="*/ 143 w 4181"/>
                  <a:gd name="connsiteY94" fmla="*/ 631 h 1043"/>
                  <a:gd name="connsiteX95" fmla="*/ 176 w 4181"/>
                  <a:gd name="connsiteY95" fmla="*/ 684 h 1043"/>
                  <a:gd name="connsiteX96" fmla="*/ 209 w 4181"/>
                  <a:gd name="connsiteY96" fmla="*/ 736 h 1043"/>
                  <a:gd name="connsiteX97" fmla="*/ 244 w 4181"/>
                  <a:gd name="connsiteY97" fmla="*/ 782 h 1043"/>
                  <a:gd name="connsiteX98" fmla="*/ 281 w 4181"/>
                  <a:gd name="connsiteY98" fmla="*/ 825 h 1043"/>
                  <a:gd name="connsiteX99" fmla="*/ 322 w 4181"/>
                  <a:gd name="connsiteY99" fmla="*/ 863 h 1043"/>
                  <a:gd name="connsiteX100" fmla="*/ 366 w 4181"/>
                  <a:gd name="connsiteY100" fmla="*/ 894 h 1043"/>
                  <a:gd name="connsiteX101" fmla="*/ 413 w 4181"/>
                  <a:gd name="connsiteY101" fmla="*/ 921 h 1043"/>
                  <a:gd name="connsiteX102" fmla="*/ 463 w 4181"/>
                  <a:gd name="connsiteY102" fmla="*/ 940 h 1043"/>
                  <a:gd name="connsiteX103" fmla="*/ 518 w 4181"/>
                  <a:gd name="connsiteY103" fmla="*/ 952 h 1043"/>
                  <a:gd name="connsiteX104" fmla="*/ 580 w 4181"/>
                  <a:gd name="connsiteY104" fmla="*/ 956 h 1043"/>
                  <a:gd name="connsiteX105" fmla="*/ 587 w 4181"/>
                  <a:gd name="connsiteY105" fmla="*/ 956 h 1043"/>
                  <a:gd name="connsiteX106" fmla="*/ 646 w 4181"/>
                  <a:gd name="connsiteY106" fmla="*/ 950 h 1043"/>
                  <a:gd name="connsiteX107" fmla="*/ 702 w 4181"/>
                  <a:gd name="connsiteY107" fmla="*/ 935 h 1043"/>
                  <a:gd name="connsiteX108" fmla="*/ 756 w 4181"/>
                  <a:gd name="connsiteY108" fmla="*/ 913 h 1043"/>
                  <a:gd name="connsiteX109" fmla="*/ 803 w 4181"/>
                  <a:gd name="connsiteY109" fmla="*/ 884 h 1043"/>
                  <a:gd name="connsiteX110" fmla="*/ 849 w 4181"/>
                  <a:gd name="connsiteY110" fmla="*/ 846 h 1043"/>
                  <a:gd name="connsiteX111" fmla="*/ 892 w 4181"/>
                  <a:gd name="connsiteY111" fmla="*/ 803 h 1043"/>
                  <a:gd name="connsiteX112" fmla="*/ 931 w 4181"/>
                  <a:gd name="connsiteY112" fmla="*/ 755 h 1043"/>
                  <a:gd name="connsiteX113" fmla="*/ 971 w 4181"/>
                  <a:gd name="connsiteY113" fmla="*/ 703 h 1043"/>
                  <a:gd name="connsiteX114" fmla="*/ 1010 w 4181"/>
                  <a:gd name="connsiteY114" fmla="*/ 649 h 1043"/>
                  <a:gd name="connsiteX115" fmla="*/ 1121 w 4181"/>
                  <a:gd name="connsiteY115" fmla="*/ 475 h 1043"/>
                  <a:gd name="connsiteX116" fmla="*/ 1161 w 4181"/>
                  <a:gd name="connsiteY116" fmla="*/ 415 h 1043"/>
                  <a:gd name="connsiteX117" fmla="*/ 1202 w 4181"/>
                  <a:gd name="connsiteY117" fmla="*/ 357 h 1043"/>
                  <a:gd name="connsiteX118" fmla="*/ 1245 w 4181"/>
                  <a:gd name="connsiteY118" fmla="*/ 299 h 1043"/>
                  <a:gd name="connsiteX119" fmla="*/ 1291 w 4181"/>
                  <a:gd name="connsiteY119" fmla="*/ 245 h 1043"/>
                  <a:gd name="connsiteX120" fmla="*/ 1338 w 4181"/>
                  <a:gd name="connsiteY120" fmla="*/ 193 h 1043"/>
                  <a:gd name="connsiteX121" fmla="*/ 1392 w 4181"/>
                  <a:gd name="connsiteY121" fmla="*/ 145 h 1043"/>
                  <a:gd name="connsiteX122" fmla="*/ 1447 w 4181"/>
                  <a:gd name="connsiteY122" fmla="*/ 104 h 1043"/>
                  <a:gd name="connsiteX123" fmla="*/ 1509 w 4181"/>
                  <a:gd name="connsiteY123" fmla="*/ 69 h 1043"/>
                  <a:gd name="connsiteX124" fmla="*/ 1575 w 4181"/>
                  <a:gd name="connsiteY124" fmla="*/ 40 h 1043"/>
                  <a:gd name="connsiteX125" fmla="*/ 1648 w 4181"/>
                  <a:gd name="connsiteY125" fmla="*/ 19 h 1043"/>
                  <a:gd name="connsiteX126" fmla="*/ 1726 w 4181"/>
                  <a:gd name="connsiteY126" fmla="*/ 6 h 1043"/>
                  <a:gd name="connsiteX127" fmla="*/ 1796 w 4181"/>
                  <a:gd name="connsiteY127" fmla="*/ 4 h 1043"/>
                  <a:gd name="connsiteX128" fmla="*/ 1862 w 4181"/>
                  <a:gd name="connsiteY128" fmla="*/ 13 h 1043"/>
                  <a:gd name="connsiteX129" fmla="*/ 1922 w 4181"/>
                  <a:gd name="connsiteY129" fmla="*/ 27 h 1043"/>
                  <a:gd name="connsiteX130" fmla="*/ 1980 w 4181"/>
                  <a:gd name="connsiteY130" fmla="*/ 50 h 1043"/>
                  <a:gd name="connsiteX131" fmla="*/ 2034 w 4181"/>
                  <a:gd name="connsiteY131" fmla="*/ 81 h 1043"/>
                  <a:gd name="connsiteX132" fmla="*/ 2083 w 4181"/>
                  <a:gd name="connsiteY132" fmla="*/ 116 h 1043"/>
                  <a:gd name="connsiteX133" fmla="*/ 2129 w 4181"/>
                  <a:gd name="connsiteY133" fmla="*/ 158 h 1043"/>
                  <a:gd name="connsiteX134" fmla="*/ 2174 w 4181"/>
                  <a:gd name="connsiteY134" fmla="*/ 203 h 1043"/>
                  <a:gd name="connsiteX135" fmla="*/ 2216 w 4181"/>
                  <a:gd name="connsiteY135" fmla="*/ 251 h 1043"/>
                  <a:gd name="connsiteX136" fmla="*/ 2255 w 4181"/>
                  <a:gd name="connsiteY136" fmla="*/ 303 h 1043"/>
                  <a:gd name="connsiteX137" fmla="*/ 2292 w 4181"/>
                  <a:gd name="connsiteY137" fmla="*/ 357 h 1043"/>
                  <a:gd name="connsiteX138" fmla="*/ 2327 w 4181"/>
                  <a:gd name="connsiteY138" fmla="*/ 413 h 1043"/>
                  <a:gd name="connsiteX139" fmla="*/ 2362 w 4181"/>
                  <a:gd name="connsiteY139" fmla="*/ 467 h 1043"/>
                  <a:gd name="connsiteX140" fmla="*/ 2395 w 4181"/>
                  <a:gd name="connsiteY140" fmla="*/ 523 h 1043"/>
                  <a:gd name="connsiteX141" fmla="*/ 2432 w 4181"/>
                  <a:gd name="connsiteY141" fmla="*/ 585 h 1043"/>
                  <a:gd name="connsiteX142" fmla="*/ 2469 w 4181"/>
                  <a:gd name="connsiteY142" fmla="*/ 643 h 1043"/>
                  <a:gd name="connsiteX143" fmla="*/ 2509 w 4181"/>
                  <a:gd name="connsiteY143" fmla="*/ 701 h 1043"/>
                  <a:gd name="connsiteX144" fmla="*/ 2546 w 4181"/>
                  <a:gd name="connsiteY144" fmla="*/ 755 h 1043"/>
                  <a:gd name="connsiteX145" fmla="*/ 2587 w 4181"/>
                  <a:gd name="connsiteY145" fmla="*/ 805 h 1043"/>
                  <a:gd name="connsiteX146" fmla="*/ 2628 w 4181"/>
                  <a:gd name="connsiteY146" fmla="*/ 848 h 1043"/>
                  <a:gd name="connsiteX147" fmla="*/ 2672 w 4181"/>
                  <a:gd name="connsiteY147" fmla="*/ 886 h 1043"/>
                  <a:gd name="connsiteX148" fmla="*/ 2717 w 4181"/>
                  <a:gd name="connsiteY148" fmla="*/ 917 h 1043"/>
                  <a:gd name="connsiteX149" fmla="*/ 2767 w 4181"/>
                  <a:gd name="connsiteY149" fmla="*/ 940 h 1043"/>
                  <a:gd name="connsiteX150" fmla="*/ 2820 w 4181"/>
                  <a:gd name="connsiteY150" fmla="*/ 952 h 1043"/>
                  <a:gd name="connsiteX151" fmla="*/ 2876 w 4181"/>
                  <a:gd name="connsiteY151" fmla="*/ 956 h 1043"/>
                  <a:gd name="connsiteX152" fmla="*/ 2932 w 4181"/>
                  <a:gd name="connsiteY152" fmla="*/ 950 h 1043"/>
                  <a:gd name="connsiteX153" fmla="*/ 2982 w 4181"/>
                  <a:gd name="connsiteY153" fmla="*/ 935 h 1043"/>
                  <a:gd name="connsiteX154" fmla="*/ 3029 w 4181"/>
                  <a:gd name="connsiteY154" fmla="*/ 915 h 1043"/>
                  <a:gd name="connsiteX155" fmla="*/ 3072 w 4181"/>
                  <a:gd name="connsiteY155" fmla="*/ 884 h 1043"/>
                  <a:gd name="connsiteX156" fmla="*/ 3112 w 4181"/>
                  <a:gd name="connsiteY156" fmla="*/ 848 h 1043"/>
                  <a:gd name="connsiteX157" fmla="*/ 3149 w 4181"/>
                  <a:gd name="connsiteY157" fmla="*/ 807 h 1043"/>
                  <a:gd name="connsiteX158" fmla="*/ 3184 w 4181"/>
                  <a:gd name="connsiteY158" fmla="*/ 759 h 1043"/>
                  <a:gd name="connsiteX159" fmla="*/ 3217 w 4181"/>
                  <a:gd name="connsiteY159" fmla="*/ 709 h 1043"/>
                  <a:gd name="connsiteX160" fmla="*/ 3250 w 4181"/>
                  <a:gd name="connsiteY160" fmla="*/ 655 h 1043"/>
                  <a:gd name="connsiteX161" fmla="*/ 3283 w 4181"/>
                  <a:gd name="connsiteY161" fmla="*/ 597 h 1043"/>
                  <a:gd name="connsiteX162" fmla="*/ 3316 w 4181"/>
                  <a:gd name="connsiteY162" fmla="*/ 537 h 1043"/>
                  <a:gd name="connsiteX163" fmla="*/ 3345 w 4181"/>
                  <a:gd name="connsiteY163" fmla="*/ 483 h 1043"/>
                  <a:gd name="connsiteX164" fmla="*/ 3407 w 4181"/>
                  <a:gd name="connsiteY164" fmla="*/ 375 h 1043"/>
                  <a:gd name="connsiteX165" fmla="*/ 3477 w 4181"/>
                  <a:gd name="connsiteY165" fmla="*/ 272 h 1043"/>
                  <a:gd name="connsiteX166" fmla="*/ 3514 w 4181"/>
                  <a:gd name="connsiteY166" fmla="*/ 224 h 1043"/>
                  <a:gd name="connsiteX167" fmla="*/ 3555 w 4181"/>
                  <a:gd name="connsiteY167" fmla="*/ 178 h 1043"/>
                  <a:gd name="connsiteX168" fmla="*/ 3599 w 4181"/>
                  <a:gd name="connsiteY168" fmla="*/ 137 h 1043"/>
                  <a:gd name="connsiteX169" fmla="*/ 3646 w 4181"/>
                  <a:gd name="connsiteY169" fmla="*/ 100 h 1043"/>
                  <a:gd name="connsiteX170" fmla="*/ 3698 w 4181"/>
                  <a:gd name="connsiteY170" fmla="*/ 66 h 1043"/>
                  <a:gd name="connsiteX171" fmla="*/ 3756 w 4181"/>
                  <a:gd name="connsiteY171" fmla="*/ 40 h 1043"/>
                  <a:gd name="connsiteX172" fmla="*/ 3816 w 4181"/>
                  <a:gd name="connsiteY172" fmla="*/ 19 h 1043"/>
                  <a:gd name="connsiteX173" fmla="*/ 3882 w 4181"/>
                  <a:gd name="connsiteY173" fmla="*/ 6 h 1043"/>
                  <a:gd name="connsiteX174" fmla="*/ 3954 w 4181"/>
                  <a:gd name="connsiteY174" fmla="*/ 0 h 1043"/>
                  <a:gd name="connsiteX0" fmla="*/ 3882 w 4181"/>
                  <a:gd name="connsiteY0" fmla="*/ 6 h 1043"/>
                  <a:gd name="connsiteX1" fmla="*/ 4004 w 4181"/>
                  <a:gd name="connsiteY1" fmla="*/ 0 h 1043"/>
                  <a:gd name="connsiteX2" fmla="*/ 4181 w 4181"/>
                  <a:gd name="connsiteY2" fmla="*/ 158 h 1043"/>
                  <a:gd name="connsiteX3" fmla="*/ 4142 w 4181"/>
                  <a:gd name="connsiteY3" fmla="*/ 135 h 1043"/>
                  <a:gd name="connsiteX4" fmla="*/ 4092 w 4181"/>
                  <a:gd name="connsiteY4" fmla="*/ 112 h 1043"/>
                  <a:gd name="connsiteX5" fmla="*/ 4049 w 4181"/>
                  <a:gd name="connsiteY5" fmla="*/ 98 h 1043"/>
                  <a:gd name="connsiteX6" fmla="*/ 4014 w 4181"/>
                  <a:gd name="connsiteY6" fmla="*/ 89 h 1043"/>
                  <a:gd name="connsiteX7" fmla="*/ 3985 w 4181"/>
                  <a:gd name="connsiteY7" fmla="*/ 87 h 1043"/>
                  <a:gd name="connsiteX8" fmla="*/ 3958 w 4181"/>
                  <a:gd name="connsiteY8" fmla="*/ 87 h 1043"/>
                  <a:gd name="connsiteX9" fmla="*/ 3892 w 4181"/>
                  <a:gd name="connsiteY9" fmla="*/ 93 h 1043"/>
                  <a:gd name="connsiteX10" fmla="*/ 3830 w 4181"/>
                  <a:gd name="connsiteY10" fmla="*/ 106 h 1043"/>
                  <a:gd name="connsiteX11" fmla="*/ 3774 w 4181"/>
                  <a:gd name="connsiteY11" fmla="*/ 127 h 1043"/>
                  <a:gd name="connsiteX12" fmla="*/ 3723 w 4181"/>
                  <a:gd name="connsiteY12" fmla="*/ 154 h 1043"/>
                  <a:gd name="connsiteX13" fmla="*/ 3675 w 4181"/>
                  <a:gd name="connsiteY13" fmla="*/ 187 h 1043"/>
                  <a:gd name="connsiteX14" fmla="*/ 3632 w 4181"/>
                  <a:gd name="connsiteY14" fmla="*/ 224 h 1043"/>
                  <a:gd name="connsiteX15" fmla="*/ 3593 w 4181"/>
                  <a:gd name="connsiteY15" fmla="*/ 268 h 1043"/>
                  <a:gd name="connsiteX16" fmla="*/ 3553 w 4181"/>
                  <a:gd name="connsiteY16" fmla="*/ 313 h 1043"/>
                  <a:gd name="connsiteX17" fmla="*/ 3518 w 4181"/>
                  <a:gd name="connsiteY17" fmla="*/ 363 h 1043"/>
                  <a:gd name="connsiteX18" fmla="*/ 3485 w 4181"/>
                  <a:gd name="connsiteY18" fmla="*/ 415 h 1043"/>
                  <a:gd name="connsiteX19" fmla="*/ 3423 w 4181"/>
                  <a:gd name="connsiteY19" fmla="*/ 523 h 1043"/>
                  <a:gd name="connsiteX20" fmla="*/ 3330 w 4181"/>
                  <a:gd name="connsiteY20" fmla="*/ 691 h 1043"/>
                  <a:gd name="connsiteX21" fmla="*/ 3297 w 4181"/>
                  <a:gd name="connsiteY21" fmla="*/ 747 h 1043"/>
                  <a:gd name="connsiteX22" fmla="*/ 3262 w 4181"/>
                  <a:gd name="connsiteY22" fmla="*/ 799 h 1043"/>
                  <a:gd name="connsiteX23" fmla="*/ 3227 w 4181"/>
                  <a:gd name="connsiteY23" fmla="*/ 848 h 1043"/>
                  <a:gd name="connsiteX24" fmla="*/ 3188 w 4181"/>
                  <a:gd name="connsiteY24" fmla="*/ 894 h 1043"/>
                  <a:gd name="connsiteX25" fmla="*/ 3147 w 4181"/>
                  <a:gd name="connsiteY25" fmla="*/ 935 h 1043"/>
                  <a:gd name="connsiteX26" fmla="*/ 3101 w 4181"/>
                  <a:gd name="connsiteY26" fmla="*/ 971 h 1043"/>
                  <a:gd name="connsiteX27" fmla="*/ 3052 w 4181"/>
                  <a:gd name="connsiteY27" fmla="*/ 1000 h 1043"/>
                  <a:gd name="connsiteX28" fmla="*/ 3000 w 4181"/>
                  <a:gd name="connsiteY28" fmla="*/ 1022 h 1043"/>
                  <a:gd name="connsiteX29" fmla="*/ 2942 w 4181"/>
                  <a:gd name="connsiteY29" fmla="*/ 1037 h 1043"/>
                  <a:gd name="connsiteX30" fmla="*/ 2878 w 4181"/>
                  <a:gd name="connsiteY30" fmla="*/ 1043 h 1043"/>
                  <a:gd name="connsiteX31" fmla="*/ 2870 w 4181"/>
                  <a:gd name="connsiteY31" fmla="*/ 1043 h 1043"/>
                  <a:gd name="connsiteX32" fmla="*/ 2808 w 4181"/>
                  <a:gd name="connsiteY32" fmla="*/ 1039 h 1043"/>
                  <a:gd name="connsiteX33" fmla="*/ 2748 w 4181"/>
                  <a:gd name="connsiteY33" fmla="*/ 1025 h 1043"/>
                  <a:gd name="connsiteX34" fmla="*/ 2695 w 4181"/>
                  <a:gd name="connsiteY34" fmla="*/ 1002 h 1043"/>
                  <a:gd name="connsiteX35" fmla="*/ 2643 w 4181"/>
                  <a:gd name="connsiteY35" fmla="*/ 973 h 1043"/>
                  <a:gd name="connsiteX36" fmla="*/ 2595 w 4181"/>
                  <a:gd name="connsiteY36" fmla="*/ 935 h 1043"/>
                  <a:gd name="connsiteX37" fmla="*/ 2552 w 4181"/>
                  <a:gd name="connsiteY37" fmla="*/ 894 h 1043"/>
                  <a:gd name="connsiteX38" fmla="*/ 2509 w 4181"/>
                  <a:gd name="connsiteY38" fmla="*/ 846 h 1043"/>
                  <a:gd name="connsiteX39" fmla="*/ 2469 w 4181"/>
                  <a:gd name="connsiteY39" fmla="*/ 796 h 1043"/>
                  <a:gd name="connsiteX40" fmla="*/ 2430 w 4181"/>
                  <a:gd name="connsiteY40" fmla="*/ 740 h 1043"/>
                  <a:gd name="connsiteX41" fmla="*/ 2393 w 4181"/>
                  <a:gd name="connsiteY41" fmla="*/ 684 h 1043"/>
                  <a:gd name="connsiteX42" fmla="*/ 2288 w 4181"/>
                  <a:gd name="connsiteY42" fmla="*/ 510 h 1043"/>
                  <a:gd name="connsiteX43" fmla="*/ 2251 w 4181"/>
                  <a:gd name="connsiteY43" fmla="*/ 452 h 1043"/>
                  <a:gd name="connsiteX44" fmla="*/ 2213 w 4181"/>
                  <a:gd name="connsiteY44" fmla="*/ 396 h 1043"/>
                  <a:gd name="connsiteX45" fmla="*/ 2176 w 4181"/>
                  <a:gd name="connsiteY45" fmla="*/ 342 h 1043"/>
                  <a:gd name="connsiteX46" fmla="*/ 2137 w 4181"/>
                  <a:gd name="connsiteY46" fmla="*/ 293 h 1043"/>
                  <a:gd name="connsiteX47" fmla="*/ 2096 w 4181"/>
                  <a:gd name="connsiteY47" fmla="*/ 247 h 1043"/>
                  <a:gd name="connsiteX48" fmla="*/ 2054 w 4181"/>
                  <a:gd name="connsiteY48" fmla="*/ 205 h 1043"/>
                  <a:gd name="connsiteX49" fmla="*/ 2009 w 4181"/>
                  <a:gd name="connsiteY49" fmla="*/ 168 h 1043"/>
                  <a:gd name="connsiteX50" fmla="*/ 1962 w 4181"/>
                  <a:gd name="connsiteY50" fmla="*/ 139 h 1043"/>
                  <a:gd name="connsiteX51" fmla="*/ 1910 w 4181"/>
                  <a:gd name="connsiteY51" fmla="*/ 116 h 1043"/>
                  <a:gd name="connsiteX52" fmla="*/ 1854 w 4181"/>
                  <a:gd name="connsiteY52" fmla="*/ 100 h 1043"/>
                  <a:gd name="connsiteX53" fmla="*/ 1796 w 4181"/>
                  <a:gd name="connsiteY53" fmla="*/ 91 h 1043"/>
                  <a:gd name="connsiteX54" fmla="*/ 1732 w 4181"/>
                  <a:gd name="connsiteY54" fmla="*/ 93 h 1043"/>
                  <a:gd name="connsiteX55" fmla="*/ 1664 w 4181"/>
                  <a:gd name="connsiteY55" fmla="*/ 104 h 1043"/>
                  <a:gd name="connsiteX56" fmla="*/ 1602 w 4181"/>
                  <a:gd name="connsiteY56" fmla="*/ 122 h 1043"/>
                  <a:gd name="connsiteX57" fmla="*/ 1545 w 4181"/>
                  <a:gd name="connsiteY57" fmla="*/ 147 h 1043"/>
                  <a:gd name="connsiteX58" fmla="*/ 1491 w 4181"/>
                  <a:gd name="connsiteY58" fmla="*/ 181 h 1043"/>
                  <a:gd name="connsiteX59" fmla="*/ 1439 w 4181"/>
                  <a:gd name="connsiteY59" fmla="*/ 218 h 1043"/>
                  <a:gd name="connsiteX60" fmla="*/ 1394 w 4181"/>
                  <a:gd name="connsiteY60" fmla="*/ 261 h 1043"/>
                  <a:gd name="connsiteX61" fmla="*/ 1348 w 4181"/>
                  <a:gd name="connsiteY61" fmla="*/ 307 h 1043"/>
                  <a:gd name="connsiteX62" fmla="*/ 1307 w 4181"/>
                  <a:gd name="connsiteY62" fmla="*/ 359 h 1043"/>
                  <a:gd name="connsiteX63" fmla="*/ 1268 w 4181"/>
                  <a:gd name="connsiteY63" fmla="*/ 413 h 1043"/>
                  <a:gd name="connsiteX64" fmla="*/ 1231 w 4181"/>
                  <a:gd name="connsiteY64" fmla="*/ 467 h 1043"/>
                  <a:gd name="connsiteX65" fmla="*/ 1194 w 4181"/>
                  <a:gd name="connsiteY65" fmla="*/ 523 h 1043"/>
                  <a:gd name="connsiteX66" fmla="*/ 1156 w 4181"/>
                  <a:gd name="connsiteY66" fmla="*/ 581 h 1043"/>
                  <a:gd name="connsiteX67" fmla="*/ 1121 w 4181"/>
                  <a:gd name="connsiteY67" fmla="*/ 637 h 1043"/>
                  <a:gd name="connsiteX68" fmla="*/ 1047 w 4181"/>
                  <a:gd name="connsiteY68" fmla="*/ 749 h 1043"/>
                  <a:gd name="connsiteX69" fmla="*/ 1008 w 4181"/>
                  <a:gd name="connsiteY69" fmla="*/ 801 h 1043"/>
                  <a:gd name="connsiteX70" fmla="*/ 966 w 4181"/>
                  <a:gd name="connsiteY70" fmla="*/ 850 h 1043"/>
                  <a:gd name="connsiteX71" fmla="*/ 923 w 4181"/>
                  <a:gd name="connsiteY71" fmla="*/ 896 h 1043"/>
                  <a:gd name="connsiteX72" fmla="*/ 876 w 4181"/>
                  <a:gd name="connsiteY72" fmla="*/ 937 h 1043"/>
                  <a:gd name="connsiteX73" fmla="*/ 826 w 4181"/>
                  <a:gd name="connsiteY73" fmla="*/ 973 h 1043"/>
                  <a:gd name="connsiteX74" fmla="*/ 772 w 4181"/>
                  <a:gd name="connsiteY74" fmla="*/ 1002 h 1043"/>
                  <a:gd name="connsiteX75" fmla="*/ 717 w 4181"/>
                  <a:gd name="connsiteY75" fmla="*/ 1025 h 1043"/>
                  <a:gd name="connsiteX76" fmla="*/ 653 w 4181"/>
                  <a:gd name="connsiteY76" fmla="*/ 1037 h 1043"/>
                  <a:gd name="connsiteX77" fmla="*/ 587 w 4181"/>
                  <a:gd name="connsiteY77" fmla="*/ 1043 h 1043"/>
                  <a:gd name="connsiteX78" fmla="*/ 580 w 4181"/>
                  <a:gd name="connsiteY78" fmla="*/ 1043 h 1043"/>
                  <a:gd name="connsiteX79" fmla="*/ 512 w 4181"/>
                  <a:gd name="connsiteY79" fmla="*/ 1039 h 1043"/>
                  <a:gd name="connsiteX80" fmla="*/ 450 w 4181"/>
                  <a:gd name="connsiteY80" fmla="*/ 1027 h 1043"/>
                  <a:gd name="connsiteX81" fmla="*/ 392 w 4181"/>
                  <a:gd name="connsiteY81" fmla="*/ 1008 h 1043"/>
                  <a:gd name="connsiteX82" fmla="*/ 341 w 4181"/>
                  <a:gd name="connsiteY82" fmla="*/ 983 h 1043"/>
                  <a:gd name="connsiteX83" fmla="*/ 293 w 4181"/>
                  <a:gd name="connsiteY83" fmla="*/ 952 h 1043"/>
                  <a:gd name="connsiteX84" fmla="*/ 248 w 4181"/>
                  <a:gd name="connsiteY84" fmla="*/ 915 h 1043"/>
                  <a:gd name="connsiteX85" fmla="*/ 207 w 4181"/>
                  <a:gd name="connsiteY85" fmla="*/ 873 h 1043"/>
                  <a:gd name="connsiteX86" fmla="*/ 169 w 4181"/>
                  <a:gd name="connsiteY86" fmla="*/ 828 h 1043"/>
                  <a:gd name="connsiteX87" fmla="*/ 132 w 4181"/>
                  <a:gd name="connsiteY87" fmla="*/ 780 h 1043"/>
                  <a:gd name="connsiteX88" fmla="*/ 99 w 4181"/>
                  <a:gd name="connsiteY88" fmla="*/ 728 h 1043"/>
                  <a:gd name="connsiteX89" fmla="*/ 64 w 4181"/>
                  <a:gd name="connsiteY89" fmla="*/ 674 h 1043"/>
                  <a:gd name="connsiteX90" fmla="*/ 33 w 4181"/>
                  <a:gd name="connsiteY90" fmla="*/ 618 h 1043"/>
                  <a:gd name="connsiteX91" fmla="*/ 0 w 4181"/>
                  <a:gd name="connsiteY91" fmla="*/ 560 h 1043"/>
                  <a:gd name="connsiteX92" fmla="*/ 77 w 4181"/>
                  <a:gd name="connsiteY92" fmla="*/ 516 h 1043"/>
                  <a:gd name="connsiteX93" fmla="*/ 110 w 4181"/>
                  <a:gd name="connsiteY93" fmla="*/ 575 h 1043"/>
                  <a:gd name="connsiteX94" fmla="*/ 143 w 4181"/>
                  <a:gd name="connsiteY94" fmla="*/ 631 h 1043"/>
                  <a:gd name="connsiteX95" fmla="*/ 176 w 4181"/>
                  <a:gd name="connsiteY95" fmla="*/ 684 h 1043"/>
                  <a:gd name="connsiteX96" fmla="*/ 209 w 4181"/>
                  <a:gd name="connsiteY96" fmla="*/ 736 h 1043"/>
                  <a:gd name="connsiteX97" fmla="*/ 244 w 4181"/>
                  <a:gd name="connsiteY97" fmla="*/ 782 h 1043"/>
                  <a:gd name="connsiteX98" fmla="*/ 281 w 4181"/>
                  <a:gd name="connsiteY98" fmla="*/ 825 h 1043"/>
                  <a:gd name="connsiteX99" fmla="*/ 322 w 4181"/>
                  <a:gd name="connsiteY99" fmla="*/ 863 h 1043"/>
                  <a:gd name="connsiteX100" fmla="*/ 366 w 4181"/>
                  <a:gd name="connsiteY100" fmla="*/ 894 h 1043"/>
                  <a:gd name="connsiteX101" fmla="*/ 413 w 4181"/>
                  <a:gd name="connsiteY101" fmla="*/ 921 h 1043"/>
                  <a:gd name="connsiteX102" fmla="*/ 463 w 4181"/>
                  <a:gd name="connsiteY102" fmla="*/ 940 h 1043"/>
                  <a:gd name="connsiteX103" fmla="*/ 518 w 4181"/>
                  <a:gd name="connsiteY103" fmla="*/ 952 h 1043"/>
                  <a:gd name="connsiteX104" fmla="*/ 580 w 4181"/>
                  <a:gd name="connsiteY104" fmla="*/ 956 h 1043"/>
                  <a:gd name="connsiteX105" fmla="*/ 587 w 4181"/>
                  <a:gd name="connsiteY105" fmla="*/ 956 h 1043"/>
                  <a:gd name="connsiteX106" fmla="*/ 646 w 4181"/>
                  <a:gd name="connsiteY106" fmla="*/ 950 h 1043"/>
                  <a:gd name="connsiteX107" fmla="*/ 702 w 4181"/>
                  <a:gd name="connsiteY107" fmla="*/ 935 h 1043"/>
                  <a:gd name="connsiteX108" fmla="*/ 756 w 4181"/>
                  <a:gd name="connsiteY108" fmla="*/ 913 h 1043"/>
                  <a:gd name="connsiteX109" fmla="*/ 803 w 4181"/>
                  <a:gd name="connsiteY109" fmla="*/ 884 h 1043"/>
                  <a:gd name="connsiteX110" fmla="*/ 849 w 4181"/>
                  <a:gd name="connsiteY110" fmla="*/ 846 h 1043"/>
                  <a:gd name="connsiteX111" fmla="*/ 892 w 4181"/>
                  <a:gd name="connsiteY111" fmla="*/ 803 h 1043"/>
                  <a:gd name="connsiteX112" fmla="*/ 931 w 4181"/>
                  <a:gd name="connsiteY112" fmla="*/ 755 h 1043"/>
                  <a:gd name="connsiteX113" fmla="*/ 971 w 4181"/>
                  <a:gd name="connsiteY113" fmla="*/ 703 h 1043"/>
                  <a:gd name="connsiteX114" fmla="*/ 1010 w 4181"/>
                  <a:gd name="connsiteY114" fmla="*/ 649 h 1043"/>
                  <a:gd name="connsiteX115" fmla="*/ 1121 w 4181"/>
                  <a:gd name="connsiteY115" fmla="*/ 475 h 1043"/>
                  <a:gd name="connsiteX116" fmla="*/ 1161 w 4181"/>
                  <a:gd name="connsiteY116" fmla="*/ 415 h 1043"/>
                  <a:gd name="connsiteX117" fmla="*/ 1202 w 4181"/>
                  <a:gd name="connsiteY117" fmla="*/ 357 h 1043"/>
                  <a:gd name="connsiteX118" fmla="*/ 1245 w 4181"/>
                  <a:gd name="connsiteY118" fmla="*/ 299 h 1043"/>
                  <a:gd name="connsiteX119" fmla="*/ 1291 w 4181"/>
                  <a:gd name="connsiteY119" fmla="*/ 245 h 1043"/>
                  <a:gd name="connsiteX120" fmla="*/ 1338 w 4181"/>
                  <a:gd name="connsiteY120" fmla="*/ 193 h 1043"/>
                  <a:gd name="connsiteX121" fmla="*/ 1392 w 4181"/>
                  <a:gd name="connsiteY121" fmla="*/ 145 h 1043"/>
                  <a:gd name="connsiteX122" fmla="*/ 1447 w 4181"/>
                  <a:gd name="connsiteY122" fmla="*/ 104 h 1043"/>
                  <a:gd name="connsiteX123" fmla="*/ 1509 w 4181"/>
                  <a:gd name="connsiteY123" fmla="*/ 69 h 1043"/>
                  <a:gd name="connsiteX124" fmla="*/ 1575 w 4181"/>
                  <a:gd name="connsiteY124" fmla="*/ 40 h 1043"/>
                  <a:gd name="connsiteX125" fmla="*/ 1648 w 4181"/>
                  <a:gd name="connsiteY125" fmla="*/ 19 h 1043"/>
                  <a:gd name="connsiteX126" fmla="*/ 1726 w 4181"/>
                  <a:gd name="connsiteY126" fmla="*/ 6 h 1043"/>
                  <a:gd name="connsiteX127" fmla="*/ 1796 w 4181"/>
                  <a:gd name="connsiteY127" fmla="*/ 4 h 1043"/>
                  <a:gd name="connsiteX128" fmla="*/ 1862 w 4181"/>
                  <a:gd name="connsiteY128" fmla="*/ 13 h 1043"/>
                  <a:gd name="connsiteX129" fmla="*/ 1922 w 4181"/>
                  <a:gd name="connsiteY129" fmla="*/ 27 h 1043"/>
                  <a:gd name="connsiteX130" fmla="*/ 1980 w 4181"/>
                  <a:gd name="connsiteY130" fmla="*/ 50 h 1043"/>
                  <a:gd name="connsiteX131" fmla="*/ 2034 w 4181"/>
                  <a:gd name="connsiteY131" fmla="*/ 81 h 1043"/>
                  <a:gd name="connsiteX132" fmla="*/ 2083 w 4181"/>
                  <a:gd name="connsiteY132" fmla="*/ 116 h 1043"/>
                  <a:gd name="connsiteX133" fmla="*/ 2129 w 4181"/>
                  <a:gd name="connsiteY133" fmla="*/ 158 h 1043"/>
                  <a:gd name="connsiteX134" fmla="*/ 2174 w 4181"/>
                  <a:gd name="connsiteY134" fmla="*/ 203 h 1043"/>
                  <a:gd name="connsiteX135" fmla="*/ 2216 w 4181"/>
                  <a:gd name="connsiteY135" fmla="*/ 251 h 1043"/>
                  <a:gd name="connsiteX136" fmla="*/ 2255 w 4181"/>
                  <a:gd name="connsiteY136" fmla="*/ 303 h 1043"/>
                  <a:gd name="connsiteX137" fmla="*/ 2292 w 4181"/>
                  <a:gd name="connsiteY137" fmla="*/ 357 h 1043"/>
                  <a:gd name="connsiteX138" fmla="*/ 2327 w 4181"/>
                  <a:gd name="connsiteY138" fmla="*/ 413 h 1043"/>
                  <a:gd name="connsiteX139" fmla="*/ 2362 w 4181"/>
                  <a:gd name="connsiteY139" fmla="*/ 467 h 1043"/>
                  <a:gd name="connsiteX140" fmla="*/ 2395 w 4181"/>
                  <a:gd name="connsiteY140" fmla="*/ 523 h 1043"/>
                  <a:gd name="connsiteX141" fmla="*/ 2432 w 4181"/>
                  <a:gd name="connsiteY141" fmla="*/ 585 h 1043"/>
                  <a:gd name="connsiteX142" fmla="*/ 2469 w 4181"/>
                  <a:gd name="connsiteY142" fmla="*/ 643 h 1043"/>
                  <a:gd name="connsiteX143" fmla="*/ 2509 w 4181"/>
                  <a:gd name="connsiteY143" fmla="*/ 701 h 1043"/>
                  <a:gd name="connsiteX144" fmla="*/ 2546 w 4181"/>
                  <a:gd name="connsiteY144" fmla="*/ 755 h 1043"/>
                  <a:gd name="connsiteX145" fmla="*/ 2587 w 4181"/>
                  <a:gd name="connsiteY145" fmla="*/ 805 h 1043"/>
                  <a:gd name="connsiteX146" fmla="*/ 2628 w 4181"/>
                  <a:gd name="connsiteY146" fmla="*/ 848 h 1043"/>
                  <a:gd name="connsiteX147" fmla="*/ 2672 w 4181"/>
                  <a:gd name="connsiteY147" fmla="*/ 886 h 1043"/>
                  <a:gd name="connsiteX148" fmla="*/ 2717 w 4181"/>
                  <a:gd name="connsiteY148" fmla="*/ 917 h 1043"/>
                  <a:gd name="connsiteX149" fmla="*/ 2767 w 4181"/>
                  <a:gd name="connsiteY149" fmla="*/ 940 h 1043"/>
                  <a:gd name="connsiteX150" fmla="*/ 2820 w 4181"/>
                  <a:gd name="connsiteY150" fmla="*/ 952 h 1043"/>
                  <a:gd name="connsiteX151" fmla="*/ 2876 w 4181"/>
                  <a:gd name="connsiteY151" fmla="*/ 956 h 1043"/>
                  <a:gd name="connsiteX152" fmla="*/ 2932 w 4181"/>
                  <a:gd name="connsiteY152" fmla="*/ 950 h 1043"/>
                  <a:gd name="connsiteX153" fmla="*/ 2982 w 4181"/>
                  <a:gd name="connsiteY153" fmla="*/ 935 h 1043"/>
                  <a:gd name="connsiteX154" fmla="*/ 3029 w 4181"/>
                  <a:gd name="connsiteY154" fmla="*/ 915 h 1043"/>
                  <a:gd name="connsiteX155" fmla="*/ 3072 w 4181"/>
                  <a:gd name="connsiteY155" fmla="*/ 884 h 1043"/>
                  <a:gd name="connsiteX156" fmla="*/ 3112 w 4181"/>
                  <a:gd name="connsiteY156" fmla="*/ 848 h 1043"/>
                  <a:gd name="connsiteX157" fmla="*/ 3149 w 4181"/>
                  <a:gd name="connsiteY157" fmla="*/ 807 h 1043"/>
                  <a:gd name="connsiteX158" fmla="*/ 3184 w 4181"/>
                  <a:gd name="connsiteY158" fmla="*/ 759 h 1043"/>
                  <a:gd name="connsiteX159" fmla="*/ 3217 w 4181"/>
                  <a:gd name="connsiteY159" fmla="*/ 709 h 1043"/>
                  <a:gd name="connsiteX160" fmla="*/ 3250 w 4181"/>
                  <a:gd name="connsiteY160" fmla="*/ 655 h 1043"/>
                  <a:gd name="connsiteX161" fmla="*/ 3283 w 4181"/>
                  <a:gd name="connsiteY161" fmla="*/ 597 h 1043"/>
                  <a:gd name="connsiteX162" fmla="*/ 3316 w 4181"/>
                  <a:gd name="connsiteY162" fmla="*/ 537 h 1043"/>
                  <a:gd name="connsiteX163" fmla="*/ 3345 w 4181"/>
                  <a:gd name="connsiteY163" fmla="*/ 483 h 1043"/>
                  <a:gd name="connsiteX164" fmla="*/ 3407 w 4181"/>
                  <a:gd name="connsiteY164" fmla="*/ 375 h 1043"/>
                  <a:gd name="connsiteX165" fmla="*/ 3477 w 4181"/>
                  <a:gd name="connsiteY165" fmla="*/ 272 h 1043"/>
                  <a:gd name="connsiteX166" fmla="*/ 3514 w 4181"/>
                  <a:gd name="connsiteY166" fmla="*/ 224 h 1043"/>
                  <a:gd name="connsiteX167" fmla="*/ 3555 w 4181"/>
                  <a:gd name="connsiteY167" fmla="*/ 178 h 1043"/>
                  <a:gd name="connsiteX168" fmla="*/ 3599 w 4181"/>
                  <a:gd name="connsiteY168" fmla="*/ 137 h 1043"/>
                  <a:gd name="connsiteX169" fmla="*/ 3646 w 4181"/>
                  <a:gd name="connsiteY169" fmla="*/ 100 h 1043"/>
                  <a:gd name="connsiteX170" fmla="*/ 3698 w 4181"/>
                  <a:gd name="connsiteY170" fmla="*/ 66 h 1043"/>
                  <a:gd name="connsiteX171" fmla="*/ 3756 w 4181"/>
                  <a:gd name="connsiteY171" fmla="*/ 40 h 1043"/>
                  <a:gd name="connsiteX172" fmla="*/ 3816 w 4181"/>
                  <a:gd name="connsiteY172" fmla="*/ 19 h 1043"/>
                  <a:gd name="connsiteX173" fmla="*/ 3882 w 4181"/>
                  <a:gd name="connsiteY173" fmla="*/ 6 h 1043"/>
                  <a:gd name="connsiteX0" fmla="*/ 3816 w 4181"/>
                  <a:gd name="connsiteY0" fmla="*/ 42 h 1066"/>
                  <a:gd name="connsiteX1" fmla="*/ 4004 w 4181"/>
                  <a:gd name="connsiteY1" fmla="*/ 23 h 1066"/>
                  <a:gd name="connsiteX2" fmla="*/ 4181 w 4181"/>
                  <a:gd name="connsiteY2" fmla="*/ 181 h 1066"/>
                  <a:gd name="connsiteX3" fmla="*/ 4142 w 4181"/>
                  <a:gd name="connsiteY3" fmla="*/ 158 h 1066"/>
                  <a:gd name="connsiteX4" fmla="*/ 4092 w 4181"/>
                  <a:gd name="connsiteY4" fmla="*/ 135 h 1066"/>
                  <a:gd name="connsiteX5" fmla="*/ 4049 w 4181"/>
                  <a:gd name="connsiteY5" fmla="*/ 121 h 1066"/>
                  <a:gd name="connsiteX6" fmla="*/ 4014 w 4181"/>
                  <a:gd name="connsiteY6" fmla="*/ 112 h 1066"/>
                  <a:gd name="connsiteX7" fmla="*/ 3985 w 4181"/>
                  <a:gd name="connsiteY7" fmla="*/ 110 h 1066"/>
                  <a:gd name="connsiteX8" fmla="*/ 3958 w 4181"/>
                  <a:gd name="connsiteY8" fmla="*/ 110 h 1066"/>
                  <a:gd name="connsiteX9" fmla="*/ 3892 w 4181"/>
                  <a:gd name="connsiteY9" fmla="*/ 116 h 1066"/>
                  <a:gd name="connsiteX10" fmla="*/ 3830 w 4181"/>
                  <a:gd name="connsiteY10" fmla="*/ 129 h 1066"/>
                  <a:gd name="connsiteX11" fmla="*/ 3774 w 4181"/>
                  <a:gd name="connsiteY11" fmla="*/ 150 h 1066"/>
                  <a:gd name="connsiteX12" fmla="*/ 3723 w 4181"/>
                  <a:gd name="connsiteY12" fmla="*/ 177 h 1066"/>
                  <a:gd name="connsiteX13" fmla="*/ 3675 w 4181"/>
                  <a:gd name="connsiteY13" fmla="*/ 210 h 1066"/>
                  <a:gd name="connsiteX14" fmla="*/ 3632 w 4181"/>
                  <a:gd name="connsiteY14" fmla="*/ 247 h 1066"/>
                  <a:gd name="connsiteX15" fmla="*/ 3593 w 4181"/>
                  <a:gd name="connsiteY15" fmla="*/ 291 h 1066"/>
                  <a:gd name="connsiteX16" fmla="*/ 3553 w 4181"/>
                  <a:gd name="connsiteY16" fmla="*/ 336 h 1066"/>
                  <a:gd name="connsiteX17" fmla="*/ 3518 w 4181"/>
                  <a:gd name="connsiteY17" fmla="*/ 386 h 1066"/>
                  <a:gd name="connsiteX18" fmla="*/ 3485 w 4181"/>
                  <a:gd name="connsiteY18" fmla="*/ 438 h 1066"/>
                  <a:gd name="connsiteX19" fmla="*/ 3423 w 4181"/>
                  <a:gd name="connsiteY19" fmla="*/ 546 h 1066"/>
                  <a:gd name="connsiteX20" fmla="*/ 3330 w 4181"/>
                  <a:gd name="connsiteY20" fmla="*/ 714 h 1066"/>
                  <a:gd name="connsiteX21" fmla="*/ 3297 w 4181"/>
                  <a:gd name="connsiteY21" fmla="*/ 770 h 1066"/>
                  <a:gd name="connsiteX22" fmla="*/ 3262 w 4181"/>
                  <a:gd name="connsiteY22" fmla="*/ 822 h 1066"/>
                  <a:gd name="connsiteX23" fmla="*/ 3227 w 4181"/>
                  <a:gd name="connsiteY23" fmla="*/ 871 h 1066"/>
                  <a:gd name="connsiteX24" fmla="*/ 3188 w 4181"/>
                  <a:gd name="connsiteY24" fmla="*/ 917 h 1066"/>
                  <a:gd name="connsiteX25" fmla="*/ 3147 w 4181"/>
                  <a:gd name="connsiteY25" fmla="*/ 958 h 1066"/>
                  <a:gd name="connsiteX26" fmla="*/ 3101 w 4181"/>
                  <a:gd name="connsiteY26" fmla="*/ 994 h 1066"/>
                  <a:gd name="connsiteX27" fmla="*/ 3052 w 4181"/>
                  <a:gd name="connsiteY27" fmla="*/ 1023 h 1066"/>
                  <a:gd name="connsiteX28" fmla="*/ 3000 w 4181"/>
                  <a:gd name="connsiteY28" fmla="*/ 1045 h 1066"/>
                  <a:gd name="connsiteX29" fmla="*/ 2942 w 4181"/>
                  <a:gd name="connsiteY29" fmla="*/ 1060 h 1066"/>
                  <a:gd name="connsiteX30" fmla="*/ 2878 w 4181"/>
                  <a:gd name="connsiteY30" fmla="*/ 1066 h 1066"/>
                  <a:gd name="connsiteX31" fmla="*/ 2870 w 4181"/>
                  <a:gd name="connsiteY31" fmla="*/ 1066 h 1066"/>
                  <a:gd name="connsiteX32" fmla="*/ 2808 w 4181"/>
                  <a:gd name="connsiteY32" fmla="*/ 1062 h 1066"/>
                  <a:gd name="connsiteX33" fmla="*/ 2748 w 4181"/>
                  <a:gd name="connsiteY33" fmla="*/ 1048 h 1066"/>
                  <a:gd name="connsiteX34" fmla="*/ 2695 w 4181"/>
                  <a:gd name="connsiteY34" fmla="*/ 1025 h 1066"/>
                  <a:gd name="connsiteX35" fmla="*/ 2643 w 4181"/>
                  <a:gd name="connsiteY35" fmla="*/ 996 h 1066"/>
                  <a:gd name="connsiteX36" fmla="*/ 2595 w 4181"/>
                  <a:gd name="connsiteY36" fmla="*/ 958 h 1066"/>
                  <a:gd name="connsiteX37" fmla="*/ 2552 w 4181"/>
                  <a:gd name="connsiteY37" fmla="*/ 917 h 1066"/>
                  <a:gd name="connsiteX38" fmla="*/ 2509 w 4181"/>
                  <a:gd name="connsiteY38" fmla="*/ 869 h 1066"/>
                  <a:gd name="connsiteX39" fmla="*/ 2469 w 4181"/>
                  <a:gd name="connsiteY39" fmla="*/ 819 h 1066"/>
                  <a:gd name="connsiteX40" fmla="*/ 2430 w 4181"/>
                  <a:gd name="connsiteY40" fmla="*/ 763 h 1066"/>
                  <a:gd name="connsiteX41" fmla="*/ 2393 w 4181"/>
                  <a:gd name="connsiteY41" fmla="*/ 707 h 1066"/>
                  <a:gd name="connsiteX42" fmla="*/ 2288 w 4181"/>
                  <a:gd name="connsiteY42" fmla="*/ 533 h 1066"/>
                  <a:gd name="connsiteX43" fmla="*/ 2251 w 4181"/>
                  <a:gd name="connsiteY43" fmla="*/ 475 h 1066"/>
                  <a:gd name="connsiteX44" fmla="*/ 2213 w 4181"/>
                  <a:gd name="connsiteY44" fmla="*/ 419 h 1066"/>
                  <a:gd name="connsiteX45" fmla="*/ 2176 w 4181"/>
                  <a:gd name="connsiteY45" fmla="*/ 365 h 1066"/>
                  <a:gd name="connsiteX46" fmla="*/ 2137 w 4181"/>
                  <a:gd name="connsiteY46" fmla="*/ 316 h 1066"/>
                  <a:gd name="connsiteX47" fmla="*/ 2096 w 4181"/>
                  <a:gd name="connsiteY47" fmla="*/ 270 h 1066"/>
                  <a:gd name="connsiteX48" fmla="*/ 2054 w 4181"/>
                  <a:gd name="connsiteY48" fmla="*/ 228 h 1066"/>
                  <a:gd name="connsiteX49" fmla="*/ 2009 w 4181"/>
                  <a:gd name="connsiteY49" fmla="*/ 191 h 1066"/>
                  <a:gd name="connsiteX50" fmla="*/ 1962 w 4181"/>
                  <a:gd name="connsiteY50" fmla="*/ 162 h 1066"/>
                  <a:gd name="connsiteX51" fmla="*/ 1910 w 4181"/>
                  <a:gd name="connsiteY51" fmla="*/ 139 h 1066"/>
                  <a:gd name="connsiteX52" fmla="*/ 1854 w 4181"/>
                  <a:gd name="connsiteY52" fmla="*/ 123 h 1066"/>
                  <a:gd name="connsiteX53" fmla="*/ 1796 w 4181"/>
                  <a:gd name="connsiteY53" fmla="*/ 114 h 1066"/>
                  <a:gd name="connsiteX54" fmla="*/ 1732 w 4181"/>
                  <a:gd name="connsiteY54" fmla="*/ 116 h 1066"/>
                  <a:gd name="connsiteX55" fmla="*/ 1664 w 4181"/>
                  <a:gd name="connsiteY55" fmla="*/ 127 h 1066"/>
                  <a:gd name="connsiteX56" fmla="*/ 1602 w 4181"/>
                  <a:gd name="connsiteY56" fmla="*/ 145 h 1066"/>
                  <a:gd name="connsiteX57" fmla="*/ 1545 w 4181"/>
                  <a:gd name="connsiteY57" fmla="*/ 170 h 1066"/>
                  <a:gd name="connsiteX58" fmla="*/ 1491 w 4181"/>
                  <a:gd name="connsiteY58" fmla="*/ 204 h 1066"/>
                  <a:gd name="connsiteX59" fmla="*/ 1439 w 4181"/>
                  <a:gd name="connsiteY59" fmla="*/ 241 h 1066"/>
                  <a:gd name="connsiteX60" fmla="*/ 1394 w 4181"/>
                  <a:gd name="connsiteY60" fmla="*/ 284 h 1066"/>
                  <a:gd name="connsiteX61" fmla="*/ 1348 w 4181"/>
                  <a:gd name="connsiteY61" fmla="*/ 330 h 1066"/>
                  <a:gd name="connsiteX62" fmla="*/ 1307 w 4181"/>
                  <a:gd name="connsiteY62" fmla="*/ 382 h 1066"/>
                  <a:gd name="connsiteX63" fmla="*/ 1268 w 4181"/>
                  <a:gd name="connsiteY63" fmla="*/ 436 h 1066"/>
                  <a:gd name="connsiteX64" fmla="*/ 1231 w 4181"/>
                  <a:gd name="connsiteY64" fmla="*/ 490 h 1066"/>
                  <a:gd name="connsiteX65" fmla="*/ 1194 w 4181"/>
                  <a:gd name="connsiteY65" fmla="*/ 546 h 1066"/>
                  <a:gd name="connsiteX66" fmla="*/ 1156 w 4181"/>
                  <a:gd name="connsiteY66" fmla="*/ 604 h 1066"/>
                  <a:gd name="connsiteX67" fmla="*/ 1121 w 4181"/>
                  <a:gd name="connsiteY67" fmla="*/ 660 h 1066"/>
                  <a:gd name="connsiteX68" fmla="*/ 1047 w 4181"/>
                  <a:gd name="connsiteY68" fmla="*/ 772 h 1066"/>
                  <a:gd name="connsiteX69" fmla="*/ 1008 w 4181"/>
                  <a:gd name="connsiteY69" fmla="*/ 824 h 1066"/>
                  <a:gd name="connsiteX70" fmla="*/ 966 w 4181"/>
                  <a:gd name="connsiteY70" fmla="*/ 873 h 1066"/>
                  <a:gd name="connsiteX71" fmla="*/ 923 w 4181"/>
                  <a:gd name="connsiteY71" fmla="*/ 919 h 1066"/>
                  <a:gd name="connsiteX72" fmla="*/ 876 w 4181"/>
                  <a:gd name="connsiteY72" fmla="*/ 960 h 1066"/>
                  <a:gd name="connsiteX73" fmla="*/ 826 w 4181"/>
                  <a:gd name="connsiteY73" fmla="*/ 996 h 1066"/>
                  <a:gd name="connsiteX74" fmla="*/ 772 w 4181"/>
                  <a:gd name="connsiteY74" fmla="*/ 1025 h 1066"/>
                  <a:gd name="connsiteX75" fmla="*/ 717 w 4181"/>
                  <a:gd name="connsiteY75" fmla="*/ 1048 h 1066"/>
                  <a:gd name="connsiteX76" fmla="*/ 653 w 4181"/>
                  <a:gd name="connsiteY76" fmla="*/ 1060 h 1066"/>
                  <a:gd name="connsiteX77" fmla="*/ 587 w 4181"/>
                  <a:gd name="connsiteY77" fmla="*/ 1066 h 1066"/>
                  <a:gd name="connsiteX78" fmla="*/ 580 w 4181"/>
                  <a:gd name="connsiteY78" fmla="*/ 1066 h 1066"/>
                  <a:gd name="connsiteX79" fmla="*/ 512 w 4181"/>
                  <a:gd name="connsiteY79" fmla="*/ 1062 h 1066"/>
                  <a:gd name="connsiteX80" fmla="*/ 450 w 4181"/>
                  <a:gd name="connsiteY80" fmla="*/ 1050 h 1066"/>
                  <a:gd name="connsiteX81" fmla="*/ 392 w 4181"/>
                  <a:gd name="connsiteY81" fmla="*/ 1031 h 1066"/>
                  <a:gd name="connsiteX82" fmla="*/ 341 w 4181"/>
                  <a:gd name="connsiteY82" fmla="*/ 1006 h 1066"/>
                  <a:gd name="connsiteX83" fmla="*/ 293 w 4181"/>
                  <a:gd name="connsiteY83" fmla="*/ 975 h 1066"/>
                  <a:gd name="connsiteX84" fmla="*/ 248 w 4181"/>
                  <a:gd name="connsiteY84" fmla="*/ 938 h 1066"/>
                  <a:gd name="connsiteX85" fmla="*/ 207 w 4181"/>
                  <a:gd name="connsiteY85" fmla="*/ 896 h 1066"/>
                  <a:gd name="connsiteX86" fmla="*/ 169 w 4181"/>
                  <a:gd name="connsiteY86" fmla="*/ 851 h 1066"/>
                  <a:gd name="connsiteX87" fmla="*/ 132 w 4181"/>
                  <a:gd name="connsiteY87" fmla="*/ 803 h 1066"/>
                  <a:gd name="connsiteX88" fmla="*/ 99 w 4181"/>
                  <a:gd name="connsiteY88" fmla="*/ 751 h 1066"/>
                  <a:gd name="connsiteX89" fmla="*/ 64 w 4181"/>
                  <a:gd name="connsiteY89" fmla="*/ 697 h 1066"/>
                  <a:gd name="connsiteX90" fmla="*/ 33 w 4181"/>
                  <a:gd name="connsiteY90" fmla="*/ 641 h 1066"/>
                  <a:gd name="connsiteX91" fmla="*/ 0 w 4181"/>
                  <a:gd name="connsiteY91" fmla="*/ 583 h 1066"/>
                  <a:gd name="connsiteX92" fmla="*/ 77 w 4181"/>
                  <a:gd name="connsiteY92" fmla="*/ 539 h 1066"/>
                  <a:gd name="connsiteX93" fmla="*/ 110 w 4181"/>
                  <a:gd name="connsiteY93" fmla="*/ 598 h 1066"/>
                  <a:gd name="connsiteX94" fmla="*/ 143 w 4181"/>
                  <a:gd name="connsiteY94" fmla="*/ 654 h 1066"/>
                  <a:gd name="connsiteX95" fmla="*/ 176 w 4181"/>
                  <a:gd name="connsiteY95" fmla="*/ 707 h 1066"/>
                  <a:gd name="connsiteX96" fmla="*/ 209 w 4181"/>
                  <a:gd name="connsiteY96" fmla="*/ 759 h 1066"/>
                  <a:gd name="connsiteX97" fmla="*/ 244 w 4181"/>
                  <a:gd name="connsiteY97" fmla="*/ 805 h 1066"/>
                  <a:gd name="connsiteX98" fmla="*/ 281 w 4181"/>
                  <a:gd name="connsiteY98" fmla="*/ 848 h 1066"/>
                  <a:gd name="connsiteX99" fmla="*/ 322 w 4181"/>
                  <a:gd name="connsiteY99" fmla="*/ 886 h 1066"/>
                  <a:gd name="connsiteX100" fmla="*/ 366 w 4181"/>
                  <a:gd name="connsiteY100" fmla="*/ 917 h 1066"/>
                  <a:gd name="connsiteX101" fmla="*/ 413 w 4181"/>
                  <a:gd name="connsiteY101" fmla="*/ 944 h 1066"/>
                  <a:gd name="connsiteX102" fmla="*/ 463 w 4181"/>
                  <a:gd name="connsiteY102" fmla="*/ 963 h 1066"/>
                  <a:gd name="connsiteX103" fmla="*/ 518 w 4181"/>
                  <a:gd name="connsiteY103" fmla="*/ 975 h 1066"/>
                  <a:gd name="connsiteX104" fmla="*/ 580 w 4181"/>
                  <a:gd name="connsiteY104" fmla="*/ 979 h 1066"/>
                  <a:gd name="connsiteX105" fmla="*/ 587 w 4181"/>
                  <a:gd name="connsiteY105" fmla="*/ 979 h 1066"/>
                  <a:gd name="connsiteX106" fmla="*/ 646 w 4181"/>
                  <a:gd name="connsiteY106" fmla="*/ 973 h 1066"/>
                  <a:gd name="connsiteX107" fmla="*/ 702 w 4181"/>
                  <a:gd name="connsiteY107" fmla="*/ 958 h 1066"/>
                  <a:gd name="connsiteX108" fmla="*/ 756 w 4181"/>
                  <a:gd name="connsiteY108" fmla="*/ 936 h 1066"/>
                  <a:gd name="connsiteX109" fmla="*/ 803 w 4181"/>
                  <a:gd name="connsiteY109" fmla="*/ 907 h 1066"/>
                  <a:gd name="connsiteX110" fmla="*/ 849 w 4181"/>
                  <a:gd name="connsiteY110" fmla="*/ 869 h 1066"/>
                  <a:gd name="connsiteX111" fmla="*/ 892 w 4181"/>
                  <a:gd name="connsiteY111" fmla="*/ 826 h 1066"/>
                  <a:gd name="connsiteX112" fmla="*/ 931 w 4181"/>
                  <a:gd name="connsiteY112" fmla="*/ 778 h 1066"/>
                  <a:gd name="connsiteX113" fmla="*/ 971 w 4181"/>
                  <a:gd name="connsiteY113" fmla="*/ 726 h 1066"/>
                  <a:gd name="connsiteX114" fmla="*/ 1010 w 4181"/>
                  <a:gd name="connsiteY114" fmla="*/ 672 h 1066"/>
                  <a:gd name="connsiteX115" fmla="*/ 1121 w 4181"/>
                  <a:gd name="connsiteY115" fmla="*/ 498 h 1066"/>
                  <a:gd name="connsiteX116" fmla="*/ 1161 w 4181"/>
                  <a:gd name="connsiteY116" fmla="*/ 438 h 1066"/>
                  <a:gd name="connsiteX117" fmla="*/ 1202 w 4181"/>
                  <a:gd name="connsiteY117" fmla="*/ 380 h 1066"/>
                  <a:gd name="connsiteX118" fmla="*/ 1245 w 4181"/>
                  <a:gd name="connsiteY118" fmla="*/ 322 h 1066"/>
                  <a:gd name="connsiteX119" fmla="*/ 1291 w 4181"/>
                  <a:gd name="connsiteY119" fmla="*/ 268 h 1066"/>
                  <a:gd name="connsiteX120" fmla="*/ 1338 w 4181"/>
                  <a:gd name="connsiteY120" fmla="*/ 216 h 1066"/>
                  <a:gd name="connsiteX121" fmla="*/ 1392 w 4181"/>
                  <a:gd name="connsiteY121" fmla="*/ 168 h 1066"/>
                  <a:gd name="connsiteX122" fmla="*/ 1447 w 4181"/>
                  <a:gd name="connsiteY122" fmla="*/ 127 h 1066"/>
                  <a:gd name="connsiteX123" fmla="*/ 1509 w 4181"/>
                  <a:gd name="connsiteY123" fmla="*/ 92 h 1066"/>
                  <a:gd name="connsiteX124" fmla="*/ 1575 w 4181"/>
                  <a:gd name="connsiteY124" fmla="*/ 63 h 1066"/>
                  <a:gd name="connsiteX125" fmla="*/ 1648 w 4181"/>
                  <a:gd name="connsiteY125" fmla="*/ 42 h 1066"/>
                  <a:gd name="connsiteX126" fmla="*/ 1726 w 4181"/>
                  <a:gd name="connsiteY126" fmla="*/ 29 h 1066"/>
                  <a:gd name="connsiteX127" fmla="*/ 1796 w 4181"/>
                  <a:gd name="connsiteY127" fmla="*/ 27 h 1066"/>
                  <a:gd name="connsiteX128" fmla="*/ 1862 w 4181"/>
                  <a:gd name="connsiteY128" fmla="*/ 36 h 1066"/>
                  <a:gd name="connsiteX129" fmla="*/ 1922 w 4181"/>
                  <a:gd name="connsiteY129" fmla="*/ 50 h 1066"/>
                  <a:gd name="connsiteX130" fmla="*/ 1980 w 4181"/>
                  <a:gd name="connsiteY130" fmla="*/ 73 h 1066"/>
                  <a:gd name="connsiteX131" fmla="*/ 2034 w 4181"/>
                  <a:gd name="connsiteY131" fmla="*/ 104 h 1066"/>
                  <a:gd name="connsiteX132" fmla="*/ 2083 w 4181"/>
                  <a:gd name="connsiteY132" fmla="*/ 139 h 1066"/>
                  <a:gd name="connsiteX133" fmla="*/ 2129 w 4181"/>
                  <a:gd name="connsiteY133" fmla="*/ 181 h 1066"/>
                  <a:gd name="connsiteX134" fmla="*/ 2174 w 4181"/>
                  <a:gd name="connsiteY134" fmla="*/ 226 h 1066"/>
                  <a:gd name="connsiteX135" fmla="*/ 2216 w 4181"/>
                  <a:gd name="connsiteY135" fmla="*/ 274 h 1066"/>
                  <a:gd name="connsiteX136" fmla="*/ 2255 w 4181"/>
                  <a:gd name="connsiteY136" fmla="*/ 326 h 1066"/>
                  <a:gd name="connsiteX137" fmla="*/ 2292 w 4181"/>
                  <a:gd name="connsiteY137" fmla="*/ 380 h 1066"/>
                  <a:gd name="connsiteX138" fmla="*/ 2327 w 4181"/>
                  <a:gd name="connsiteY138" fmla="*/ 436 h 1066"/>
                  <a:gd name="connsiteX139" fmla="*/ 2362 w 4181"/>
                  <a:gd name="connsiteY139" fmla="*/ 490 h 1066"/>
                  <a:gd name="connsiteX140" fmla="*/ 2395 w 4181"/>
                  <a:gd name="connsiteY140" fmla="*/ 546 h 1066"/>
                  <a:gd name="connsiteX141" fmla="*/ 2432 w 4181"/>
                  <a:gd name="connsiteY141" fmla="*/ 608 h 1066"/>
                  <a:gd name="connsiteX142" fmla="*/ 2469 w 4181"/>
                  <a:gd name="connsiteY142" fmla="*/ 666 h 1066"/>
                  <a:gd name="connsiteX143" fmla="*/ 2509 w 4181"/>
                  <a:gd name="connsiteY143" fmla="*/ 724 h 1066"/>
                  <a:gd name="connsiteX144" fmla="*/ 2546 w 4181"/>
                  <a:gd name="connsiteY144" fmla="*/ 778 h 1066"/>
                  <a:gd name="connsiteX145" fmla="*/ 2587 w 4181"/>
                  <a:gd name="connsiteY145" fmla="*/ 828 h 1066"/>
                  <a:gd name="connsiteX146" fmla="*/ 2628 w 4181"/>
                  <a:gd name="connsiteY146" fmla="*/ 871 h 1066"/>
                  <a:gd name="connsiteX147" fmla="*/ 2672 w 4181"/>
                  <a:gd name="connsiteY147" fmla="*/ 909 h 1066"/>
                  <a:gd name="connsiteX148" fmla="*/ 2717 w 4181"/>
                  <a:gd name="connsiteY148" fmla="*/ 940 h 1066"/>
                  <a:gd name="connsiteX149" fmla="*/ 2767 w 4181"/>
                  <a:gd name="connsiteY149" fmla="*/ 963 h 1066"/>
                  <a:gd name="connsiteX150" fmla="*/ 2820 w 4181"/>
                  <a:gd name="connsiteY150" fmla="*/ 975 h 1066"/>
                  <a:gd name="connsiteX151" fmla="*/ 2876 w 4181"/>
                  <a:gd name="connsiteY151" fmla="*/ 979 h 1066"/>
                  <a:gd name="connsiteX152" fmla="*/ 2932 w 4181"/>
                  <a:gd name="connsiteY152" fmla="*/ 973 h 1066"/>
                  <a:gd name="connsiteX153" fmla="*/ 2982 w 4181"/>
                  <a:gd name="connsiteY153" fmla="*/ 958 h 1066"/>
                  <a:gd name="connsiteX154" fmla="*/ 3029 w 4181"/>
                  <a:gd name="connsiteY154" fmla="*/ 938 h 1066"/>
                  <a:gd name="connsiteX155" fmla="*/ 3072 w 4181"/>
                  <a:gd name="connsiteY155" fmla="*/ 907 h 1066"/>
                  <a:gd name="connsiteX156" fmla="*/ 3112 w 4181"/>
                  <a:gd name="connsiteY156" fmla="*/ 871 h 1066"/>
                  <a:gd name="connsiteX157" fmla="*/ 3149 w 4181"/>
                  <a:gd name="connsiteY157" fmla="*/ 830 h 1066"/>
                  <a:gd name="connsiteX158" fmla="*/ 3184 w 4181"/>
                  <a:gd name="connsiteY158" fmla="*/ 782 h 1066"/>
                  <a:gd name="connsiteX159" fmla="*/ 3217 w 4181"/>
                  <a:gd name="connsiteY159" fmla="*/ 732 h 1066"/>
                  <a:gd name="connsiteX160" fmla="*/ 3250 w 4181"/>
                  <a:gd name="connsiteY160" fmla="*/ 678 h 1066"/>
                  <a:gd name="connsiteX161" fmla="*/ 3283 w 4181"/>
                  <a:gd name="connsiteY161" fmla="*/ 620 h 1066"/>
                  <a:gd name="connsiteX162" fmla="*/ 3316 w 4181"/>
                  <a:gd name="connsiteY162" fmla="*/ 560 h 1066"/>
                  <a:gd name="connsiteX163" fmla="*/ 3345 w 4181"/>
                  <a:gd name="connsiteY163" fmla="*/ 506 h 1066"/>
                  <a:gd name="connsiteX164" fmla="*/ 3407 w 4181"/>
                  <a:gd name="connsiteY164" fmla="*/ 398 h 1066"/>
                  <a:gd name="connsiteX165" fmla="*/ 3477 w 4181"/>
                  <a:gd name="connsiteY165" fmla="*/ 295 h 1066"/>
                  <a:gd name="connsiteX166" fmla="*/ 3514 w 4181"/>
                  <a:gd name="connsiteY166" fmla="*/ 247 h 1066"/>
                  <a:gd name="connsiteX167" fmla="*/ 3555 w 4181"/>
                  <a:gd name="connsiteY167" fmla="*/ 201 h 1066"/>
                  <a:gd name="connsiteX168" fmla="*/ 3599 w 4181"/>
                  <a:gd name="connsiteY168" fmla="*/ 160 h 1066"/>
                  <a:gd name="connsiteX169" fmla="*/ 3646 w 4181"/>
                  <a:gd name="connsiteY169" fmla="*/ 123 h 1066"/>
                  <a:gd name="connsiteX170" fmla="*/ 3698 w 4181"/>
                  <a:gd name="connsiteY170" fmla="*/ 89 h 1066"/>
                  <a:gd name="connsiteX171" fmla="*/ 3756 w 4181"/>
                  <a:gd name="connsiteY171" fmla="*/ 63 h 1066"/>
                  <a:gd name="connsiteX172" fmla="*/ 3816 w 4181"/>
                  <a:gd name="connsiteY172" fmla="*/ 42 h 1066"/>
                  <a:gd name="connsiteX0" fmla="*/ 3756 w 4181"/>
                  <a:gd name="connsiteY0" fmla="*/ 40 h 1043"/>
                  <a:gd name="connsiteX1" fmla="*/ 4004 w 4181"/>
                  <a:gd name="connsiteY1" fmla="*/ 0 h 1043"/>
                  <a:gd name="connsiteX2" fmla="*/ 4181 w 4181"/>
                  <a:gd name="connsiteY2" fmla="*/ 158 h 1043"/>
                  <a:gd name="connsiteX3" fmla="*/ 4142 w 4181"/>
                  <a:gd name="connsiteY3" fmla="*/ 135 h 1043"/>
                  <a:gd name="connsiteX4" fmla="*/ 4092 w 4181"/>
                  <a:gd name="connsiteY4" fmla="*/ 112 h 1043"/>
                  <a:gd name="connsiteX5" fmla="*/ 4049 w 4181"/>
                  <a:gd name="connsiteY5" fmla="*/ 98 h 1043"/>
                  <a:gd name="connsiteX6" fmla="*/ 4014 w 4181"/>
                  <a:gd name="connsiteY6" fmla="*/ 89 h 1043"/>
                  <a:gd name="connsiteX7" fmla="*/ 3985 w 4181"/>
                  <a:gd name="connsiteY7" fmla="*/ 87 h 1043"/>
                  <a:gd name="connsiteX8" fmla="*/ 3958 w 4181"/>
                  <a:gd name="connsiteY8" fmla="*/ 87 h 1043"/>
                  <a:gd name="connsiteX9" fmla="*/ 3892 w 4181"/>
                  <a:gd name="connsiteY9" fmla="*/ 93 h 1043"/>
                  <a:gd name="connsiteX10" fmla="*/ 3830 w 4181"/>
                  <a:gd name="connsiteY10" fmla="*/ 106 h 1043"/>
                  <a:gd name="connsiteX11" fmla="*/ 3774 w 4181"/>
                  <a:gd name="connsiteY11" fmla="*/ 127 h 1043"/>
                  <a:gd name="connsiteX12" fmla="*/ 3723 w 4181"/>
                  <a:gd name="connsiteY12" fmla="*/ 154 h 1043"/>
                  <a:gd name="connsiteX13" fmla="*/ 3675 w 4181"/>
                  <a:gd name="connsiteY13" fmla="*/ 187 h 1043"/>
                  <a:gd name="connsiteX14" fmla="*/ 3632 w 4181"/>
                  <a:gd name="connsiteY14" fmla="*/ 224 h 1043"/>
                  <a:gd name="connsiteX15" fmla="*/ 3593 w 4181"/>
                  <a:gd name="connsiteY15" fmla="*/ 268 h 1043"/>
                  <a:gd name="connsiteX16" fmla="*/ 3553 w 4181"/>
                  <a:gd name="connsiteY16" fmla="*/ 313 h 1043"/>
                  <a:gd name="connsiteX17" fmla="*/ 3518 w 4181"/>
                  <a:gd name="connsiteY17" fmla="*/ 363 h 1043"/>
                  <a:gd name="connsiteX18" fmla="*/ 3485 w 4181"/>
                  <a:gd name="connsiteY18" fmla="*/ 415 h 1043"/>
                  <a:gd name="connsiteX19" fmla="*/ 3423 w 4181"/>
                  <a:gd name="connsiteY19" fmla="*/ 523 h 1043"/>
                  <a:gd name="connsiteX20" fmla="*/ 3330 w 4181"/>
                  <a:gd name="connsiteY20" fmla="*/ 691 h 1043"/>
                  <a:gd name="connsiteX21" fmla="*/ 3297 w 4181"/>
                  <a:gd name="connsiteY21" fmla="*/ 747 h 1043"/>
                  <a:gd name="connsiteX22" fmla="*/ 3262 w 4181"/>
                  <a:gd name="connsiteY22" fmla="*/ 799 h 1043"/>
                  <a:gd name="connsiteX23" fmla="*/ 3227 w 4181"/>
                  <a:gd name="connsiteY23" fmla="*/ 848 h 1043"/>
                  <a:gd name="connsiteX24" fmla="*/ 3188 w 4181"/>
                  <a:gd name="connsiteY24" fmla="*/ 894 h 1043"/>
                  <a:gd name="connsiteX25" fmla="*/ 3147 w 4181"/>
                  <a:gd name="connsiteY25" fmla="*/ 935 h 1043"/>
                  <a:gd name="connsiteX26" fmla="*/ 3101 w 4181"/>
                  <a:gd name="connsiteY26" fmla="*/ 971 h 1043"/>
                  <a:gd name="connsiteX27" fmla="*/ 3052 w 4181"/>
                  <a:gd name="connsiteY27" fmla="*/ 1000 h 1043"/>
                  <a:gd name="connsiteX28" fmla="*/ 3000 w 4181"/>
                  <a:gd name="connsiteY28" fmla="*/ 1022 h 1043"/>
                  <a:gd name="connsiteX29" fmla="*/ 2942 w 4181"/>
                  <a:gd name="connsiteY29" fmla="*/ 1037 h 1043"/>
                  <a:gd name="connsiteX30" fmla="*/ 2878 w 4181"/>
                  <a:gd name="connsiteY30" fmla="*/ 1043 h 1043"/>
                  <a:gd name="connsiteX31" fmla="*/ 2870 w 4181"/>
                  <a:gd name="connsiteY31" fmla="*/ 1043 h 1043"/>
                  <a:gd name="connsiteX32" fmla="*/ 2808 w 4181"/>
                  <a:gd name="connsiteY32" fmla="*/ 1039 h 1043"/>
                  <a:gd name="connsiteX33" fmla="*/ 2748 w 4181"/>
                  <a:gd name="connsiteY33" fmla="*/ 1025 h 1043"/>
                  <a:gd name="connsiteX34" fmla="*/ 2695 w 4181"/>
                  <a:gd name="connsiteY34" fmla="*/ 1002 h 1043"/>
                  <a:gd name="connsiteX35" fmla="*/ 2643 w 4181"/>
                  <a:gd name="connsiteY35" fmla="*/ 973 h 1043"/>
                  <a:gd name="connsiteX36" fmla="*/ 2595 w 4181"/>
                  <a:gd name="connsiteY36" fmla="*/ 935 h 1043"/>
                  <a:gd name="connsiteX37" fmla="*/ 2552 w 4181"/>
                  <a:gd name="connsiteY37" fmla="*/ 894 h 1043"/>
                  <a:gd name="connsiteX38" fmla="*/ 2509 w 4181"/>
                  <a:gd name="connsiteY38" fmla="*/ 846 h 1043"/>
                  <a:gd name="connsiteX39" fmla="*/ 2469 w 4181"/>
                  <a:gd name="connsiteY39" fmla="*/ 796 h 1043"/>
                  <a:gd name="connsiteX40" fmla="*/ 2430 w 4181"/>
                  <a:gd name="connsiteY40" fmla="*/ 740 h 1043"/>
                  <a:gd name="connsiteX41" fmla="*/ 2393 w 4181"/>
                  <a:gd name="connsiteY41" fmla="*/ 684 h 1043"/>
                  <a:gd name="connsiteX42" fmla="*/ 2288 w 4181"/>
                  <a:gd name="connsiteY42" fmla="*/ 510 h 1043"/>
                  <a:gd name="connsiteX43" fmla="*/ 2251 w 4181"/>
                  <a:gd name="connsiteY43" fmla="*/ 452 h 1043"/>
                  <a:gd name="connsiteX44" fmla="*/ 2213 w 4181"/>
                  <a:gd name="connsiteY44" fmla="*/ 396 h 1043"/>
                  <a:gd name="connsiteX45" fmla="*/ 2176 w 4181"/>
                  <a:gd name="connsiteY45" fmla="*/ 342 h 1043"/>
                  <a:gd name="connsiteX46" fmla="*/ 2137 w 4181"/>
                  <a:gd name="connsiteY46" fmla="*/ 293 h 1043"/>
                  <a:gd name="connsiteX47" fmla="*/ 2096 w 4181"/>
                  <a:gd name="connsiteY47" fmla="*/ 247 h 1043"/>
                  <a:gd name="connsiteX48" fmla="*/ 2054 w 4181"/>
                  <a:gd name="connsiteY48" fmla="*/ 205 h 1043"/>
                  <a:gd name="connsiteX49" fmla="*/ 2009 w 4181"/>
                  <a:gd name="connsiteY49" fmla="*/ 168 h 1043"/>
                  <a:gd name="connsiteX50" fmla="*/ 1962 w 4181"/>
                  <a:gd name="connsiteY50" fmla="*/ 139 h 1043"/>
                  <a:gd name="connsiteX51" fmla="*/ 1910 w 4181"/>
                  <a:gd name="connsiteY51" fmla="*/ 116 h 1043"/>
                  <a:gd name="connsiteX52" fmla="*/ 1854 w 4181"/>
                  <a:gd name="connsiteY52" fmla="*/ 100 h 1043"/>
                  <a:gd name="connsiteX53" fmla="*/ 1796 w 4181"/>
                  <a:gd name="connsiteY53" fmla="*/ 91 h 1043"/>
                  <a:gd name="connsiteX54" fmla="*/ 1732 w 4181"/>
                  <a:gd name="connsiteY54" fmla="*/ 93 h 1043"/>
                  <a:gd name="connsiteX55" fmla="*/ 1664 w 4181"/>
                  <a:gd name="connsiteY55" fmla="*/ 104 h 1043"/>
                  <a:gd name="connsiteX56" fmla="*/ 1602 w 4181"/>
                  <a:gd name="connsiteY56" fmla="*/ 122 h 1043"/>
                  <a:gd name="connsiteX57" fmla="*/ 1545 w 4181"/>
                  <a:gd name="connsiteY57" fmla="*/ 147 h 1043"/>
                  <a:gd name="connsiteX58" fmla="*/ 1491 w 4181"/>
                  <a:gd name="connsiteY58" fmla="*/ 181 h 1043"/>
                  <a:gd name="connsiteX59" fmla="*/ 1439 w 4181"/>
                  <a:gd name="connsiteY59" fmla="*/ 218 h 1043"/>
                  <a:gd name="connsiteX60" fmla="*/ 1394 w 4181"/>
                  <a:gd name="connsiteY60" fmla="*/ 261 h 1043"/>
                  <a:gd name="connsiteX61" fmla="*/ 1348 w 4181"/>
                  <a:gd name="connsiteY61" fmla="*/ 307 h 1043"/>
                  <a:gd name="connsiteX62" fmla="*/ 1307 w 4181"/>
                  <a:gd name="connsiteY62" fmla="*/ 359 h 1043"/>
                  <a:gd name="connsiteX63" fmla="*/ 1268 w 4181"/>
                  <a:gd name="connsiteY63" fmla="*/ 413 h 1043"/>
                  <a:gd name="connsiteX64" fmla="*/ 1231 w 4181"/>
                  <a:gd name="connsiteY64" fmla="*/ 467 h 1043"/>
                  <a:gd name="connsiteX65" fmla="*/ 1194 w 4181"/>
                  <a:gd name="connsiteY65" fmla="*/ 523 h 1043"/>
                  <a:gd name="connsiteX66" fmla="*/ 1156 w 4181"/>
                  <a:gd name="connsiteY66" fmla="*/ 581 h 1043"/>
                  <a:gd name="connsiteX67" fmla="*/ 1121 w 4181"/>
                  <a:gd name="connsiteY67" fmla="*/ 637 h 1043"/>
                  <a:gd name="connsiteX68" fmla="*/ 1047 w 4181"/>
                  <a:gd name="connsiteY68" fmla="*/ 749 h 1043"/>
                  <a:gd name="connsiteX69" fmla="*/ 1008 w 4181"/>
                  <a:gd name="connsiteY69" fmla="*/ 801 h 1043"/>
                  <a:gd name="connsiteX70" fmla="*/ 966 w 4181"/>
                  <a:gd name="connsiteY70" fmla="*/ 850 h 1043"/>
                  <a:gd name="connsiteX71" fmla="*/ 923 w 4181"/>
                  <a:gd name="connsiteY71" fmla="*/ 896 h 1043"/>
                  <a:gd name="connsiteX72" fmla="*/ 876 w 4181"/>
                  <a:gd name="connsiteY72" fmla="*/ 937 h 1043"/>
                  <a:gd name="connsiteX73" fmla="*/ 826 w 4181"/>
                  <a:gd name="connsiteY73" fmla="*/ 973 h 1043"/>
                  <a:gd name="connsiteX74" fmla="*/ 772 w 4181"/>
                  <a:gd name="connsiteY74" fmla="*/ 1002 h 1043"/>
                  <a:gd name="connsiteX75" fmla="*/ 717 w 4181"/>
                  <a:gd name="connsiteY75" fmla="*/ 1025 h 1043"/>
                  <a:gd name="connsiteX76" fmla="*/ 653 w 4181"/>
                  <a:gd name="connsiteY76" fmla="*/ 1037 h 1043"/>
                  <a:gd name="connsiteX77" fmla="*/ 587 w 4181"/>
                  <a:gd name="connsiteY77" fmla="*/ 1043 h 1043"/>
                  <a:gd name="connsiteX78" fmla="*/ 580 w 4181"/>
                  <a:gd name="connsiteY78" fmla="*/ 1043 h 1043"/>
                  <a:gd name="connsiteX79" fmla="*/ 512 w 4181"/>
                  <a:gd name="connsiteY79" fmla="*/ 1039 h 1043"/>
                  <a:gd name="connsiteX80" fmla="*/ 450 w 4181"/>
                  <a:gd name="connsiteY80" fmla="*/ 1027 h 1043"/>
                  <a:gd name="connsiteX81" fmla="*/ 392 w 4181"/>
                  <a:gd name="connsiteY81" fmla="*/ 1008 h 1043"/>
                  <a:gd name="connsiteX82" fmla="*/ 341 w 4181"/>
                  <a:gd name="connsiteY82" fmla="*/ 983 h 1043"/>
                  <a:gd name="connsiteX83" fmla="*/ 293 w 4181"/>
                  <a:gd name="connsiteY83" fmla="*/ 952 h 1043"/>
                  <a:gd name="connsiteX84" fmla="*/ 248 w 4181"/>
                  <a:gd name="connsiteY84" fmla="*/ 915 h 1043"/>
                  <a:gd name="connsiteX85" fmla="*/ 207 w 4181"/>
                  <a:gd name="connsiteY85" fmla="*/ 873 h 1043"/>
                  <a:gd name="connsiteX86" fmla="*/ 169 w 4181"/>
                  <a:gd name="connsiteY86" fmla="*/ 828 h 1043"/>
                  <a:gd name="connsiteX87" fmla="*/ 132 w 4181"/>
                  <a:gd name="connsiteY87" fmla="*/ 780 h 1043"/>
                  <a:gd name="connsiteX88" fmla="*/ 99 w 4181"/>
                  <a:gd name="connsiteY88" fmla="*/ 728 h 1043"/>
                  <a:gd name="connsiteX89" fmla="*/ 64 w 4181"/>
                  <a:gd name="connsiteY89" fmla="*/ 674 h 1043"/>
                  <a:gd name="connsiteX90" fmla="*/ 33 w 4181"/>
                  <a:gd name="connsiteY90" fmla="*/ 618 h 1043"/>
                  <a:gd name="connsiteX91" fmla="*/ 0 w 4181"/>
                  <a:gd name="connsiteY91" fmla="*/ 560 h 1043"/>
                  <a:gd name="connsiteX92" fmla="*/ 77 w 4181"/>
                  <a:gd name="connsiteY92" fmla="*/ 516 h 1043"/>
                  <a:gd name="connsiteX93" fmla="*/ 110 w 4181"/>
                  <a:gd name="connsiteY93" fmla="*/ 575 h 1043"/>
                  <a:gd name="connsiteX94" fmla="*/ 143 w 4181"/>
                  <a:gd name="connsiteY94" fmla="*/ 631 h 1043"/>
                  <a:gd name="connsiteX95" fmla="*/ 176 w 4181"/>
                  <a:gd name="connsiteY95" fmla="*/ 684 h 1043"/>
                  <a:gd name="connsiteX96" fmla="*/ 209 w 4181"/>
                  <a:gd name="connsiteY96" fmla="*/ 736 h 1043"/>
                  <a:gd name="connsiteX97" fmla="*/ 244 w 4181"/>
                  <a:gd name="connsiteY97" fmla="*/ 782 h 1043"/>
                  <a:gd name="connsiteX98" fmla="*/ 281 w 4181"/>
                  <a:gd name="connsiteY98" fmla="*/ 825 h 1043"/>
                  <a:gd name="connsiteX99" fmla="*/ 322 w 4181"/>
                  <a:gd name="connsiteY99" fmla="*/ 863 h 1043"/>
                  <a:gd name="connsiteX100" fmla="*/ 366 w 4181"/>
                  <a:gd name="connsiteY100" fmla="*/ 894 h 1043"/>
                  <a:gd name="connsiteX101" fmla="*/ 413 w 4181"/>
                  <a:gd name="connsiteY101" fmla="*/ 921 h 1043"/>
                  <a:gd name="connsiteX102" fmla="*/ 463 w 4181"/>
                  <a:gd name="connsiteY102" fmla="*/ 940 h 1043"/>
                  <a:gd name="connsiteX103" fmla="*/ 518 w 4181"/>
                  <a:gd name="connsiteY103" fmla="*/ 952 h 1043"/>
                  <a:gd name="connsiteX104" fmla="*/ 580 w 4181"/>
                  <a:gd name="connsiteY104" fmla="*/ 956 h 1043"/>
                  <a:gd name="connsiteX105" fmla="*/ 587 w 4181"/>
                  <a:gd name="connsiteY105" fmla="*/ 956 h 1043"/>
                  <a:gd name="connsiteX106" fmla="*/ 646 w 4181"/>
                  <a:gd name="connsiteY106" fmla="*/ 950 h 1043"/>
                  <a:gd name="connsiteX107" fmla="*/ 702 w 4181"/>
                  <a:gd name="connsiteY107" fmla="*/ 935 h 1043"/>
                  <a:gd name="connsiteX108" fmla="*/ 756 w 4181"/>
                  <a:gd name="connsiteY108" fmla="*/ 913 h 1043"/>
                  <a:gd name="connsiteX109" fmla="*/ 803 w 4181"/>
                  <a:gd name="connsiteY109" fmla="*/ 884 h 1043"/>
                  <a:gd name="connsiteX110" fmla="*/ 849 w 4181"/>
                  <a:gd name="connsiteY110" fmla="*/ 846 h 1043"/>
                  <a:gd name="connsiteX111" fmla="*/ 892 w 4181"/>
                  <a:gd name="connsiteY111" fmla="*/ 803 h 1043"/>
                  <a:gd name="connsiteX112" fmla="*/ 931 w 4181"/>
                  <a:gd name="connsiteY112" fmla="*/ 755 h 1043"/>
                  <a:gd name="connsiteX113" fmla="*/ 971 w 4181"/>
                  <a:gd name="connsiteY113" fmla="*/ 703 h 1043"/>
                  <a:gd name="connsiteX114" fmla="*/ 1010 w 4181"/>
                  <a:gd name="connsiteY114" fmla="*/ 649 h 1043"/>
                  <a:gd name="connsiteX115" fmla="*/ 1121 w 4181"/>
                  <a:gd name="connsiteY115" fmla="*/ 475 h 1043"/>
                  <a:gd name="connsiteX116" fmla="*/ 1161 w 4181"/>
                  <a:gd name="connsiteY116" fmla="*/ 415 h 1043"/>
                  <a:gd name="connsiteX117" fmla="*/ 1202 w 4181"/>
                  <a:gd name="connsiteY117" fmla="*/ 357 h 1043"/>
                  <a:gd name="connsiteX118" fmla="*/ 1245 w 4181"/>
                  <a:gd name="connsiteY118" fmla="*/ 299 h 1043"/>
                  <a:gd name="connsiteX119" fmla="*/ 1291 w 4181"/>
                  <a:gd name="connsiteY119" fmla="*/ 245 h 1043"/>
                  <a:gd name="connsiteX120" fmla="*/ 1338 w 4181"/>
                  <a:gd name="connsiteY120" fmla="*/ 193 h 1043"/>
                  <a:gd name="connsiteX121" fmla="*/ 1392 w 4181"/>
                  <a:gd name="connsiteY121" fmla="*/ 145 h 1043"/>
                  <a:gd name="connsiteX122" fmla="*/ 1447 w 4181"/>
                  <a:gd name="connsiteY122" fmla="*/ 104 h 1043"/>
                  <a:gd name="connsiteX123" fmla="*/ 1509 w 4181"/>
                  <a:gd name="connsiteY123" fmla="*/ 69 h 1043"/>
                  <a:gd name="connsiteX124" fmla="*/ 1575 w 4181"/>
                  <a:gd name="connsiteY124" fmla="*/ 40 h 1043"/>
                  <a:gd name="connsiteX125" fmla="*/ 1648 w 4181"/>
                  <a:gd name="connsiteY125" fmla="*/ 19 h 1043"/>
                  <a:gd name="connsiteX126" fmla="*/ 1726 w 4181"/>
                  <a:gd name="connsiteY126" fmla="*/ 6 h 1043"/>
                  <a:gd name="connsiteX127" fmla="*/ 1796 w 4181"/>
                  <a:gd name="connsiteY127" fmla="*/ 4 h 1043"/>
                  <a:gd name="connsiteX128" fmla="*/ 1862 w 4181"/>
                  <a:gd name="connsiteY128" fmla="*/ 13 h 1043"/>
                  <a:gd name="connsiteX129" fmla="*/ 1922 w 4181"/>
                  <a:gd name="connsiteY129" fmla="*/ 27 h 1043"/>
                  <a:gd name="connsiteX130" fmla="*/ 1980 w 4181"/>
                  <a:gd name="connsiteY130" fmla="*/ 50 h 1043"/>
                  <a:gd name="connsiteX131" fmla="*/ 2034 w 4181"/>
                  <a:gd name="connsiteY131" fmla="*/ 81 h 1043"/>
                  <a:gd name="connsiteX132" fmla="*/ 2083 w 4181"/>
                  <a:gd name="connsiteY132" fmla="*/ 116 h 1043"/>
                  <a:gd name="connsiteX133" fmla="*/ 2129 w 4181"/>
                  <a:gd name="connsiteY133" fmla="*/ 158 h 1043"/>
                  <a:gd name="connsiteX134" fmla="*/ 2174 w 4181"/>
                  <a:gd name="connsiteY134" fmla="*/ 203 h 1043"/>
                  <a:gd name="connsiteX135" fmla="*/ 2216 w 4181"/>
                  <a:gd name="connsiteY135" fmla="*/ 251 h 1043"/>
                  <a:gd name="connsiteX136" fmla="*/ 2255 w 4181"/>
                  <a:gd name="connsiteY136" fmla="*/ 303 h 1043"/>
                  <a:gd name="connsiteX137" fmla="*/ 2292 w 4181"/>
                  <a:gd name="connsiteY137" fmla="*/ 357 h 1043"/>
                  <a:gd name="connsiteX138" fmla="*/ 2327 w 4181"/>
                  <a:gd name="connsiteY138" fmla="*/ 413 h 1043"/>
                  <a:gd name="connsiteX139" fmla="*/ 2362 w 4181"/>
                  <a:gd name="connsiteY139" fmla="*/ 467 h 1043"/>
                  <a:gd name="connsiteX140" fmla="*/ 2395 w 4181"/>
                  <a:gd name="connsiteY140" fmla="*/ 523 h 1043"/>
                  <a:gd name="connsiteX141" fmla="*/ 2432 w 4181"/>
                  <a:gd name="connsiteY141" fmla="*/ 585 h 1043"/>
                  <a:gd name="connsiteX142" fmla="*/ 2469 w 4181"/>
                  <a:gd name="connsiteY142" fmla="*/ 643 h 1043"/>
                  <a:gd name="connsiteX143" fmla="*/ 2509 w 4181"/>
                  <a:gd name="connsiteY143" fmla="*/ 701 h 1043"/>
                  <a:gd name="connsiteX144" fmla="*/ 2546 w 4181"/>
                  <a:gd name="connsiteY144" fmla="*/ 755 h 1043"/>
                  <a:gd name="connsiteX145" fmla="*/ 2587 w 4181"/>
                  <a:gd name="connsiteY145" fmla="*/ 805 h 1043"/>
                  <a:gd name="connsiteX146" fmla="*/ 2628 w 4181"/>
                  <a:gd name="connsiteY146" fmla="*/ 848 h 1043"/>
                  <a:gd name="connsiteX147" fmla="*/ 2672 w 4181"/>
                  <a:gd name="connsiteY147" fmla="*/ 886 h 1043"/>
                  <a:gd name="connsiteX148" fmla="*/ 2717 w 4181"/>
                  <a:gd name="connsiteY148" fmla="*/ 917 h 1043"/>
                  <a:gd name="connsiteX149" fmla="*/ 2767 w 4181"/>
                  <a:gd name="connsiteY149" fmla="*/ 940 h 1043"/>
                  <a:gd name="connsiteX150" fmla="*/ 2820 w 4181"/>
                  <a:gd name="connsiteY150" fmla="*/ 952 h 1043"/>
                  <a:gd name="connsiteX151" fmla="*/ 2876 w 4181"/>
                  <a:gd name="connsiteY151" fmla="*/ 956 h 1043"/>
                  <a:gd name="connsiteX152" fmla="*/ 2932 w 4181"/>
                  <a:gd name="connsiteY152" fmla="*/ 950 h 1043"/>
                  <a:gd name="connsiteX153" fmla="*/ 2982 w 4181"/>
                  <a:gd name="connsiteY153" fmla="*/ 935 h 1043"/>
                  <a:gd name="connsiteX154" fmla="*/ 3029 w 4181"/>
                  <a:gd name="connsiteY154" fmla="*/ 915 h 1043"/>
                  <a:gd name="connsiteX155" fmla="*/ 3072 w 4181"/>
                  <a:gd name="connsiteY155" fmla="*/ 884 h 1043"/>
                  <a:gd name="connsiteX156" fmla="*/ 3112 w 4181"/>
                  <a:gd name="connsiteY156" fmla="*/ 848 h 1043"/>
                  <a:gd name="connsiteX157" fmla="*/ 3149 w 4181"/>
                  <a:gd name="connsiteY157" fmla="*/ 807 h 1043"/>
                  <a:gd name="connsiteX158" fmla="*/ 3184 w 4181"/>
                  <a:gd name="connsiteY158" fmla="*/ 759 h 1043"/>
                  <a:gd name="connsiteX159" fmla="*/ 3217 w 4181"/>
                  <a:gd name="connsiteY159" fmla="*/ 709 h 1043"/>
                  <a:gd name="connsiteX160" fmla="*/ 3250 w 4181"/>
                  <a:gd name="connsiteY160" fmla="*/ 655 h 1043"/>
                  <a:gd name="connsiteX161" fmla="*/ 3283 w 4181"/>
                  <a:gd name="connsiteY161" fmla="*/ 597 h 1043"/>
                  <a:gd name="connsiteX162" fmla="*/ 3316 w 4181"/>
                  <a:gd name="connsiteY162" fmla="*/ 537 h 1043"/>
                  <a:gd name="connsiteX163" fmla="*/ 3345 w 4181"/>
                  <a:gd name="connsiteY163" fmla="*/ 483 h 1043"/>
                  <a:gd name="connsiteX164" fmla="*/ 3407 w 4181"/>
                  <a:gd name="connsiteY164" fmla="*/ 375 h 1043"/>
                  <a:gd name="connsiteX165" fmla="*/ 3477 w 4181"/>
                  <a:gd name="connsiteY165" fmla="*/ 272 h 1043"/>
                  <a:gd name="connsiteX166" fmla="*/ 3514 w 4181"/>
                  <a:gd name="connsiteY166" fmla="*/ 224 h 1043"/>
                  <a:gd name="connsiteX167" fmla="*/ 3555 w 4181"/>
                  <a:gd name="connsiteY167" fmla="*/ 178 h 1043"/>
                  <a:gd name="connsiteX168" fmla="*/ 3599 w 4181"/>
                  <a:gd name="connsiteY168" fmla="*/ 137 h 1043"/>
                  <a:gd name="connsiteX169" fmla="*/ 3646 w 4181"/>
                  <a:gd name="connsiteY169" fmla="*/ 100 h 1043"/>
                  <a:gd name="connsiteX170" fmla="*/ 3698 w 4181"/>
                  <a:gd name="connsiteY170" fmla="*/ 66 h 1043"/>
                  <a:gd name="connsiteX171" fmla="*/ 3756 w 4181"/>
                  <a:gd name="connsiteY171" fmla="*/ 40 h 1043"/>
                  <a:gd name="connsiteX0" fmla="*/ 3698 w 4181"/>
                  <a:gd name="connsiteY0" fmla="*/ 81 h 1058"/>
                  <a:gd name="connsiteX1" fmla="*/ 4004 w 4181"/>
                  <a:gd name="connsiteY1" fmla="*/ 15 h 1058"/>
                  <a:gd name="connsiteX2" fmla="*/ 4181 w 4181"/>
                  <a:gd name="connsiteY2" fmla="*/ 173 h 1058"/>
                  <a:gd name="connsiteX3" fmla="*/ 4142 w 4181"/>
                  <a:gd name="connsiteY3" fmla="*/ 150 h 1058"/>
                  <a:gd name="connsiteX4" fmla="*/ 4092 w 4181"/>
                  <a:gd name="connsiteY4" fmla="*/ 127 h 1058"/>
                  <a:gd name="connsiteX5" fmla="*/ 4049 w 4181"/>
                  <a:gd name="connsiteY5" fmla="*/ 113 h 1058"/>
                  <a:gd name="connsiteX6" fmla="*/ 4014 w 4181"/>
                  <a:gd name="connsiteY6" fmla="*/ 104 h 1058"/>
                  <a:gd name="connsiteX7" fmla="*/ 3985 w 4181"/>
                  <a:gd name="connsiteY7" fmla="*/ 102 h 1058"/>
                  <a:gd name="connsiteX8" fmla="*/ 3958 w 4181"/>
                  <a:gd name="connsiteY8" fmla="*/ 102 h 1058"/>
                  <a:gd name="connsiteX9" fmla="*/ 3892 w 4181"/>
                  <a:gd name="connsiteY9" fmla="*/ 108 h 1058"/>
                  <a:gd name="connsiteX10" fmla="*/ 3830 w 4181"/>
                  <a:gd name="connsiteY10" fmla="*/ 121 h 1058"/>
                  <a:gd name="connsiteX11" fmla="*/ 3774 w 4181"/>
                  <a:gd name="connsiteY11" fmla="*/ 142 h 1058"/>
                  <a:gd name="connsiteX12" fmla="*/ 3723 w 4181"/>
                  <a:gd name="connsiteY12" fmla="*/ 169 h 1058"/>
                  <a:gd name="connsiteX13" fmla="*/ 3675 w 4181"/>
                  <a:gd name="connsiteY13" fmla="*/ 202 h 1058"/>
                  <a:gd name="connsiteX14" fmla="*/ 3632 w 4181"/>
                  <a:gd name="connsiteY14" fmla="*/ 239 h 1058"/>
                  <a:gd name="connsiteX15" fmla="*/ 3593 w 4181"/>
                  <a:gd name="connsiteY15" fmla="*/ 283 h 1058"/>
                  <a:gd name="connsiteX16" fmla="*/ 3553 w 4181"/>
                  <a:gd name="connsiteY16" fmla="*/ 328 h 1058"/>
                  <a:gd name="connsiteX17" fmla="*/ 3518 w 4181"/>
                  <a:gd name="connsiteY17" fmla="*/ 378 h 1058"/>
                  <a:gd name="connsiteX18" fmla="*/ 3485 w 4181"/>
                  <a:gd name="connsiteY18" fmla="*/ 430 h 1058"/>
                  <a:gd name="connsiteX19" fmla="*/ 3423 w 4181"/>
                  <a:gd name="connsiteY19" fmla="*/ 538 h 1058"/>
                  <a:gd name="connsiteX20" fmla="*/ 3330 w 4181"/>
                  <a:gd name="connsiteY20" fmla="*/ 706 h 1058"/>
                  <a:gd name="connsiteX21" fmla="*/ 3297 w 4181"/>
                  <a:gd name="connsiteY21" fmla="*/ 762 h 1058"/>
                  <a:gd name="connsiteX22" fmla="*/ 3262 w 4181"/>
                  <a:gd name="connsiteY22" fmla="*/ 814 h 1058"/>
                  <a:gd name="connsiteX23" fmla="*/ 3227 w 4181"/>
                  <a:gd name="connsiteY23" fmla="*/ 863 h 1058"/>
                  <a:gd name="connsiteX24" fmla="*/ 3188 w 4181"/>
                  <a:gd name="connsiteY24" fmla="*/ 909 h 1058"/>
                  <a:gd name="connsiteX25" fmla="*/ 3147 w 4181"/>
                  <a:gd name="connsiteY25" fmla="*/ 950 h 1058"/>
                  <a:gd name="connsiteX26" fmla="*/ 3101 w 4181"/>
                  <a:gd name="connsiteY26" fmla="*/ 986 h 1058"/>
                  <a:gd name="connsiteX27" fmla="*/ 3052 w 4181"/>
                  <a:gd name="connsiteY27" fmla="*/ 1015 h 1058"/>
                  <a:gd name="connsiteX28" fmla="*/ 3000 w 4181"/>
                  <a:gd name="connsiteY28" fmla="*/ 1037 h 1058"/>
                  <a:gd name="connsiteX29" fmla="*/ 2942 w 4181"/>
                  <a:gd name="connsiteY29" fmla="*/ 1052 h 1058"/>
                  <a:gd name="connsiteX30" fmla="*/ 2878 w 4181"/>
                  <a:gd name="connsiteY30" fmla="*/ 1058 h 1058"/>
                  <a:gd name="connsiteX31" fmla="*/ 2870 w 4181"/>
                  <a:gd name="connsiteY31" fmla="*/ 1058 h 1058"/>
                  <a:gd name="connsiteX32" fmla="*/ 2808 w 4181"/>
                  <a:gd name="connsiteY32" fmla="*/ 1054 h 1058"/>
                  <a:gd name="connsiteX33" fmla="*/ 2748 w 4181"/>
                  <a:gd name="connsiteY33" fmla="*/ 1040 h 1058"/>
                  <a:gd name="connsiteX34" fmla="*/ 2695 w 4181"/>
                  <a:gd name="connsiteY34" fmla="*/ 1017 h 1058"/>
                  <a:gd name="connsiteX35" fmla="*/ 2643 w 4181"/>
                  <a:gd name="connsiteY35" fmla="*/ 988 h 1058"/>
                  <a:gd name="connsiteX36" fmla="*/ 2595 w 4181"/>
                  <a:gd name="connsiteY36" fmla="*/ 950 h 1058"/>
                  <a:gd name="connsiteX37" fmla="*/ 2552 w 4181"/>
                  <a:gd name="connsiteY37" fmla="*/ 909 h 1058"/>
                  <a:gd name="connsiteX38" fmla="*/ 2509 w 4181"/>
                  <a:gd name="connsiteY38" fmla="*/ 861 h 1058"/>
                  <a:gd name="connsiteX39" fmla="*/ 2469 w 4181"/>
                  <a:gd name="connsiteY39" fmla="*/ 811 h 1058"/>
                  <a:gd name="connsiteX40" fmla="*/ 2430 w 4181"/>
                  <a:gd name="connsiteY40" fmla="*/ 755 h 1058"/>
                  <a:gd name="connsiteX41" fmla="*/ 2393 w 4181"/>
                  <a:gd name="connsiteY41" fmla="*/ 699 h 1058"/>
                  <a:gd name="connsiteX42" fmla="*/ 2288 w 4181"/>
                  <a:gd name="connsiteY42" fmla="*/ 525 h 1058"/>
                  <a:gd name="connsiteX43" fmla="*/ 2251 w 4181"/>
                  <a:gd name="connsiteY43" fmla="*/ 467 h 1058"/>
                  <a:gd name="connsiteX44" fmla="*/ 2213 w 4181"/>
                  <a:gd name="connsiteY44" fmla="*/ 411 h 1058"/>
                  <a:gd name="connsiteX45" fmla="*/ 2176 w 4181"/>
                  <a:gd name="connsiteY45" fmla="*/ 357 h 1058"/>
                  <a:gd name="connsiteX46" fmla="*/ 2137 w 4181"/>
                  <a:gd name="connsiteY46" fmla="*/ 308 h 1058"/>
                  <a:gd name="connsiteX47" fmla="*/ 2096 w 4181"/>
                  <a:gd name="connsiteY47" fmla="*/ 262 h 1058"/>
                  <a:gd name="connsiteX48" fmla="*/ 2054 w 4181"/>
                  <a:gd name="connsiteY48" fmla="*/ 220 h 1058"/>
                  <a:gd name="connsiteX49" fmla="*/ 2009 w 4181"/>
                  <a:gd name="connsiteY49" fmla="*/ 183 h 1058"/>
                  <a:gd name="connsiteX50" fmla="*/ 1962 w 4181"/>
                  <a:gd name="connsiteY50" fmla="*/ 154 h 1058"/>
                  <a:gd name="connsiteX51" fmla="*/ 1910 w 4181"/>
                  <a:gd name="connsiteY51" fmla="*/ 131 h 1058"/>
                  <a:gd name="connsiteX52" fmla="*/ 1854 w 4181"/>
                  <a:gd name="connsiteY52" fmla="*/ 115 h 1058"/>
                  <a:gd name="connsiteX53" fmla="*/ 1796 w 4181"/>
                  <a:gd name="connsiteY53" fmla="*/ 106 h 1058"/>
                  <a:gd name="connsiteX54" fmla="*/ 1732 w 4181"/>
                  <a:gd name="connsiteY54" fmla="*/ 108 h 1058"/>
                  <a:gd name="connsiteX55" fmla="*/ 1664 w 4181"/>
                  <a:gd name="connsiteY55" fmla="*/ 119 h 1058"/>
                  <a:gd name="connsiteX56" fmla="*/ 1602 w 4181"/>
                  <a:gd name="connsiteY56" fmla="*/ 137 h 1058"/>
                  <a:gd name="connsiteX57" fmla="*/ 1545 w 4181"/>
                  <a:gd name="connsiteY57" fmla="*/ 162 h 1058"/>
                  <a:gd name="connsiteX58" fmla="*/ 1491 w 4181"/>
                  <a:gd name="connsiteY58" fmla="*/ 196 h 1058"/>
                  <a:gd name="connsiteX59" fmla="*/ 1439 w 4181"/>
                  <a:gd name="connsiteY59" fmla="*/ 233 h 1058"/>
                  <a:gd name="connsiteX60" fmla="*/ 1394 w 4181"/>
                  <a:gd name="connsiteY60" fmla="*/ 276 h 1058"/>
                  <a:gd name="connsiteX61" fmla="*/ 1348 w 4181"/>
                  <a:gd name="connsiteY61" fmla="*/ 322 h 1058"/>
                  <a:gd name="connsiteX62" fmla="*/ 1307 w 4181"/>
                  <a:gd name="connsiteY62" fmla="*/ 374 h 1058"/>
                  <a:gd name="connsiteX63" fmla="*/ 1268 w 4181"/>
                  <a:gd name="connsiteY63" fmla="*/ 428 h 1058"/>
                  <a:gd name="connsiteX64" fmla="*/ 1231 w 4181"/>
                  <a:gd name="connsiteY64" fmla="*/ 482 h 1058"/>
                  <a:gd name="connsiteX65" fmla="*/ 1194 w 4181"/>
                  <a:gd name="connsiteY65" fmla="*/ 538 h 1058"/>
                  <a:gd name="connsiteX66" fmla="*/ 1156 w 4181"/>
                  <a:gd name="connsiteY66" fmla="*/ 596 h 1058"/>
                  <a:gd name="connsiteX67" fmla="*/ 1121 w 4181"/>
                  <a:gd name="connsiteY67" fmla="*/ 652 h 1058"/>
                  <a:gd name="connsiteX68" fmla="*/ 1047 w 4181"/>
                  <a:gd name="connsiteY68" fmla="*/ 764 h 1058"/>
                  <a:gd name="connsiteX69" fmla="*/ 1008 w 4181"/>
                  <a:gd name="connsiteY69" fmla="*/ 816 h 1058"/>
                  <a:gd name="connsiteX70" fmla="*/ 966 w 4181"/>
                  <a:gd name="connsiteY70" fmla="*/ 865 h 1058"/>
                  <a:gd name="connsiteX71" fmla="*/ 923 w 4181"/>
                  <a:gd name="connsiteY71" fmla="*/ 911 h 1058"/>
                  <a:gd name="connsiteX72" fmla="*/ 876 w 4181"/>
                  <a:gd name="connsiteY72" fmla="*/ 952 h 1058"/>
                  <a:gd name="connsiteX73" fmla="*/ 826 w 4181"/>
                  <a:gd name="connsiteY73" fmla="*/ 988 h 1058"/>
                  <a:gd name="connsiteX74" fmla="*/ 772 w 4181"/>
                  <a:gd name="connsiteY74" fmla="*/ 1017 h 1058"/>
                  <a:gd name="connsiteX75" fmla="*/ 717 w 4181"/>
                  <a:gd name="connsiteY75" fmla="*/ 1040 h 1058"/>
                  <a:gd name="connsiteX76" fmla="*/ 653 w 4181"/>
                  <a:gd name="connsiteY76" fmla="*/ 1052 h 1058"/>
                  <a:gd name="connsiteX77" fmla="*/ 587 w 4181"/>
                  <a:gd name="connsiteY77" fmla="*/ 1058 h 1058"/>
                  <a:gd name="connsiteX78" fmla="*/ 580 w 4181"/>
                  <a:gd name="connsiteY78" fmla="*/ 1058 h 1058"/>
                  <a:gd name="connsiteX79" fmla="*/ 512 w 4181"/>
                  <a:gd name="connsiteY79" fmla="*/ 1054 h 1058"/>
                  <a:gd name="connsiteX80" fmla="*/ 450 w 4181"/>
                  <a:gd name="connsiteY80" fmla="*/ 1042 h 1058"/>
                  <a:gd name="connsiteX81" fmla="*/ 392 w 4181"/>
                  <a:gd name="connsiteY81" fmla="*/ 1023 h 1058"/>
                  <a:gd name="connsiteX82" fmla="*/ 341 w 4181"/>
                  <a:gd name="connsiteY82" fmla="*/ 998 h 1058"/>
                  <a:gd name="connsiteX83" fmla="*/ 293 w 4181"/>
                  <a:gd name="connsiteY83" fmla="*/ 967 h 1058"/>
                  <a:gd name="connsiteX84" fmla="*/ 248 w 4181"/>
                  <a:gd name="connsiteY84" fmla="*/ 930 h 1058"/>
                  <a:gd name="connsiteX85" fmla="*/ 207 w 4181"/>
                  <a:gd name="connsiteY85" fmla="*/ 888 h 1058"/>
                  <a:gd name="connsiteX86" fmla="*/ 169 w 4181"/>
                  <a:gd name="connsiteY86" fmla="*/ 843 h 1058"/>
                  <a:gd name="connsiteX87" fmla="*/ 132 w 4181"/>
                  <a:gd name="connsiteY87" fmla="*/ 795 h 1058"/>
                  <a:gd name="connsiteX88" fmla="*/ 99 w 4181"/>
                  <a:gd name="connsiteY88" fmla="*/ 743 h 1058"/>
                  <a:gd name="connsiteX89" fmla="*/ 64 w 4181"/>
                  <a:gd name="connsiteY89" fmla="*/ 689 h 1058"/>
                  <a:gd name="connsiteX90" fmla="*/ 33 w 4181"/>
                  <a:gd name="connsiteY90" fmla="*/ 633 h 1058"/>
                  <a:gd name="connsiteX91" fmla="*/ 0 w 4181"/>
                  <a:gd name="connsiteY91" fmla="*/ 575 h 1058"/>
                  <a:gd name="connsiteX92" fmla="*/ 77 w 4181"/>
                  <a:gd name="connsiteY92" fmla="*/ 531 h 1058"/>
                  <a:gd name="connsiteX93" fmla="*/ 110 w 4181"/>
                  <a:gd name="connsiteY93" fmla="*/ 590 h 1058"/>
                  <a:gd name="connsiteX94" fmla="*/ 143 w 4181"/>
                  <a:gd name="connsiteY94" fmla="*/ 646 h 1058"/>
                  <a:gd name="connsiteX95" fmla="*/ 176 w 4181"/>
                  <a:gd name="connsiteY95" fmla="*/ 699 h 1058"/>
                  <a:gd name="connsiteX96" fmla="*/ 209 w 4181"/>
                  <a:gd name="connsiteY96" fmla="*/ 751 h 1058"/>
                  <a:gd name="connsiteX97" fmla="*/ 244 w 4181"/>
                  <a:gd name="connsiteY97" fmla="*/ 797 h 1058"/>
                  <a:gd name="connsiteX98" fmla="*/ 281 w 4181"/>
                  <a:gd name="connsiteY98" fmla="*/ 840 h 1058"/>
                  <a:gd name="connsiteX99" fmla="*/ 322 w 4181"/>
                  <a:gd name="connsiteY99" fmla="*/ 878 h 1058"/>
                  <a:gd name="connsiteX100" fmla="*/ 366 w 4181"/>
                  <a:gd name="connsiteY100" fmla="*/ 909 h 1058"/>
                  <a:gd name="connsiteX101" fmla="*/ 413 w 4181"/>
                  <a:gd name="connsiteY101" fmla="*/ 936 h 1058"/>
                  <a:gd name="connsiteX102" fmla="*/ 463 w 4181"/>
                  <a:gd name="connsiteY102" fmla="*/ 955 h 1058"/>
                  <a:gd name="connsiteX103" fmla="*/ 518 w 4181"/>
                  <a:gd name="connsiteY103" fmla="*/ 967 h 1058"/>
                  <a:gd name="connsiteX104" fmla="*/ 580 w 4181"/>
                  <a:gd name="connsiteY104" fmla="*/ 971 h 1058"/>
                  <a:gd name="connsiteX105" fmla="*/ 587 w 4181"/>
                  <a:gd name="connsiteY105" fmla="*/ 971 h 1058"/>
                  <a:gd name="connsiteX106" fmla="*/ 646 w 4181"/>
                  <a:gd name="connsiteY106" fmla="*/ 965 h 1058"/>
                  <a:gd name="connsiteX107" fmla="*/ 702 w 4181"/>
                  <a:gd name="connsiteY107" fmla="*/ 950 h 1058"/>
                  <a:gd name="connsiteX108" fmla="*/ 756 w 4181"/>
                  <a:gd name="connsiteY108" fmla="*/ 928 h 1058"/>
                  <a:gd name="connsiteX109" fmla="*/ 803 w 4181"/>
                  <a:gd name="connsiteY109" fmla="*/ 899 h 1058"/>
                  <a:gd name="connsiteX110" fmla="*/ 849 w 4181"/>
                  <a:gd name="connsiteY110" fmla="*/ 861 h 1058"/>
                  <a:gd name="connsiteX111" fmla="*/ 892 w 4181"/>
                  <a:gd name="connsiteY111" fmla="*/ 818 h 1058"/>
                  <a:gd name="connsiteX112" fmla="*/ 931 w 4181"/>
                  <a:gd name="connsiteY112" fmla="*/ 770 h 1058"/>
                  <a:gd name="connsiteX113" fmla="*/ 971 w 4181"/>
                  <a:gd name="connsiteY113" fmla="*/ 718 h 1058"/>
                  <a:gd name="connsiteX114" fmla="*/ 1010 w 4181"/>
                  <a:gd name="connsiteY114" fmla="*/ 664 h 1058"/>
                  <a:gd name="connsiteX115" fmla="*/ 1121 w 4181"/>
                  <a:gd name="connsiteY115" fmla="*/ 490 h 1058"/>
                  <a:gd name="connsiteX116" fmla="*/ 1161 w 4181"/>
                  <a:gd name="connsiteY116" fmla="*/ 430 h 1058"/>
                  <a:gd name="connsiteX117" fmla="*/ 1202 w 4181"/>
                  <a:gd name="connsiteY117" fmla="*/ 372 h 1058"/>
                  <a:gd name="connsiteX118" fmla="*/ 1245 w 4181"/>
                  <a:gd name="connsiteY118" fmla="*/ 314 h 1058"/>
                  <a:gd name="connsiteX119" fmla="*/ 1291 w 4181"/>
                  <a:gd name="connsiteY119" fmla="*/ 260 h 1058"/>
                  <a:gd name="connsiteX120" fmla="*/ 1338 w 4181"/>
                  <a:gd name="connsiteY120" fmla="*/ 208 h 1058"/>
                  <a:gd name="connsiteX121" fmla="*/ 1392 w 4181"/>
                  <a:gd name="connsiteY121" fmla="*/ 160 h 1058"/>
                  <a:gd name="connsiteX122" fmla="*/ 1447 w 4181"/>
                  <a:gd name="connsiteY122" fmla="*/ 119 h 1058"/>
                  <a:gd name="connsiteX123" fmla="*/ 1509 w 4181"/>
                  <a:gd name="connsiteY123" fmla="*/ 84 h 1058"/>
                  <a:gd name="connsiteX124" fmla="*/ 1575 w 4181"/>
                  <a:gd name="connsiteY124" fmla="*/ 55 h 1058"/>
                  <a:gd name="connsiteX125" fmla="*/ 1648 w 4181"/>
                  <a:gd name="connsiteY125" fmla="*/ 34 h 1058"/>
                  <a:gd name="connsiteX126" fmla="*/ 1726 w 4181"/>
                  <a:gd name="connsiteY126" fmla="*/ 21 h 1058"/>
                  <a:gd name="connsiteX127" fmla="*/ 1796 w 4181"/>
                  <a:gd name="connsiteY127" fmla="*/ 19 h 1058"/>
                  <a:gd name="connsiteX128" fmla="*/ 1862 w 4181"/>
                  <a:gd name="connsiteY128" fmla="*/ 28 h 1058"/>
                  <a:gd name="connsiteX129" fmla="*/ 1922 w 4181"/>
                  <a:gd name="connsiteY129" fmla="*/ 42 h 1058"/>
                  <a:gd name="connsiteX130" fmla="*/ 1980 w 4181"/>
                  <a:gd name="connsiteY130" fmla="*/ 65 h 1058"/>
                  <a:gd name="connsiteX131" fmla="*/ 2034 w 4181"/>
                  <a:gd name="connsiteY131" fmla="*/ 96 h 1058"/>
                  <a:gd name="connsiteX132" fmla="*/ 2083 w 4181"/>
                  <a:gd name="connsiteY132" fmla="*/ 131 h 1058"/>
                  <a:gd name="connsiteX133" fmla="*/ 2129 w 4181"/>
                  <a:gd name="connsiteY133" fmla="*/ 173 h 1058"/>
                  <a:gd name="connsiteX134" fmla="*/ 2174 w 4181"/>
                  <a:gd name="connsiteY134" fmla="*/ 218 h 1058"/>
                  <a:gd name="connsiteX135" fmla="*/ 2216 w 4181"/>
                  <a:gd name="connsiteY135" fmla="*/ 266 h 1058"/>
                  <a:gd name="connsiteX136" fmla="*/ 2255 w 4181"/>
                  <a:gd name="connsiteY136" fmla="*/ 318 h 1058"/>
                  <a:gd name="connsiteX137" fmla="*/ 2292 w 4181"/>
                  <a:gd name="connsiteY137" fmla="*/ 372 h 1058"/>
                  <a:gd name="connsiteX138" fmla="*/ 2327 w 4181"/>
                  <a:gd name="connsiteY138" fmla="*/ 428 h 1058"/>
                  <a:gd name="connsiteX139" fmla="*/ 2362 w 4181"/>
                  <a:gd name="connsiteY139" fmla="*/ 482 h 1058"/>
                  <a:gd name="connsiteX140" fmla="*/ 2395 w 4181"/>
                  <a:gd name="connsiteY140" fmla="*/ 538 h 1058"/>
                  <a:gd name="connsiteX141" fmla="*/ 2432 w 4181"/>
                  <a:gd name="connsiteY141" fmla="*/ 600 h 1058"/>
                  <a:gd name="connsiteX142" fmla="*/ 2469 w 4181"/>
                  <a:gd name="connsiteY142" fmla="*/ 658 h 1058"/>
                  <a:gd name="connsiteX143" fmla="*/ 2509 w 4181"/>
                  <a:gd name="connsiteY143" fmla="*/ 716 h 1058"/>
                  <a:gd name="connsiteX144" fmla="*/ 2546 w 4181"/>
                  <a:gd name="connsiteY144" fmla="*/ 770 h 1058"/>
                  <a:gd name="connsiteX145" fmla="*/ 2587 w 4181"/>
                  <a:gd name="connsiteY145" fmla="*/ 820 h 1058"/>
                  <a:gd name="connsiteX146" fmla="*/ 2628 w 4181"/>
                  <a:gd name="connsiteY146" fmla="*/ 863 h 1058"/>
                  <a:gd name="connsiteX147" fmla="*/ 2672 w 4181"/>
                  <a:gd name="connsiteY147" fmla="*/ 901 h 1058"/>
                  <a:gd name="connsiteX148" fmla="*/ 2717 w 4181"/>
                  <a:gd name="connsiteY148" fmla="*/ 932 h 1058"/>
                  <a:gd name="connsiteX149" fmla="*/ 2767 w 4181"/>
                  <a:gd name="connsiteY149" fmla="*/ 955 h 1058"/>
                  <a:gd name="connsiteX150" fmla="*/ 2820 w 4181"/>
                  <a:gd name="connsiteY150" fmla="*/ 967 h 1058"/>
                  <a:gd name="connsiteX151" fmla="*/ 2876 w 4181"/>
                  <a:gd name="connsiteY151" fmla="*/ 971 h 1058"/>
                  <a:gd name="connsiteX152" fmla="*/ 2932 w 4181"/>
                  <a:gd name="connsiteY152" fmla="*/ 965 h 1058"/>
                  <a:gd name="connsiteX153" fmla="*/ 2982 w 4181"/>
                  <a:gd name="connsiteY153" fmla="*/ 950 h 1058"/>
                  <a:gd name="connsiteX154" fmla="*/ 3029 w 4181"/>
                  <a:gd name="connsiteY154" fmla="*/ 930 h 1058"/>
                  <a:gd name="connsiteX155" fmla="*/ 3072 w 4181"/>
                  <a:gd name="connsiteY155" fmla="*/ 899 h 1058"/>
                  <a:gd name="connsiteX156" fmla="*/ 3112 w 4181"/>
                  <a:gd name="connsiteY156" fmla="*/ 863 h 1058"/>
                  <a:gd name="connsiteX157" fmla="*/ 3149 w 4181"/>
                  <a:gd name="connsiteY157" fmla="*/ 822 h 1058"/>
                  <a:gd name="connsiteX158" fmla="*/ 3184 w 4181"/>
                  <a:gd name="connsiteY158" fmla="*/ 774 h 1058"/>
                  <a:gd name="connsiteX159" fmla="*/ 3217 w 4181"/>
                  <a:gd name="connsiteY159" fmla="*/ 724 h 1058"/>
                  <a:gd name="connsiteX160" fmla="*/ 3250 w 4181"/>
                  <a:gd name="connsiteY160" fmla="*/ 670 h 1058"/>
                  <a:gd name="connsiteX161" fmla="*/ 3283 w 4181"/>
                  <a:gd name="connsiteY161" fmla="*/ 612 h 1058"/>
                  <a:gd name="connsiteX162" fmla="*/ 3316 w 4181"/>
                  <a:gd name="connsiteY162" fmla="*/ 552 h 1058"/>
                  <a:gd name="connsiteX163" fmla="*/ 3345 w 4181"/>
                  <a:gd name="connsiteY163" fmla="*/ 498 h 1058"/>
                  <a:gd name="connsiteX164" fmla="*/ 3407 w 4181"/>
                  <a:gd name="connsiteY164" fmla="*/ 390 h 1058"/>
                  <a:gd name="connsiteX165" fmla="*/ 3477 w 4181"/>
                  <a:gd name="connsiteY165" fmla="*/ 287 h 1058"/>
                  <a:gd name="connsiteX166" fmla="*/ 3514 w 4181"/>
                  <a:gd name="connsiteY166" fmla="*/ 239 h 1058"/>
                  <a:gd name="connsiteX167" fmla="*/ 3555 w 4181"/>
                  <a:gd name="connsiteY167" fmla="*/ 193 h 1058"/>
                  <a:gd name="connsiteX168" fmla="*/ 3599 w 4181"/>
                  <a:gd name="connsiteY168" fmla="*/ 152 h 1058"/>
                  <a:gd name="connsiteX169" fmla="*/ 3646 w 4181"/>
                  <a:gd name="connsiteY169" fmla="*/ 115 h 1058"/>
                  <a:gd name="connsiteX170" fmla="*/ 3698 w 4181"/>
                  <a:gd name="connsiteY170" fmla="*/ 81 h 1058"/>
                  <a:gd name="connsiteX0" fmla="*/ 3646 w 4181"/>
                  <a:gd name="connsiteY0" fmla="*/ 100 h 1043"/>
                  <a:gd name="connsiteX1" fmla="*/ 4004 w 4181"/>
                  <a:gd name="connsiteY1" fmla="*/ 0 h 1043"/>
                  <a:gd name="connsiteX2" fmla="*/ 4181 w 4181"/>
                  <a:gd name="connsiteY2" fmla="*/ 158 h 1043"/>
                  <a:gd name="connsiteX3" fmla="*/ 4142 w 4181"/>
                  <a:gd name="connsiteY3" fmla="*/ 135 h 1043"/>
                  <a:gd name="connsiteX4" fmla="*/ 4092 w 4181"/>
                  <a:gd name="connsiteY4" fmla="*/ 112 h 1043"/>
                  <a:gd name="connsiteX5" fmla="*/ 4049 w 4181"/>
                  <a:gd name="connsiteY5" fmla="*/ 98 h 1043"/>
                  <a:gd name="connsiteX6" fmla="*/ 4014 w 4181"/>
                  <a:gd name="connsiteY6" fmla="*/ 89 h 1043"/>
                  <a:gd name="connsiteX7" fmla="*/ 3985 w 4181"/>
                  <a:gd name="connsiteY7" fmla="*/ 87 h 1043"/>
                  <a:gd name="connsiteX8" fmla="*/ 3958 w 4181"/>
                  <a:gd name="connsiteY8" fmla="*/ 87 h 1043"/>
                  <a:gd name="connsiteX9" fmla="*/ 3892 w 4181"/>
                  <a:gd name="connsiteY9" fmla="*/ 93 h 1043"/>
                  <a:gd name="connsiteX10" fmla="*/ 3830 w 4181"/>
                  <a:gd name="connsiteY10" fmla="*/ 106 h 1043"/>
                  <a:gd name="connsiteX11" fmla="*/ 3774 w 4181"/>
                  <a:gd name="connsiteY11" fmla="*/ 127 h 1043"/>
                  <a:gd name="connsiteX12" fmla="*/ 3723 w 4181"/>
                  <a:gd name="connsiteY12" fmla="*/ 154 h 1043"/>
                  <a:gd name="connsiteX13" fmla="*/ 3675 w 4181"/>
                  <a:gd name="connsiteY13" fmla="*/ 187 h 1043"/>
                  <a:gd name="connsiteX14" fmla="*/ 3632 w 4181"/>
                  <a:gd name="connsiteY14" fmla="*/ 224 h 1043"/>
                  <a:gd name="connsiteX15" fmla="*/ 3593 w 4181"/>
                  <a:gd name="connsiteY15" fmla="*/ 268 h 1043"/>
                  <a:gd name="connsiteX16" fmla="*/ 3553 w 4181"/>
                  <a:gd name="connsiteY16" fmla="*/ 313 h 1043"/>
                  <a:gd name="connsiteX17" fmla="*/ 3518 w 4181"/>
                  <a:gd name="connsiteY17" fmla="*/ 363 h 1043"/>
                  <a:gd name="connsiteX18" fmla="*/ 3485 w 4181"/>
                  <a:gd name="connsiteY18" fmla="*/ 415 h 1043"/>
                  <a:gd name="connsiteX19" fmla="*/ 3423 w 4181"/>
                  <a:gd name="connsiteY19" fmla="*/ 523 h 1043"/>
                  <a:gd name="connsiteX20" fmla="*/ 3330 w 4181"/>
                  <a:gd name="connsiteY20" fmla="*/ 691 h 1043"/>
                  <a:gd name="connsiteX21" fmla="*/ 3297 w 4181"/>
                  <a:gd name="connsiteY21" fmla="*/ 747 h 1043"/>
                  <a:gd name="connsiteX22" fmla="*/ 3262 w 4181"/>
                  <a:gd name="connsiteY22" fmla="*/ 799 h 1043"/>
                  <a:gd name="connsiteX23" fmla="*/ 3227 w 4181"/>
                  <a:gd name="connsiteY23" fmla="*/ 848 h 1043"/>
                  <a:gd name="connsiteX24" fmla="*/ 3188 w 4181"/>
                  <a:gd name="connsiteY24" fmla="*/ 894 h 1043"/>
                  <a:gd name="connsiteX25" fmla="*/ 3147 w 4181"/>
                  <a:gd name="connsiteY25" fmla="*/ 935 h 1043"/>
                  <a:gd name="connsiteX26" fmla="*/ 3101 w 4181"/>
                  <a:gd name="connsiteY26" fmla="*/ 971 h 1043"/>
                  <a:gd name="connsiteX27" fmla="*/ 3052 w 4181"/>
                  <a:gd name="connsiteY27" fmla="*/ 1000 h 1043"/>
                  <a:gd name="connsiteX28" fmla="*/ 3000 w 4181"/>
                  <a:gd name="connsiteY28" fmla="*/ 1022 h 1043"/>
                  <a:gd name="connsiteX29" fmla="*/ 2942 w 4181"/>
                  <a:gd name="connsiteY29" fmla="*/ 1037 h 1043"/>
                  <a:gd name="connsiteX30" fmla="*/ 2878 w 4181"/>
                  <a:gd name="connsiteY30" fmla="*/ 1043 h 1043"/>
                  <a:gd name="connsiteX31" fmla="*/ 2870 w 4181"/>
                  <a:gd name="connsiteY31" fmla="*/ 1043 h 1043"/>
                  <a:gd name="connsiteX32" fmla="*/ 2808 w 4181"/>
                  <a:gd name="connsiteY32" fmla="*/ 1039 h 1043"/>
                  <a:gd name="connsiteX33" fmla="*/ 2748 w 4181"/>
                  <a:gd name="connsiteY33" fmla="*/ 1025 h 1043"/>
                  <a:gd name="connsiteX34" fmla="*/ 2695 w 4181"/>
                  <a:gd name="connsiteY34" fmla="*/ 1002 h 1043"/>
                  <a:gd name="connsiteX35" fmla="*/ 2643 w 4181"/>
                  <a:gd name="connsiteY35" fmla="*/ 973 h 1043"/>
                  <a:gd name="connsiteX36" fmla="*/ 2595 w 4181"/>
                  <a:gd name="connsiteY36" fmla="*/ 935 h 1043"/>
                  <a:gd name="connsiteX37" fmla="*/ 2552 w 4181"/>
                  <a:gd name="connsiteY37" fmla="*/ 894 h 1043"/>
                  <a:gd name="connsiteX38" fmla="*/ 2509 w 4181"/>
                  <a:gd name="connsiteY38" fmla="*/ 846 h 1043"/>
                  <a:gd name="connsiteX39" fmla="*/ 2469 w 4181"/>
                  <a:gd name="connsiteY39" fmla="*/ 796 h 1043"/>
                  <a:gd name="connsiteX40" fmla="*/ 2430 w 4181"/>
                  <a:gd name="connsiteY40" fmla="*/ 740 h 1043"/>
                  <a:gd name="connsiteX41" fmla="*/ 2393 w 4181"/>
                  <a:gd name="connsiteY41" fmla="*/ 684 h 1043"/>
                  <a:gd name="connsiteX42" fmla="*/ 2288 w 4181"/>
                  <a:gd name="connsiteY42" fmla="*/ 510 h 1043"/>
                  <a:gd name="connsiteX43" fmla="*/ 2251 w 4181"/>
                  <a:gd name="connsiteY43" fmla="*/ 452 h 1043"/>
                  <a:gd name="connsiteX44" fmla="*/ 2213 w 4181"/>
                  <a:gd name="connsiteY44" fmla="*/ 396 h 1043"/>
                  <a:gd name="connsiteX45" fmla="*/ 2176 w 4181"/>
                  <a:gd name="connsiteY45" fmla="*/ 342 h 1043"/>
                  <a:gd name="connsiteX46" fmla="*/ 2137 w 4181"/>
                  <a:gd name="connsiteY46" fmla="*/ 293 h 1043"/>
                  <a:gd name="connsiteX47" fmla="*/ 2096 w 4181"/>
                  <a:gd name="connsiteY47" fmla="*/ 247 h 1043"/>
                  <a:gd name="connsiteX48" fmla="*/ 2054 w 4181"/>
                  <a:gd name="connsiteY48" fmla="*/ 205 h 1043"/>
                  <a:gd name="connsiteX49" fmla="*/ 2009 w 4181"/>
                  <a:gd name="connsiteY49" fmla="*/ 168 h 1043"/>
                  <a:gd name="connsiteX50" fmla="*/ 1962 w 4181"/>
                  <a:gd name="connsiteY50" fmla="*/ 139 h 1043"/>
                  <a:gd name="connsiteX51" fmla="*/ 1910 w 4181"/>
                  <a:gd name="connsiteY51" fmla="*/ 116 h 1043"/>
                  <a:gd name="connsiteX52" fmla="*/ 1854 w 4181"/>
                  <a:gd name="connsiteY52" fmla="*/ 100 h 1043"/>
                  <a:gd name="connsiteX53" fmla="*/ 1796 w 4181"/>
                  <a:gd name="connsiteY53" fmla="*/ 91 h 1043"/>
                  <a:gd name="connsiteX54" fmla="*/ 1732 w 4181"/>
                  <a:gd name="connsiteY54" fmla="*/ 93 h 1043"/>
                  <a:gd name="connsiteX55" fmla="*/ 1664 w 4181"/>
                  <a:gd name="connsiteY55" fmla="*/ 104 h 1043"/>
                  <a:gd name="connsiteX56" fmla="*/ 1602 w 4181"/>
                  <a:gd name="connsiteY56" fmla="*/ 122 h 1043"/>
                  <a:gd name="connsiteX57" fmla="*/ 1545 w 4181"/>
                  <a:gd name="connsiteY57" fmla="*/ 147 h 1043"/>
                  <a:gd name="connsiteX58" fmla="*/ 1491 w 4181"/>
                  <a:gd name="connsiteY58" fmla="*/ 181 h 1043"/>
                  <a:gd name="connsiteX59" fmla="*/ 1439 w 4181"/>
                  <a:gd name="connsiteY59" fmla="*/ 218 h 1043"/>
                  <a:gd name="connsiteX60" fmla="*/ 1394 w 4181"/>
                  <a:gd name="connsiteY60" fmla="*/ 261 h 1043"/>
                  <a:gd name="connsiteX61" fmla="*/ 1348 w 4181"/>
                  <a:gd name="connsiteY61" fmla="*/ 307 h 1043"/>
                  <a:gd name="connsiteX62" fmla="*/ 1307 w 4181"/>
                  <a:gd name="connsiteY62" fmla="*/ 359 h 1043"/>
                  <a:gd name="connsiteX63" fmla="*/ 1268 w 4181"/>
                  <a:gd name="connsiteY63" fmla="*/ 413 h 1043"/>
                  <a:gd name="connsiteX64" fmla="*/ 1231 w 4181"/>
                  <a:gd name="connsiteY64" fmla="*/ 467 h 1043"/>
                  <a:gd name="connsiteX65" fmla="*/ 1194 w 4181"/>
                  <a:gd name="connsiteY65" fmla="*/ 523 h 1043"/>
                  <a:gd name="connsiteX66" fmla="*/ 1156 w 4181"/>
                  <a:gd name="connsiteY66" fmla="*/ 581 h 1043"/>
                  <a:gd name="connsiteX67" fmla="*/ 1121 w 4181"/>
                  <a:gd name="connsiteY67" fmla="*/ 637 h 1043"/>
                  <a:gd name="connsiteX68" fmla="*/ 1047 w 4181"/>
                  <a:gd name="connsiteY68" fmla="*/ 749 h 1043"/>
                  <a:gd name="connsiteX69" fmla="*/ 1008 w 4181"/>
                  <a:gd name="connsiteY69" fmla="*/ 801 h 1043"/>
                  <a:gd name="connsiteX70" fmla="*/ 966 w 4181"/>
                  <a:gd name="connsiteY70" fmla="*/ 850 h 1043"/>
                  <a:gd name="connsiteX71" fmla="*/ 923 w 4181"/>
                  <a:gd name="connsiteY71" fmla="*/ 896 h 1043"/>
                  <a:gd name="connsiteX72" fmla="*/ 876 w 4181"/>
                  <a:gd name="connsiteY72" fmla="*/ 937 h 1043"/>
                  <a:gd name="connsiteX73" fmla="*/ 826 w 4181"/>
                  <a:gd name="connsiteY73" fmla="*/ 973 h 1043"/>
                  <a:gd name="connsiteX74" fmla="*/ 772 w 4181"/>
                  <a:gd name="connsiteY74" fmla="*/ 1002 h 1043"/>
                  <a:gd name="connsiteX75" fmla="*/ 717 w 4181"/>
                  <a:gd name="connsiteY75" fmla="*/ 1025 h 1043"/>
                  <a:gd name="connsiteX76" fmla="*/ 653 w 4181"/>
                  <a:gd name="connsiteY76" fmla="*/ 1037 h 1043"/>
                  <a:gd name="connsiteX77" fmla="*/ 587 w 4181"/>
                  <a:gd name="connsiteY77" fmla="*/ 1043 h 1043"/>
                  <a:gd name="connsiteX78" fmla="*/ 580 w 4181"/>
                  <a:gd name="connsiteY78" fmla="*/ 1043 h 1043"/>
                  <a:gd name="connsiteX79" fmla="*/ 512 w 4181"/>
                  <a:gd name="connsiteY79" fmla="*/ 1039 h 1043"/>
                  <a:gd name="connsiteX80" fmla="*/ 450 w 4181"/>
                  <a:gd name="connsiteY80" fmla="*/ 1027 h 1043"/>
                  <a:gd name="connsiteX81" fmla="*/ 392 w 4181"/>
                  <a:gd name="connsiteY81" fmla="*/ 1008 h 1043"/>
                  <a:gd name="connsiteX82" fmla="*/ 341 w 4181"/>
                  <a:gd name="connsiteY82" fmla="*/ 983 h 1043"/>
                  <a:gd name="connsiteX83" fmla="*/ 293 w 4181"/>
                  <a:gd name="connsiteY83" fmla="*/ 952 h 1043"/>
                  <a:gd name="connsiteX84" fmla="*/ 248 w 4181"/>
                  <a:gd name="connsiteY84" fmla="*/ 915 h 1043"/>
                  <a:gd name="connsiteX85" fmla="*/ 207 w 4181"/>
                  <a:gd name="connsiteY85" fmla="*/ 873 h 1043"/>
                  <a:gd name="connsiteX86" fmla="*/ 169 w 4181"/>
                  <a:gd name="connsiteY86" fmla="*/ 828 h 1043"/>
                  <a:gd name="connsiteX87" fmla="*/ 132 w 4181"/>
                  <a:gd name="connsiteY87" fmla="*/ 780 h 1043"/>
                  <a:gd name="connsiteX88" fmla="*/ 99 w 4181"/>
                  <a:gd name="connsiteY88" fmla="*/ 728 h 1043"/>
                  <a:gd name="connsiteX89" fmla="*/ 64 w 4181"/>
                  <a:gd name="connsiteY89" fmla="*/ 674 h 1043"/>
                  <a:gd name="connsiteX90" fmla="*/ 33 w 4181"/>
                  <a:gd name="connsiteY90" fmla="*/ 618 h 1043"/>
                  <a:gd name="connsiteX91" fmla="*/ 0 w 4181"/>
                  <a:gd name="connsiteY91" fmla="*/ 560 h 1043"/>
                  <a:gd name="connsiteX92" fmla="*/ 77 w 4181"/>
                  <a:gd name="connsiteY92" fmla="*/ 516 h 1043"/>
                  <a:gd name="connsiteX93" fmla="*/ 110 w 4181"/>
                  <a:gd name="connsiteY93" fmla="*/ 575 h 1043"/>
                  <a:gd name="connsiteX94" fmla="*/ 143 w 4181"/>
                  <a:gd name="connsiteY94" fmla="*/ 631 h 1043"/>
                  <a:gd name="connsiteX95" fmla="*/ 176 w 4181"/>
                  <a:gd name="connsiteY95" fmla="*/ 684 h 1043"/>
                  <a:gd name="connsiteX96" fmla="*/ 209 w 4181"/>
                  <a:gd name="connsiteY96" fmla="*/ 736 h 1043"/>
                  <a:gd name="connsiteX97" fmla="*/ 244 w 4181"/>
                  <a:gd name="connsiteY97" fmla="*/ 782 h 1043"/>
                  <a:gd name="connsiteX98" fmla="*/ 281 w 4181"/>
                  <a:gd name="connsiteY98" fmla="*/ 825 h 1043"/>
                  <a:gd name="connsiteX99" fmla="*/ 322 w 4181"/>
                  <a:gd name="connsiteY99" fmla="*/ 863 h 1043"/>
                  <a:gd name="connsiteX100" fmla="*/ 366 w 4181"/>
                  <a:gd name="connsiteY100" fmla="*/ 894 h 1043"/>
                  <a:gd name="connsiteX101" fmla="*/ 413 w 4181"/>
                  <a:gd name="connsiteY101" fmla="*/ 921 h 1043"/>
                  <a:gd name="connsiteX102" fmla="*/ 463 w 4181"/>
                  <a:gd name="connsiteY102" fmla="*/ 940 h 1043"/>
                  <a:gd name="connsiteX103" fmla="*/ 518 w 4181"/>
                  <a:gd name="connsiteY103" fmla="*/ 952 h 1043"/>
                  <a:gd name="connsiteX104" fmla="*/ 580 w 4181"/>
                  <a:gd name="connsiteY104" fmla="*/ 956 h 1043"/>
                  <a:gd name="connsiteX105" fmla="*/ 587 w 4181"/>
                  <a:gd name="connsiteY105" fmla="*/ 956 h 1043"/>
                  <a:gd name="connsiteX106" fmla="*/ 646 w 4181"/>
                  <a:gd name="connsiteY106" fmla="*/ 950 h 1043"/>
                  <a:gd name="connsiteX107" fmla="*/ 702 w 4181"/>
                  <a:gd name="connsiteY107" fmla="*/ 935 h 1043"/>
                  <a:gd name="connsiteX108" fmla="*/ 756 w 4181"/>
                  <a:gd name="connsiteY108" fmla="*/ 913 h 1043"/>
                  <a:gd name="connsiteX109" fmla="*/ 803 w 4181"/>
                  <a:gd name="connsiteY109" fmla="*/ 884 h 1043"/>
                  <a:gd name="connsiteX110" fmla="*/ 849 w 4181"/>
                  <a:gd name="connsiteY110" fmla="*/ 846 h 1043"/>
                  <a:gd name="connsiteX111" fmla="*/ 892 w 4181"/>
                  <a:gd name="connsiteY111" fmla="*/ 803 h 1043"/>
                  <a:gd name="connsiteX112" fmla="*/ 931 w 4181"/>
                  <a:gd name="connsiteY112" fmla="*/ 755 h 1043"/>
                  <a:gd name="connsiteX113" fmla="*/ 971 w 4181"/>
                  <a:gd name="connsiteY113" fmla="*/ 703 h 1043"/>
                  <a:gd name="connsiteX114" fmla="*/ 1010 w 4181"/>
                  <a:gd name="connsiteY114" fmla="*/ 649 h 1043"/>
                  <a:gd name="connsiteX115" fmla="*/ 1121 w 4181"/>
                  <a:gd name="connsiteY115" fmla="*/ 475 h 1043"/>
                  <a:gd name="connsiteX116" fmla="*/ 1161 w 4181"/>
                  <a:gd name="connsiteY116" fmla="*/ 415 h 1043"/>
                  <a:gd name="connsiteX117" fmla="*/ 1202 w 4181"/>
                  <a:gd name="connsiteY117" fmla="*/ 357 h 1043"/>
                  <a:gd name="connsiteX118" fmla="*/ 1245 w 4181"/>
                  <a:gd name="connsiteY118" fmla="*/ 299 h 1043"/>
                  <a:gd name="connsiteX119" fmla="*/ 1291 w 4181"/>
                  <a:gd name="connsiteY119" fmla="*/ 245 h 1043"/>
                  <a:gd name="connsiteX120" fmla="*/ 1338 w 4181"/>
                  <a:gd name="connsiteY120" fmla="*/ 193 h 1043"/>
                  <a:gd name="connsiteX121" fmla="*/ 1392 w 4181"/>
                  <a:gd name="connsiteY121" fmla="*/ 145 h 1043"/>
                  <a:gd name="connsiteX122" fmla="*/ 1447 w 4181"/>
                  <a:gd name="connsiteY122" fmla="*/ 104 h 1043"/>
                  <a:gd name="connsiteX123" fmla="*/ 1509 w 4181"/>
                  <a:gd name="connsiteY123" fmla="*/ 69 h 1043"/>
                  <a:gd name="connsiteX124" fmla="*/ 1575 w 4181"/>
                  <a:gd name="connsiteY124" fmla="*/ 40 h 1043"/>
                  <a:gd name="connsiteX125" fmla="*/ 1648 w 4181"/>
                  <a:gd name="connsiteY125" fmla="*/ 19 h 1043"/>
                  <a:gd name="connsiteX126" fmla="*/ 1726 w 4181"/>
                  <a:gd name="connsiteY126" fmla="*/ 6 h 1043"/>
                  <a:gd name="connsiteX127" fmla="*/ 1796 w 4181"/>
                  <a:gd name="connsiteY127" fmla="*/ 4 h 1043"/>
                  <a:gd name="connsiteX128" fmla="*/ 1862 w 4181"/>
                  <a:gd name="connsiteY128" fmla="*/ 13 h 1043"/>
                  <a:gd name="connsiteX129" fmla="*/ 1922 w 4181"/>
                  <a:gd name="connsiteY129" fmla="*/ 27 h 1043"/>
                  <a:gd name="connsiteX130" fmla="*/ 1980 w 4181"/>
                  <a:gd name="connsiteY130" fmla="*/ 50 h 1043"/>
                  <a:gd name="connsiteX131" fmla="*/ 2034 w 4181"/>
                  <a:gd name="connsiteY131" fmla="*/ 81 h 1043"/>
                  <a:gd name="connsiteX132" fmla="*/ 2083 w 4181"/>
                  <a:gd name="connsiteY132" fmla="*/ 116 h 1043"/>
                  <a:gd name="connsiteX133" fmla="*/ 2129 w 4181"/>
                  <a:gd name="connsiteY133" fmla="*/ 158 h 1043"/>
                  <a:gd name="connsiteX134" fmla="*/ 2174 w 4181"/>
                  <a:gd name="connsiteY134" fmla="*/ 203 h 1043"/>
                  <a:gd name="connsiteX135" fmla="*/ 2216 w 4181"/>
                  <a:gd name="connsiteY135" fmla="*/ 251 h 1043"/>
                  <a:gd name="connsiteX136" fmla="*/ 2255 w 4181"/>
                  <a:gd name="connsiteY136" fmla="*/ 303 h 1043"/>
                  <a:gd name="connsiteX137" fmla="*/ 2292 w 4181"/>
                  <a:gd name="connsiteY137" fmla="*/ 357 h 1043"/>
                  <a:gd name="connsiteX138" fmla="*/ 2327 w 4181"/>
                  <a:gd name="connsiteY138" fmla="*/ 413 h 1043"/>
                  <a:gd name="connsiteX139" fmla="*/ 2362 w 4181"/>
                  <a:gd name="connsiteY139" fmla="*/ 467 h 1043"/>
                  <a:gd name="connsiteX140" fmla="*/ 2395 w 4181"/>
                  <a:gd name="connsiteY140" fmla="*/ 523 h 1043"/>
                  <a:gd name="connsiteX141" fmla="*/ 2432 w 4181"/>
                  <a:gd name="connsiteY141" fmla="*/ 585 h 1043"/>
                  <a:gd name="connsiteX142" fmla="*/ 2469 w 4181"/>
                  <a:gd name="connsiteY142" fmla="*/ 643 h 1043"/>
                  <a:gd name="connsiteX143" fmla="*/ 2509 w 4181"/>
                  <a:gd name="connsiteY143" fmla="*/ 701 h 1043"/>
                  <a:gd name="connsiteX144" fmla="*/ 2546 w 4181"/>
                  <a:gd name="connsiteY144" fmla="*/ 755 h 1043"/>
                  <a:gd name="connsiteX145" fmla="*/ 2587 w 4181"/>
                  <a:gd name="connsiteY145" fmla="*/ 805 h 1043"/>
                  <a:gd name="connsiteX146" fmla="*/ 2628 w 4181"/>
                  <a:gd name="connsiteY146" fmla="*/ 848 h 1043"/>
                  <a:gd name="connsiteX147" fmla="*/ 2672 w 4181"/>
                  <a:gd name="connsiteY147" fmla="*/ 886 h 1043"/>
                  <a:gd name="connsiteX148" fmla="*/ 2717 w 4181"/>
                  <a:gd name="connsiteY148" fmla="*/ 917 h 1043"/>
                  <a:gd name="connsiteX149" fmla="*/ 2767 w 4181"/>
                  <a:gd name="connsiteY149" fmla="*/ 940 h 1043"/>
                  <a:gd name="connsiteX150" fmla="*/ 2820 w 4181"/>
                  <a:gd name="connsiteY150" fmla="*/ 952 h 1043"/>
                  <a:gd name="connsiteX151" fmla="*/ 2876 w 4181"/>
                  <a:gd name="connsiteY151" fmla="*/ 956 h 1043"/>
                  <a:gd name="connsiteX152" fmla="*/ 2932 w 4181"/>
                  <a:gd name="connsiteY152" fmla="*/ 950 h 1043"/>
                  <a:gd name="connsiteX153" fmla="*/ 2982 w 4181"/>
                  <a:gd name="connsiteY153" fmla="*/ 935 h 1043"/>
                  <a:gd name="connsiteX154" fmla="*/ 3029 w 4181"/>
                  <a:gd name="connsiteY154" fmla="*/ 915 h 1043"/>
                  <a:gd name="connsiteX155" fmla="*/ 3072 w 4181"/>
                  <a:gd name="connsiteY155" fmla="*/ 884 h 1043"/>
                  <a:gd name="connsiteX156" fmla="*/ 3112 w 4181"/>
                  <a:gd name="connsiteY156" fmla="*/ 848 h 1043"/>
                  <a:gd name="connsiteX157" fmla="*/ 3149 w 4181"/>
                  <a:gd name="connsiteY157" fmla="*/ 807 h 1043"/>
                  <a:gd name="connsiteX158" fmla="*/ 3184 w 4181"/>
                  <a:gd name="connsiteY158" fmla="*/ 759 h 1043"/>
                  <a:gd name="connsiteX159" fmla="*/ 3217 w 4181"/>
                  <a:gd name="connsiteY159" fmla="*/ 709 h 1043"/>
                  <a:gd name="connsiteX160" fmla="*/ 3250 w 4181"/>
                  <a:gd name="connsiteY160" fmla="*/ 655 h 1043"/>
                  <a:gd name="connsiteX161" fmla="*/ 3283 w 4181"/>
                  <a:gd name="connsiteY161" fmla="*/ 597 h 1043"/>
                  <a:gd name="connsiteX162" fmla="*/ 3316 w 4181"/>
                  <a:gd name="connsiteY162" fmla="*/ 537 h 1043"/>
                  <a:gd name="connsiteX163" fmla="*/ 3345 w 4181"/>
                  <a:gd name="connsiteY163" fmla="*/ 483 h 1043"/>
                  <a:gd name="connsiteX164" fmla="*/ 3407 w 4181"/>
                  <a:gd name="connsiteY164" fmla="*/ 375 h 1043"/>
                  <a:gd name="connsiteX165" fmla="*/ 3477 w 4181"/>
                  <a:gd name="connsiteY165" fmla="*/ 272 h 1043"/>
                  <a:gd name="connsiteX166" fmla="*/ 3514 w 4181"/>
                  <a:gd name="connsiteY166" fmla="*/ 224 h 1043"/>
                  <a:gd name="connsiteX167" fmla="*/ 3555 w 4181"/>
                  <a:gd name="connsiteY167" fmla="*/ 178 h 1043"/>
                  <a:gd name="connsiteX168" fmla="*/ 3599 w 4181"/>
                  <a:gd name="connsiteY168" fmla="*/ 137 h 1043"/>
                  <a:gd name="connsiteX169" fmla="*/ 3646 w 4181"/>
                  <a:gd name="connsiteY169" fmla="*/ 100 h 1043"/>
                  <a:gd name="connsiteX0" fmla="*/ 3599 w 4181"/>
                  <a:gd name="connsiteY0" fmla="*/ 141 h 1047"/>
                  <a:gd name="connsiteX1" fmla="*/ 4004 w 4181"/>
                  <a:gd name="connsiteY1" fmla="*/ 4 h 1047"/>
                  <a:gd name="connsiteX2" fmla="*/ 4181 w 4181"/>
                  <a:gd name="connsiteY2" fmla="*/ 162 h 1047"/>
                  <a:gd name="connsiteX3" fmla="*/ 4142 w 4181"/>
                  <a:gd name="connsiteY3" fmla="*/ 139 h 1047"/>
                  <a:gd name="connsiteX4" fmla="*/ 4092 w 4181"/>
                  <a:gd name="connsiteY4" fmla="*/ 116 h 1047"/>
                  <a:gd name="connsiteX5" fmla="*/ 4049 w 4181"/>
                  <a:gd name="connsiteY5" fmla="*/ 102 h 1047"/>
                  <a:gd name="connsiteX6" fmla="*/ 4014 w 4181"/>
                  <a:gd name="connsiteY6" fmla="*/ 93 h 1047"/>
                  <a:gd name="connsiteX7" fmla="*/ 3985 w 4181"/>
                  <a:gd name="connsiteY7" fmla="*/ 91 h 1047"/>
                  <a:gd name="connsiteX8" fmla="*/ 3958 w 4181"/>
                  <a:gd name="connsiteY8" fmla="*/ 91 h 1047"/>
                  <a:gd name="connsiteX9" fmla="*/ 3892 w 4181"/>
                  <a:gd name="connsiteY9" fmla="*/ 97 h 1047"/>
                  <a:gd name="connsiteX10" fmla="*/ 3830 w 4181"/>
                  <a:gd name="connsiteY10" fmla="*/ 110 h 1047"/>
                  <a:gd name="connsiteX11" fmla="*/ 3774 w 4181"/>
                  <a:gd name="connsiteY11" fmla="*/ 131 h 1047"/>
                  <a:gd name="connsiteX12" fmla="*/ 3723 w 4181"/>
                  <a:gd name="connsiteY12" fmla="*/ 158 h 1047"/>
                  <a:gd name="connsiteX13" fmla="*/ 3675 w 4181"/>
                  <a:gd name="connsiteY13" fmla="*/ 191 h 1047"/>
                  <a:gd name="connsiteX14" fmla="*/ 3632 w 4181"/>
                  <a:gd name="connsiteY14" fmla="*/ 228 h 1047"/>
                  <a:gd name="connsiteX15" fmla="*/ 3593 w 4181"/>
                  <a:gd name="connsiteY15" fmla="*/ 272 h 1047"/>
                  <a:gd name="connsiteX16" fmla="*/ 3553 w 4181"/>
                  <a:gd name="connsiteY16" fmla="*/ 317 h 1047"/>
                  <a:gd name="connsiteX17" fmla="*/ 3518 w 4181"/>
                  <a:gd name="connsiteY17" fmla="*/ 367 h 1047"/>
                  <a:gd name="connsiteX18" fmla="*/ 3485 w 4181"/>
                  <a:gd name="connsiteY18" fmla="*/ 419 h 1047"/>
                  <a:gd name="connsiteX19" fmla="*/ 3423 w 4181"/>
                  <a:gd name="connsiteY19" fmla="*/ 527 h 1047"/>
                  <a:gd name="connsiteX20" fmla="*/ 3330 w 4181"/>
                  <a:gd name="connsiteY20" fmla="*/ 695 h 1047"/>
                  <a:gd name="connsiteX21" fmla="*/ 3297 w 4181"/>
                  <a:gd name="connsiteY21" fmla="*/ 751 h 1047"/>
                  <a:gd name="connsiteX22" fmla="*/ 3262 w 4181"/>
                  <a:gd name="connsiteY22" fmla="*/ 803 h 1047"/>
                  <a:gd name="connsiteX23" fmla="*/ 3227 w 4181"/>
                  <a:gd name="connsiteY23" fmla="*/ 852 h 1047"/>
                  <a:gd name="connsiteX24" fmla="*/ 3188 w 4181"/>
                  <a:gd name="connsiteY24" fmla="*/ 898 h 1047"/>
                  <a:gd name="connsiteX25" fmla="*/ 3147 w 4181"/>
                  <a:gd name="connsiteY25" fmla="*/ 939 h 1047"/>
                  <a:gd name="connsiteX26" fmla="*/ 3101 w 4181"/>
                  <a:gd name="connsiteY26" fmla="*/ 975 h 1047"/>
                  <a:gd name="connsiteX27" fmla="*/ 3052 w 4181"/>
                  <a:gd name="connsiteY27" fmla="*/ 1004 h 1047"/>
                  <a:gd name="connsiteX28" fmla="*/ 3000 w 4181"/>
                  <a:gd name="connsiteY28" fmla="*/ 1026 h 1047"/>
                  <a:gd name="connsiteX29" fmla="*/ 2942 w 4181"/>
                  <a:gd name="connsiteY29" fmla="*/ 1041 h 1047"/>
                  <a:gd name="connsiteX30" fmla="*/ 2878 w 4181"/>
                  <a:gd name="connsiteY30" fmla="*/ 1047 h 1047"/>
                  <a:gd name="connsiteX31" fmla="*/ 2870 w 4181"/>
                  <a:gd name="connsiteY31" fmla="*/ 1047 h 1047"/>
                  <a:gd name="connsiteX32" fmla="*/ 2808 w 4181"/>
                  <a:gd name="connsiteY32" fmla="*/ 1043 h 1047"/>
                  <a:gd name="connsiteX33" fmla="*/ 2748 w 4181"/>
                  <a:gd name="connsiteY33" fmla="*/ 1029 h 1047"/>
                  <a:gd name="connsiteX34" fmla="*/ 2695 w 4181"/>
                  <a:gd name="connsiteY34" fmla="*/ 1006 h 1047"/>
                  <a:gd name="connsiteX35" fmla="*/ 2643 w 4181"/>
                  <a:gd name="connsiteY35" fmla="*/ 977 h 1047"/>
                  <a:gd name="connsiteX36" fmla="*/ 2595 w 4181"/>
                  <a:gd name="connsiteY36" fmla="*/ 939 h 1047"/>
                  <a:gd name="connsiteX37" fmla="*/ 2552 w 4181"/>
                  <a:gd name="connsiteY37" fmla="*/ 898 h 1047"/>
                  <a:gd name="connsiteX38" fmla="*/ 2509 w 4181"/>
                  <a:gd name="connsiteY38" fmla="*/ 850 h 1047"/>
                  <a:gd name="connsiteX39" fmla="*/ 2469 w 4181"/>
                  <a:gd name="connsiteY39" fmla="*/ 800 h 1047"/>
                  <a:gd name="connsiteX40" fmla="*/ 2430 w 4181"/>
                  <a:gd name="connsiteY40" fmla="*/ 744 h 1047"/>
                  <a:gd name="connsiteX41" fmla="*/ 2393 w 4181"/>
                  <a:gd name="connsiteY41" fmla="*/ 688 h 1047"/>
                  <a:gd name="connsiteX42" fmla="*/ 2288 w 4181"/>
                  <a:gd name="connsiteY42" fmla="*/ 514 h 1047"/>
                  <a:gd name="connsiteX43" fmla="*/ 2251 w 4181"/>
                  <a:gd name="connsiteY43" fmla="*/ 456 h 1047"/>
                  <a:gd name="connsiteX44" fmla="*/ 2213 w 4181"/>
                  <a:gd name="connsiteY44" fmla="*/ 400 h 1047"/>
                  <a:gd name="connsiteX45" fmla="*/ 2176 w 4181"/>
                  <a:gd name="connsiteY45" fmla="*/ 346 h 1047"/>
                  <a:gd name="connsiteX46" fmla="*/ 2137 w 4181"/>
                  <a:gd name="connsiteY46" fmla="*/ 297 h 1047"/>
                  <a:gd name="connsiteX47" fmla="*/ 2096 w 4181"/>
                  <a:gd name="connsiteY47" fmla="*/ 251 h 1047"/>
                  <a:gd name="connsiteX48" fmla="*/ 2054 w 4181"/>
                  <a:gd name="connsiteY48" fmla="*/ 209 h 1047"/>
                  <a:gd name="connsiteX49" fmla="*/ 2009 w 4181"/>
                  <a:gd name="connsiteY49" fmla="*/ 172 h 1047"/>
                  <a:gd name="connsiteX50" fmla="*/ 1962 w 4181"/>
                  <a:gd name="connsiteY50" fmla="*/ 143 h 1047"/>
                  <a:gd name="connsiteX51" fmla="*/ 1910 w 4181"/>
                  <a:gd name="connsiteY51" fmla="*/ 120 h 1047"/>
                  <a:gd name="connsiteX52" fmla="*/ 1854 w 4181"/>
                  <a:gd name="connsiteY52" fmla="*/ 104 h 1047"/>
                  <a:gd name="connsiteX53" fmla="*/ 1796 w 4181"/>
                  <a:gd name="connsiteY53" fmla="*/ 95 h 1047"/>
                  <a:gd name="connsiteX54" fmla="*/ 1732 w 4181"/>
                  <a:gd name="connsiteY54" fmla="*/ 97 h 1047"/>
                  <a:gd name="connsiteX55" fmla="*/ 1664 w 4181"/>
                  <a:gd name="connsiteY55" fmla="*/ 108 h 1047"/>
                  <a:gd name="connsiteX56" fmla="*/ 1602 w 4181"/>
                  <a:gd name="connsiteY56" fmla="*/ 126 h 1047"/>
                  <a:gd name="connsiteX57" fmla="*/ 1545 w 4181"/>
                  <a:gd name="connsiteY57" fmla="*/ 151 h 1047"/>
                  <a:gd name="connsiteX58" fmla="*/ 1491 w 4181"/>
                  <a:gd name="connsiteY58" fmla="*/ 185 h 1047"/>
                  <a:gd name="connsiteX59" fmla="*/ 1439 w 4181"/>
                  <a:gd name="connsiteY59" fmla="*/ 222 h 1047"/>
                  <a:gd name="connsiteX60" fmla="*/ 1394 w 4181"/>
                  <a:gd name="connsiteY60" fmla="*/ 265 h 1047"/>
                  <a:gd name="connsiteX61" fmla="*/ 1348 w 4181"/>
                  <a:gd name="connsiteY61" fmla="*/ 311 h 1047"/>
                  <a:gd name="connsiteX62" fmla="*/ 1307 w 4181"/>
                  <a:gd name="connsiteY62" fmla="*/ 363 h 1047"/>
                  <a:gd name="connsiteX63" fmla="*/ 1268 w 4181"/>
                  <a:gd name="connsiteY63" fmla="*/ 417 h 1047"/>
                  <a:gd name="connsiteX64" fmla="*/ 1231 w 4181"/>
                  <a:gd name="connsiteY64" fmla="*/ 471 h 1047"/>
                  <a:gd name="connsiteX65" fmla="*/ 1194 w 4181"/>
                  <a:gd name="connsiteY65" fmla="*/ 527 h 1047"/>
                  <a:gd name="connsiteX66" fmla="*/ 1156 w 4181"/>
                  <a:gd name="connsiteY66" fmla="*/ 585 h 1047"/>
                  <a:gd name="connsiteX67" fmla="*/ 1121 w 4181"/>
                  <a:gd name="connsiteY67" fmla="*/ 641 h 1047"/>
                  <a:gd name="connsiteX68" fmla="*/ 1047 w 4181"/>
                  <a:gd name="connsiteY68" fmla="*/ 753 h 1047"/>
                  <a:gd name="connsiteX69" fmla="*/ 1008 w 4181"/>
                  <a:gd name="connsiteY69" fmla="*/ 805 h 1047"/>
                  <a:gd name="connsiteX70" fmla="*/ 966 w 4181"/>
                  <a:gd name="connsiteY70" fmla="*/ 854 h 1047"/>
                  <a:gd name="connsiteX71" fmla="*/ 923 w 4181"/>
                  <a:gd name="connsiteY71" fmla="*/ 900 h 1047"/>
                  <a:gd name="connsiteX72" fmla="*/ 876 w 4181"/>
                  <a:gd name="connsiteY72" fmla="*/ 941 h 1047"/>
                  <a:gd name="connsiteX73" fmla="*/ 826 w 4181"/>
                  <a:gd name="connsiteY73" fmla="*/ 977 h 1047"/>
                  <a:gd name="connsiteX74" fmla="*/ 772 w 4181"/>
                  <a:gd name="connsiteY74" fmla="*/ 1006 h 1047"/>
                  <a:gd name="connsiteX75" fmla="*/ 717 w 4181"/>
                  <a:gd name="connsiteY75" fmla="*/ 1029 h 1047"/>
                  <a:gd name="connsiteX76" fmla="*/ 653 w 4181"/>
                  <a:gd name="connsiteY76" fmla="*/ 1041 h 1047"/>
                  <a:gd name="connsiteX77" fmla="*/ 587 w 4181"/>
                  <a:gd name="connsiteY77" fmla="*/ 1047 h 1047"/>
                  <a:gd name="connsiteX78" fmla="*/ 580 w 4181"/>
                  <a:gd name="connsiteY78" fmla="*/ 1047 h 1047"/>
                  <a:gd name="connsiteX79" fmla="*/ 512 w 4181"/>
                  <a:gd name="connsiteY79" fmla="*/ 1043 h 1047"/>
                  <a:gd name="connsiteX80" fmla="*/ 450 w 4181"/>
                  <a:gd name="connsiteY80" fmla="*/ 1031 h 1047"/>
                  <a:gd name="connsiteX81" fmla="*/ 392 w 4181"/>
                  <a:gd name="connsiteY81" fmla="*/ 1012 h 1047"/>
                  <a:gd name="connsiteX82" fmla="*/ 341 w 4181"/>
                  <a:gd name="connsiteY82" fmla="*/ 987 h 1047"/>
                  <a:gd name="connsiteX83" fmla="*/ 293 w 4181"/>
                  <a:gd name="connsiteY83" fmla="*/ 956 h 1047"/>
                  <a:gd name="connsiteX84" fmla="*/ 248 w 4181"/>
                  <a:gd name="connsiteY84" fmla="*/ 919 h 1047"/>
                  <a:gd name="connsiteX85" fmla="*/ 207 w 4181"/>
                  <a:gd name="connsiteY85" fmla="*/ 877 h 1047"/>
                  <a:gd name="connsiteX86" fmla="*/ 169 w 4181"/>
                  <a:gd name="connsiteY86" fmla="*/ 832 h 1047"/>
                  <a:gd name="connsiteX87" fmla="*/ 132 w 4181"/>
                  <a:gd name="connsiteY87" fmla="*/ 784 h 1047"/>
                  <a:gd name="connsiteX88" fmla="*/ 99 w 4181"/>
                  <a:gd name="connsiteY88" fmla="*/ 732 h 1047"/>
                  <a:gd name="connsiteX89" fmla="*/ 64 w 4181"/>
                  <a:gd name="connsiteY89" fmla="*/ 678 h 1047"/>
                  <a:gd name="connsiteX90" fmla="*/ 33 w 4181"/>
                  <a:gd name="connsiteY90" fmla="*/ 622 h 1047"/>
                  <a:gd name="connsiteX91" fmla="*/ 0 w 4181"/>
                  <a:gd name="connsiteY91" fmla="*/ 564 h 1047"/>
                  <a:gd name="connsiteX92" fmla="*/ 77 w 4181"/>
                  <a:gd name="connsiteY92" fmla="*/ 520 h 1047"/>
                  <a:gd name="connsiteX93" fmla="*/ 110 w 4181"/>
                  <a:gd name="connsiteY93" fmla="*/ 579 h 1047"/>
                  <a:gd name="connsiteX94" fmla="*/ 143 w 4181"/>
                  <a:gd name="connsiteY94" fmla="*/ 635 h 1047"/>
                  <a:gd name="connsiteX95" fmla="*/ 176 w 4181"/>
                  <a:gd name="connsiteY95" fmla="*/ 688 h 1047"/>
                  <a:gd name="connsiteX96" fmla="*/ 209 w 4181"/>
                  <a:gd name="connsiteY96" fmla="*/ 740 h 1047"/>
                  <a:gd name="connsiteX97" fmla="*/ 244 w 4181"/>
                  <a:gd name="connsiteY97" fmla="*/ 786 h 1047"/>
                  <a:gd name="connsiteX98" fmla="*/ 281 w 4181"/>
                  <a:gd name="connsiteY98" fmla="*/ 829 h 1047"/>
                  <a:gd name="connsiteX99" fmla="*/ 322 w 4181"/>
                  <a:gd name="connsiteY99" fmla="*/ 867 h 1047"/>
                  <a:gd name="connsiteX100" fmla="*/ 366 w 4181"/>
                  <a:gd name="connsiteY100" fmla="*/ 898 h 1047"/>
                  <a:gd name="connsiteX101" fmla="*/ 413 w 4181"/>
                  <a:gd name="connsiteY101" fmla="*/ 925 h 1047"/>
                  <a:gd name="connsiteX102" fmla="*/ 463 w 4181"/>
                  <a:gd name="connsiteY102" fmla="*/ 944 h 1047"/>
                  <a:gd name="connsiteX103" fmla="*/ 518 w 4181"/>
                  <a:gd name="connsiteY103" fmla="*/ 956 h 1047"/>
                  <a:gd name="connsiteX104" fmla="*/ 580 w 4181"/>
                  <a:gd name="connsiteY104" fmla="*/ 960 h 1047"/>
                  <a:gd name="connsiteX105" fmla="*/ 587 w 4181"/>
                  <a:gd name="connsiteY105" fmla="*/ 960 h 1047"/>
                  <a:gd name="connsiteX106" fmla="*/ 646 w 4181"/>
                  <a:gd name="connsiteY106" fmla="*/ 954 h 1047"/>
                  <a:gd name="connsiteX107" fmla="*/ 702 w 4181"/>
                  <a:gd name="connsiteY107" fmla="*/ 939 h 1047"/>
                  <a:gd name="connsiteX108" fmla="*/ 756 w 4181"/>
                  <a:gd name="connsiteY108" fmla="*/ 917 h 1047"/>
                  <a:gd name="connsiteX109" fmla="*/ 803 w 4181"/>
                  <a:gd name="connsiteY109" fmla="*/ 888 h 1047"/>
                  <a:gd name="connsiteX110" fmla="*/ 849 w 4181"/>
                  <a:gd name="connsiteY110" fmla="*/ 850 h 1047"/>
                  <a:gd name="connsiteX111" fmla="*/ 892 w 4181"/>
                  <a:gd name="connsiteY111" fmla="*/ 807 h 1047"/>
                  <a:gd name="connsiteX112" fmla="*/ 931 w 4181"/>
                  <a:gd name="connsiteY112" fmla="*/ 759 h 1047"/>
                  <a:gd name="connsiteX113" fmla="*/ 971 w 4181"/>
                  <a:gd name="connsiteY113" fmla="*/ 707 h 1047"/>
                  <a:gd name="connsiteX114" fmla="*/ 1010 w 4181"/>
                  <a:gd name="connsiteY114" fmla="*/ 653 h 1047"/>
                  <a:gd name="connsiteX115" fmla="*/ 1121 w 4181"/>
                  <a:gd name="connsiteY115" fmla="*/ 479 h 1047"/>
                  <a:gd name="connsiteX116" fmla="*/ 1161 w 4181"/>
                  <a:gd name="connsiteY116" fmla="*/ 419 h 1047"/>
                  <a:gd name="connsiteX117" fmla="*/ 1202 w 4181"/>
                  <a:gd name="connsiteY117" fmla="*/ 361 h 1047"/>
                  <a:gd name="connsiteX118" fmla="*/ 1245 w 4181"/>
                  <a:gd name="connsiteY118" fmla="*/ 303 h 1047"/>
                  <a:gd name="connsiteX119" fmla="*/ 1291 w 4181"/>
                  <a:gd name="connsiteY119" fmla="*/ 249 h 1047"/>
                  <a:gd name="connsiteX120" fmla="*/ 1338 w 4181"/>
                  <a:gd name="connsiteY120" fmla="*/ 197 h 1047"/>
                  <a:gd name="connsiteX121" fmla="*/ 1392 w 4181"/>
                  <a:gd name="connsiteY121" fmla="*/ 149 h 1047"/>
                  <a:gd name="connsiteX122" fmla="*/ 1447 w 4181"/>
                  <a:gd name="connsiteY122" fmla="*/ 108 h 1047"/>
                  <a:gd name="connsiteX123" fmla="*/ 1509 w 4181"/>
                  <a:gd name="connsiteY123" fmla="*/ 73 h 1047"/>
                  <a:gd name="connsiteX124" fmla="*/ 1575 w 4181"/>
                  <a:gd name="connsiteY124" fmla="*/ 44 h 1047"/>
                  <a:gd name="connsiteX125" fmla="*/ 1648 w 4181"/>
                  <a:gd name="connsiteY125" fmla="*/ 23 h 1047"/>
                  <a:gd name="connsiteX126" fmla="*/ 1726 w 4181"/>
                  <a:gd name="connsiteY126" fmla="*/ 10 h 1047"/>
                  <a:gd name="connsiteX127" fmla="*/ 1796 w 4181"/>
                  <a:gd name="connsiteY127" fmla="*/ 8 h 1047"/>
                  <a:gd name="connsiteX128" fmla="*/ 1862 w 4181"/>
                  <a:gd name="connsiteY128" fmla="*/ 17 h 1047"/>
                  <a:gd name="connsiteX129" fmla="*/ 1922 w 4181"/>
                  <a:gd name="connsiteY129" fmla="*/ 31 h 1047"/>
                  <a:gd name="connsiteX130" fmla="*/ 1980 w 4181"/>
                  <a:gd name="connsiteY130" fmla="*/ 54 h 1047"/>
                  <a:gd name="connsiteX131" fmla="*/ 2034 w 4181"/>
                  <a:gd name="connsiteY131" fmla="*/ 85 h 1047"/>
                  <a:gd name="connsiteX132" fmla="*/ 2083 w 4181"/>
                  <a:gd name="connsiteY132" fmla="*/ 120 h 1047"/>
                  <a:gd name="connsiteX133" fmla="*/ 2129 w 4181"/>
                  <a:gd name="connsiteY133" fmla="*/ 162 h 1047"/>
                  <a:gd name="connsiteX134" fmla="*/ 2174 w 4181"/>
                  <a:gd name="connsiteY134" fmla="*/ 207 h 1047"/>
                  <a:gd name="connsiteX135" fmla="*/ 2216 w 4181"/>
                  <a:gd name="connsiteY135" fmla="*/ 255 h 1047"/>
                  <a:gd name="connsiteX136" fmla="*/ 2255 w 4181"/>
                  <a:gd name="connsiteY136" fmla="*/ 307 h 1047"/>
                  <a:gd name="connsiteX137" fmla="*/ 2292 w 4181"/>
                  <a:gd name="connsiteY137" fmla="*/ 361 h 1047"/>
                  <a:gd name="connsiteX138" fmla="*/ 2327 w 4181"/>
                  <a:gd name="connsiteY138" fmla="*/ 417 h 1047"/>
                  <a:gd name="connsiteX139" fmla="*/ 2362 w 4181"/>
                  <a:gd name="connsiteY139" fmla="*/ 471 h 1047"/>
                  <a:gd name="connsiteX140" fmla="*/ 2395 w 4181"/>
                  <a:gd name="connsiteY140" fmla="*/ 527 h 1047"/>
                  <a:gd name="connsiteX141" fmla="*/ 2432 w 4181"/>
                  <a:gd name="connsiteY141" fmla="*/ 589 h 1047"/>
                  <a:gd name="connsiteX142" fmla="*/ 2469 w 4181"/>
                  <a:gd name="connsiteY142" fmla="*/ 647 h 1047"/>
                  <a:gd name="connsiteX143" fmla="*/ 2509 w 4181"/>
                  <a:gd name="connsiteY143" fmla="*/ 705 h 1047"/>
                  <a:gd name="connsiteX144" fmla="*/ 2546 w 4181"/>
                  <a:gd name="connsiteY144" fmla="*/ 759 h 1047"/>
                  <a:gd name="connsiteX145" fmla="*/ 2587 w 4181"/>
                  <a:gd name="connsiteY145" fmla="*/ 809 h 1047"/>
                  <a:gd name="connsiteX146" fmla="*/ 2628 w 4181"/>
                  <a:gd name="connsiteY146" fmla="*/ 852 h 1047"/>
                  <a:gd name="connsiteX147" fmla="*/ 2672 w 4181"/>
                  <a:gd name="connsiteY147" fmla="*/ 890 h 1047"/>
                  <a:gd name="connsiteX148" fmla="*/ 2717 w 4181"/>
                  <a:gd name="connsiteY148" fmla="*/ 921 h 1047"/>
                  <a:gd name="connsiteX149" fmla="*/ 2767 w 4181"/>
                  <a:gd name="connsiteY149" fmla="*/ 944 h 1047"/>
                  <a:gd name="connsiteX150" fmla="*/ 2820 w 4181"/>
                  <a:gd name="connsiteY150" fmla="*/ 956 h 1047"/>
                  <a:gd name="connsiteX151" fmla="*/ 2876 w 4181"/>
                  <a:gd name="connsiteY151" fmla="*/ 960 h 1047"/>
                  <a:gd name="connsiteX152" fmla="*/ 2932 w 4181"/>
                  <a:gd name="connsiteY152" fmla="*/ 954 h 1047"/>
                  <a:gd name="connsiteX153" fmla="*/ 2982 w 4181"/>
                  <a:gd name="connsiteY153" fmla="*/ 939 h 1047"/>
                  <a:gd name="connsiteX154" fmla="*/ 3029 w 4181"/>
                  <a:gd name="connsiteY154" fmla="*/ 919 h 1047"/>
                  <a:gd name="connsiteX155" fmla="*/ 3072 w 4181"/>
                  <a:gd name="connsiteY155" fmla="*/ 888 h 1047"/>
                  <a:gd name="connsiteX156" fmla="*/ 3112 w 4181"/>
                  <a:gd name="connsiteY156" fmla="*/ 852 h 1047"/>
                  <a:gd name="connsiteX157" fmla="*/ 3149 w 4181"/>
                  <a:gd name="connsiteY157" fmla="*/ 811 h 1047"/>
                  <a:gd name="connsiteX158" fmla="*/ 3184 w 4181"/>
                  <a:gd name="connsiteY158" fmla="*/ 763 h 1047"/>
                  <a:gd name="connsiteX159" fmla="*/ 3217 w 4181"/>
                  <a:gd name="connsiteY159" fmla="*/ 713 h 1047"/>
                  <a:gd name="connsiteX160" fmla="*/ 3250 w 4181"/>
                  <a:gd name="connsiteY160" fmla="*/ 659 h 1047"/>
                  <a:gd name="connsiteX161" fmla="*/ 3283 w 4181"/>
                  <a:gd name="connsiteY161" fmla="*/ 601 h 1047"/>
                  <a:gd name="connsiteX162" fmla="*/ 3316 w 4181"/>
                  <a:gd name="connsiteY162" fmla="*/ 541 h 1047"/>
                  <a:gd name="connsiteX163" fmla="*/ 3345 w 4181"/>
                  <a:gd name="connsiteY163" fmla="*/ 487 h 1047"/>
                  <a:gd name="connsiteX164" fmla="*/ 3407 w 4181"/>
                  <a:gd name="connsiteY164" fmla="*/ 379 h 1047"/>
                  <a:gd name="connsiteX165" fmla="*/ 3477 w 4181"/>
                  <a:gd name="connsiteY165" fmla="*/ 276 h 1047"/>
                  <a:gd name="connsiteX166" fmla="*/ 3514 w 4181"/>
                  <a:gd name="connsiteY166" fmla="*/ 228 h 1047"/>
                  <a:gd name="connsiteX167" fmla="*/ 3555 w 4181"/>
                  <a:gd name="connsiteY167" fmla="*/ 182 h 1047"/>
                  <a:gd name="connsiteX168" fmla="*/ 3599 w 4181"/>
                  <a:gd name="connsiteY168" fmla="*/ 141 h 1047"/>
                  <a:gd name="connsiteX0" fmla="*/ 3599 w 4181"/>
                  <a:gd name="connsiteY0" fmla="*/ 141 h 1047"/>
                  <a:gd name="connsiteX1" fmla="*/ 4004 w 4181"/>
                  <a:gd name="connsiteY1" fmla="*/ 4 h 1047"/>
                  <a:gd name="connsiteX2" fmla="*/ 4181 w 4181"/>
                  <a:gd name="connsiteY2" fmla="*/ 162 h 1047"/>
                  <a:gd name="connsiteX3" fmla="*/ 4142 w 4181"/>
                  <a:gd name="connsiteY3" fmla="*/ 139 h 1047"/>
                  <a:gd name="connsiteX4" fmla="*/ 4092 w 4181"/>
                  <a:gd name="connsiteY4" fmla="*/ 116 h 1047"/>
                  <a:gd name="connsiteX5" fmla="*/ 4049 w 4181"/>
                  <a:gd name="connsiteY5" fmla="*/ 102 h 1047"/>
                  <a:gd name="connsiteX6" fmla="*/ 4014 w 4181"/>
                  <a:gd name="connsiteY6" fmla="*/ 93 h 1047"/>
                  <a:gd name="connsiteX7" fmla="*/ 3985 w 4181"/>
                  <a:gd name="connsiteY7" fmla="*/ 91 h 1047"/>
                  <a:gd name="connsiteX8" fmla="*/ 3958 w 4181"/>
                  <a:gd name="connsiteY8" fmla="*/ 91 h 1047"/>
                  <a:gd name="connsiteX9" fmla="*/ 3892 w 4181"/>
                  <a:gd name="connsiteY9" fmla="*/ 97 h 1047"/>
                  <a:gd name="connsiteX10" fmla="*/ 3830 w 4181"/>
                  <a:gd name="connsiteY10" fmla="*/ 110 h 1047"/>
                  <a:gd name="connsiteX11" fmla="*/ 3774 w 4181"/>
                  <a:gd name="connsiteY11" fmla="*/ 131 h 1047"/>
                  <a:gd name="connsiteX12" fmla="*/ 3723 w 4181"/>
                  <a:gd name="connsiteY12" fmla="*/ 158 h 1047"/>
                  <a:gd name="connsiteX13" fmla="*/ 3675 w 4181"/>
                  <a:gd name="connsiteY13" fmla="*/ 191 h 1047"/>
                  <a:gd name="connsiteX14" fmla="*/ 3632 w 4181"/>
                  <a:gd name="connsiteY14" fmla="*/ 228 h 1047"/>
                  <a:gd name="connsiteX15" fmla="*/ 3593 w 4181"/>
                  <a:gd name="connsiteY15" fmla="*/ 272 h 1047"/>
                  <a:gd name="connsiteX16" fmla="*/ 3553 w 4181"/>
                  <a:gd name="connsiteY16" fmla="*/ 317 h 1047"/>
                  <a:gd name="connsiteX17" fmla="*/ 3518 w 4181"/>
                  <a:gd name="connsiteY17" fmla="*/ 367 h 1047"/>
                  <a:gd name="connsiteX18" fmla="*/ 3485 w 4181"/>
                  <a:gd name="connsiteY18" fmla="*/ 419 h 1047"/>
                  <a:gd name="connsiteX19" fmla="*/ 3423 w 4181"/>
                  <a:gd name="connsiteY19" fmla="*/ 527 h 1047"/>
                  <a:gd name="connsiteX20" fmla="*/ 3330 w 4181"/>
                  <a:gd name="connsiteY20" fmla="*/ 695 h 1047"/>
                  <a:gd name="connsiteX21" fmla="*/ 3297 w 4181"/>
                  <a:gd name="connsiteY21" fmla="*/ 751 h 1047"/>
                  <a:gd name="connsiteX22" fmla="*/ 3262 w 4181"/>
                  <a:gd name="connsiteY22" fmla="*/ 803 h 1047"/>
                  <a:gd name="connsiteX23" fmla="*/ 3227 w 4181"/>
                  <a:gd name="connsiteY23" fmla="*/ 852 h 1047"/>
                  <a:gd name="connsiteX24" fmla="*/ 3188 w 4181"/>
                  <a:gd name="connsiteY24" fmla="*/ 898 h 1047"/>
                  <a:gd name="connsiteX25" fmla="*/ 3147 w 4181"/>
                  <a:gd name="connsiteY25" fmla="*/ 939 h 1047"/>
                  <a:gd name="connsiteX26" fmla="*/ 3101 w 4181"/>
                  <a:gd name="connsiteY26" fmla="*/ 975 h 1047"/>
                  <a:gd name="connsiteX27" fmla="*/ 3052 w 4181"/>
                  <a:gd name="connsiteY27" fmla="*/ 1004 h 1047"/>
                  <a:gd name="connsiteX28" fmla="*/ 3000 w 4181"/>
                  <a:gd name="connsiteY28" fmla="*/ 1026 h 1047"/>
                  <a:gd name="connsiteX29" fmla="*/ 2942 w 4181"/>
                  <a:gd name="connsiteY29" fmla="*/ 1041 h 1047"/>
                  <a:gd name="connsiteX30" fmla="*/ 2878 w 4181"/>
                  <a:gd name="connsiteY30" fmla="*/ 1047 h 1047"/>
                  <a:gd name="connsiteX31" fmla="*/ 2870 w 4181"/>
                  <a:gd name="connsiteY31" fmla="*/ 1047 h 1047"/>
                  <a:gd name="connsiteX32" fmla="*/ 2808 w 4181"/>
                  <a:gd name="connsiteY32" fmla="*/ 1043 h 1047"/>
                  <a:gd name="connsiteX33" fmla="*/ 2748 w 4181"/>
                  <a:gd name="connsiteY33" fmla="*/ 1029 h 1047"/>
                  <a:gd name="connsiteX34" fmla="*/ 2695 w 4181"/>
                  <a:gd name="connsiteY34" fmla="*/ 1006 h 1047"/>
                  <a:gd name="connsiteX35" fmla="*/ 2643 w 4181"/>
                  <a:gd name="connsiteY35" fmla="*/ 977 h 1047"/>
                  <a:gd name="connsiteX36" fmla="*/ 2595 w 4181"/>
                  <a:gd name="connsiteY36" fmla="*/ 939 h 1047"/>
                  <a:gd name="connsiteX37" fmla="*/ 2552 w 4181"/>
                  <a:gd name="connsiteY37" fmla="*/ 898 h 1047"/>
                  <a:gd name="connsiteX38" fmla="*/ 2509 w 4181"/>
                  <a:gd name="connsiteY38" fmla="*/ 850 h 1047"/>
                  <a:gd name="connsiteX39" fmla="*/ 2469 w 4181"/>
                  <a:gd name="connsiteY39" fmla="*/ 800 h 1047"/>
                  <a:gd name="connsiteX40" fmla="*/ 2430 w 4181"/>
                  <a:gd name="connsiteY40" fmla="*/ 744 h 1047"/>
                  <a:gd name="connsiteX41" fmla="*/ 2393 w 4181"/>
                  <a:gd name="connsiteY41" fmla="*/ 688 h 1047"/>
                  <a:gd name="connsiteX42" fmla="*/ 2288 w 4181"/>
                  <a:gd name="connsiteY42" fmla="*/ 514 h 1047"/>
                  <a:gd name="connsiteX43" fmla="*/ 2251 w 4181"/>
                  <a:gd name="connsiteY43" fmla="*/ 456 h 1047"/>
                  <a:gd name="connsiteX44" fmla="*/ 2213 w 4181"/>
                  <a:gd name="connsiteY44" fmla="*/ 400 h 1047"/>
                  <a:gd name="connsiteX45" fmla="*/ 2176 w 4181"/>
                  <a:gd name="connsiteY45" fmla="*/ 346 h 1047"/>
                  <a:gd name="connsiteX46" fmla="*/ 2137 w 4181"/>
                  <a:gd name="connsiteY46" fmla="*/ 297 h 1047"/>
                  <a:gd name="connsiteX47" fmla="*/ 2096 w 4181"/>
                  <a:gd name="connsiteY47" fmla="*/ 251 h 1047"/>
                  <a:gd name="connsiteX48" fmla="*/ 2054 w 4181"/>
                  <a:gd name="connsiteY48" fmla="*/ 209 h 1047"/>
                  <a:gd name="connsiteX49" fmla="*/ 2009 w 4181"/>
                  <a:gd name="connsiteY49" fmla="*/ 172 h 1047"/>
                  <a:gd name="connsiteX50" fmla="*/ 1962 w 4181"/>
                  <a:gd name="connsiteY50" fmla="*/ 143 h 1047"/>
                  <a:gd name="connsiteX51" fmla="*/ 1910 w 4181"/>
                  <a:gd name="connsiteY51" fmla="*/ 120 h 1047"/>
                  <a:gd name="connsiteX52" fmla="*/ 1854 w 4181"/>
                  <a:gd name="connsiteY52" fmla="*/ 104 h 1047"/>
                  <a:gd name="connsiteX53" fmla="*/ 1796 w 4181"/>
                  <a:gd name="connsiteY53" fmla="*/ 95 h 1047"/>
                  <a:gd name="connsiteX54" fmla="*/ 1732 w 4181"/>
                  <a:gd name="connsiteY54" fmla="*/ 97 h 1047"/>
                  <a:gd name="connsiteX55" fmla="*/ 1664 w 4181"/>
                  <a:gd name="connsiteY55" fmla="*/ 108 h 1047"/>
                  <a:gd name="connsiteX56" fmla="*/ 1602 w 4181"/>
                  <a:gd name="connsiteY56" fmla="*/ 126 h 1047"/>
                  <a:gd name="connsiteX57" fmla="*/ 1545 w 4181"/>
                  <a:gd name="connsiteY57" fmla="*/ 151 h 1047"/>
                  <a:gd name="connsiteX58" fmla="*/ 1491 w 4181"/>
                  <a:gd name="connsiteY58" fmla="*/ 185 h 1047"/>
                  <a:gd name="connsiteX59" fmla="*/ 1439 w 4181"/>
                  <a:gd name="connsiteY59" fmla="*/ 222 h 1047"/>
                  <a:gd name="connsiteX60" fmla="*/ 1394 w 4181"/>
                  <a:gd name="connsiteY60" fmla="*/ 265 h 1047"/>
                  <a:gd name="connsiteX61" fmla="*/ 1348 w 4181"/>
                  <a:gd name="connsiteY61" fmla="*/ 311 h 1047"/>
                  <a:gd name="connsiteX62" fmla="*/ 1307 w 4181"/>
                  <a:gd name="connsiteY62" fmla="*/ 363 h 1047"/>
                  <a:gd name="connsiteX63" fmla="*/ 1268 w 4181"/>
                  <a:gd name="connsiteY63" fmla="*/ 417 h 1047"/>
                  <a:gd name="connsiteX64" fmla="*/ 1231 w 4181"/>
                  <a:gd name="connsiteY64" fmla="*/ 471 h 1047"/>
                  <a:gd name="connsiteX65" fmla="*/ 1194 w 4181"/>
                  <a:gd name="connsiteY65" fmla="*/ 527 h 1047"/>
                  <a:gd name="connsiteX66" fmla="*/ 1156 w 4181"/>
                  <a:gd name="connsiteY66" fmla="*/ 585 h 1047"/>
                  <a:gd name="connsiteX67" fmla="*/ 1121 w 4181"/>
                  <a:gd name="connsiteY67" fmla="*/ 641 h 1047"/>
                  <a:gd name="connsiteX68" fmla="*/ 1047 w 4181"/>
                  <a:gd name="connsiteY68" fmla="*/ 753 h 1047"/>
                  <a:gd name="connsiteX69" fmla="*/ 1008 w 4181"/>
                  <a:gd name="connsiteY69" fmla="*/ 805 h 1047"/>
                  <a:gd name="connsiteX70" fmla="*/ 966 w 4181"/>
                  <a:gd name="connsiteY70" fmla="*/ 854 h 1047"/>
                  <a:gd name="connsiteX71" fmla="*/ 923 w 4181"/>
                  <a:gd name="connsiteY71" fmla="*/ 900 h 1047"/>
                  <a:gd name="connsiteX72" fmla="*/ 876 w 4181"/>
                  <a:gd name="connsiteY72" fmla="*/ 941 h 1047"/>
                  <a:gd name="connsiteX73" fmla="*/ 826 w 4181"/>
                  <a:gd name="connsiteY73" fmla="*/ 977 h 1047"/>
                  <a:gd name="connsiteX74" fmla="*/ 772 w 4181"/>
                  <a:gd name="connsiteY74" fmla="*/ 1006 h 1047"/>
                  <a:gd name="connsiteX75" fmla="*/ 717 w 4181"/>
                  <a:gd name="connsiteY75" fmla="*/ 1029 h 1047"/>
                  <a:gd name="connsiteX76" fmla="*/ 653 w 4181"/>
                  <a:gd name="connsiteY76" fmla="*/ 1041 h 1047"/>
                  <a:gd name="connsiteX77" fmla="*/ 587 w 4181"/>
                  <a:gd name="connsiteY77" fmla="*/ 1047 h 1047"/>
                  <a:gd name="connsiteX78" fmla="*/ 580 w 4181"/>
                  <a:gd name="connsiteY78" fmla="*/ 1047 h 1047"/>
                  <a:gd name="connsiteX79" fmla="*/ 512 w 4181"/>
                  <a:gd name="connsiteY79" fmla="*/ 1043 h 1047"/>
                  <a:gd name="connsiteX80" fmla="*/ 450 w 4181"/>
                  <a:gd name="connsiteY80" fmla="*/ 1031 h 1047"/>
                  <a:gd name="connsiteX81" fmla="*/ 392 w 4181"/>
                  <a:gd name="connsiteY81" fmla="*/ 1012 h 1047"/>
                  <a:gd name="connsiteX82" fmla="*/ 341 w 4181"/>
                  <a:gd name="connsiteY82" fmla="*/ 987 h 1047"/>
                  <a:gd name="connsiteX83" fmla="*/ 293 w 4181"/>
                  <a:gd name="connsiteY83" fmla="*/ 956 h 1047"/>
                  <a:gd name="connsiteX84" fmla="*/ 248 w 4181"/>
                  <a:gd name="connsiteY84" fmla="*/ 919 h 1047"/>
                  <a:gd name="connsiteX85" fmla="*/ 207 w 4181"/>
                  <a:gd name="connsiteY85" fmla="*/ 877 h 1047"/>
                  <a:gd name="connsiteX86" fmla="*/ 169 w 4181"/>
                  <a:gd name="connsiteY86" fmla="*/ 832 h 1047"/>
                  <a:gd name="connsiteX87" fmla="*/ 132 w 4181"/>
                  <a:gd name="connsiteY87" fmla="*/ 784 h 1047"/>
                  <a:gd name="connsiteX88" fmla="*/ 99 w 4181"/>
                  <a:gd name="connsiteY88" fmla="*/ 732 h 1047"/>
                  <a:gd name="connsiteX89" fmla="*/ 64 w 4181"/>
                  <a:gd name="connsiteY89" fmla="*/ 678 h 1047"/>
                  <a:gd name="connsiteX90" fmla="*/ 33 w 4181"/>
                  <a:gd name="connsiteY90" fmla="*/ 622 h 1047"/>
                  <a:gd name="connsiteX91" fmla="*/ 0 w 4181"/>
                  <a:gd name="connsiteY91" fmla="*/ 564 h 1047"/>
                  <a:gd name="connsiteX92" fmla="*/ 77 w 4181"/>
                  <a:gd name="connsiteY92" fmla="*/ 520 h 1047"/>
                  <a:gd name="connsiteX93" fmla="*/ 110 w 4181"/>
                  <a:gd name="connsiteY93" fmla="*/ 579 h 1047"/>
                  <a:gd name="connsiteX94" fmla="*/ 143 w 4181"/>
                  <a:gd name="connsiteY94" fmla="*/ 635 h 1047"/>
                  <a:gd name="connsiteX95" fmla="*/ 176 w 4181"/>
                  <a:gd name="connsiteY95" fmla="*/ 688 h 1047"/>
                  <a:gd name="connsiteX96" fmla="*/ 209 w 4181"/>
                  <a:gd name="connsiteY96" fmla="*/ 740 h 1047"/>
                  <a:gd name="connsiteX97" fmla="*/ 244 w 4181"/>
                  <a:gd name="connsiteY97" fmla="*/ 786 h 1047"/>
                  <a:gd name="connsiteX98" fmla="*/ 281 w 4181"/>
                  <a:gd name="connsiteY98" fmla="*/ 829 h 1047"/>
                  <a:gd name="connsiteX99" fmla="*/ 322 w 4181"/>
                  <a:gd name="connsiteY99" fmla="*/ 867 h 1047"/>
                  <a:gd name="connsiteX100" fmla="*/ 366 w 4181"/>
                  <a:gd name="connsiteY100" fmla="*/ 898 h 1047"/>
                  <a:gd name="connsiteX101" fmla="*/ 413 w 4181"/>
                  <a:gd name="connsiteY101" fmla="*/ 925 h 1047"/>
                  <a:gd name="connsiteX102" fmla="*/ 463 w 4181"/>
                  <a:gd name="connsiteY102" fmla="*/ 944 h 1047"/>
                  <a:gd name="connsiteX103" fmla="*/ 518 w 4181"/>
                  <a:gd name="connsiteY103" fmla="*/ 956 h 1047"/>
                  <a:gd name="connsiteX104" fmla="*/ 580 w 4181"/>
                  <a:gd name="connsiteY104" fmla="*/ 960 h 1047"/>
                  <a:gd name="connsiteX105" fmla="*/ 587 w 4181"/>
                  <a:gd name="connsiteY105" fmla="*/ 960 h 1047"/>
                  <a:gd name="connsiteX106" fmla="*/ 646 w 4181"/>
                  <a:gd name="connsiteY106" fmla="*/ 954 h 1047"/>
                  <a:gd name="connsiteX107" fmla="*/ 702 w 4181"/>
                  <a:gd name="connsiteY107" fmla="*/ 939 h 1047"/>
                  <a:gd name="connsiteX108" fmla="*/ 756 w 4181"/>
                  <a:gd name="connsiteY108" fmla="*/ 917 h 1047"/>
                  <a:gd name="connsiteX109" fmla="*/ 803 w 4181"/>
                  <a:gd name="connsiteY109" fmla="*/ 888 h 1047"/>
                  <a:gd name="connsiteX110" fmla="*/ 849 w 4181"/>
                  <a:gd name="connsiteY110" fmla="*/ 850 h 1047"/>
                  <a:gd name="connsiteX111" fmla="*/ 892 w 4181"/>
                  <a:gd name="connsiteY111" fmla="*/ 807 h 1047"/>
                  <a:gd name="connsiteX112" fmla="*/ 931 w 4181"/>
                  <a:gd name="connsiteY112" fmla="*/ 759 h 1047"/>
                  <a:gd name="connsiteX113" fmla="*/ 971 w 4181"/>
                  <a:gd name="connsiteY113" fmla="*/ 707 h 1047"/>
                  <a:gd name="connsiteX114" fmla="*/ 1010 w 4181"/>
                  <a:gd name="connsiteY114" fmla="*/ 653 h 1047"/>
                  <a:gd name="connsiteX115" fmla="*/ 1121 w 4181"/>
                  <a:gd name="connsiteY115" fmla="*/ 479 h 1047"/>
                  <a:gd name="connsiteX116" fmla="*/ 1161 w 4181"/>
                  <a:gd name="connsiteY116" fmla="*/ 419 h 1047"/>
                  <a:gd name="connsiteX117" fmla="*/ 1202 w 4181"/>
                  <a:gd name="connsiteY117" fmla="*/ 361 h 1047"/>
                  <a:gd name="connsiteX118" fmla="*/ 1245 w 4181"/>
                  <a:gd name="connsiteY118" fmla="*/ 303 h 1047"/>
                  <a:gd name="connsiteX119" fmla="*/ 1291 w 4181"/>
                  <a:gd name="connsiteY119" fmla="*/ 249 h 1047"/>
                  <a:gd name="connsiteX120" fmla="*/ 1338 w 4181"/>
                  <a:gd name="connsiteY120" fmla="*/ 197 h 1047"/>
                  <a:gd name="connsiteX121" fmla="*/ 1392 w 4181"/>
                  <a:gd name="connsiteY121" fmla="*/ 149 h 1047"/>
                  <a:gd name="connsiteX122" fmla="*/ 1447 w 4181"/>
                  <a:gd name="connsiteY122" fmla="*/ 108 h 1047"/>
                  <a:gd name="connsiteX123" fmla="*/ 1509 w 4181"/>
                  <a:gd name="connsiteY123" fmla="*/ 73 h 1047"/>
                  <a:gd name="connsiteX124" fmla="*/ 1575 w 4181"/>
                  <a:gd name="connsiteY124" fmla="*/ 44 h 1047"/>
                  <a:gd name="connsiteX125" fmla="*/ 1648 w 4181"/>
                  <a:gd name="connsiteY125" fmla="*/ 23 h 1047"/>
                  <a:gd name="connsiteX126" fmla="*/ 1726 w 4181"/>
                  <a:gd name="connsiteY126" fmla="*/ 10 h 1047"/>
                  <a:gd name="connsiteX127" fmla="*/ 1796 w 4181"/>
                  <a:gd name="connsiteY127" fmla="*/ 8 h 1047"/>
                  <a:gd name="connsiteX128" fmla="*/ 1862 w 4181"/>
                  <a:gd name="connsiteY128" fmla="*/ 17 h 1047"/>
                  <a:gd name="connsiteX129" fmla="*/ 1922 w 4181"/>
                  <a:gd name="connsiteY129" fmla="*/ 31 h 1047"/>
                  <a:gd name="connsiteX130" fmla="*/ 1980 w 4181"/>
                  <a:gd name="connsiteY130" fmla="*/ 54 h 1047"/>
                  <a:gd name="connsiteX131" fmla="*/ 2034 w 4181"/>
                  <a:gd name="connsiteY131" fmla="*/ 85 h 1047"/>
                  <a:gd name="connsiteX132" fmla="*/ 2083 w 4181"/>
                  <a:gd name="connsiteY132" fmla="*/ 120 h 1047"/>
                  <a:gd name="connsiteX133" fmla="*/ 2129 w 4181"/>
                  <a:gd name="connsiteY133" fmla="*/ 162 h 1047"/>
                  <a:gd name="connsiteX134" fmla="*/ 2174 w 4181"/>
                  <a:gd name="connsiteY134" fmla="*/ 207 h 1047"/>
                  <a:gd name="connsiteX135" fmla="*/ 2216 w 4181"/>
                  <a:gd name="connsiteY135" fmla="*/ 255 h 1047"/>
                  <a:gd name="connsiteX136" fmla="*/ 2255 w 4181"/>
                  <a:gd name="connsiteY136" fmla="*/ 307 h 1047"/>
                  <a:gd name="connsiteX137" fmla="*/ 2292 w 4181"/>
                  <a:gd name="connsiteY137" fmla="*/ 361 h 1047"/>
                  <a:gd name="connsiteX138" fmla="*/ 2327 w 4181"/>
                  <a:gd name="connsiteY138" fmla="*/ 417 h 1047"/>
                  <a:gd name="connsiteX139" fmla="*/ 2362 w 4181"/>
                  <a:gd name="connsiteY139" fmla="*/ 471 h 1047"/>
                  <a:gd name="connsiteX140" fmla="*/ 2395 w 4181"/>
                  <a:gd name="connsiteY140" fmla="*/ 527 h 1047"/>
                  <a:gd name="connsiteX141" fmla="*/ 2432 w 4181"/>
                  <a:gd name="connsiteY141" fmla="*/ 589 h 1047"/>
                  <a:gd name="connsiteX142" fmla="*/ 2469 w 4181"/>
                  <a:gd name="connsiteY142" fmla="*/ 647 h 1047"/>
                  <a:gd name="connsiteX143" fmla="*/ 2509 w 4181"/>
                  <a:gd name="connsiteY143" fmla="*/ 705 h 1047"/>
                  <a:gd name="connsiteX144" fmla="*/ 2546 w 4181"/>
                  <a:gd name="connsiteY144" fmla="*/ 759 h 1047"/>
                  <a:gd name="connsiteX145" fmla="*/ 2587 w 4181"/>
                  <a:gd name="connsiteY145" fmla="*/ 809 h 1047"/>
                  <a:gd name="connsiteX146" fmla="*/ 2628 w 4181"/>
                  <a:gd name="connsiteY146" fmla="*/ 852 h 1047"/>
                  <a:gd name="connsiteX147" fmla="*/ 2672 w 4181"/>
                  <a:gd name="connsiteY147" fmla="*/ 890 h 1047"/>
                  <a:gd name="connsiteX148" fmla="*/ 2717 w 4181"/>
                  <a:gd name="connsiteY148" fmla="*/ 921 h 1047"/>
                  <a:gd name="connsiteX149" fmla="*/ 2767 w 4181"/>
                  <a:gd name="connsiteY149" fmla="*/ 944 h 1047"/>
                  <a:gd name="connsiteX150" fmla="*/ 2820 w 4181"/>
                  <a:gd name="connsiteY150" fmla="*/ 956 h 1047"/>
                  <a:gd name="connsiteX151" fmla="*/ 2876 w 4181"/>
                  <a:gd name="connsiteY151" fmla="*/ 960 h 1047"/>
                  <a:gd name="connsiteX152" fmla="*/ 2932 w 4181"/>
                  <a:gd name="connsiteY152" fmla="*/ 954 h 1047"/>
                  <a:gd name="connsiteX153" fmla="*/ 2982 w 4181"/>
                  <a:gd name="connsiteY153" fmla="*/ 939 h 1047"/>
                  <a:gd name="connsiteX154" fmla="*/ 3029 w 4181"/>
                  <a:gd name="connsiteY154" fmla="*/ 919 h 1047"/>
                  <a:gd name="connsiteX155" fmla="*/ 3072 w 4181"/>
                  <a:gd name="connsiteY155" fmla="*/ 888 h 1047"/>
                  <a:gd name="connsiteX156" fmla="*/ 3112 w 4181"/>
                  <a:gd name="connsiteY156" fmla="*/ 852 h 1047"/>
                  <a:gd name="connsiteX157" fmla="*/ 3149 w 4181"/>
                  <a:gd name="connsiteY157" fmla="*/ 811 h 1047"/>
                  <a:gd name="connsiteX158" fmla="*/ 3184 w 4181"/>
                  <a:gd name="connsiteY158" fmla="*/ 763 h 1047"/>
                  <a:gd name="connsiteX159" fmla="*/ 3217 w 4181"/>
                  <a:gd name="connsiteY159" fmla="*/ 713 h 1047"/>
                  <a:gd name="connsiteX160" fmla="*/ 3250 w 4181"/>
                  <a:gd name="connsiteY160" fmla="*/ 659 h 1047"/>
                  <a:gd name="connsiteX161" fmla="*/ 3283 w 4181"/>
                  <a:gd name="connsiteY161" fmla="*/ 601 h 1047"/>
                  <a:gd name="connsiteX162" fmla="*/ 3316 w 4181"/>
                  <a:gd name="connsiteY162" fmla="*/ 541 h 1047"/>
                  <a:gd name="connsiteX163" fmla="*/ 3345 w 4181"/>
                  <a:gd name="connsiteY163" fmla="*/ 487 h 1047"/>
                  <a:gd name="connsiteX164" fmla="*/ 3407 w 4181"/>
                  <a:gd name="connsiteY164" fmla="*/ 379 h 1047"/>
                  <a:gd name="connsiteX165" fmla="*/ 3477 w 4181"/>
                  <a:gd name="connsiteY165" fmla="*/ 276 h 1047"/>
                  <a:gd name="connsiteX166" fmla="*/ 3514 w 4181"/>
                  <a:gd name="connsiteY166" fmla="*/ 228 h 1047"/>
                  <a:gd name="connsiteX167" fmla="*/ 3599 w 4181"/>
                  <a:gd name="connsiteY167" fmla="*/ 141 h 1047"/>
                  <a:gd name="connsiteX0" fmla="*/ 3514 w 4181"/>
                  <a:gd name="connsiteY0" fmla="*/ 224 h 1043"/>
                  <a:gd name="connsiteX1" fmla="*/ 4004 w 4181"/>
                  <a:gd name="connsiteY1" fmla="*/ 0 h 1043"/>
                  <a:gd name="connsiteX2" fmla="*/ 4181 w 4181"/>
                  <a:gd name="connsiteY2" fmla="*/ 158 h 1043"/>
                  <a:gd name="connsiteX3" fmla="*/ 4142 w 4181"/>
                  <a:gd name="connsiteY3" fmla="*/ 135 h 1043"/>
                  <a:gd name="connsiteX4" fmla="*/ 4092 w 4181"/>
                  <a:gd name="connsiteY4" fmla="*/ 112 h 1043"/>
                  <a:gd name="connsiteX5" fmla="*/ 4049 w 4181"/>
                  <a:gd name="connsiteY5" fmla="*/ 98 h 1043"/>
                  <a:gd name="connsiteX6" fmla="*/ 4014 w 4181"/>
                  <a:gd name="connsiteY6" fmla="*/ 89 h 1043"/>
                  <a:gd name="connsiteX7" fmla="*/ 3985 w 4181"/>
                  <a:gd name="connsiteY7" fmla="*/ 87 h 1043"/>
                  <a:gd name="connsiteX8" fmla="*/ 3958 w 4181"/>
                  <a:gd name="connsiteY8" fmla="*/ 87 h 1043"/>
                  <a:gd name="connsiteX9" fmla="*/ 3892 w 4181"/>
                  <a:gd name="connsiteY9" fmla="*/ 93 h 1043"/>
                  <a:gd name="connsiteX10" fmla="*/ 3830 w 4181"/>
                  <a:gd name="connsiteY10" fmla="*/ 106 h 1043"/>
                  <a:gd name="connsiteX11" fmla="*/ 3774 w 4181"/>
                  <a:gd name="connsiteY11" fmla="*/ 127 h 1043"/>
                  <a:gd name="connsiteX12" fmla="*/ 3723 w 4181"/>
                  <a:gd name="connsiteY12" fmla="*/ 154 h 1043"/>
                  <a:gd name="connsiteX13" fmla="*/ 3675 w 4181"/>
                  <a:gd name="connsiteY13" fmla="*/ 187 h 1043"/>
                  <a:gd name="connsiteX14" fmla="*/ 3632 w 4181"/>
                  <a:gd name="connsiteY14" fmla="*/ 224 h 1043"/>
                  <a:gd name="connsiteX15" fmla="*/ 3593 w 4181"/>
                  <a:gd name="connsiteY15" fmla="*/ 268 h 1043"/>
                  <a:gd name="connsiteX16" fmla="*/ 3553 w 4181"/>
                  <a:gd name="connsiteY16" fmla="*/ 313 h 1043"/>
                  <a:gd name="connsiteX17" fmla="*/ 3518 w 4181"/>
                  <a:gd name="connsiteY17" fmla="*/ 363 h 1043"/>
                  <a:gd name="connsiteX18" fmla="*/ 3485 w 4181"/>
                  <a:gd name="connsiteY18" fmla="*/ 415 h 1043"/>
                  <a:gd name="connsiteX19" fmla="*/ 3423 w 4181"/>
                  <a:gd name="connsiteY19" fmla="*/ 523 h 1043"/>
                  <a:gd name="connsiteX20" fmla="*/ 3330 w 4181"/>
                  <a:gd name="connsiteY20" fmla="*/ 691 h 1043"/>
                  <a:gd name="connsiteX21" fmla="*/ 3297 w 4181"/>
                  <a:gd name="connsiteY21" fmla="*/ 747 h 1043"/>
                  <a:gd name="connsiteX22" fmla="*/ 3262 w 4181"/>
                  <a:gd name="connsiteY22" fmla="*/ 799 h 1043"/>
                  <a:gd name="connsiteX23" fmla="*/ 3227 w 4181"/>
                  <a:gd name="connsiteY23" fmla="*/ 848 h 1043"/>
                  <a:gd name="connsiteX24" fmla="*/ 3188 w 4181"/>
                  <a:gd name="connsiteY24" fmla="*/ 894 h 1043"/>
                  <a:gd name="connsiteX25" fmla="*/ 3147 w 4181"/>
                  <a:gd name="connsiteY25" fmla="*/ 935 h 1043"/>
                  <a:gd name="connsiteX26" fmla="*/ 3101 w 4181"/>
                  <a:gd name="connsiteY26" fmla="*/ 971 h 1043"/>
                  <a:gd name="connsiteX27" fmla="*/ 3052 w 4181"/>
                  <a:gd name="connsiteY27" fmla="*/ 1000 h 1043"/>
                  <a:gd name="connsiteX28" fmla="*/ 3000 w 4181"/>
                  <a:gd name="connsiteY28" fmla="*/ 1022 h 1043"/>
                  <a:gd name="connsiteX29" fmla="*/ 2942 w 4181"/>
                  <a:gd name="connsiteY29" fmla="*/ 1037 h 1043"/>
                  <a:gd name="connsiteX30" fmla="*/ 2878 w 4181"/>
                  <a:gd name="connsiteY30" fmla="*/ 1043 h 1043"/>
                  <a:gd name="connsiteX31" fmla="*/ 2870 w 4181"/>
                  <a:gd name="connsiteY31" fmla="*/ 1043 h 1043"/>
                  <a:gd name="connsiteX32" fmla="*/ 2808 w 4181"/>
                  <a:gd name="connsiteY32" fmla="*/ 1039 h 1043"/>
                  <a:gd name="connsiteX33" fmla="*/ 2748 w 4181"/>
                  <a:gd name="connsiteY33" fmla="*/ 1025 h 1043"/>
                  <a:gd name="connsiteX34" fmla="*/ 2695 w 4181"/>
                  <a:gd name="connsiteY34" fmla="*/ 1002 h 1043"/>
                  <a:gd name="connsiteX35" fmla="*/ 2643 w 4181"/>
                  <a:gd name="connsiteY35" fmla="*/ 973 h 1043"/>
                  <a:gd name="connsiteX36" fmla="*/ 2595 w 4181"/>
                  <a:gd name="connsiteY36" fmla="*/ 935 h 1043"/>
                  <a:gd name="connsiteX37" fmla="*/ 2552 w 4181"/>
                  <a:gd name="connsiteY37" fmla="*/ 894 h 1043"/>
                  <a:gd name="connsiteX38" fmla="*/ 2509 w 4181"/>
                  <a:gd name="connsiteY38" fmla="*/ 846 h 1043"/>
                  <a:gd name="connsiteX39" fmla="*/ 2469 w 4181"/>
                  <a:gd name="connsiteY39" fmla="*/ 796 h 1043"/>
                  <a:gd name="connsiteX40" fmla="*/ 2430 w 4181"/>
                  <a:gd name="connsiteY40" fmla="*/ 740 h 1043"/>
                  <a:gd name="connsiteX41" fmla="*/ 2393 w 4181"/>
                  <a:gd name="connsiteY41" fmla="*/ 684 h 1043"/>
                  <a:gd name="connsiteX42" fmla="*/ 2288 w 4181"/>
                  <a:gd name="connsiteY42" fmla="*/ 510 h 1043"/>
                  <a:gd name="connsiteX43" fmla="*/ 2251 w 4181"/>
                  <a:gd name="connsiteY43" fmla="*/ 452 h 1043"/>
                  <a:gd name="connsiteX44" fmla="*/ 2213 w 4181"/>
                  <a:gd name="connsiteY44" fmla="*/ 396 h 1043"/>
                  <a:gd name="connsiteX45" fmla="*/ 2176 w 4181"/>
                  <a:gd name="connsiteY45" fmla="*/ 342 h 1043"/>
                  <a:gd name="connsiteX46" fmla="*/ 2137 w 4181"/>
                  <a:gd name="connsiteY46" fmla="*/ 293 h 1043"/>
                  <a:gd name="connsiteX47" fmla="*/ 2096 w 4181"/>
                  <a:gd name="connsiteY47" fmla="*/ 247 h 1043"/>
                  <a:gd name="connsiteX48" fmla="*/ 2054 w 4181"/>
                  <a:gd name="connsiteY48" fmla="*/ 205 h 1043"/>
                  <a:gd name="connsiteX49" fmla="*/ 2009 w 4181"/>
                  <a:gd name="connsiteY49" fmla="*/ 168 h 1043"/>
                  <a:gd name="connsiteX50" fmla="*/ 1962 w 4181"/>
                  <a:gd name="connsiteY50" fmla="*/ 139 h 1043"/>
                  <a:gd name="connsiteX51" fmla="*/ 1910 w 4181"/>
                  <a:gd name="connsiteY51" fmla="*/ 116 h 1043"/>
                  <a:gd name="connsiteX52" fmla="*/ 1854 w 4181"/>
                  <a:gd name="connsiteY52" fmla="*/ 100 h 1043"/>
                  <a:gd name="connsiteX53" fmla="*/ 1796 w 4181"/>
                  <a:gd name="connsiteY53" fmla="*/ 91 h 1043"/>
                  <a:gd name="connsiteX54" fmla="*/ 1732 w 4181"/>
                  <a:gd name="connsiteY54" fmla="*/ 93 h 1043"/>
                  <a:gd name="connsiteX55" fmla="*/ 1664 w 4181"/>
                  <a:gd name="connsiteY55" fmla="*/ 104 h 1043"/>
                  <a:gd name="connsiteX56" fmla="*/ 1602 w 4181"/>
                  <a:gd name="connsiteY56" fmla="*/ 122 h 1043"/>
                  <a:gd name="connsiteX57" fmla="*/ 1545 w 4181"/>
                  <a:gd name="connsiteY57" fmla="*/ 147 h 1043"/>
                  <a:gd name="connsiteX58" fmla="*/ 1491 w 4181"/>
                  <a:gd name="connsiteY58" fmla="*/ 181 h 1043"/>
                  <a:gd name="connsiteX59" fmla="*/ 1439 w 4181"/>
                  <a:gd name="connsiteY59" fmla="*/ 218 h 1043"/>
                  <a:gd name="connsiteX60" fmla="*/ 1394 w 4181"/>
                  <a:gd name="connsiteY60" fmla="*/ 261 h 1043"/>
                  <a:gd name="connsiteX61" fmla="*/ 1348 w 4181"/>
                  <a:gd name="connsiteY61" fmla="*/ 307 h 1043"/>
                  <a:gd name="connsiteX62" fmla="*/ 1307 w 4181"/>
                  <a:gd name="connsiteY62" fmla="*/ 359 h 1043"/>
                  <a:gd name="connsiteX63" fmla="*/ 1268 w 4181"/>
                  <a:gd name="connsiteY63" fmla="*/ 413 h 1043"/>
                  <a:gd name="connsiteX64" fmla="*/ 1231 w 4181"/>
                  <a:gd name="connsiteY64" fmla="*/ 467 h 1043"/>
                  <a:gd name="connsiteX65" fmla="*/ 1194 w 4181"/>
                  <a:gd name="connsiteY65" fmla="*/ 523 h 1043"/>
                  <a:gd name="connsiteX66" fmla="*/ 1156 w 4181"/>
                  <a:gd name="connsiteY66" fmla="*/ 581 h 1043"/>
                  <a:gd name="connsiteX67" fmla="*/ 1121 w 4181"/>
                  <a:gd name="connsiteY67" fmla="*/ 637 h 1043"/>
                  <a:gd name="connsiteX68" fmla="*/ 1047 w 4181"/>
                  <a:gd name="connsiteY68" fmla="*/ 749 h 1043"/>
                  <a:gd name="connsiteX69" fmla="*/ 1008 w 4181"/>
                  <a:gd name="connsiteY69" fmla="*/ 801 h 1043"/>
                  <a:gd name="connsiteX70" fmla="*/ 966 w 4181"/>
                  <a:gd name="connsiteY70" fmla="*/ 850 h 1043"/>
                  <a:gd name="connsiteX71" fmla="*/ 923 w 4181"/>
                  <a:gd name="connsiteY71" fmla="*/ 896 h 1043"/>
                  <a:gd name="connsiteX72" fmla="*/ 876 w 4181"/>
                  <a:gd name="connsiteY72" fmla="*/ 937 h 1043"/>
                  <a:gd name="connsiteX73" fmla="*/ 826 w 4181"/>
                  <a:gd name="connsiteY73" fmla="*/ 973 h 1043"/>
                  <a:gd name="connsiteX74" fmla="*/ 772 w 4181"/>
                  <a:gd name="connsiteY74" fmla="*/ 1002 h 1043"/>
                  <a:gd name="connsiteX75" fmla="*/ 717 w 4181"/>
                  <a:gd name="connsiteY75" fmla="*/ 1025 h 1043"/>
                  <a:gd name="connsiteX76" fmla="*/ 653 w 4181"/>
                  <a:gd name="connsiteY76" fmla="*/ 1037 h 1043"/>
                  <a:gd name="connsiteX77" fmla="*/ 587 w 4181"/>
                  <a:gd name="connsiteY77" fmla="*/ 1043 h 1043"/>
                  <a:gd name="connsiteX78" fmla="*/ 580 w 4181"/>
                  <a:gd name="connsiteY78" fmla="*/ 1043 h 1043"/>
                  <a:gd name="connsiteX79" fmla="*/ 512 w 4181"/>
                  <a:gd name="connsiteY79" fmla="*/ 1039 h 1043"/>
                  <a:gd name="connsiteX80" fmla="*/ 450 w 4181"/>
                  <a:gd name="connsiteY80" fmla="*/ 1027 h 1043"/>
                  <a:gd name="connsiteX81" fmla="*/ 392 w 4181"/>
                  <a:gd name="connsiteY81" fmla="*/ 1008 h 1043"/>
                  <a:gd name="connsiteX82" fmla="*/ 341 w 4181"/>
                  <a:gd name="connsiteY82" fmla="*/ 983 h 1043"/>
                  <a:gd name="connsiteX83" fmla="*/ 293 w 4181"/>
                  <a:gd name="connsiteY83" fmla="*/ 952 h 1043"/>
                  <a:gd name="connsiteX84" fmla="*/ 248 w 4181"/>
                  <a:gd name="connsiteY84" fmla="*/ 915 h 1043"/>
                  <a:gd name="connsiteX85" fmla="*/ 207 w 4181"/>
                  <a:gd name="connsiteY85" fmla="*/ 873 h 1043"/>
                  <a:gd name="connsiteX86" fmla="*/ 169 w 4181"/>
                  <a:gd name="connsiteY86" fmla="*/ 828 h 1043"/>
                  <a:gd name="connsiteX87" fmla="*/ 132 w 4181"/>
                  <a:gd name="connsiteY87" fmla="*/ 780 h 1043"/>
                  <a:gd name="connsiteX88" fmla="*/ 99 w 4181"/>
                  <a:gd name="connsiteY88" fmla="*/ 728 h 1043"/>
                  <a:gd name="connsiteX89" fmla="*/ 64 w 4181"/>
                  <a:gd name="connsiteY89" fmla="*/ 674 h 1043"/>
                  <a:gd name="connsiteX90" fmla="*/ 33 w 4181"/>
                  <a:gd name="connsiteY90" fmla="*/ 618 h 1043"/>
                  <a:gd name="connsiteX91" fmla="*/ 0 w 4181"/>
                  <a:gd name="connsiteY91" fmla="*/ 560 h 1043"/>
                  <a:gd name="connsiteX92" fmla="*/ 77 w 4181"/>
                  <a:gd name="connsiteY92" fmla="*/ 516 h 1043"/>
                  <a:gd name="connsiteX93" fmla="*/ 110 w 4181"/>
                  <a:gd name="connsiteY93" fmla="*/ 575 h 1043"/>
                  <a:gd name="connsiteX94" fmla="*/ 143 w 4181"/>
                  <a:gd name="connsiteY94" fmla="*/ 631 h 1043"/>
                  <a:gd name="connsiteX95" fmla="*/ 176 w 4181"/>
                  <a:gd name="connsiteY95" fmla="*/ 684 h 1043"/>
                  <a:gd name="connsiteX96" fmla="*/ 209 w 4181"/>
                  <a:gd name="connsiteY96" fmla="*/ 736 h 1043"/>
                  <a:gd name="connsiteX97" fmla="*/ 244 w 4181"/>
                  <a:gd name="connsiteY97" fmla="*/ 782 h 1043"/>
                  <a:gd name="connsiteX98" fmla="*/ 281 w 4181"/>
                  <a:gd name="connsiteY98" fmla="*/ 825 h 1043"/>
                  <a:gd name="connsiteX99" fmla="*/ 322 w 4181"/>
                  <a:gd name="connsiteY99" fmla="*/ 863 h 1043"/>
                  <a:gd name="connsiteX100" fmla="*/ 366 w 4181"/>
                  <a:gd name="connsiteY100" fmla="*/ 894 h 1043"/>
                  <a:gd name="connsiteX101" fmla="*/ 413 w 4181"/>
                  <a:gd name="connsiteY101" fmla="*/ 921 h 1043"/>
                  <a:gd name="connsiteX102" fmla="*/ 463 w 4181"/>
                  <a:gd name="connsiteY102" fmla="*/ 940 h 1043"/>
                  <a:gd name="connsiteX103" fmla="*/ 518 w 4181"/>
                  <a:gd name="connsiteY103" fmla="*/ 952 h 1043"/>
                  <a:gd name="connsiteX104" fmla="*/ 580 w 4181"/>
                  <a:gd name="connsiteY104" fmla="*/ 956 h 1043"/>
                  <a:gd name="connsiteX105" fmla="*/ 587 w 4181"/>
                  <a:gd name="connsiteY105" fmla="*/ 956 h 1043"/>
                  <a:gd name="connsiteX106" fmla="*/ 646 w 4181"/>
                  <a:gd name="connsiteY106" fmla="*/ 950 h 1043"/>
                  <a:gd name="connsiteX107" fmla="*/ 702 w 4181"/>
                  <a:gd name="connsiteY107" fmla="*/ 935 h 1043"/>
                  <a:gd name="connsiteX108" fmla="*/ 756 w 4181"/>
                  <a:gd name="connsiteY108" fmla="*/ 913 h 1043"/>
                  <a:gd name="connsiteX109" fmla="*/ 803 w 4181"/>
                  <a:gd name="connsiteY109" fmla="*/ 884 h 1043"/>
                  <a:gd name="connsiteX110" fmla="*/ 849 w 4181"/>
                  <a:gd name="connsiteY110" fmla="*/ 846 h 1043"/>
                  <a:gd name="connsiteX111" fmla="*/ 892 w 4181"/>
                  <a:gd name="connsiteY111" fmla="*/ 803 h 1043"/>
                  <a:gd name="connsiteX112" fmla="*/ 931 w 4181"/>
                  <a:gd name="connsiteY112" fmla="*/ 755 h 1043"/>
                  <a:gd name="connsiteX113" fmla="*/ 971 w 4181"/>
                  <a:gd name="connsiteY113" fmla="*/ 703 h 1043"/>
                  <a:gd name="connsiteX114" fmla="*/ 1010 w 4181"/>
                  <a:gd name="connsiteY114" fmla="*/ 649 h 1043"/>
                  <a:gd name="connsiteX115" fmla="*/ 1121 w 4181"/>
                  <a:gd name="connsiteY115" fmla="*/ 475 h 1043"/>
                  <a:gd name="connsiteX116" fmla="*/ 1161 w 4181"/>
                  <a:gd name="connsiteY116" fmla="*/ 415 h 1043"/>
                  <a:gd name="connsiteX117" fmla="*/ 1202 w 4181"/>
                  <a:gd name="connsiteY117" fmla="*/ 357 h 1043"/>
                  <a:gd name="connsiteX118" fmla="*/ 1245 w 4181"/>
                  <a:gd name="connsiteY118" fmla="*/ 299 h 1043"/>
                  <a:gd name="connsiteX119" fmla="*/ 1291 w 4181"/>
                  <a:gd name="connsiteY119" fmla="*/ 245 h 1043"/>
                  <a:gd name="connsiteX120" fmla="*/ 1338 w 4181"/>
                  <a:gd name="connsiteY120" fmla="*/ 193 h 1043"/>
                  <a:gd name="connsiteX121" fmla="*/ 1392 w 4181"/>
                  <a:gd name="connsiteY121" fmla="*/ 145 h 1043"/>
                  <a:gd name="connsiteX122" fmla="*/ 1447 w 4181"/>
                  <a:gd name="connsiteY122" fmla="*/ 104 h 1043"/>
                  <a:gd name="connsiteX123" fmla="*/ 1509 w 4181"/>
                  <a:gd name="connsiteY123" fmla="*/ 69 h 1043"/>
                  <a:gd name="connsiteX124" fmla="*/ 1575 w 4181"/>
                  <a:gd name="connsiteY124" fmla="*/ 40 h 1043"/>
                  <a:gd name="connsiteX125" fmla="*/ 1648 w 4181"/>
                  <a:gd name="connsiteY125" fmla="*/ 19 h 1043"/>
                  <a:gd name="connsiteX126" fmla="*/ 1726 w 4181"/>
                  <a:gd name="connsiteY126" fmla="*/ 6 h 1043"/>
                  <a:gd name="connsiteX127" fmla="*/ 1796 w 4181"/>
                  <a:gd name="connsiteY127" fmla="*/ 4 h 1043"/>
                  <a:gd name="connsiteX128" fmla="*/ 1862 w 4181"/>
                  <a:gd name="connsiteY128" fmla="*/ 13 h 1043"/>
                  <a:gd name="connsiteX129" fmla="*/ 1922 w 4181"/>
                  <a:gd name="connsiteY129" fmla="*/ 27 h 1043"/>
                  <a:gd name="connsiteX130" fmla="*/ 1980 w 4181"/>
                  <a:gd name="connsiteY130" fmla="*/ 50 h 1043"/>
                  <a:gd name="connsiteX131" fmla="*/ 2034 w 4181"/>
                  <a:gd name="connsiteY131" fmla="*/ 81 h 1043"/>
                  <a:gd name="connsiteX132" fmla="*/ 2083 w 4181"/>
                  <a:gd name="connsiteY132" fmla="*/ 116 h 1043"/>
                  <a:gd name="connsiteX133" fmla="*/ 2129 w 4181"/>
                  <a:gd name="connsiteY133" fmla="*/ 158 h 1043"/>
                  <a:gd name="connsiteX134" fmla="*/ 2174 w 4181"/>
                  <a:gd name="connsiteY134" fmla="*/ 203 h 1043"/>
                  <a:gd name="connsiteX135" fmla="*/ 2216 w 4181"/>
                  <a:gd name="connsiteY135" fmla="*/ 251 h 1043"/>
                  <a:gd name="connsiteX136" fmla="*/ 2255 w 4181"/>
                  <a:gd name="connsiteY136" fmla="*/ 303 h 1043"/>
                  <a:gd name="connsiteX137" fmla="*/ 2292 w 4181"/>
                  <a:gd name="connsiteY137" fmla="*/ 357 h 1043"/>
                  <a:gd name="connsiteX138" fmla="*/ 2327 w 4181"/>
                  <a:gd name="connsiteY138" fmla="*/ 413 h 1043"/>
                  <a:gd name="connsiteX139" fmla="*/ 2362 w 4181"/>
                  <a:gd name="connsiteY139" fmla="*/ 467 h 1043"/>
                  <a:gd name="connsiteX140" fmla="*/ 2395 w 4181"/>
                  <a:gd name="connsiteY140" fmla="*/ 523 h 1043"/>
                  <a:gd name="connsiteX141" fmla="*/ 2432 w 4181"/>
                  <a:gd name="connsiteY141" fmla="*/ 585 h 1043"/>
                  <a:gd name="connsiteX142" fmla="*/ 2469 w 4181"/>
                  <a:gd name="connsiteY142" fmla="*/ 643 h 1043"/>
                  <a:gd name="connsiteX143" fmla="*/ 2509 w 4181"/>
                  <a:gd name="connsiteY143" fmla="*/ 701 h 1043"/>
                  <a:gd name="connsiteX144" fmla="*/ 2546 w 4181"/>
                  <a:gd name="connsiteY144" fmla="*/ 755 h 1043"/>
                  <a:gd name="connsiteX145" fmla="*/ 2587 w 4181"/>
                  <a:gd name="connsiteY145" fmla="*/ 805 h 1043"/>
                  <a:gd name="connsiteX146" fmla="*/ 2628 w 4181"/>
                  <a:gd name="connsiteY146" fmla="*/ 848 h 1043"/>
                  <a:gd name="connsiteX147" fmla="*/ 2672 w 4181"/>
                  <a:gd name="connsiteY147" fmla="*/ 886 h 1043"/>
                  <a:gd name="connsiteX148" fmla="*/ 2717 w 4181"/>
                  <a:gd name="connsiteY148" fmla="*/ 917 h 1043"/>
                  <a:gd name="connsiteX149" fmla="*/ 2767 w 4181"/>
                  <a:gd name="connsiteY149" fmla="*/ 940 h 1043"/>
                  <a:gd name="connsiteX150" fmla="*/ 2820 w 4181"/>
                  <a:gd name="connsiteY150" fmla="*/ 952 h 1043"/>
                  <a:gd name="connsiteX151" fmla="*/ 2876 w 4181"/>
                  <a:gd name="connsiteY151" fmla="*/ 956 h 1043"/>
                  <a:gd name="connsiteX152" fmla="*/ 2932 w 4181"/>
                  <a:gd name="connsiteY152" fmla="*/ 950 h 1043"/>
                  <a:gd name="connsiteX153" fmla="*/ 2982 w 4181"/>
                  <a:gd name="connsiteY153" fmla="*/ 935 h 1043"/>
                  <a:gd name="connsiteX154" fmla="*/ 3029 w 4181"/>
                  <a:gd name="connsiteY154" fmla="*/ 915 h 1043"/>
                  <a:gd name="connsiteX155" fmla="*/ 3072 w 4181"/>
                  <a:gd name="connsiteY155" fmla="*/ 884 h 1043"/>
                  <a:gd name="connsiteX156" fmla="*/ 3112 w 4181"/>
                  <a:gd name="connsiteY156" fmla="*/ 848 h 1043"/>
                  <a:gd name="connsiteX157" fmla="*/ 3149 w 4181"/>
                  <a:gd name="connsiteY157" fmla="*/ 807 h 1043"/>
                  <a:gd name="connsiteX158" fmla="*/ 3184 w 4181"/>
                  <a:gd name="connsiteY158" fmla="*/ 759 h 1043"/>
                  <a:gd name="connsiteX159" fmla="*/ 3217 w 4181"/>
                  <a:gd name="connsiteY159" fmla="*/ 709 h 1043"/>
                  <a:gd name="connsiteX160" fmla="*/ 3250 w 4181"/>
                  <a:gd name="connsiteY160" fmla="*/ 655 h 1043"/>
                  <a:gd name="connsiteX161" fmla="*/ 3283 w 4181"/>
                  <a:gd name="connsiteY161" fmla="*/ 597 h 1043"/>
                  <a:gd name="connsiteX162" fmla="*/ 3316 w 4181"/>
                  <a:gd name="connsiteY162" fmla="*/ 537 h 1043"/>
                  <a:gd name="connsiteX163" fmla="*/ 3345 w 4181"/>
                  <a:gd name="connsiteY163" fmla="*/ 483 h 1043"/>
                  <a:gd name="connsiteX164" fmla="*/ 3407 w 4181"/>
                  <a:gd name="connsiteY164" fmla="*/ 375 h 1043"/>
                  <a:gd name="connsiteX165" fmla="*/ 3477 w 4181"/>
                  <a:gd name="connsiteY165" fmla="*/ 272 h 1043"/>
                  <a:gd name="connsiteX166" fmla="*/ 3514 w 4181"/>
                  <a:gd name="connsiteY166" fmla="*/ 224 h 1043"/>
                  <a:gd name="connsiteX0" fmla="*/ 3477 w 4181"/>
                  <a:gd name="connsiteY0" fmla="*/ 272 h 1043"/>
                  <a:gd name="connsiteX1" fmla="*/ 4004 w 4181"/>
                  <a:gd name="connsiteY1" fmla="*/ 0 h 1043"/>
                  <a:gd name="connsiteX2" fmla="*/ 4181 w 4181"/>
                  <a:gd name="connsiteY2" fmla="*/ 158 h 1043"/>
                  <a:gd name="connsiteX3" fmla="*/ 4142 w 4181"/>
                  <a:gd name="connsiteY3" fmla="*/ 135 h 1043"/>
                  <a:gd name="connsiteX4" fmla="*/ 4092 w 4181"/>
                  <a:gd name="connsiteY4" fmla="*/ 112 h 1043"/>
                  <a:gd name="connsiteX5" fmla="*/ 4049 w 4181"/>
                  <a:gd name="connsiteY5" fmla="*/ 98 h 1043"/>
                  <a:gd name="connsiteX6" fmla="*/ 4014 w 4181"/>
                  <a:gd name="connsiteY6" fmla="*/ 89 h 1043"/>
                  <a:gd name="connsiteX7" fmla="*/ 3985 w 4181"/>
                  <a:gd name="connsiteY7" fmla="*/ 87 h 1043"/>
                  <a:gd name="connsiteX8" fmla="*/ 3958 w 4181"/>
                  <a:gd name="connsiteY8" fmla="*/ 87 h 1043"/>
                  <a:gd name="connsiteX9" fmla="*/ 3892 w 4181"/>
                  <a:gd name="connsiteY9" fmla="*/ 93 h 1043"/>
                  <a:gd name="connsiteX10" fmla="*/ 3830 w 4181"/>
                  <a:gd name="connsiteY10" fmla="*/ 106 h 1043"/>
                  <a:gd name="connsiteX11" fmla="*/ 3774 w 4181"/>
                  <a:gd name="connsiteY11" fmla="*/ 127 h 1043"/>
                  <a:gd name="connsiteX12" fmla="*/ 3723 w 4181"/>
                  <a:gd name="connsiteY12" fmla="*/ 154 h 1043"/>
                  <a:gd name="connsiteX13" fmla="*/ 3675 w 4181"/>
                  <a:gd name="connsiteY13" fmla="*/ 187 h 1043"/>
                  <a:gd name="connsiteX14" fmla="*/ 3632 w 4181"/>
                  <a:gd name="connsiteY14" fmla="*/ 224 h 1043"/>
                  <a:gd name="connsiteX15" fmla="*/ 3593 w 4181"/>
                  <a:gd name="connsiteY15" fmla="*/ 268 h 1043"/>
                  <a:gd name="connsiteX16" fmla="*/ 3553 w 4181"/>
                  <a:gd name="connsiteY16" fmla="*/ 313 h 1043"/>
                  <a:gd name="connsiteX17" fmla="*/ 3518 w 4181"/>
                  <a:gd name="connsiteY17" fmla="*/ 363 h 1043"/>
                  <a:gd name="connsiteX18" fmla="*/ 3485 w 4181"/>
                  <a:gd name="connsiteY18" fmla="*/ 415 h 1043"/>
                  <a:gd name="connsiteX19" fmla="*/ 3423 w 4181"/>
                  <a:gd name="connsiteY19" fmla="*/ 523 h 1043"/>
                  <a:gd name="connsiteX20" fmla="*/ 3330 w 4181"/>
                  <a:gd name="connsiteY20" fmla="*/ 691 h 1043"/>
                  <a:gd name="connsiteX21" fmla="*/ 3297 w 4181"/>
                  <a:gd name="connsiteY21" fmla="*/ 747 h 1043"/>
                  <a:gd name="connsiteX22" fmla="*/ 3262 w 4181"/>
                  <a:gd name="connsiteY22" fmla="*/ 799 h 1043"/>
                  <a:gd name="connsiteX23" fmla="*/ 3227 w 4181"/>
                  <a:gd name="connsiteY23" fmla="*/ 848 h 1043"/>
                  <a:gd name="connsiteX24" fmla="*/ 3188 w 4181"/>
                  <a:gd name="connsiteY24" fmla="*/ 894 h 1043"/>
                  <a:gd name="connsiteX25" fmla="*/ 3147 w 4181"/>
                  <a:gd name="connsiteY25" fmla="*/ 935 h 1043"/>
                  <a:gd name="connsiteX26" fmla="*/ 3101 w 4181"/>
                  <a:gd name="connsiteY26" fmla="*/ 971 h 1043"/>
                  <a:gd name="connsiteX27" fmla="*/ 3052 w 4181"/>
                  <a:gd name="connsiteY27" fmla="*/ 1000 h 1043"/>
                  <a:gd name="connsiteX28" fmla="*/ 3000 w 4181"/>
                  <a:gd name="connsiteY28" fmla="*/ 1022 h 1043"/>
                  <a:gd name="connsiteX29" fmla="*/ 2942 w 4181"/>
                  <a:gd name="connsiteY29" fmla="*/ 1037 h 1043"/>
                  <a:gd name="connsiteX30" fmla="*/ 2878 w 4181"/>
                  <a:gd name="connsiteY30" fmla="*/ 1043 h 1043"/>
                  <a:gd name="connsiteX31" fmla="*/ 2870 w 4181"/>
                  <a:gd name="connsiteY31" fmla="*/ 1043 h 1043"/>
                  <a:gd name="connsiteX32" fmla="*/ 2808 w 4181"/>
                  <a:gd name="connsiteY32" fmla="*/ 1039 h 1043"/>
                  <a:gd name="connsiteX33" fmla="*/ 2748 w 4181"/>
                  <a:gd name="connsiteY33" fmla="*/ 1025 h 1043"/>
                  <a:gd name="connsiteX34" fmla="*/ 2695 w 4181"/>
                  <a:gd name="connsiteY34" fmla="*/ 1002 h 1043"/>
                  <a:gd name="connsiteX35" fmla="*/ 2643 w 4181"/>
                  <a:gd name="connsiteY35" fmla="*/ 973 h 1043"/>
                  <a:gd name="connsiteX36" fmla="*/ 2595 w 4181"/>
                  <a:gd name="connsiteY36" fmla="*/ 935 h 1043"/>
                  <a:gd name="connsiteX37" fmla="*/ 2552 w 4181"/>
                  <a:gd name="connsiteY37" fmla="*/ 894 h 1043"/>
                  <a:gd name="connsiteX38" fmla="*/ 2509 w 4181"/>
                  <a:gd name="connsiteY38" fmla="*/ 846 h 1043"/>
                  <a:gd name="connsiteX39" fmla="*/ 2469 w 4181"/>
                  <a:gd name="connsiteY39" fmla="*/ 796 h 1043"/>
                  <a:gd name="connsiteX40" fmla="*/ 2430 w 4181"/>
                  <a:gd name="connsiteY40" fmla="*/ 740 h 1043"/>
                  <a:gd name="connsiteX41" fmla="*/ 2393 w 4181"/>
                  <a:gd name="connsiteY41" fmla="*/ 684 h 1043"/>
                  <a:gd name="connsiteX42" fmla="*/ 2288 w 4181"/>
                  <a:gd name="connsiteY42" fmla="*/ 510 h 1043"/>
                  <a:gd name="connsiteX43" fmla="*/ 2251 w 4181"/>
                  <a:gd name="connsiteY43" fmla="*/ 452 h 1043"/>
                  <a:gd name="connsiteX44" fmla="*/ 2213 w 4181"/>
                  <a:gd name="connsiteY44" fmla="*/ 396 h 1043"/>
                  <a:gd name="connsiteX45" fmla="*/ 2176 w 4181"/>
                  <a:gd name="connsiteY45" fmla="*/ 342 h 1043"/>
                  <a:gd name="connsiteX46" fmla="*/ 2137 w 4181"/>
                  <a:gd name="connsiteY46" fmla="*/ 293 h 1043"/>
                  <a:gd name="connsiteX47" fmla="*/ 2096 w 4181"/>
                  <a:gd name="connsiteY47" fmla="*/ 247 h 1043"/>
                  <a:gd name="connsiteX48" fmla="*/ 2054 w 4181"/>
                  <a:gd name="connsiteY48" fmla="*/ 205 h 1043"/>
                  <a:gd name="connsiteX49" fmla="*/ 2009 w 4181"/>
                  <a:gd name="connsiteY49" fmla="*/ 168 h 1043"/>
                  <a:gd name="connsiteX50" fmla="*/ 1962 w 4181"/>
                  <a:gd name="connsiteY50" fmla="*/ 139 h 1043"/>
                  <a:gd name="connsiteX51" fmla="*/ 1910 w 4181"/>
                  <a:gd name="connsiteY51" fmla="*/ 116 h 1043"/>
                  <a:gd name="connsiteX52" fmla="*/ 1854 w 4181"/>
                  <a:gd name="connsiteY52" fmla="*/ 100 h 1043"/>
                  <a:gd name="connsiteX53" fmla="*/ 1796 w 4181"/>
                  <a:gd name="connsiteY53" fmla="*/ 91 h 1043"/>
                  <a:gd name="connsiteX54" fmla="*/ 1732 w 4181"/>
                  <a:gd name="connsiteY54" fmla="*/ 93 h 1043"/>
                  <a:gd name="connsiteX55" fmla="*/ 1664 w 4181"/>
                  <a:gd name="connsiteY55" fmla="*/ 104 h 1043"/>
                  <a:gd name="connsiteX56" fmla="*/ 1602 w 4181"/>
                  <a:gd name="connsiteY56" fmla="*/ 122 h 1043"/>
                  <a:gd name="connsiteX57" fmla="*/ 1545 w 4181"/>
                  <a:gd name="connsiteY57" fmla="*/ 147 h 1043"/>
                  <a:gd name="connsiteX58" fmla="*/ 1491 w 4181"/>
                  <a:gd name="connsiteY58" fmla="*/ 181 h 1043"/>
                  <a:gd name="connsiteX59" fmla="*/ 1439 w 4181"/>
                  <a:gd name="connsiteY59" fmla="*/ 218 h 1043"/>
                  <a:gd name="connsiteX60" fmla="*/ 1394 w 4181"/>
                  <a:gd name="connsiteY60" fmla="*/ 261 h 1043"/>
                  <a:gd name="connsiteX61" fmla="*/ 1348 w 4181"/>
                  <a:gd name="connsiteY61" fmla="*/ 307 h 1043"/>
                  <a:gd name="connsiteX62" fmla="*/ 1307 w 4181"/>
                  <a:gd name="connsiteY62" fmla="*/ 359 h 1043"/>
                  <a:gd name="connsiteX63" fmla="*/ 1268 w 4181"/>
                  <a:gd name="connsiteY63" fmla="*/ 413 h 1043"/>
                  <a:gd name="connsiteX64" fmla="*/ 1231 w 4181"/>
                  <a:gd name="connsiteY64" fmla="*/ 467 h 1043"/>
                  <a:gd name="connsiteX65" fmla="*/ 1194 w 4181"/>
                  <a:gd name="connsiteY65" fmla="*/ 523 h 1043"/>
                  <a:gd name="connsiteX66" fmla="*/ 1156 w 4181"/>
                  <a:gd name="connsiteY66" fmla="*/ 581 h 1043"/>
                  <a:gd name="connsiteX67" fmla="*/ 1121 w 4181"/>
                  <a:gd name="connsiteY67" fmla="*/ 637 h 1043"/>
                  <a:gd name="connsiteX68" fmla="*/ 1047 w 4181"/>
                  <a:gd name="connsiteY68" fmla="*/ 749 h 1043"/>
                  <a:gd name="connsiteX69" fmla="*/ 1008 w 4181"/>
                  <a:gd name="connsiteY69" fmla="*/ 801 h 1043"/>
                  <a:gd name="connsiteX70" fmla="*/ 966 w 4181"/>
                  <a:gd name="connsiteY70" fmla="*/ 850 h 1043"/>
                  <a:gd name="connsiteX71" fmla="*/ 923 w 4181"/>
                  <a:gd name="connsiteY71" fmla="*/ 896 h 1043"/>
                  <a:gd name="connsiteX72" fmla="*/ 876 w 4181"/>
                  <a:gd name="connsiteY72" fmla="*/ 937 h 1043"/>
                  <a:gd name="connsiteX73" fmla="*/ 826 w 4181"/>
                  <a:gd name="connsiteY73" fmla="*/ 973 h 1043"/>
                  <a:gd name="connsiteX74" fmla="*/ 772 w 4181"/>
                  <a:gd name="connsiteY74" fmla="*/ 1002 h 1043"/>
                  <a:gd name="connsiteX75" fmla="*/ 717 w 4181"/>
                  <a:gd name="connsiteY75" fmla="*/ 1025 h 1043"/>
                  <a:gd name="connsiteX76" fmla="*/ 653 w 4181"/>
                  <a:gd name="connsiteY76" fmla="*/ 1037 h 1043"/>
                  <a:gd name="connsiteX77" fmla="*/ 587 w 4181"/>
                  <a:gd name="connsiteY77" fmla="*/ 1043 h 1043"/>
                  <a:gd name="connsiteX78" fmla="*/ 580 w 4181"/>
                  <a:gd name="connsiteY78" fmla="*/ 1043 h 1043"/>
                  <a:gd name="connsiteX79" fmla="*/ 512 w 4181"/>
                  <a:gd name="connsiteY79" fmla="*/ 1039 h 1043"/>
                  <a:gd name="connsiteX80" fmla="*/ 450 w 4181"/>
                  <a:gd name="connsiteY80" fmla="*/ 1027 h 1043"/>
                  <a:gd name="connsiteX81" fmla="*/ 392 w 4181"/>
                  <a:gd name="connsiteY81" fmla="*/ 1008 h 1043"/>
                  <a:gd name="connsiteX82" fmla="*/ 341 w 4181"/>
                  <a:gd name="connsiteY82" fmla="*/ 983 h 1043"/>
                  <a:gd name="connsiteX83" fmla="*/ 293 w 4181"/>
                  <a:gd name="connsiteY83" fmla="*/ 952 h 1043"/>
                  <a:gd name="connsiteX84" fmla="*/ 248 w 4181"/>
                  <a:gd name="connsiteY84" fmla="*/ 915 h 1043"/>
                  <a:gd name="connsiteX85" fmla="*/ 207 w 4181"/>
                  <a:gd name="connsiteY85" fmla="*/ 873 h 1043"/>
                  <a:gd name="connsiteX86" fmla="*/ 169 w 4181"/>
                  <a:gd name="connsiteY86" fmla="*/ 828 h 1043"/>
                  <a:gd name="connsiteX87" fmla="*/ 132 w 4181"/>
                  <a:gd name="connsiteY87" fmla="*/ 780 h 1043"/>
                  <a:gd name="connsiteX88" fmla="*/ 99 w 4181"/>
                  <a:gd name="connsiteY88" fmla="*/ 728 h 1043"/>
                  <a:gd name="connsiteX89" fmla="*/ 64 w 4181"/>
                  <a:gd name="connsiteY89" fmla="*/ 674 h 1043"/>
                  <a:gd name="connsiteX90" fmla="*/ 33 w 4181"/>
                  <a:gd name="connsiteY90" fmla="*/ 618 h 1043"/>
                  <a:gd name="connsiteX91" fmla="*/ 0 w 4181"/>
                  <a:gd name="connsiteY91" fmla="*/ 560 h 1043"/>
                  <a:gd name="connsiteX92" fmla="*/ 77 w 4181"/>
                  <a:gd name="connsiteY92" fmla="*/ 516 h 1043"/>
                  <a:gd name="connsiteX93" fmla="*/ 110 w 4181"/>
                  <a:gd name="connsiteY93" fmla="*/ 575 h 1043"/>
                  <a:gd name="connsiteX94" fmla="*/ 143 w 4181"/>
                  <a:gd name="connsiteY94" fmla="*/ 631 h 1043"/>
                  <a:gd name="connsiteX95" fmla="*/ 176 w 4181"/>
                  <a:gd name="connsiteY95" fmla="*/ 684 h 1043"/>
                  <a:gd name="connsiteX96" fmla="*/ 209 w 4181"/>
                  <a:gd name="connsiteY96" fmla="*/ 736 h 1043"/>
                  <a:gd name="connsiteX97" fmla="*/ 244 w 4181"/>
                  <a:gd name="connsiteY97" fmla="*/ 782 h 1043"/>
                  <a:gd name="connsiteX98" fmla="*/ 281 w 4181"/>
                  <a:gd name="connsiteY98" fmla="*/ 825 h 1043"/>
                  <a:gd name="connsiteX99" fmla="*/ 322 w 4181"/>
                  <a:gd name="connsiteY99" fmla="*/ 863 h 1043"/>
                  <a:gd name="connsiteX100" fmla="*/ 366 w 4181"/>
                  <a:gd name="connsiteY100" fmla="*/ 894 h 1043"/>
                  <a:gd name="connsiteX101" fmla="*/ 413 w 4181"/>
                  <a:gd name="connsiteY101" fmla="*/ 921 h 1043"/>
                  <a:gd name="connsiteX102" fmla="*/ 463 w 4181"/>
                  <a:gd name="connsiteY102" fmla="*/ 940 h 1043"/>
                  <a:gd name="connsiteX103" fmla="*/ 518 w 4181"/>
                  <a:gd name="connsiteY103" fmla="*/ 952 h 1043"/>
                  <a:gd name="connsiteX104" fmla="*/ 580 w 4181"/>
                  <a:gd name="connsiteY104" fmla="*/ 956 h 1043"/>
                  <a:gd name="connsiteX105" fmla="*/ 587 w 4181"/>
                  <a:gd name="connsiteY105" fmla="*/ 956 h 1043"/>
                  <a:gd name="connsiteX106" fmla="*/ 646 w 4181"/>
                  <a:gd name="connsiteY106" fmla="*/ 950 h 1043"/>
                  <a:gd name="connsiteX107" fmla="*/ 702 w 4181"/>
                  <a:gd name="connsiteY107" fmla="*/ 935 h 1043"/>
                  <a:gd name="connsiteX108" fmla="*/ 756 w 4181"/>
                  <a:gd name="connsiteY108" fmla="*/ 913 h 1043"/>
                  <a:gd name="connsiteX109" fmla="*/ 803 w 4181"/>
                  <a:gd name="connsiteY109" fmla="*/ 884 h 1043"/>
                  <a:gd name="connsiteX110" fmla="*/ 849 w 4181"/>
                  <a:gd name="connsiteY110" fmla="*/ 846 h 1043"/>
                  <a:gd name="connsiteX111" fmla="*/ 892 w 4181"/>
                  <a:gd name="connsiteY111" fmla="*/ 803 h 1043"/>
                  <a:gd name="connsiteX112" fmla="*/ 931 w 4181"/>
                  <a:gd name="connsiteY112" fmla="*/ 755 h 1043"/>
                  <a:gd name="connsiteX113" fmla="*/ 971 w 4181"/>
                  <a:gd name="connsiteY113" fmla="*/ 703 h 1043"/>
                  <a:gd name="connsiteX114" fmla="*/ 1010 w 4181"/>
                  <a:gd name="connsiteY114" fmla="*/ 649 h 1043"/>
                  <a:gd name="connsiteX115" fmla="*/ 1121 w 4181"/>
                  <a:gd name="connsiteY115" fmla="*/ 475 h 1043"/>
                  <a:gd name="connsiteX116" fmla="*/ 1161 w 4181"/>
                  <a:gd name="connsiteY116" fmla="*/ 415 h 1043"/>
                  <a:gd name="connsiteX117" fmla="*/ 1202 w 4181"/>
                  <a:gd name="connsiteY117" fmla="*/ 357 h 1043"/>
                  <a:gd name="connsiteX118" fmla="*/ 1245 w 4181"/>
                  <a:gd name="connsiteY118" fmla="*/ 299 h 1043"/>
                  <a:gd name="connsiteX119" fmla="*/ 1291 w 4181"/>
                  <a:gd name="connsiteY119" fmla="*/ 245 h 1043"/>
                  <a:gd name="connsiteX120" fmla="*/ 1338 w 4181"/>
                  <a:gd name="connsiteY120" fmla="*/ 193 h 1043"/>
                  <a:gd name="connsiteX121" fmla="*/ 1392 w 4181"/>
                  <a:gd name="connsiteY121" fmla="*/ 145 h 1043"/>
                  <a:gd name="connsiteX122" fmla="*/ 1447 w 4181"/>
                  <a:gd name="connsiteY122" fmla="*/ 104 h 1043"/>
                  <a:gd name="connsiteX123" fmla="*/ 1509 w 4181"/>
                  <a:gd name="connsiteY123" fmla="*/ 69 h 1043"/>
                  <a:gd name="connsiteX124" fmla="*/ 1575 w 4181"/>
                  <a:gd name="connsiteY124" fmla="*/ 40 h 1043"/>
                  <a:gd name="connsiteX125" fmla="*/ 1648 w 4181"/>
                  <a:gd name="connsiteY125" fmla="*/ 19 h 1043"/>
                  <a:gd name="connsiteX126" fmla="*/ 1726 w 4181"/>
                  <a:gd name="connsiteY126" fmla="*/ 6 h 1043"/>
                  <a:gd name="connsiteX127" fmla="*/ 1796 w 4181"/>
                  <a:gd name="connsiteY127" fmla="*/ 4 h 1043"/>
                  <a:gd name="connsiteX128" fmla="*/ 1862 w 4181"/>
                  <a:gd name="connsiteY128" fmla="*/ 13 h 1043"/>
                  <a:gd name="connsiteX129" fmla="*/ 1922 w 4181"/>
                  <a:gd name="connsiteY129" fmla="*/ 27 h 1043"/>
                  <a:gd name="connsiteX130" fmla="*/ 1980 w 4181"/>
                  <a:gd name="connsiteY130" fmla="*/ 50 h 1043"/>
                  <a:gd name="connsiteX131" fmla="*/ 2034 w 4181"/>
                  <a:gd name="connsiteY131" fmla="*/ 81 h 1043"/>
                  <a:gd name="connsiteX132" fmla="*/ 2083 w 4181"/>
                  <a:gd name="connsiteY132" fmla="*/ 116 h 1043"/>
                  <a:gd name="connsiteX133" fmla="*/ 2129 w 4181"/>
                  <a:gd name="connsiteY133" fmla="*/ 158 h 1043"/>
                  <a:gd name="connsiteX134" fmla="*/ 2174 w 4181"/>
                  <a:gd name="connsiteY134" fmla="*/ 203 h 1043"/>
                  <a:gd name="connsiteX135" fmla="*/ 2216 w 4181"/>
                  <a:gd name="connsiteY135" fmla="*/ 251 h 1043"/>
                  <a:gd name="connsiteX136" fmla="*/ 2255 w 4181"/>
                  <a:gd name="connsiteY136" fmla="*/ 303 h 1043"/>
                  <a:gd name="connsiteX137" fmla="*/ 2292 w 4181"/>
                  <a:gd name="connsiteY137" fmla="*/ 357 h 1043"/>
                  <a:gd name="connsiteX138" fmla="*/ 2327 w 4181"/>
                  <a:gd name="connsiteY138" fmla="*/ 413 h 1043"/>
                  <a:gd name="connsiteX139" fmla="*/ 2362 w 4181"/>
                  <a:gd name="connsiteY139" fmla="*/ 467 h 1043"/>
                  <a:gd name="connsiteX140" fmla="*/ 2395 w 4181"/>
                  <a:gd name="connsiteY140" fmla="*/ 523 h 1043"/>
                  <a:gd name="connsiteX141" fmla="*/ 2432 w 4181"/>
                  <a:gd name="connsiteY141" fmla="*/ 585 h 1043"/>
                  <a:gd name="connsiteX142" fmla="*/ 2469 w 4181"/>
                  <a:gd name="connsiteY142" fmla="*/ 643 h 1043"/>
                  <a:gd name="connsiteX143" fmla="*/ 2509 w 4181"/>
                  <a:gd name="connsiteY143" fmla="*/ 701 h 1043"/>
                  <a:gd name="connsiteX144" fmla="*/ 2546 w 4181"/>
                  <a:gd name="connsiteY144" fmla="*/ 755 h 1043"/>
                  <a:gd name="connsiteX145" fmla="*/ 2587 w 4181"/>
                  <a:gd name="connsiteY145" fmla="*/ 805 h 1043"/>
                  <a:gd name="connsiteX146" fmla="*/ 2628 w 4181"/>
                  <a:gd name="connsiteY146" fmla="*/ 848 h 1043"/>
                  <a:gd name="connsiteX147" fmla="*/ 2672 w 4181"/>
                  <a:gd name="connsiteY147" fmla="*/ 886 h 1043"/>
                  <a:gd name="connsiteX148" fmla="*/ 2717 w 4181"/>
                  <a:gd name="connsiteY148" fmla="*/ 917 h 1043"/>
                  <a:gd name="connsiteX149" fmla="*/ 2767 w 4181"/>
                  <a:gd name="connsiteY149" fmla="*/ 940 h 1043"/>
                  <a:gd name="connsiteX150" fmla="*/ 2820 w 4181"/>
                  <a:gd name="connsiteY150" fmla="*/ 952 h 1043"/>
                  <a:gd name="connsiteX151" fmla="*/ 2876 w 4181"/>
                  <a:gd name="connsiteY151" fmla="*/ 956 h 1043"/>
                  <a:gd name="connsiteX152" fmla="*/ 2932 w 4181"/>
                  <a:gd name="connsiteY152" fmla="*/ 950 h 1043"/>
                  <a:gd name="connsiteX153" fmla="*/ 2982 w 4181"/>
                  <a:gd name="connsiteY153" fmla="*/ 935 h 1043"/>
                  <a:gd name="connsiteX154" fmla="*/ 3029 w 4181"/>
                  <a:gd name="connsiteY154" fmla="*/ 915 h 1043"/>
                  <a:gd name="connsiteX155" fmla="*/ 3072 w 4181"/>
                  <a:gd name="connsiteY155" fmla="*/ 884 h 1043"/>
                  <a:gd name="connsiteX156" fmla="*/ 3112 w 4181"/>
                  <a:gd name="connsiteY156" fmla="*/ 848 h 1043"/>
                  <a:gd name="connsiteX157" fmla="*/ 3149 w 4181"/>
                  <a:gd name="connsiteY157" fmla="*/ 807 h 1043"/>
                  <a:gd name="connsiteX158" fmla="*/ 3184 w 4181"/>
                  <a:gd name="connsiteY158" fmla="*/ 759 h 1043"/>
                  <a:gd name="connsiteX159" fmla="*/ 3217 w 4181"/>
                  <a:gd name="connsiteY159" fmla="*/ 709 h 1043"/>
                  <a:gd name="connsiteX160" fmla="*/ 3250 w 4181"/>
                  <a:gd name="connsiteY160" fmla="*/ 655 h 1043"/>
                  <a:gd name="connsiteX161" fmla="*/ 3283 w 4181"/>
                  <a:gd name="connsiteY161" fmla="*/ 597 h 1043"/>
                  <a:gd name="connsiteX162" fmla="*/ 3316 w 4181"/>
                  <a:gd name="connsiteY162" fmla="*/ 537 h 1043"/>
                  <a:gd name="connsiteX163" fmla="*/ 3345 w 4181"/>
                  <a:gd name="connsiteY163" fmla="*/ 483 h 1043"/>
                  <a:gd name="connsiteX164" fmla="*/ 3407 w 4181"/>
                  <a:gd name="connsiteY164" fmla="*/ 375 h 1043"/>
                  <a:gd name="connsiteX165" fmla="*/ 3477 w 4181"/>
                  <a:gd name="connsiteY165" fmla="*/ 272 h 1043"/>
                  <a:gd name="connsiteX0" fmla="*/ 3407 w 4181"/>
                  <a:gd name="connsiteY0" fmla="*/ 375 h 1043"/>
                  <a:gd name="connsiteX1" fmla="*/ 4004 w 4181"/>
                  <a:gd name="connsiteY1" fmla="*/ 0 h 1043"/>
                  <a:gd name="connsiteX2" fmla="*/ 4181 w 4181"/>
                  <a:gd name="connsiteY2" fmla="*/ 158 h 1043"/>
                  <a:gd name="connsiteX3" fmla="*/ 4142 w 4181"/>
                  <a:gd name="connsiteY3" fmla="*/ 135 h 1043"/>
                  <a:gd name="connsiteX4" fmla="*/ 4092 w 4181"/>
                  <a:gd name="connsiteY4" fmla="*/ 112 h 1043"/>
                  <a:gd name="connsiteX5" fmla="*/ 4049 w 4181"/>
                  <a:gd name="connsiteY5" fmla="*/ 98 h 1043"/>
                  <a:gd name="connsiteX6" fmla="*/ 4014 w 4181"/>
                  <a:gd name="connsiteY6" fmla="*/ 89 h 1043"/>
                  <a:gd name="connsiteX7" fmla="*/ 3985 w 4181"/>
                  <a:gd name="connsiteY7" fmla="*/ 87 h 1043"/>
                  <a:gd name="connsiteX8" fmla="*/ 3958 w 4181"/>
                  <a:gd name="connsiteY8" fmla="*/ 87 h 1043"/>
                  <a:gd name="connsiteX9" fmla="*/ 3892 w 4181"/>
                  <a:gd name="connsiteY9" fmla="*/ 93 h 1043"/>
                  <a:gd name="connsiteX10" fmla="*/ 3830 w 4181"/>
                  <a:gd name="connsiteY10" fmla="*/ 106 h 1043"/>
                  <a:gd name="connsiteX11" fmla="*/ 3774 w 4181"/>
                  <a:gd name="connsiteY11" fmla="*/ 127 h 1043"/>
                  <a:gd name="connsiteX12" fmla="*/ 3723 w 4181"/>
                  <a:gd name="connsiteY12" fmla="*/ 154 h 1043"/>
                  <a:gd name="connsiteX13" fmla="*/ 3675 w 4181"/>
                  <a:gd name="connsiteY13" fmla="*/ 187 h 1043"/>
                  <a:gd name="connsiteX14" fmla="*/ 3632 w 4181"/>
                  <a:gd name="connsiteY14" fmla="*/ 224 h 1043"/>
                  <a:gd name="connsiteX15" fmla="*/ 3593 w 4181"/>
                  <a:gd name="connsiteY15" fmla="*/ 268 h 1043"/>
                  <a:gd name="connsiteX16" fmla="*/ 3553 w 4181"/>
                  <a:gd name="connsiteY16" fmla="*/ 313 h 1043"/>
                  <a:gd name="connsiteX17" fmla="*/ 3518 w 4181"/>
                  <a:gd name="connsiteY17" fmla="*/ 363 h 1043"/>
                  <a:gd name="connsiteX18" fmla="*/ 3485 w 4181"/>
                  <a:gd name="connsiteY18" fmla="*/ 415 h 1043"/>
                  <a:gd name="connsiteX19" fmla="*/ 3423 w 4181"/>
                  <a:gd name="connsiteY19" fmla="*/ 523 h 1043"/>
                  <a:gd name="connsiteX20" fmla="*/ 3330 w 4181"/>
                  <a:gd name="connsiteY20" fmla="*/ 691 h 1043"/>
                  <a:gd name="connsiteX21" fmla="*/ 3297 w 4181"/>
                  <a:gd name="connsiteY21" fmla="*/ 747 h 1043"/>
                  <a:gd name="connsiteX22" fmla="*/ 3262 w 4181"/>
                  <a:gd name="connsiteY22" fmla="*/ 799 h 1043"/>
                  <a:gd name="connsiteX23" fmla="*/ 3227 w 4181"/>
                  <a:gd name="connsiteY23" fmla="*/ 848 h 1043"/>
                  <a:gd name="connsiteX24" fmla="*/ 3188 w 4181"/>
                  <a:gd name="connsiteY24" fmla="*/ 894 h 1043"/>
                  <a:gd name="connsiteX25" fmla="*/ 3147 w 4181"/>
                  <a:gd name="connsiteY25" fmla="*/ 935 h 1043"/>
                  <a:gd name="connsiteX26" fmla="*/ 3101 w 4181"/>
                  <a:gd name="connsiteY26" fmla="*/ 971 h 1043"/>
                  <a:gd name="connsiteX27" fmla="*/ 3052 w 4181"/>
                  <a:gd name="connsiteY27" fmla="*/ 1000 h 1043"/>
                  <a:gd name="connsiteX28" fmla="*/ 3000 w 4181"/>
                  <a:gd name="connsiteY28" fmla="*/ 1022 h 1043"/>
                  <a:gd name="connsiteX29" fmla="*/ 2942 w 4181"/>
                  <a:gd name="connsiteY29" fmla="*/ 1037 h 1043"/>
                  <a:gd name="connsiteX30" fmla="*/ 2878 w 4181"/>
                  <a:gd name="connsiteY30" fmla="*/ 1043 h 1043"/>
                  <a:gd name="connsiteX31" fmla="*/ 2870 w 4181"/>
                  <a:gd name="connsiteY31" fmla="*/ 1043 h 1043"/>
                  <a:gd name="connsiteX32" fmla="*/ 2808 w 4181"/>
                  <a:gd name="connsiteY32" fmla="*/ 1039 h 1043"/>
                  <a:gd name="connsiteX33" fmla="*/ 2748 w 4181"/>
                  <a:gd name="connsiteY33" fmla="*/ 1025 h 1043"/>
                  <a:gd name="connsiteX34" fmla="*/ 2695 w 4181"/>
                  <a:gd name="connsiteY34" fmla="*/ 1002 h 1043"/>
                  <a:gd name="connsiteX35" fmla="*/ 2643 w 4181"/>
                  <a:gd name="connsiteY35" fmla="*/ 973 h 1043"/>
                  <a:gd name="connsiteX36" fmla="*/ 2595 w 4181"/>
                  <a:gd name="connsiteY36" fmla="*/ 935 h 1043"/>
                  <a:gd name="connsiteX37" fmla="*/ 2552 w 4181"/>
                  <a:gd name="connsiteY37" fmla="*/ 894 h 1043"/>
                  <a:gd name="connsiteX38" fmla="*/ 2509 w 4181"/>
                  <a:gd name="connsiteY38" fmla="*/ 846 h 1043"/>
                  <a:gd name="connsiteX39" fmla="*/ 2469 w 4181"/>
                  <a:gd name="connsiteY39" fmla="*/ 796 h 1043"/>
                  <a:gd name="connsiteX40" fmla="*/ 2430 w 4181"/>
                  <a:gd name="connsiteY40" fmla="*/ 740 h 1043"/>
                  <a:gd name="connsiteX41" fmla="*/ 2393 w 4181"/>
                  <a:gd name="connsiteY41" fmla="*/ 684 h 1043"/>
                  <a:gd name="connsiteX42" fmla="*/ 2288 w 4181"/>
                  <a:gd name="connsiteY42" fmla="*/ 510 h 1043"/>
                  <a:gd name="connsiteX43" fmla="*/ 2251 w 4181"/>
                  <a:gd name="connsiteY43" fmla="*/ 452 h 1043"/>
                  <a:gd name="connsiteX44" fmla="*/ 2213 w 4181"/>
                  <a:gd name="connsiteY44" fmla="*/ 396 h 1043"/>
                  <a:gd name="connsiteX45" fmla="*/ 2176 w 4181"/>
                  <a:gd name="connsiteY45" fmla="*/ 342 h 1043"/>
                  <a:gd name="connsiteX46" fmla="*/ 2137 w 4181"/>
                  <a:gd name="connsiteY46" fmla="*/ 293 h 1043"/>
                  <a:gd name="connsiteX47" fmla="*/ 2096 w 4181"/>
                  <a:gd name="connsiteY47" fmla="*/ 247 h 1043"/>
                  <a:gd name="connsiteX48" fmla="*/ 2054 w 4181"/>
                  <a:gd name="connsiteY48" fmla="*/ 205 h 1043"/>
                  <a:gd name="connsiteX49" fmla="*/ 2009 w 4181"/>
                  <a:gd name="connsiteY49" fmla="*/ 168 h 1043"/>
                  <a:gd name="connsiteX50" fmla="*/ 1962 w 4181"/>
                  <a:gd name="connsiteY50" fmla="*/ 139 h 1043"/>
                  <a:gd name="connsiteX51" fmla="*/ 1910 w 4181"/>
                  <a:gd name="connsiteY51" fmla="*/ 116 h 1043"/>
                  <a:gd name="connsiteX52" fmla="*/ 1854 w 4181"/>
                  <a:gd name="connsiteY52" fmla="*/ 100 h 1043"/>
                  <a:gd name="connsiteX53" fmla="*/ 1796 w 4181"/>
                  <a:gd name="connsiteY53" fmla="*/ 91 h 1043"/>
                  <a:gd name="connsiteX54" fmla="*/ 1732 w 4181"/>
                  <a:gd name="connsiteY54" fmla="*/ 93 h 1043"/>
                  <a:gd name="connsiteX55" fmla="*/ 1664 w 4181"/>
                  <a:gd name="connsiteY55" fmla="*/ 104 h 1043"/>
                  <a:gd name="connsiteX56" fmla="*/ 1602 w 4181"/>
                  <a:gd name="connsiteY56" fmla="*/ 122 h 1043"/>
                  <a:gd name="connsiteX57" fmla="*/ 1545 w 4181"/>
                  <a:gd name="connsiteY57" fmla="*/ 147 h 1043"/>
                  <a:gd name="connsiteX58" fmla="*/ 1491 w 4181"/>
                  <a:gd name="connsiteY58" fmla="*/ 181 h 1043"/>
                  <a:gd name="connsiteX59" fmla="*/ 1439 w 4181"/>
                  <a:gd name="connsiteY59" fmla="*/ 218 h 1043"/>
                  <a:gd name="connsiteX60" fmla="*/ 1394 w 4181"/>
                  <a:gd name="connsiteY60" fmla="*/ 261 h 1043"/>
                  <a:gd name="connsiteX61" fmla="*/ 1348 w 4181"/>
                  <a:gd name="connsiteY61" fmla="*/ 307 h 1043"/>
                  <a:gd name="connsiteX62" fmla="*/ 1307 w 4181"/>
                  <a:gd name="connsiteY62" fmla="*/ 359 h 1043"/>
                  <a:gd name="connsiteX63" fmla="*/ 1268 w 4181"/>
                  <a:gd name="connsiteY63" fmla="*/ 413 h 1043"/>
                  <a:gd name="connsiteX64" fmla="*/ 1231 w 4181"/>
                  <a:gd name="connsiteY64" fmla="*/ 467 h 1043"/>
                  <a:gd name="connsiteX65" fmla="*/ 1194 w 4181"/>
                  <a:gd name="connsiteY65" fmla="*/ 523 h 1043"/>
                  <a:gd name="connsiteX66" fmla="*/ 1156 w 4181"/>
                  <a:gd name="connsiteY66" fmla="*/ 581 h 1043"/>
                  <a:gd name="connsiteX67" fmla="*/ 1121 w 4181"/>
                  <a:gd name="connsiteY67" fmla="*/ 637 h 1043"/>
                  <a:gd name="connsiteX68" fmla="*/ 1047 w 4181"/>
                  <a:gd name="connsiteY68" fmla="*/ 749 h 1043"/>
                  <a:gd name="connsiteX69" fmla="*/ 1008 w 4181"/>
                  <a:gd name="connsiteY69" fmla="*/ 801 h 1043"/>
                  <a:gd name="connsiteX70" fmla="*/ 966 w 4181"/>
                  <a:gd name="connsiteY70" fmla="*/ 850 h 1043"/>
                  <a:gd name="connsiteX71" fmla="*/ 923 w 4181"/>
                  <a:gd name="connsiteY71" fmla="*/ 896 h 1043"/>
                  <a:gd name="connsiteX72" fmla="*/ 876 w 4181"/>
                  <a:gd name="connsiteY72" fmla="*/ 937 h 1043"/>
                  <a:gd name="connsiteX73" fmla="*/ 826 w 4181"/>
                  <a:gd name="connsiteY73" fmla="*/ 973 h 1043"/>
                  <a:gd name="connsiteX74" fmla="*/ 772 w 4181"/>
                  <a:gd name="connsiteY74" fmla="*/ 1002 h 1043"/>
                  <a:gd name="connsiteX75" fmla="*/ 717 w 4181"/>
                  <a:gd name="connsiteY75" fmla="*/ 1025 h 1043"/>
                  <a:gd name="connsiteX76" fmla="*/ 653 w 4181"/>
                  <a:gd name="connsiteY76" fmla="*/ 1037 h 1043"/>
                  <a:gd name="connsiteX77" fmla="*/ 587 w 4181"/>
                  <a:gd name="connsiteY77" fmla="*/ 1043 h 1043"/>
                  <a:gd name="connsiteX78" fmla="*/ 580 w 4181"/>
                  <a:gd name="connsiteY78" fmla="*/ 1043 h 1043"/>
                  <a:gd name="connsiteX79" fmla="*/ 512 w 4181"/>
                  <a:gd name="connsiteY79" fmla="*/ 1039 h 1043"/>
                  <a:gd name="connsiteX80" fmla="*/ 450 w 4181"/>
                  <a:gd name="connsiteY80" fmla="*/ 1027 h 1043"/>
                  <a:gd name="connsiteX81" fmla="*/ 392 w 4181"/>
                  <a:gd name="connsiteY81" fmla="*/ 1008 h 1043"/>
                  <a:gd name="connsiteX82" fmla="*/ 341 w 4181"/>
                  <a:gd name="connsiteY82" fmla="*/ 983 h 1043"/>
                  <a:gd name="connsiteX83" fmla="*/ 293 w 4181"/>
                  <a:gd name="connsiteY83" fmla="*/ 952 h 1043"/>
                  <a:gd name="connsiteX84" fmla="*/ 248 w 4181"/>
                  <a:gd name="connsiteY84" fmla="*/ 915 h 1043"/>
                  <a:gd name="connsiteX85" fmla="*/ 207 w 4181"/>
                  <a:gd name="connsiteY85" fmla="*/ 873 h 1043"/>
                  <a:gd name="connsiteX86" fmla="*/ 169 w 4181"/>
                  <a:gd name="connsiteY86" fmla="*/ 828 h 1043"/>
                  <a:gd name="connsiteX87" fmla="*/ 132 w 4181"/>
                  <a:gd name="connsiteY87" fmla="*/ 780 h 1043"/>
                  <a:gd name="connsiteX88" fmla="*/ 99 w 4181"/>
                  <a:gd name="connsiteY88" fmla="*/ 728 h 1043"/>
                  <a:gd name="connsiteX89" fmla="*/ 64 w 4181"/>
                  <a:gd name="connsiteY89" fmla="*/ 674 h 1043"/>
                  <a:gd name="connsiteX90" fmla="*/ 33 w 4181"/>
                  <a:gd name="connsiteY90" fmla="*/ 618 h 1043"/>
                  <a:gd name="connsiteX91" fmla="*/ 0 w 4181"/>
                  <a:gd name="connsiteY91" fmla="*/ 560 h 1043"/>
                  <a:gd name="connsiteX92" fmla="*/ 77 w 4181"/>
                  <a:gd name="connsiteY92" fmla="*/ 516 h 1043"/>
                  <a:gd name="connsiteX93" fmla="*/ 110 w 4181"/>
                  <a:gd name="connsiteY93" fmla="*/ 575 h 1043"/>
                  <a:gd name="connsiteX94" fmla="*/ 143 w 4181"/>
                  <a:gd name="connsiteY94" fmla="*/ 631 h 1043"/>
                  <a:gd name="connsiteX95" fmla="*/ 176 w 4181"/>
                  <a:gd name="connsiteY95" fmla="*/ 684 h 1043"/>
                  <a:gd name="connsiteX96" fmla="*/ 209 w 4181"/>
                  <a:gd name="connsiteY96" fmla="*/ 736 h 1043"/>
                  <a:gd name="connsiteX97" fmla="*/ 244 w 4181"/>
                  <a:gd name="connsiteY97" fmla="*/ 782 h 1043"/>
                  <a:gd name="connsiteX98" fmla="*/ 281 w 4181"/>
                  <a:gd name="connsiteY98" fmla="*/ 825 h 1043"/>
                  <a:gd name="connsiteX99" fmla="*/ 322 w 4181"/>
                  <a:gd name="connsiteY99" fmla="*/ 863 h 1043"/>
                  <a:gd name="connsiteX100" fmla="*/ 366 w 4181"/>
                  <a:gd name="connsiteY100" fmla="*/ 894 h 1043"/>
                  <a:gd name="connsiteX101" fmla="*/ 413 w 4181"/>
                  <a:gd name="connsiteY101" fmla="*/ 921 h 1043"/>
                  <a:gd name="connsiteX102" fmla="*/ 463 w 4181"/>
                  <a:gd name="connsiteY102" fmla="*/ 940 h 1043"/>
                  <a:gd name="connsiteX103" fmla="*/ 518 w 4181"/>
                  <a:gd name="connsiteY103" fmla="*/ 952 h 1043"/>
                  <a:gd name="connsiteX104" fmla="*/ 580 w 4181"/>
                  <a:gd name="connsiteY104" fmla="*/ 956 h 1043"/>
                  <a:gd name="connsiteX105" fmla="*/ 587 w 4181"/>
                  <a:gd name="connsiteY105" fmla="*/ 956 h 1043"/>
                  <a:gd name="connsiteX106" fmla="*/ 646 w 4181"/>
                  <a:gd name="connsiteY106" fmla="*/ 950 h 1043"/>
                  <a:gd name="connsiteX107" fmla="*/ 702 w 4181"/>
                  <a:gd name="connsiteY107" fmla="*/ 935 h 1043"/>
                  <a:gd name="connsiteX108" fmla="*/ 756 w 4181"/>
                  <a:gd name="connsiteY108" fmla="*/ 913 h 1043"/>
                  <a:gd name="connsiteX109" fmla="*/ 803 w 4181"/>
                  <a:gd name="connsiteY109" fmla="*/ 884 h 1043"/>
                  <a:gd name="connsiteX110" fmla="*/ 849 w 4181"/>
                  <a:gd name="connsiteY110" fmla="*/ 846 h 1043"/>
                  <a:gd name="connsiteX111" fmla="*/ 892 w 4181"/>
                  <a:gd name="connsiteY111" fmla="*/ 803 h 1043"/>
                  <a:gd name="connsiteX112" fmla="*/ 931 w 4181"/>
                  <a:gd name="connsiteY112" fmla="*/ 755 h 1043"/>
                  <a:gd name="connsiteX113" fmla="*/ 971 w 4181"/>
                  <a:gd name="connsiteY113" fmla="*/ 703 h 1043"/>
                  <a:gd name="connsiteX114" fmla="*/ 1010 w 4181"/>
                  <a:gd name="connsiteY114" fmla="*/ 649 h 1043"/>
                  <a:gd name="connsiteX115" fmla="*/ 1121 w 4181"/>
                  <a:gd name="connsiteY115" fmla="*/ 475 h 1043"/>
                  <a:gd name="connsiteX116" fmla="*/ 1161 w 4181"/>
                  <a:gd name="connsiteY116" fmla="*/ 415 h 1043"/>
                  <a:gd name="connsiteX117" fmla="*/ 1202 w 4181"/>
                  <a:gd name="connsiteY117" fmla="*/ 357 h 1043"/>
                  <a:gd name="connsiteX118" fmla="*/ 1245 w 4181"/>
                  <a:gd name="connsiteY118" fmla="*/ 299 h 1043"/>
                  <a:gd name="connsiteX119" fmla="*/ 1291 w 4181"/>
                  <a:gd name="connsiteY119" fmla="*/ 245 h 1043"/>
                  <a:gd name="connsiteX120" fmla="*/ 1338 w 4181"/>
                  <a:gd name="connsiteY120" fmla="*/ 193 h 1043"/>
                  <a:gd name="connsiteX121" fmla="*/ 1392 w 4181"/>
                  <a:gd name="connsiteY121" fmla="*/ 145 h 1043"/>
                  <a:gd name="connsiteX122" fmla="*/ 1447 w 4181"/>
                  <a:gd name="connsiteY122" fmla="*/ 104 h 1043"/>
                  <a:gd name="connsiteX123" fmla="*/ 1509 w 4181"/>
                  <a:gd name="connsiteY123" fmla="*/ 69 h 1043"/>
                  <a:gd name="connsiteX124" fmla="*/ 1575 w 4181"/>
                  <a:gd name="connsiteY124" fmla="*/ 40 h 1043"/>
                  <a:gd name="connsiteX125" fmla="*/ 1648 w 4181"/>
                  <a:gd name="connsiteY125" fmla="*/ 19 h 1043"/>
                  <a:gd name="connsiteX126" fmla="*/ 1726 w 4181"/>
                  <a:gd name="connsiteY126" fmla="*/ 6 h 1043"/>
                  <a:gd name="connsiteX127" fmla="*/ 1796 w 4181"/>
                  <a:gd name="connsiteY127" fmla="*/ 4 h 1043"/>
                  <a:gd name="connsiteX128" fmla="*/ 1862 w 4181"/>
                  <a:gd name="connsiteY128" fmla="*/ 13 h 1043"/>
                  <a:gd name="connsiteX129" fmla="*/ 1922 w 4181"/>
                  <a:gd name="connsiteY129" fmla="*/ 27 h 1043"/>
                  <a:gd name="connsiteX130" fmla="*/ 1980 w 4181"/>
                  <a:gd name="connsiteY130" fmla="*/ 50 h 1043"/>
                  <a:gd name="connsiteX131" fmla="*/ 2034 w 4181"/>
                  <a:gd name="connsiteY131" fmla="*/ 81 h 1043"/>
                  <a:gd name="connsiteX132" fmla="*/ 2083 w 4181"/>
                  <a:gd name="connsiteY132" fmla="*/ 116 h 1043"/>
                  <a:gd name="connsiteX133" fmla="*/ 2129 w 4181"/>
                  <a:gd name="connsiteY133" fmla="*/ 158 h 1043"/>
                  <a:gd name="connsiteX134" fmla="*/ 2174 w 4181"/>
                  <a:gd name="connsiteY134" fmla="*/ 203 h 1043"/>
                  <a:gd name="connsiteX135" fmla="*/ 2216 w 4181"/>
                  <a:gd name="connsiteY135" fmla="*/ 251 h 1043"/>
                  <a:gd name="connsiteX136" fmla="*/ 2255 w 4181"/>
                  <a:gd name="connsiteY136" fmla="*/ 303 h 1043"/>
                  <a:gd name="connsiteX137" fmla="*/ 2292 w 4181"/>
                  <a:gd name="connsiteY137" fmla="*/ 357 h 1043"/>
                  <a:gd name="connsiteX138" fmla="*/ 2327 w 4181"/>
                  <a:gd name="connsiteY138" fmla="*/ 413 h 1043"/>
                  <a:gd name="connsiteX139" fmla="*/ 2362 w 4181"/>
                  <a:gd name="connsiteY139" fmla="*/ 467 h 1043"/>
                  <a:gd name="connsiteX140" fmla="*/ 2395 w 4181"/>
                  <a:gd name="connsiteY140" fmla="*/ 523 h 1043"/>
                  <a:gd name="connsiteX141" fmla="*/ 2432 w 4181"/>
                  <a:gd name="connsiteY141" fmla="*/ 585 h 1043"/>
                  <a:gd name="connsiteX142" fmla="*/ 2469 w 4181"/>
                  <a:gd name="connsiteY142" fmla="*/ 643 h 1043"/>
                  <a:gd name="connsiteX143" fmla="*/ 2509 w 4181"/>
                  <a:gd name="connsiteY143" fmla="*/ 701 h 1043"/>
                  <a:gd name="connsiteX144" fmla="*/ 2546 w 4181"/>
                  <a:gd name="connsiteY144" fmla="*/ 755 h 1043"/>
                  <a:gd name="connsiteX145" fmla="*/ 2587 w 4181"/>
                  <a:gd name="connsiteY145" fmla="*/ 805 h 1043"/>
                  <a:gd name="connsiteX146" fmla="*/ 2628 w 4181"/>
                  <a:gd name="connsiteY146" fmla="*/ 848 h 1043"/>
                  <a:gd name="connsiteX147" fmla="*/ 2672 w 4181"/>
                  <a:gd name="connsiteY147" fmla="*/ 886 h 1043"/>
                  <a:gd name="connsiteX148" fmla="*/ 2717 w 4181"/>
                  <a:gd name="connsiteY148" fmla="*/ 917 h 1043"/>
                  <a:gd name="connsiteX149" fmla="*/ 2767 w 4181"/>
                  <a:gd name="connsiteY149" fmla="*/ 940 h 1043"/>
                  <a:gd name="connsiteX150" fmla="*/ 2820 w 4181"/>
                  <a:gd name="connsiteY150" fmla="*/ 952 h 1043"/>
                  <a:gd name="connsiteX151" fmla="*/ 2876 w 4181"/>
                  <a:gd name="connsiteY151" fmla="*/ 956 h 1043"/>
                  <a:gd name="connsiteX152" fmla="*/ 2932 w 4181"/>
                  <a:gd name="connsiteY152" fmla="*/ 950 h 1043"/>
                  <a:gd name="connsiteX153" fmla="*/ 2982 w 4181"/>
                  <a:gd name="connsiteY153" fmla="*/ 935 h 1043"/>
                  <a:gd name="connsiteX154" fmla="*/ 3029 w 4181"/>
                  <a:gd name="connsiteY154" fmla="*/ 915 h 1043"/>
                  <a:gd name="connsiteX155" fmla="*/ 3072 w 4181"/>
                  <a:gd name="connsiteY155" fmla="*/ 884 h 1043"/>
                  <a:gd name="connsiteX156" fmla="*/ 3112 w 4181"/>
                  <a:gd name="connsiteY156" fmla="*/ 848 h 1043"/>
                  <a:gd name="connsiteX157" fmla="*/ 3149 w 4181"/>
                  <a:gd name="connsiteY157" fmla="*/ 807 h 1043"/>
                  <a:gd name="connsiteX158" fmla="*/ 3184 w 4181"/>
                  <a:gd name="connsiteY158" fmla="*/ 759 h 1043"/>
                  <a:gd name="connsiteX159" fmla="*/ 3217 w 4181"/>
                  <a:gd name="connsiteY159" fmla="*/ 709 h 1043"/>
                  <a:gd name="connsiteX160" fmla="*/ 3250 w 4181"/>
                  <a:gd name="connsiteY160" fmla="*/ 655 h 1043"/>
                  <a:gd name="connsiteX161" fmla="*/ 3283 w 4181"/>
                  <a:gd name="connsiteY161" fmla="*/ 597 h 1043"/>
                  <a:gd name="connsiteX162" fmla="*/ 3316 w 4181"/>
                  <a:gd name="connsiteY162" fmla="*/ 537 h 1043"/>
                  <a:gd name="connsiteX163" fmla="*/ 3345 w 4181"/>
                  <a:gd name="connsiteY163" fmla="*/ 483 h 1043"/>
                  <a:gd name="connsiteX164" fmla="*/ 3407 w 4181"/>
                  <a:gd name="connsiteY164" fmla="*/ 375 h 1043"/>
                  <a:gd name="connsiteX0" fmla="*/ 3345 w 4181"/>
                  <a:gd name="connsiteY0" fmla="*/ 483 h 1043"/>
                  <a:gd name="connsiteX1" fmla="*/ 4004 w 4181"/>
                  <a:gd name="connsiteY1" fmla="*/ 0 h 1043"/>
                  <a:gd name="connsiteX2" fmla="*/ 4181 w 4181"/>
                  <a:gd name="connsiteY2" fmla="*/ 158 h 1043"/>
                  <a:gd name="connsiteX3" fmla="*/ 4142 w 4181"/>
                  <a:gd name="connsiteY3" fmla="*/ 135 h 1043"/>
                  <a:gd name="connsiteX4" fmla="*/ 4092 w 4181"/>
                  <a:gd name="connsiteY4" fmla="*/ 112 h 1043"/>
                  <a:gd name="connsiteX5" fmla="*/ 4049 w 4181"/>
                  <a:gd name="connsiteY5" fmla="*/ 98 h 1043"/>
                  <a:gd name="connsiteX6" fmla="*/ 4014 w 4181"/>
                  <a:gd name="connsiteY6" fmla="*/ 89 h 1043"/>
                  <a:gd name="connsiteX7" fmla="*/ 3985 w 4181"/>
                  <a:gd name="connsiteY7" fmla="*/ 87 h 1043"/>
                  <a:gd name="connsiteX8" fmla="*/ 3958 w 4181"/>
                  <a:gd name="connsiteY8" fmla="*/ 87 h 1043"/>
                  <a:gd name="connsiteX9" fmla="*/ 3892 w 4181"/>
                  <a:gd name="connsiteY9" fmla="*/ 93 h 1043"/>
                  <a:gd name="connsiteX10" fmla="*/ 3830 w 4181"/>
                  <a:gd name="connsiteY10" fmla="*/ 106 h 1043"/>
                  <a:gd name="connsiteX11" fmla="*/ 3774 w 4181"/>
                  <a:gd name="connsiteY11" fmla="*/ 127 h 1043"/>
                  <a:gd name="connsiteX12" fmla="*/ 3723 w 4181"/>
                  <a:gd name="connsiteY12" fmla="*/ 154 h 1043"/>
                  <a:gd name="connsiteX13" fmla="*/ 3675 w 4181"/>
                  <a:gd name="connsiteY13" fmla="*/ 187 h 1043"/>
                  <a:gd name="connsiteX14" fmla="*/ 3632 w 4181"/>
                  <a:gd name="connsiteY14" fmla="*/ 224 h 1043"/>
                  <a:gd name="connsiteX15" fmla="*/ 3593 w 4181"/>
                  <a:gd name="connsiteY15" fmla="*/ 268 h 1043"/>
                  <a:gd name="connsiteX16" fmla="*/ 3553 w 4181"/>
                  <a:gd name="connsiteY16" fmla="*/ 313 h 1043"/>
                  <a:gd name="connsiteX17" fmla="*/ 3518 w 4181"/>
                  <a:gd name="connsiteY17" fmla="*/ 363 h 1043"/>
                  <a:gd name="connsiteX18" fmla="*/ 3485 w 4181"/>
                  <a:gd name="connsiteY18" fmla="*/ 415 h 1043"/>
                  <a:gd name="connsiteX19" fmla="*/ 3423 w 4181"/>
                  <a:gd name="connsiteY19" fmla="*/ 523 h 1043"/>
                  <a:gd name="connsiteX20" fmla="*/ 3330 w 4181"/>
                  <a:gd name="connsiteY20" fmla="*/ 691 h 1043"/>
                  <a:gd name="connsiteX21" fmla="*/ 3297 w 4181"/>
                  <a:gd name="connsiteY21" fmla="*/ 747 h 1043"/>
                  <a:gd name="connsiteX22" fmla="*/ 3262 w 4181"/>
                  <a:gd name="connsiteY22" fmla="*/ 799 h 1043"/>
                  <a:gd name="connsiteX23" fmla="*/ 3227 w 4181"/>
                  <a:gd name="connsiteY23" fmla="*/ 848 h 1043"/>
                  <a:gd name="connsiteX24" fmla="*/ 3188 w 4181"/>
                  <a:gd name="connsiteY24" fmla="*/ 894 h 1043"/>
                  <a:gd name="connsiteX25" fmla="*/ 3147 w 4181"/>
                  <a:gd name="connsiteY25" fmla="*/ 935 h 1043"/>
                  <a:gd name="connsiteX26" fmla="*/ 3101 w 4181"/>
                  <a:gd name="connsiteY26" fmla="*/ 971 h 1043"/>
                  <a:gd name="connsiteX27" fmla="*/ 3052 w 4181"/>
                  <a:gd name="connsiteY27" fmla="*/ 1000 h 1043"/>
                  <a:gd name="connsiteX28" fmla="*/ 3000 w 4181"/>
                  <a:gd name="connsiteY28" fmla="*/ 1022 h 1043"/>
                  <a:gd name="connsiteX29" fmla="*/ 2942 w 4181"/>
                  <a:gd name="connsiteY29" fmla="*/ 1037 h 1043"/>
                  <a:gd name="connsiteX30" fmla="*/ 2878 w 4181"/>
                  <a:gd name="connsiteY30" fmla="*/ 1043 h 1043"/>
                  <a:gd name="connsiteX31" fmla="*/ 2870 w 4181"/>
                  <a:gd name="connsiteY31" fmla="*/ 1043 h 1043"/>
                  <a:gd name="connsiteX32" fmla="*/ 2808 w 4181"/>
                  <a:gd name="connsiteY32" fmla="*/ 1039 h 1043"/>
                  <a:gd name="connsiteX33" fmla="*/ 2748 w 4181"/>
                  <a:gd name="connsiteY33" fmla="*/ 1025 h 1043"/>
                  <a:gd name="connsiteX34" fmla="*/ 2695 w 4181"/>
                  <a:gd name="connsiteY34" fmla="*/ 1002 h 1043"/>
                  <a:gd name="connsiteX35" fmla="*/ 2643 w 4181"/>
                  <a:gd name="connsiteY35" fmla="*/ 973 h 1043"/>
                  <a:gd name="connsiteX36" fmla="*/ 2595 w 4181"/>
                  <a:gd name="connsiteY36" fmla="*/ 935 h 1043"/>
                  <a:gd name="connsiteX37" fmla="*/ 2552 w 4181"/>
                  <a:gd name="connsiteY37" fmla="*/ 894 h 1043"/>
                  <a:gd name="connsiteX38" fmla="*/ 2509 w 4181"/>
                  <a:gd name="connsiteY38" fmla="*/ 846 h 1043"/>
                  <a:gd name="connsiteX39" fmla="*/ 2469 w 4181"/>
                  <a:gd name="connsiteY39" fmla="*/ 796 h 1043"/>
                  <a:gd name="connsiteX40" fmla="*/ 2430 w 4181"/>
                  <a:gd name="connsiteY40" fmla="*/ 740 h 1043"/>
                  <a:gd name="connsiteX41" fmla="*/ 2393 w 4181"/>
                  <a:gd name="connsiteY41" fmla="*/ 684 h 1043"/>
                  <a:gd name="connsiteX42" fmla="*/ 2288 w 4181"/>
                  <a:gd name="connsiteY42" fmla="*/ 510 h 1043"/>
                  <a:gd name="connsiteX43" fmla="*/ 2251 w 4181"/>
                  <a:gd name="connsiteY43" fmla="*/ 452 h 1043"/>
                  <a:gd name="connsiteX44" fmla="*/ 2213 w 4181"/>
                  <a:gd name="connsiteY44" fmla="*/ 396 h 1043"/>
                  <a:gd name="connsiteX45" fmla="*/ 2176 w 4181"/>
                  <a:gd name="connsiteY45" fmla="*/ 342 h 1043"/>
                  <a:gd name="connsiteX46" fmla="*/ 2137 w 4181"/>
                  <a:gd name="connsiteY46" fmla="*/ 293 h 1043"/>
                  <a:gd name="connsiteX47" fmla="*/ 2096 w 4181"/>
                  <a:gd name="connsiteY47" fmla="*/ 247 h 1043"/>
                  <a:gd name="connsiteX48" fmla="*/ 2054 w 4181"/>
                  <a:gd name="connsiteY48" fmla="*/ 205 h 1043"/>
                  <a:gd name="connsiteX49" fmla="*/ 2009 w 4181"/>
                  <a:gd name="connsiteY49" fmla="*/ 168 h 1043"/>
                  <a:gd name="connsiteX50" fmla="*/ 1962 w 4181"/>
                  <a:gd name="connsiteY50" fmla="*/ 139 h 1043"/>
                  <a:gd name="connsiteX51" fmla="*/ 1910 w 4181"/>
                  <a:gd name="connsiteY51" fmla="*/ 116 h 1043"/>
                  <a:gd name="connsiteX52" fmla="*/ 1854 w 4181"/>
                  <a:gd name="connsiteY52" fmla="*/ 100 h 1043"/>
                  <a:gd name="connsiteX53" fmla="*/ 1796 w 4181"/>
                  <a:gd name="connsiteY53" fmla="*/ 91 h 1043"/>
                  <a:gd name="connsiteX54" fmla="*/ 1732 w 4181"/>
                  <a:gd name="connsiteY54" fmla="*/ 93 h 1043"/>
                  <a:gd name="connsiteX55" fmla="*/ 1664 w 4181"/>
                  <a:gd name="connsiteY55" fmla="*/ 104 h 1043"/>
                  <a:gd name="connsiteX56" fmla="*/ 1602 w 4181"/>
                  <a:gd name="connsiteY56" fmla="*/ 122 h 1043"/>
                  <a:gd name="connsiteX57" fmla="*/ 1545 w 4181"/>
                  <a:gd name="connsiteY57" fmla="*/ 147 h 1043"/>
                  <a:gd name="connsiteX58" fmla="*/ 1491 w 4181"/>
                  <a:gd name="connsiteY58" fmla="*/ 181 h 1043"/>
                  <a:gd name="connsiteX59" fmla="*/ 1439 w 4181"/>
                  <a:gd name="connsiteY59" fmla="*/ 218 h 1043"/>
                  <a:gd name="connsiteX60" fmla="*/ 1394 w 4181"/>
                  <a:gd name="connsiteY60" fmla="*/ 261 h 1043"/>
                  <a:gd name="connsiteX61" fmla="*/ 1348 w 4181"/>
                  <a:gd name="connsiteY61" fmla="*/ 307 h 1043"/>
                  <a:gd name="connsiteX62" fmla="*/ 1307 w 4181"/>
                  <a:gd name="connsiteY62" fmla="*/ 359 h 1043"/>
                  <a:gd name="connsiteX63" fmla="*/ 1268 w 4181"/>
                  <a:gd name="connsiteY63" fmla="*/ 413 h 1043"/>
                  <a:gd name="connsiteX64" fmla="*/ 1231 w 4181"/>
                  <a:gd name="connsiteY64" fmla="*/ 467 h 1043"/>
                  <a:gd name="connsiteX65" fmla="*/ 1194 w 4181"/>
                  <a:gd name="connsiteY65" fmla="*/ 523 h 1043"/>
                  <a:gd name="connsiteX66" fmla="*/ 1156 w 4181"/>
                  <a:gd name="connsiteY66" fmla="*/ 581 h 1043"/>
                  <a:gd name="connsiteX67" fmla="*/ 1121 w 4181"/>
                  <a:gd name="connsiteY67" fmla="*/ 637 h 1043"/>
                  <a:gd name="connsiteX68" fmla="*/ 1047 w 4181"/>
                  <a:gd name="connsiteY68" fmla="*/ 749 h 1043"/>
                  <a:gd name="connsiteX69" fmla="*/ 1008 w 4181"/>
                  <a:gd name="connsiteY69" fmla="*/ 801 h 1043"/>
                  <a:gd name="connsiteX70" fmla="*/ 966 w 4181"/>
                  <a:gd name="connsiteY70" fmla="*/ 850 h 1043"/>
                  <a:gd name="connsiteX71" fmla="*/ 923 w 4181"/>
                  <a:gd name="connsiteY71" fmla="*/ 896 h 1043"/>
                  <a:gd name="connsiteX72" fmla="*/ 876 w 4181"/>
                  <a:gd name="connsiteY72" fmla="*/ 937 h 1043"/>
                  <a:gd name="connsiteX73" fmla="*/ 826 w 4181"/>
                  <a:gd name="connsiteY73" fmla="*/ 973 h 1043"/>
                  <a:gd name="connsiteX74" fmla="*/ 772 w 4181"/>
                  <a:gd name="connsiteY74" fmla="*/ 1002 h 1043"/>
                  <a:gd name="connsiteX75" fmla="*/ 717 w 4181"/>
                  <a:gd name="connsiteY75" fmla="*/ 1025 h 1043"/>
                  <a:gd name="connsiteX76" fmla="*/ 653 w 4181"/>
                  <a:gd name="connsiteY76" fmla="*/ 1037 h 1043"/>
                  <a:gd name="connsiteX77" fmla="*/ 587 w 4181"/>
                  <a:gd name="connsiteY77" fmla="*/ 1043 h 1043"/>
                  <a:gd name="connsiteX78" fmla="*/ 580 w 4181"/>
                  <a:gd name="connsiteY78" fmla="*/ 1043 h 1043"/>
                  <a:gd name="connsiteX79" fmla="*/ 512 w 4181"/>
                  <a:gd name="connsiteY79" fmla="*/ 1039 h 1043"/>
                  <a:gd name="connsiteX80" fmla="*/ 450 w 4181"/>
                  <a:gd name="connsiteY80" fmla="*/ 1027 h 1043"/>
                  <a:gd name="connsiteX81" fmla="*/ 392 w 4181"/>
                  <a:gd name="connsiteY81" fmla="*/ 1008 h 1043"/>
                  <a:gd name="connsiteX82" fmla="*/ 341 w 4181"/>
                  <a:gd name="connsiteY82" fmla="*/ 983 h 1043"/>
                  <a:gd name="connsiteX83" fmla="*/ 293 w 4181"/>
                  <a:gd name="connsiteY83" fmla="*/ 952 h 1043"/>
                  <a:gd name="connsiteX84" fmla="*/ 248 w 4181"/>
                  <a:gd name="connsiteY84" fmla="*/ 915 h 1043"/>
                  <a:gd name="connsiteX85" fmla="*/ 207 w 4181"/>
                  <a:gd name="connsiteY85" fmla="*/ 873 h 1043"/>
                  <a:gd name="connsiteX86" fmla="*/ 169 w 4181"/>
                  <a:gd name="connsiteY86" fmla="*/ 828 h 1043"/>
                  <a:gd name="connsiteX87" fmla="*/ 132 w 4181"/>
                  <a:gd name="connsiteY87" fmla="*/ 780 h 1043"/>
                  <a:gd name="connsiteX88" fmla="*/ 99 w 4181"/>
                  <a:gd name="connsiteY88" fmla="*/ 728 h 1043"/>
                  <a:gd name="connsiteX89" fmla="*/ 64 w 4181"/>
                  <a:gd name="connsiteY89" fmla="*/ 674 h 1043"/>
                  <a:gd name="connsiteX90" fmla="*/ 33 w 4181"/>
                  <a:gd name="connsiteY90" fmla="*/ 618 h 1043"/>
                  <a:gd name="connsiteX91" fmla="*/ 0 w 4181"/>
                  <a:gd name="connsiteY91" fmla="*/ 560 h 1043"/>
                  <a:gd name="connsiteX92" fmla="*/ 77 w 4181"/>
                  <a:gd name="connsiteY92" fmla="*/ 516 h 1043"/>
                  <a:gd name="connsiteX93" fmla="*/ 110 w 4181"/>
                  <a:gd name="connsiteY93" fmla="*/ 575 h 1043"/>
                  <a:gd name="connsiteX94" fmla="*/ 143 w 4181"/>
                  <a:gd name="connsiteY94" fmla="*/ 631 h 1043"/>
                  <a:gd name="connsiteX95" fmla="*/ 176 w 4181"/>
                  <a:gd name="connsiteY95" fmla="*/ 684 h 1043"/>
                  <a:gd name="connsiteX96" fmla="*/ 209 w 4181"/>
                  <a:gd name="connsiteY96" fmla="*/ 736 h 1043"/>
                  <a:gd name="connsiteX97" fmla="*/ 244 w 4181"/>
                  <a:gd name="connsiteY97" fmla="*/ 782 h 1043"/>
                  <a:gd name="connsiteX98" fmla="*/ 281 w 4181"/>
                  <a:gd name="connsiteY98" fmla="*/ 825 h 1043"/>
                  <a:gd name="connsiteX99" fmla="*/ 322 w 4181"/>
                  <a:gd name="connsiteY99" fmla="*/ 863 h 1043"/>
                  <a:gd name="connsiteX100" fmla="*/ 366 w 4181"/>
                  <a:gd name="connsiteY100" fmla="*/ 894 h 1043"/>
                  <a:gd name="connsiteX101" fmla="*/ 413 w 4181"/>
                  <a:gd name="connsiteY101" fmla="*/ 921 h 1043"/>
                  <a:gd name="connsiteX102" fmla="*/ 463 w 4181"/>
                  <a:gd name="connsiteY102" fmla="*/ 940 h 1043"/>
                  <a:gd name="connsiteX103" fmla="*/ 518 w 4181"/>
                  <a:gd name="connsiteY103" fmla="*/ 952 h 1043"/>
                  <a:gd name="connsiteX104" fmla="*/ 580 w 4181"/>
                  <a:gd name="connsiteY104" fmla="*/ 956 h 1043"/>
                  <a:gd name="connsiteX105" fmla="*/ 587 w 4181"/>
                  <a:gd name="connsiteY105" fmla="*/ 956 h 1043"/>
                  <a:gd name="connsiteX106" fmla="*/ 646 w 4181"/>
                  <a:gd name="connsiteY106" fmla="*/ 950 h 1043"/>
                  <a:gd name="connsiteX107" fmla="*/ 702 w 4181"/>
                  <a:gd name="connsiteY107" fmla="*/ 935 h 1043"/>
                  <a:gd name="connsiteX108" fmla="*/ 756 w 4181"/>
                  <a:gd name="connsiteY108" fmla="*/ 913 h 1043"/>
                  <a:gd name="connsiteX109" fmla="*/ 803 w 4181"/>
                  <a:gd name="connsiteY109" fmla="*/ 884 h 1043"/>
                  <a:gd name="connsiteX110" fmla="*/ 849 w 4181"/>
                  <a:gd name="connsiteY110" fmla="*/ 846 h 1043"/>
                  <a:gd name="connsiteX111" fmla="*/ 892 w 4181"/>
                  <a:gd name="connsiteY111" fmla="*/ 803 h 1043"/>
                  <a:gd name="connsiteX112" fmla="*/ 931 w 4181"/>
                  <a:gd name="connsiteY112" fmla="*/ 755 h 1043"/>
                  <a:gd name="connsiteX113" fmla="*/ 971 w 4181"/>
                  <a:gd name="connsiteY113" fmla="*/ 703 h 1043"/>
                  <a:gd name="connsiteX114" fmla="*/ 1010 w 4181"/>
                  <a:gd name="connsiteY114" fmla="*/ 649 h 1043"/>
                  <a:gd name="connsiteX115" fmla="*/ 1121 w 4181"/>
                  <a:gd name="connsiteY115" fmla="*/ 475 h 1043"/>
                  <a:gd name="connsiteX116" fmla="*/ 1161 w 4181"/>
                  <a:gd name="connsiteY116" fmla="*/ 415 h 1043"/>
                  <a:gd name="connsiteX117" fmla="*/ 1202 w 4181"/>
                  <a:gd name="connsiteY117" fmla="*/ 357 h 1043"/>
                  <a:gd name="connsiteX118" fmla="*/ 1245 w 4181"/>
                  <a:gd name="connsiteY118" fmla="*/ 299 h 1043"/>
                  <a:gd name="connsiteX119" fmla="*/ 1291 w 4181"/>
                  <a:gd name="connsiteY119" fmla="*/ 245 h 1043"/>
                  <a:gd name="connsiteX120" fmla="*/ 1338 w 4181"/>
                  <a:gd name="connsiteY120" fmla="*/ 193 h 1043"/>
                  <a:gd name="connsiteX121" fmla="*/ 1392 w 4181"/>
                  <a:gd name="connsiteY121" fmla="*/ 145 h 1043"/>
                  <a:gd name="connsiteX122" fmla="*/ 1447 w 4181"/>
                  <a:gd name="connsiteY122" fmla="*/ 104 h 1043"/>
                  <a:gd name="connsiteX123" fmla="*/ 1509 w 4181"/>
                  <a:gd name="connsiteY123" fmla="*/ 69 h 1043"/>
                  <a:gd name="connsiteX124" fmla="*/ 1575 w 4181"/>
                  <a:gd name="connsiteY124" fmla="*/ 40 h 1043"/>
                  <a:gd name="connsiteX125" fmla="*/ 1648 w 4181"/>
                  <a:gd name="connsiteY125" fmla="*/ 19 h 1043"/>
                  <a:gd name="connsiteX126" fmla="*/ 1726 w 4181"/>
                  <a:gd name="connsiteY126" fmla="*/ 6 h 1043"/>
                  <a:gd name="connsiteX127" fmla="*/ 1796 w 4181"/>
                  <a:gd name="connsiteY127" fmla="*/ 4 h 1043"/>
                  <a:gd name="connsiteX128" fmla="*/ 1862 w 4181"/>
                  <a:gd name="connsiteY128" fmla="*/ 13 h 1043"/>
                  <a:gd name="connsiteX129" fmla="*/ 1922 w 4181"/>
                  <a:gd name="connsiteY129" fmla="*/ 27 h 1043"/>
                  <a:gd name="connsiteX130" fmla="*/ 1980 w 4181"/>
                  <a:gd name="connsiteY130" fmla="*/ 50 h 1043"/>
                  <a:gd name="connsiteX131" fmla="*/ 2034 w 4181"/>
                  <a:gd name="connsiteY131" fmla="*/ 81 h 1043"/>
                  <a:gd name="connsiteX132" fmla="*/ 2083 w 4181"/>
                  <a:gd name="connsiteY132" fmla="*/ 116 h 1043"/>
                  <a:gd name="connsiteX133" fmla="*/ 2129 w 4181"/>
                  <a:gd name="connsiteY133" fmla="*/ 158 h 1043"/>
                  <a:gd name="connsiteX134" fmla="*/ 2174 w 4181"/>
                  <a:gd name="connsiteY134" fmla="*/ 203 h 1043"/>
                  <a:gd name="connsiteX135" fmla="*/ 2216 w 4181"/>
                  <a:gd name="connsiteY135" fmla="*/ 251 h 1043"/>
                  <a:gd name="connsiteX136" fmla="*/ 2255 w 4181"/>
                  <a:gd name="connsiteY136" fmla="*/ 303 h 1043"/>
                  <a:gd name="connsiteX137" fmla="*/ 2292 w 4181"/>
                  <a:gd name="connsiteY137" fmla="*/ 357 h 1043"/>
                  <a:gd name="connsiteX138" fmla="*/ 2327 w 4181"/>
                  <a:gd name="connsiteY138" fmla="*/ 413 h 1043"/>
                  <a:gd name="connsiteX139" fmla="*/ 2362 w 4181"/>
                  <a:gd name="connsiteY139" fmla="*/ 467 h 1043"/>
                  <a:gd name="connsiteX140" fmla="*/ 2395 w 4181"/>
                  <a:gd name="connsiteY140" fmla="*/ 523 h 1043"/>
                  <a:gd name="connsiteX141" fmla="*/ 2432 w 4181"/>
                  <a:gd name="connsiteY141" fmla="*/ 585 h 1043"/>
                  <a:gd name="connsiteX142" fmla="*/ 2469 w 4181"/>
                  <a:gd name="connsiteY142" fmla="*/ 643 h 1043"/>
                  <a:gd name="connsiteX143" fmla="*/ 2509 w 4181"/>
                  <a:gd name="connsiteY143" fmla="*/ 701 h 1043"/>
                  <a:gd name="connsiteX144" fmla="*/ 2546 w 4181"/>
                  <a:gd name="connsiteY144" fmla="*/ 755 h 1043"/>
                  <a:gd name="connsiteX145" fmla="*/ 2587 w 4181"/>
                  <a:gd name="connsiteY145" fmla="*/ 805 h 1043"/>
                  <a:gd name="connsiteX146" fmla="*/ 2628 w 4181"/>
                  <a:gd name="connsiteY146" fmla="*/ 848 h 1043"/>
                  <a:gd name="connsiteX147" fmla="*/ 2672 w 4181"/>
                  <a:gd name="connsiteY147" fmla="*/ 886 h 1043"/>
                  <a:gd name="connsiteX148" fmla="*/ 2717 w 4181"/>
                  <a:gd name="connsiteY148" fmla="*/ 917 h 1043"/>
                  <a:gd name="connsiteX149" fmla="*/ 2767 w 4181"/>
                  <a:gd name="connsiteY149" fmla="*/ 940 h 1043"/>
                  <a:gd name="connsiteX150" fmla="*/ 2820 w 4181"/>
                  <a:gd name="connsiteY150" fmla="*/ 952 h 1043"/>
                  <a:gd name="connsiteX151" fmla="*/ 2876 w 4181"/>
                  <a:gd name="connsiteY151" fmla="*/ 956 h 1043"/>
                  <a:gd name="connsiteX152" fmla="*/ 2932 w 4181"/>
                  <a:gd name="connsiteY152" fmla="*/ 950 h 1043"/>
                  <a:gd name="connsiteX153" fmla="*/ 2982 w 4181"/>
                  <a:gd name="connsiteY153" fmla="*/ 935 h 1043"/>
                  <a:gd name="connsiteX154" fmla="*/ 3029 w 4181"/>
                  <a:gd name="connsiteY154" fmla="*/ 915 h 1043"/>
                  <a:gd name="connsiteX155" fmla="*/ 3072 w 4181"/>
                  <a:gd name="connsiteY155" fmla="*/ 884 h 1043"/>
                  <a:gd name="connsiteX156" fmla="*/ 3112 w 4181"/>
                  <a:gd name="connsiteY156" fmla="*/ 848 h 1043"/>
                  <a:gd name="connsiteX157" fmla="*/ 3149 w 4181"/>
                  <a:gd name="connsiteY157" fmla="*/ 807 h 1043"/>
                  <a:gd name="connsiteX158" fmla="*/ 3184 w 4181"/>
                  <a:gd name="connsiteY158" fmla="*/ 759 h 1043"/>
                  <a:gd name="connsiteX159" fmla="*/ 3217 w 4181"/>
                  <a:gd name="connsiteY159" fmla="*/ 709 h 1043"/>
                  <a:gd name="connsiteX160" fmla="*/ 3250 w 4181"/>
                  <a:gd name="connsiteY160" fmla="*/ 655 h 1043"/>
                  <a:gd name="connsiteX161" fmla="*/ 3283 w 4181"/>
                  <a:gd name="connsiteY161" fmla="*/ 597 h 1043"/>
                  <a:gd name="connsiteX162" fmla="*/ 3316 w 4181"/>
                  <a:gd name="connsiteY162" fmla="*/ 537 h 1043"/>
                  <a:gd name="connsiteX163" fmla="*/ 3345 w 4181"/>
                  <a:gd name="connsiteY163" fmla="*/ 483 h 1043"/>
                  <a:gd name="connsiteX0" fmla="*/ 3316 w 4181"/>
                  <a:gd name="connsiteY0" fmla="*/ 537 h 1043"/>
                  <a:gd name="connsiteX1" fmla="*/ 4004 w 4181"/>
                  <a:gd name="connsiteY1" fmla="*/ 0 h 1043"/>
                  <a:gd name="connsiteX2" fmla="*/ 4181 w 4181"/>
                  <a:gd name="connsiteY2" fmla="*/ 158 h 1043"/>
                  <a:gd name="connsiteX3" fmla="*/ 4142 w 4181"/>
                  <a:gd name="connsiteY3" fmla="*/ 135 h 1043"/>
                  <a:gd name="connsiteX4" fmla="*/ 4092 w 4181"/>
                  <a:gd name="connsiteY4" fmla="*/ 112 h 1043"/>
                  <a:gd name="connsiteX5" fmla="*/ 4049 w 4181"/>
                  <a:gd name="connsiteY5" fmla="*/ 98 h 1043"/>
                  <a:gd name="connsiteX6" fmla="*/ 4014 w 4181"/>
                  <a:gd name="connsiteY6" fmla="*/ 89 h 1043"/>
                  <a:gd name="connsiteX7" fmla="*/ 3985 w 4181"/>
                  <a:gd name="connsiteY7" fmla="*/ 87 h 1043"/>
                  <a:gd name="connsiteX8" fmla="*/ 3958 w 4181"/>
                  <a:gd name="connsiteY8" fmla="*/ 87 h 1043"/>
                  <a:gd name="connsiteX9" fmla="*/ 3892 w 4181"/>
                  <a:gd name="connsiteY9" fmla="*/ 93 h 1043"/>
                  <a:gd name="connsiteX10" fmla="*/ 3830 w 4181"/>
                  <a:gd name="connsiteY10" fmla="*/ 106 h 1043"/>
                  <a:gd name="connsiteX11" fmla="*/ 3774 w 4181"/>
                  <a:gd name="connsiteY11" fmla="*/ 127 h 1043"/>
                  <a:gd name="connsiteX12" fmla="*/ 3723 w 4181"/>
                  <a:gd name="connsiteY12" fmla="*/ 154 h 1043"/>
                  <a:gd name="connsiteX13" fmla="*/ 3675 w 4181"/>
                  <a:gd name="connsiteY13" fmla="*/ 187 h 1043"/>
                  <a:gd name="connsiteX14" fmla="*/ 3632 w 4181"/>
                  <a:gd name="connsiteY14" fmla="*/ 224 h 1043"/>
                  <a:gd name="connsiteX15" fmla="*/ 3593 w 4181"/>
                  <a:gd name="connsiteY15" fmla="*/ 268 h 1043"/>
                  <a:gd name="connsiteX16" fmla="*/ 3553 w 4181"/>
                  <a:gd name="connsiteY16" fmla="*/ 313 h 1043"/>
                  <a:gd name="connsiteX17" fmla="*/ 3518 w 4181"/>
                  <a:gd name="connsiteY17" fmla="*/ 363 h 1043"/>
                  <a:gd name="connsiteX18" fmla="*/ 3485 w 4181"/>
                  <a:gd name="connsiteY18" fmla="*/ 415 h 1043"/>
                  <a:gd name="connsiteX19" fmla="*/ 3423 w 4181"/>
                  <a:gd name="connsiteY19" fmla="*/ 523 h 1043"/>
                  <a:gd name="connsiteX20" fmla="*/ 3330 w 4181"/>
                  <a:gd name="connsiteY20" fmla="*/ 691 h 1043"/>
                  <a:gd name="connsiteX21" fmla="*/ 3297 w 4181"/>
                  <a:gd name="connsiteY21" fmla="*/ 747 h 1043"/>
                  <a:gd name="connsiteX22" fmla="*/ 3262 w 4181"/>
                  <a:gd name="connsiteY22" fmla="*/ 799 h 1043"/>
                  <a:gd name="connsiteX23" fmla="*/ 3227 w 4181"/>
                  <a:gd name="connsiteY23" fmla="*/ 848 h 1043"/>
                  <a:gd name="connsiteX24" fmla="*/ 3188 w 4181"/>
                  <a:gd name="connsiteY24" fmla="*/ 894 h 1043"/>
                  <a:gd name="connsiteX25" fmla="*/ 3147 w 4181"/>
                  <a:gd name="connsiteY25" fmla="*/ 935 h 1043"/>
                  <a:gd name="connsiteX26" fmla="*/ 3101 w 4181"/>
                  <a:gd name="connsiteY26" fmla="*/ 971 h 1043"/>
                  <a:gd name="connsiteX27" fmla="*/ 3052 w 4181"/>
                  <a:gd name="connsiteY27" fmla="*/ 1000 h 1043"/>
                  <a:gd name="connsiteX28" fmla="*/ 3000 w 4181"/>
                  <a:gd name="connsiteY28" fmla="*/ 1022 h 1043"/>
                  <a:gd name="connsiteX29" fmla="*/ 2942 w 4181"/>
                  <a:gd name="connsiteY29" fmla="*/ 1037 h 1043"/>
                  <a:gd name="connsiteX30" fmla="*/ 2878 w 4181"/>
                  <a:gd name="connsiteY30" fmla="*/ 1043 h 1043"/>
                  <a:gd name="connsiteX31" fmla="*/ 2870 w 4181"/>
                  <a:gd name="connsiteY31" fmla="*/ 1043 h 1043"/>
                  <a:gd name="connsiteX32" fmla="*/ 2808 w 4181"/>
                  <a:gd name="connsiteY32" fmla="*/ 1039 h 1043"/>
                  <a:gd name="connsiteX33" fmla="*/ 2748 w 4181"/>
                  <a:gd name="connsiteY33" fmla="*/ 1025 h 1043"/>
                  <a:gd name="connsiteX34" fmla="*/ 2695 w 4181"/>
                  <a:gd name="connsiteY34" fmla="*/ 1002 h 1043"/>
                  <a:gd name="connsiteX35" fmla="*/ 2643 w 4181"/>
                  <a:gd name="connsiteY35" fmla="*/ 973 h 1043"/>
                  <a:gd name="connsiteX36" fmla="*/ 2595 w 4181"/>
                  <a:gd name="connsiteY36" fmla="*/ 935 h 1043"/>
                  <a:gd name="connsiteX37" fmla="*/ 2552 w 4181"/>
                  <a:gd name="connsiteY37" fmla="*/ 894 h 1043"/>
                  <a:gd name="connsiteX38" fmla="*/ 2509 w 4181"/>
                  <a:gd name="connsiteY38" fmla="*/ 846 h 1043"/>
                  <a:gd name="connsiteX39" fmla="*/ 2469 w 4181"/>
                  <a:gd name="connsiteY39" fmla="*/ 796 h 1043"/>
                  <a:gd name="connsiteX40" fmla="*/ 2430 w 4181"/>
                  <a:gd name="connsiteY40" fmla="*/ 740 h 1043"/>
                  <a:gd name="connsiteX41" fmla="*/ 2393 w 4181"/>
                  <a:gd name="connsiteY41" fmla="*/ 684 h 1043"/>
                  <a:gd name="connsiteX42" fmla="*/ 2288 w 4181"/>
                  <a:gd name="connsiteY42" fmla="*/ 510 h 1043"/>
                  <a:gd name="connsiteX43" fmla="*/ 2251 w 4181"/>
                  <a:gd name="connsiteY43" fmla="*/ 452 h 1043"/>
                  <a:gd name="connsiteX44" fmla="*/ 2213 w 4181"/>
                  <a:gd name="connsiteY44" fmla="*/ 396 h 1043"/>
                  <a:gd name="connsiteX45" fmla="*/ 2176 w 4181"/>
                  <a:gd name="connsiteY45" fmla="*/ 342 h 1043"/>
                  <a:gd name="connsiteX46" fmla="*/ 2137 w 4181"/>
                  <a:gd name="connsiteY46" fmla="*/ 293 h 1043"/>
                  <a:gd name="connsiteX47" fmla="*/ 2096 w 4181"/>
                  <a:gd name="connsiteY47" fmla="*/ 247 h 1043"/>
                  <a:gd name="connsiteX48" fmla="*/ 2054 w 4181"/>
                  <a:gd name="connsiteY48" fmla="*/ 205 h 1043"/>
                  <a:gd name="connsiteX49" fmla="*/ 2009 w 4181"/>
                  <a:gd name="connsiteY49" fmla="*/ 168 h 1043"/>
                  <a:gd name="connsiteX50" fmla="*/ 1962 w 4181"/>
                  <a:gd name="connsiteY50" fmla="*/ 139 h 1043"/>
                  <a:gd name="connsiteX51" fmla="*/ 1910 w 4181"/>
                  <a:gd name="connsiteY51" fmla="*/ 116 h 1043"/>
                  <a:gd name="connsiteX52" fmla="*/ 1854 w 4181"/>
                  <a:gd name="connsiteY52" fmla="*/ 100 h 1043"/>
                  <a:gd name="connsiteX53" fmla="*/ 1796 w 4181"/>
                  <a:gd name="connsiteY53" fmla="*/ 91 h 1043"/>
                  <a:gd name="connsiteX54" fmla="*/ 1732 w 4181"/>
                  <a:gd name="connsiteY54" fmla="*/ 93 h 1043"/>
                  <a:gd name="connsiteX55" fmla="*/ 1664 w 4181"/>
                  <a:gd name="connsiteY55" fmla="*/ 104 h 1043"/>
                  <a:gd name="connsiteX56" fmla="*/ 1602 w 4181"/>
                  <a:gd name="connsiteY56" fmla="*/ 122 h 1043"/>
                  <a:gd name="connsiteX57" fmla="*/ 1545 w 4181"/>
                  <a:gd name="connsiteY57" fmla="*/ 147 h 1043"/>
                  <a:gd name="connsiteX58" fmla="*/ 1491 w 4181"/>
                  <a:gd name="connsiteY58" fmla="*/ 181 h 1043"/>
                  <a:gd name="connsiteX59" fmla="*/ 1439 w 4181"/>
                  <a:gd name="connsiteY59" fmla="*/ 218 h 1043"/>
                  <a:gd name="connsiteX60" fmla="*/ 1394 w 4181"/>
                  <a:gd name="connsiteY60" fmla="*/ 261 h 1043"/>
                  <a:gd name="connsiteX61" fmla="*/ 1348 w 4181"/>
                  <a:gd name="connsiteY61" fmla="*/ 307 h 1043"/>
                  <a:gd name="connsiteX62" fmla="*/ 1307 w 4181"/>
                  <a:gd name="connsiteY62" fmla="*/ 359 h 1043"/>
                  <a:gd name="connsiteX63" fmla="*/ 1268 w 4181"/>
                  <a:gd name="connsiteY63" fmla="*/ 413 h 1043"/>
                  <a:gd name="connsiteX64" fmla="*/ 1231 w 4181"/>
                  <a:gd name="connsiteY64" fmla="*/ 467 h 1043"/>
                  <a:gd name="connsiteX65" fmla="*/ 1194 w 4181"/>
                  <a:gd name="connsiteY65" fmla="*/ 523 h 1043"/>
                  <a:gd name="connsiteX66" fmla="*/ 1156 w 4181"/>
                  <a:gd name="connsiteY66" fmla="*/ 581 h 1043"/>
                  <a:gd name="connsiteX67" fmla="*/ 1121 w 4181"/>
                  <a:gd name="connsiteY67" fmla="*/ 637 h 1043"/>
                  <a:gd name="connsiteX68" fmla="*/ 1047 w 4181"/>
                  <a:gd name="connsiteY68" fmla="*/ 749 h 1043"/>
                  <a:gd name="connsiteX69" fmla="*/ 1008 w 4181"/>
                  <a:gd name="connsiteY69" fmla="*/ 801 h 1043"/>
                  <a:gd name="connsiteX70" fmla="*/ 966 w 4181"/>
                  <a:gd name="connsiteY70" fmla="*/ 850 h 1043"/>
                  <a:gd name="connsiteX71" fmla="*/ 923 w 4181"/>
                  <a:gd name="connsiteY71" fmla="*/ 896 h 1043"/>
                  <a:gd name="connsiteX72" fmla="*/ 876 w 4181"/>
                  <a:gd name="connsiteY72" fmla="*/ 937 h 1043"/>
                  <a:gd name="connsiteX73" fmla="*/ 826 w 4181"/>
                  <a:gd name="connsiteY73" fmla="*/ 973 h 1043"/>
                  <a:gd name="connsiteX74" fmla="*/ 772 w 4181"/>
                  <a:gd name="connsiteY74" fmla="*/ 1002 h 1043"/>
                  <a:gd name="connsiteX75" fmla="*/ 717 w 4181"/>
                  <a:gd name="connsiteY75" fmla="*/ 1025 h 1043"/>
                  <a:gd name="connsiteX76" fmla="*/ 653 w 4181"/>
                  <a:gd name="connsiteY76" fmla="*/ 1037 h 1043"/>
                  <a:gd name="connsiteX77" fmla="*/ 587 w 4181"/>
                  <a:gd name="connsiteY77" fmla="*/ 1043 h 1043"/>
                  <a:gd name="connsiteX78" fmla="*/ 580 w 4181"/>
                  <a:gd name="connsiteY78" fmla="*/ 1043 h 1043"/>
                  <a:gd name="connsiteX79" fmla="*/ 512 w 4181"/>
                  <a:gd name="connsiteY79" fmla="*/ 1039 h 1043"/>
                  <a:gd name="connsiteX80" fmla="*/ 450 w 4181"/>
                  <a:gd name="connsiteY80" fmla="*/ 1027 h 1043"/>
                  <a:gd name="connsiteX81" fmla="*/ 392 w 4181"/>
                  <a:gd name="connsiteY81" fmla="*/ 1008 h 1043"/>
                  <a:gd name="connsiteX82" fmla="*/ 341 w 4181"/>
                  <a:gd name="connsiteY82" fmla="*/ 983 h 1043"/>
                  <a:gd name="connsiteX83" fmla="*/ 293 w 4181"/>
                  <a:gd name="connsiteY83" fmla="*/ 952 h 1043"/>
                  <a:gd name="connsiteX84" fmla="*/ 248 w 4181"/>
                  <a:gd name="connsiteY84" fmla="*/ 915 h 1043"/>
                  <a:gd name="connsiteX85" fmla="*/ 207 w 4181"/>
                  <a:gd name="connsiteY85" fmla="*/ 873 h 1043"/>
                  <a:gd name="connsiteX86" fmla="*/ 169 w 4181"/>
                  <a:gd name="connsiteY86" fmla="*/ 828 h 1043"/>
                  <a:gd name="connsiteX87" fmla="*/ 132 w 4181"/>
                  <a:gd name="connsiteY87" fmla="*/ 780 h 1043"/>
                  <a:gd name="connsiteX88" fmla="*/ 99 w 4181"/>
                  <a:gd name="connsiteY88" fmla="*/ 728 h 1043"/>
                  <a:gd name="connsiteX89" fmla="*/ 64 w 4181"/>
                  <a:gd name="connsiteY89" fmla="*/ 674 h 1043"/>
                  <a:gd name="connsiteX90" fmla="*/ 33 w 4181"/>
                  <a:gd name="connsiteY90" fmla="*/ 618 h 1043"/>
                  <a:gd name="connsiteX91" fmla="*/ 0 w 4181"/>
                  <a:gd name="connsiteY91" fmla="*/ 560 h 1043"/>
                  <a:gd name="connsiteX92" fmla="*/ 77 w 4181"/>
                  <a:gd name="connsiteY92" fmla="*/ 516 h 1043"/>
                  <a:gd name="connsiteX93" fmla="*/ 110 w 4181"/>
                  <a:gd name="connsiteY93" fmla="*/ 575 h 1043"/>
                  <a:gd name="connsiteX94" fmla="*/ 143 w 4181"/>
                  <a:gd name="connsiteY94" fmla="*/ 631 h 1043"/>
                  <a:gd name="connsiteX95" fmla="*/ 176 w 4181"/>
                  <a:gd name="connsiteY95" fmla="*/ 684 h 1043"/>
                  <a:gd name="connsiteX96" fmla="*/ 209 w 4181"/>
                  <a:gd name="connsiteY96" fmla="*/ 736 h 1043"/>
                  <a:gd name="connsiteX97" fmla="*/ 244 w 4181"/>
                  <a:gd name="connsiteY97" fmla="*/ 782 h 1043"/>
                  <a:gd name="connsiteX98" fmla="*/ 281 w 4181"/>
                  <a:gd name="connsiteY98" fmla="*/ 825 h 1043"/>
                  <a:gd name="connsiteX99" fmla="*/ 322 w 4181"/>
                  <a:gd name="connsiteY99" fmla="*/ 863 h 1043"/>
                  <a:gd name="connsiteX100" fmla="*/ 366 w 4181"/>
                  <a:gd name="connsiteY100" fmla="*/ 894 h 1043"/>
                  <a:gd name="connsiteX101" fmla="*/ 413 w 4181"/>
                  <a:gd name="connsiteY101" fmla="*/ 921 h 1043"/>
                  <a:gd name="connsiteX102" fmla="*/ 463 w 4181"/>
                  <a:gd name="connsiteY102" fmla="*/ 940 h 1043"/>
                  <a:gd name="connsiteX103" fmla="*/ 518 w 4181"/>
                  <a:gd name="connsiteY103" fmla="*/ 952 h 1043"/>
                  <a:gd name="connsiteX104" fmla="*/ 580 w 4181"/>
                  <a:gd name="connsiteY104" fmla="*/ 956 h 1043"/>
                  <a:gd name="connsiteX105" fmla="*/ 587 w 4181"/>
                  <a:gd name="connsiteY105" fmla="*/ 956 h 1043"/>
                  <a:gd name="connsiteX106" fmla="*/ 646 w 4181"/>
                  <a:gd name="connsiteY106" fmla="*/ 950 h 1043"/>
                  <a:gd name="connsiteX107" fmla="*/ 702 w 4181"/>
                  <a:gd name="connsiteY107" fmla="*/ 935 h 1043"/>
                  <a:gd name="connsiteX108" fmla="*/ 756 w 4181"/>
                  <a:gd name="connsiteY108" fmla="*/ 913 h 1043"/>
                  <a:gd name="connsiteX109" fmla="*/ 803 w 4181"/>
                  <a:gd name="connsiteY109" fmla="*/ 884 h 1043"/>
                  <a:gd name="connsiteX110" fmla="*/ 849 w 4181"/>
                  <a:gd name="connsiteY110" fmla="*/ 846 h 1043"/>
                  <a:gd name="connsiteX111" fmla="*/ 892 w 4181"/>
                  <a:gd name="connsiteY111" fmla="*/ 803 h 1043"/>
                  <a:gd name="connsiteX112" fmla="*/ 931 w 4181"/>
                  <a:gd name="connsiteY112" fmla="*/ 755 h 1043"/>
                  <a:gd name="connsiteX113" fmla="*/ 971 w 4181"/>
                  <a:gd name="connsiteY113" fmla="*/ 703 h 1043"/>
                  <a:gd name="connsiteX114" fmla="*/ 1010 w 4181"/>
                  <a:gd name="connsiteY114" fmla="*/ 649 h 1043"/>
                  <a:gd name="connsiteX115" fmla="*/ 1121 w 4181"/>
                  <a:gd name="connsiteY115" fmla="*/ 475 h 1043"/>
                  <a:gd name="connsiteX116" fmla="*/ 1161 w 4181"/>
                  <a:gd name="connsiteY116" fmla="*/ 415 h 1043"/>
                  <a:gd name="connsiteX117" fmla="*/ 1202 w 4181"/>
                  <a:gd name="connsiteY117" fmla="*/ 357 h 1043"/>
                  <a:gd name="connsiteX118" fmla="*/ 1245 w 4181"/>
                  <a:gd name="connsiteY118" fmla="*/ 299 h 1043"/>
                  <a:gd name="connsiteX119" fmla="*/ 1291 w 4181"/>
                  <a:gd name="connsiteY119" fmla="*/ 245 h 1043"/>
                  <a:gd name="connsiteX120" fmla="*/ 1338 w 4181"/>
                  <a:gd name="connsiteY120" fmla="*/ 193 h 1043"/>
                  <a:gd name="connsiteX121" fmla="*/ 1392 w 4181"/>
                  <a:gd name="connsiteY121" fmla="*/ 145 h 1043"/>
                  <a:gd name="connsiteX122" fmla="*/ 1447 w 4181"/>
                  <a:gd name="connsiteY122" fmla="*/ 104 h 1043"/>
                  <a:gd name="connsiteX123" fmla="*/ 1509 w 4181"/>
                  <a:gd name="connsiteY123" fmla="*/ 69 h 1043"/>
                  <a:gd name="connsiteX124" fmla="*/ 1575 w 4181"/>
                  <a:gd name="connsiteY124" fmla="*/ 40 h 1043"/>
                  <a:gd name="connsiteX125" fmla="*/ 1648 w 4181"/>
                  <a:gd name="connsiteY125" fmla="*/ 19 h 1043"/>
                  <a:gd name="connsiteX126" fmla="*/ 1726 w 4181"/>
                  <a:gd name="connsiteY126" fmla="*/ 6 h 1043"/>
                  <a:gd name="connsiteX127" fmla="*/ 1796 w 4181"/>
                  <a:gd name="connsiteY127" fmla="*/ 4 h 1043"/>
                  <a:gd name="connsiteX128" fmla="*/ 1862 w 4181"/>
                  <a:gd name="connsiteY128" fmla="*/ 13 h 1043"/>
                  <a:gd name="connsiteX129" fmla="*/ 1922 w 4181"/>
                  <a:gd name="connsiteY129" fmla="*/ 27 h 1043"/>
                  <a:gd name="connsiteX130" fmla="*/ 1980 w 4181"/>
                  <a:gd name="connsiteY130" fmla="*/ 50 h 1043"/>
                  <a:gd name="connsiteX131" fmla="*/ 2034 w 4181"/>
                  <a:gd name="connsiteY131" fmla="*/ 81 h 1043"/>
                  <a:gd name="connsiteX132" fmla="*/ 2083 w 4181"/>
                  <a:gd name="connsiteY132" fmla="*/ 116 h 1043"/>
                  <a:gd name="connsiteX133" fmla="*/ 2129 w 4181"/>
                  <a:gd name="connsiteY133" fmla="*/ 158 h 1043"/>
                  <a:gd name="connsiteX134" fmla="*/ 2174 w 4181"/>
                  <a:gd name="connsiteY134" fmla="*/ 203 h 1043"/>
                  <a:gd name="connsiteX135" fmla="*/ 2216 w 4181"/>
                  <a:gd name="connsiteY135" fmla="*/ 251 h 1043"/>
                  <a:gd name="connsiteX136" fmla="*/ 2255 w 4181"/>
                  <a:gd name="connsiteY136" fmla="*/ 303 h 1043"/>
                  <a:gd name="connsiteX137" fmla="*/ 2292 w 4181"/>
                  <a:gd name="connsiteY137" fmla="*/ 357 h 1043"/>
                  <a:gd name="connsiteX138" fmla="*/ 2327 w 4181"/>
                  <a:gd name="connsiteY138" fmla="*/ 413 h 1043"/>
                  <a:gd name="connsiteX139" fmla="*/ 2362 w 4181"/>
                  <a:gd name="connsiteY139" fmla="*/ 467 h 1043"/>
                  <a:gd name="connsiteX140" fmla="*/ 2395 w 4181"/>
                  <a:gd name="connsiteY140" fmla="*/ 523 h 1043"/>
                  <a:gd name="connsiteX141" fmla="*/ 2432 w 4181"/>
                  <a:gd name="connsiteY141" fmla="*/ 585 h 1043"/>
                  <a:gd name="connsiteX142" fmla="*/ 2469 w 4181"/>
                  <a:gd name="connsiteY142" fmla="*/ 643 h 1043"/>
                  <a:gd name="connsiteX143" fmla="*/ 2509 w 4181"/>
                  <a:gd name="connsiteY143" fmla="*/ 701 h 1043"/>
                  <a:gd name="connsiteX144" fmla="*/ 2546 w 4181"/>
                  <a:gd name="connsiteY144" fmla="*/ 755 h 1043"/>
                  <a:gd name="connsiteX145" fmla="*/ 2587 w 4181"/>
                  <a:gd name="connsiteY145" fmla="*/ 805 h 1043"/>
                  <a:gd name="connsiteX146" fmla="*/ 2628 w 4181"/>
                  <a:gd name="connsiteY146" fmla="*/ 848 h 1043"/>
                  <a:gd name="connsiteX147" fmla="*/ 2672 w 4181"/>
                  <a:gd name="connsiteY147" fmla="*/ 886 h 1043"/>
                  <a:gd name="connsiteX148" fmla="*/ 2717 w 4181"/>
                  <a:gd name="connsiteY148" fmla="*/ 917 h 1043"/>
                  <a:gd name="connsiteX149" fmla="*/ 2767 w 4181"/>
                  <a:gd name="connsiteY149" fmla="*/ 940 h 1043"/>
                  <a:gd name="connsiteX150" fmla="*/ 2820 w 4181"/>
                  <a:gd name="connsiteY150" fmla="*/ 952 h 1043"/>
                  <a:gd name="connsiteX151" fmla="*/ 2876 w 4181"/>
                  <a:gd name="connsiteY151" fmla="*/ 956 h 1043"/>
                  <a:gd name="connsiteX152" fmla="*/ 2932 w 4181"/>
                  <a:gd name="connsiteY152" fmla="*/ 950 h 1043"/>
                  <a:gd name="connsiteX153" fmla="*/ 2982 w 4181"/>
                  <a:gd name="connsiteY153" fmla="*/ 935 h 1043"/>
                  <a:gd name="connsiteX154" fmla="*/ 3029 w 4181"/>
                  <a:gd name="connsiteY154" fmla="*/ 915 h 1043"/>
                  <a:gd name="connsiteX155" fmla="*/ 3072 w 4181"/>
                  <a:gd name="connsiteY155" fmla="*/ 884 h 1043"/>
                  <a:gd name="connsiteX156" fmla="*/ 3112 w 4181"/>
                  <a:gd name="connsiteY156" fmla="*/ 848 h 1043"/>
                  <a:gd name="connsiteX157" fmla="*/ 3149 w 4181"/>
                  <a:gd name="connsiteY157" fmla="*/ 807 h 1043"/>
                  <a:gd name="connsiteX158" fmla="*/ 3184 w 4181"/>
                  <a:gd name="connsiteY158" fmla="*/ 759 h 1043"/>
                  <a:gd name="connsiteX159" fmla="*/ 3217 w 4181"/>
                  <a:gd name="connsiteY159" fmla="*/ 709 h 1043"/>
                  <a:gd name="connsiteX160" fmla="*/ 3250 w 4181"/>
                  <a:gd name="connsiteY160" fmla="*/ 655 h 1043"/>
                  <a:gd name="connsiteX161" fmla="*/ 3283 w 4181"/>
                  <a:gd name="connsiteY161" fmla="*/ 597 h 1043"/>
                  <a:gd name="connsiteX162" fmla="*/ 3316 w 4181"/>
                  <a:gd name="connsiteY162" fmla="*/ 537 h 1043"/>
                  <a:gd name="connsiteX0" fmla="*/ 3283 w 4181"/>
                  <a:gd name="connsiteY0" fmla="*/ 597 h 1043"/>
                  <a:gd name="connsiteX1" fmla="*/ 4004 w 4181"/>
                  <a:gd name="connsiteY1" fmla="*/ 0 h 1043"/>
                  <a:gd name="connsiteX2" fmla="*/ 4181 w 4181"/>
                  <a:gd name="connsiteY2" fmla="*/ 158 h 1043"/>
                  <a:gd name="connsiteX3" fmla="*/ 4142 w 4181"/>
                  <a:gd name="connsiteY3" fmla="*/ 135 h 1043"/>
                  <a:gd name="connsiteX4" fmla="*/ 4092 w 4181"/>
                  <a:gd name="connsiteY4" fmla="*/ 112 h 1043"/>
                  <a:gd name="connsiteX5" fmla="*/ 4049 w 4181"/>
                  <a:gd name="connsiteY5" fmla="*/ 98 h 1043"/>
                  <a:gd name="connsiteX6" fmla="*/ 4014 w 4181"/>
                  <a:gd name="connsiteY6" fmla="*/ 89 h 1043"/>
                  <a:gd name="connsiteX7" fmla="*/ 3985 w 4181"/>
                  <a:gd name="connsiteY7" fmla="*/ 87 h 1043"/>
                  <a:gd name="connsiteX8" fmla="*/ 3958 w 4181"/>
                  <a:gd name="connsiteY8" fmla="*/ 87 h 1043"/>
                  <a:gd name="connsiteX9" fmla="*/ 3892 w 4181"/>
                  <a:gd name="connsiteY9" fmla="*/ 93 h 1043"/>
                  <a:gd name="connsiteX10" fmla="*/ 3830 w 4181"/>
                  <a:gd name="connsiteY10" fmla="*/ 106 h 1043"/>
                  <a:gd name="connsiteX11" fmla="*/ 3774 w 4181"/>
                  <a:gd name="connsiteY11" fmla="*/ 127 h 1043"/>
                  <a:gd name="connsiteX12" fmla="*/ 3723 w 4181"/>
                  <a:gd name="connsiteY12" fmla="*/ 154 h 1043"/>
                  <a:gd name="connsiteX13" fmla="*/ 3675 w 4181"/>
                  <a:gd name="connsiteY13" fmla="*/ 187 h 1043"/>
                  <a:gd name="connsiteX14" fmla="*/ 3632 w 4181"/>
                  <a:gd name="connsiteY14" fmla="*/ 224 h 1043"/>
                  <a:gd name="connsiteX15" fmla="*/ 3593 w 4181"/>
                  <a:gd name="connsiteY15" fmla="*/ 268 h 1043"/>
                  <a:gd name="connsiteX16" fmla="*/ 3553 w 4181"/>
                  <a:gd name="connsiteY16" fmla="*/ 313 h 1043"/>
                  <a:gd name="connsiteX17" fmla="*/ 3518 w 4181"/>
                  <a:gd name="connsiteY17" fmla="*/ 363 h 1043"/>
                  <a:gd name="connsiteX18" fmla="*/ 3485 w 4181"/>
                  <a:gd name="connsiteY18" fmla="*/ 415 h 1043"/>
                  <a:gd name="connsiteX19" fmla="*/ 3423 w 4181"/>
                  <a:gd name="connsiteY19" fmla="*/ 523 h 1043"/>
                  <a:gd name="connsiteX20" fmla="*/ 3330 w 4181"/>
                  <a:gd name="connsiteY20" fmla="*/ 691 h 1043"/>
                  <a:gd name="connsiteX21" fmla="*/ 3297 w 4181"/>
                  <a:gd name="connsiteY21" fmla="*/ 747 h 1043"/>
                  <a:gd name="connsiteX22" fmla="*/ 3262 w 4181"/>
                  <a:gd name="connsiteY22" fmla="*/ 799 h 1043"/>
                  <a:gd name="connsiteX23" fmla="*/ 3227 w 4181"/>
                  <a:gd name="connsiteY23" fmla="*/ 848 h 1043"/>
                  <a:gd name="connsiteX24" fmla="*/ 3188 w 4181"/>
                  <a:gd name="connsiteY24" fmla="*/ 894 h 1043"/>
                  <a:gd name="connsiteX25" fmla="*/ 3147 w 4181"/>
                  <a:gd name="connsiteY25" fmla="*/ 935 h 1043"/>
                  <a:gd name="connsiteX26" fmla="*/ 3101 w 4181"/>
                  <a:gd name="connsiteY26" fmla="*/ 971 h 1043"/>
                  <a:gd name="connsiteX27" fmla="*/ 3052 w 4181"/>
                  <a:gd name="connsiteY27" fmla="*/ 1000 h 1043"/>
                  <a:gd name="connsiteX28" fmla="*/ 3000 w 4181"/>
                  <a:gd name="connsiteY28" fmla="*/ 1022 h 1043"/>
                  <a:gd name="connsiteX29" fmla="*/ 2942 w 4181"/>
                  <a:gd name="connsiteY29" fmla="*/ 1037 h 1043"/>
                  <a:gd name="connsiteX30" fmla="*/ 2878 w 4181"/>
                  <a:gd name="connsiteY30" fmla="*/ 1043 h 1043"/>
                  <a:gd name="connsiteX31" fmla="*/ 2870 w 4181"/>
                  <a:gd name="connsiteY31" fmla="*/ 1043 h 1043"/>
                  <a:gd name="connsiteX32" fmla="*/ 2808 w 4181"/>
                  <a:gd name="connsiteY32" fmla="*/ 1039 h 1043"/>
                  <a:gd name="connsiteX33" fmla="*/ 2748 w 4181"/>
                  <a:gd name="connsiteY33" fmla="*/ 1025 h 1043"/>
                  <a:gd name="connsiteX34" fmla="*/ 2695 w 4181"/>
                  <a:gd name="connsiteY34" fmla="*/ 1002 h 1043"/>
                  <a:gd name="connsiteX35" fmla="*/ 2643 w 4181"/>
                  <a:gd name="connsiteY35" fmla="*/ 973 h 1043"/>
                  <a:gd name="connsiteX36" fmla="*/ 2595 w 4181"/>
                  <a:gd name="connsiteY36" fmla="*/ 935 h 1043"/>
                  <a:gd name="connsiteX37" fmla="*/ 2552 w 4181"/>
                  <a:gd name="connsiteY37" fmla="*/ 894 h 1043"/>
                  <a:gd name="connsiteX38" fmla="*/ 2509 w 4181"/>
                  <a:gd name="connsiteY38" fmla="*/ 846 h 1043"/>
                  <a:gd name="connsiteX39" fmla="*/ 2469 w 4181"/>
                  <a:gd name="connsiteY39" fmla="*/ 796 h 1043"/>
                  <a:gd name="connsiteX40" fmla="*/ 2430 w 4181"/>
                  <a:gd name="connsiteY40" fmla="*/ 740 h 1043"/>
                  <a:gd name="connsiteX41" fmla="*/ 2393 w 4181"/>
                  <a:gd name="connsiteY41" fmla="*/ 684 h 1043"/>
                  <a:gd name="connsiteX42" fmla="*/ 2288 w 4181"/>
                  <a:gd name="connsiteY42" fmla="*/ 510 h 1043"/>
                  <a:gd name="connsiteX43" fmla="*/ 2251 w 4181"/>
                  <a:gd name="connsiteY43" fmla="*/ 452 h 1043"/>
                  <a:gd name="connsiteX44" fmla="*/ 2213 w 4181"/>
                  <a:gd name="connsiteY44" fmla="*/ 396 h 1043"/>
                  <a:gd name="connsiteX45" fmla="*/ 2176 w 4181"/>
                  <a:gd name="connsiteY45" fmla="*/ 342 h 1043"/>
                  <a:gd name="connsiteX46" fmla="*/ 2137 w 4181"/>
                  <a:gd name="connsiteY46" fmla="*/ 293 h 1043"/>
                  <a:gd name="connsiteX47" fmla="*/ 2096 w 4181"/>
                  <a:gd name="connsiteY47" fmla="*/ 247 h 1043"/>
                  <a:gd name="connsiteX48" fmla="*/ 2054 w 4181"/>
                  <a:gd name="connsiteY48" fmla="*/ 205 h 1043"/>
                  <a:gd name="connsiteX49" fmla="*/ 2009 w 4181"/>
                  <a:gd name="connsiteY49" fmla="*/ 168 h 1043"/>
                  <a:gd name="connsiteX50" fmla="*/ 1962 w 4181"/>
                  <a:gd name="connsiteY50" fmla="*/ 139 h 1043"/>
                  <a:gd name="connsiteX51" fmla="*/ 1910 w 4181"/>
                  <a:gd name="connsiteY51" fmla="*/ 116 h 1043"/>
                  <a:gd name="connsiteX52" fmla="*/ 1854 w 4181"/>
                  <a:gd name="connsiteY52" fmla="*/ 100 h 1043"/>
                  <a:gd name="connsiteX53" fmla="*/ 1796 w 4181"/>
                  <a:gd name="connsiteY53" fmla="*/ 91 h 1043"/>
                  <a:gd name="connsiteX54" fmla="*/ 1732 w 4181"/>
                  <a:gd name="connsiteY54" fmla="*/ 93 h 1043"/>
                  <a:gd name="connsiteX55" fmla="*/ 1664 w 4181"/>
                  <a:gd name="connsiteY55" fmla="*/ 104 h 1043"/>
                  <a:gd name="connsiteX56" fmla="*/ 1602 w 4181"/>
                  <a:gd name="connsiteY56" fmla="*/ 122 h 1043"/>
                  <a:gd name="connsiteX57" fmla="*/ 1545 w 4181"/>
                  <a:gd name="connsiteY57" fmla="*/ 147 h 1043"/>
                  <a:gd name="connsiteX58" fmla="*/ 1491 w 4181"/>
                  <a:gd name="connsiteY58" fmla="*/ 181 h 1043"/>
                  <a:gd name="connsiteX59" fmla="*/ 1439 w 4181"/>
                  <a:gd name="connsiteY59" fmla="*/ 218 h 1043"/>
                  <a:gd name="connsiteX60" fmla="*/ 1394 w 4181"/>
                  <a:gd name="connsiteY60" fmla="*/ 261 h 1043"/>
                  <a:gd name="connsiteX61" fmla="*/ 1348 w 4181"/>
                  <a:gd name="connsiteY61" fmla="*/ 307 h 1043"/>
                  <a:gd name="connsiteX62" fmla="*/ 1307 w 4181"/>
                  <a:gd name="connsiteY62" fmla="*/ 359 h 1043"/>
                  <a:gd name="connsiteX63" fmla="*/ 1268 w 4181"/>
                  <a:gd name="connsiteY63" fmla="*/ 413 h 1043"/>
                  <a:gd name="connsiteX64" fmla="*/ 1231 w 4181"/>
                  <a:gd name="connsiteY64" fmla="*/ 467 h 1043"/>
                  <a:gd name="connsiteX65" fmla="*/ 1194 w 4181"/>
                  <a:gd name="connsiteY65" fmla="*/ 523 h 1043"/>
                  <a:gd name="connsiteX66" fmla="*/ 1156 w 4181"/>
                  <a:gd name="connsiteY66" fmla="*/ 581 h 1043"/>
                  <a:gd name="connsiteX67" fmla="*/ 1121 w 4181"/>
                  <a:gd name="connsiteY67" fmla="*/ 637 h 1043"/>
                  <a:gd name="connsiteX68" fmla="*/ 1047 w 4181"/>
                  <a:gd name="connsiteY68" fmla="*/ 749 h 1043"/>
                  <a:gd name="connsiteX69" fmla="*/ 1008 w 4181"/>
                  <a:gd name="connsiteY69" fmla="*/ 801 h 1043"/>
                  <a:gd name="connsiteX70" fmla="*/ 966 w 4181"/>
                  <a:gd name="connsiteY70" fmla="*/ 850 h 1043"/>
                  <a:gd name="connsiteX71" fmla="*/ 923 w 4181"/>
                  <a:gd name="connsiteY71" fmla="*/ 896 h 1043"/>
                  <a:gd name="connsiteX72" fmla="*/ 876 w 4181"/>
                  <a:gd name="connsiteY72" fmla="*/ 937 h 1043"/>
                  <a:gd name="connsiteX73" fmla="*/ 826 w 4181"/>
                  <a:gd name="connsiteY73" fmla="*/ 973 h 1043"/>
                  <a:gd name="connsiteX74" fmla="*/ 772 w 4181"/>
                  <a:gd name="connsiteY74" fmla="*/ 1002 h 1043"/>
                  <a:gd name="connsiteX75" fmla="*/ 717 w 4181"/>
                  <a:gd name="connsiteY75" fmla="*/ 1025 h 1043"/>
                  <a:gd name="connsiteX76" fmla="*/ 653 w 4181"/>
                  <a:gd name="connsiteY76" fmla="*/ 1037 h 1043"/>
                  <a:gd name="connsiteX77" fmla="*/ 587 w 4181"/>
                  <a:gd name="connsiteY77" fmla="*/ 1043 h 1043"/>
                  <a:gd name="connsiteX78" fmla="*/ 580 w 4181"/>
                  <a:gd name="connsiteY78" fmla="*/ 1043 h 1043"/>
                  <a:gd name="connsiteX79" fmla="*/ 512 w 4181"/>
                  <a:gd name="connsiteY79" fmla="*/ 1039 h 1043"/>
                  <a:gd name="connsiteX80" fmla="*/ 450 w 4181"/>
                  <a:gd name="connsiteY80" fmla="*/ 1027 h 1043"/>
                  <a:gd name="connsiteX81" fmla="*/ 392 w 4181"/>
                  <a:gd name="connsiteY81" fmla="*/ 1008 h 1043"/>
                  <a:gd name="connsiteX82" fmla="*/ 341 w 4181"/>
                  <a:gd name="connsiteY82" fmla="*/ 983 h 1043"/>
                  <a:gd name="connsiteX83" fmla="*/ 293 w 4181"/>
                  <a:gd name="connsiteY83" fmla="*/ 952 h 1043"/>
                  <a:gd name="connsiteX84" fmla="*/ 248 w 4181"/>
                  <a:gd name="connsiteY84" fmla="*/ 915 h 1043"/>
                  <a:gd name="connsiteX85" fmla="*/ 207 w 4181"/>
                  <a:gd name="connsiteY85" fmla="*/ 873 h 1043"/>
                  <a:gd name="connsiteX86" fmla="*/ 169 w 4181"/>
                  <a:gd name="connsiteY86" fmla="*/ 828 h 1043"/>
                  <a:gd name="connsiteX87" fmla="*/ 132 w 4181"/>
                  <a:gd name="connsiteY87" fmla="*/ 780 h 1043"/>
                  <a:gd name="connsiteX88" fmla="*/ 99 w 4181"/>
                  <a:gd name="connsiteY88" fmla="*/ 728 h 1043"/>
                  <a:gd name="connsiteX89" fmla="*/ 64 w 4181"/>
                  <a:gd name="connsiteY89" fmla="*/ 674 h 1043"/>
                  <a:gd name="connsiteX90" fmla="*/ 33 w 4181"/>
                  <a:gd name="connsiteY90" fmla="*/ 618 h 1043"/>
                  <a:gd name="connsiteX91" fmla="*/ 0 w 4181"/>
                  <a:gd name="connsiteY91" fmla="*/ 560 h 1043"/>
                  <a:gd name="connsiteX92" fmla="*/ 77 w 4181"/>
                  <a:gd name="connsiteY92" fmla="*/ 516 h 1043"/>
                  <a:gd name="connsiteX93" fmla="*/ 110 w 4181"/>
                  <a:gd name="connsiteY93" fmla="*/ 575 h 1043"/>
                  <a:gd name="connsiteX94" fmla="*/ 143 w 4181"/>
                  <a:gd name="connsiteY94" fmla="*/ 631 h 1043"/>
                  <a:gd name="connsiteX95" fmla="*/ 176 w 4181"/>
                  <a:gd name="connsiteY95" fmla="*/ 684 h 1043"/>
                  <a:gd name="connsiteX96" fmla="*/ 209 w 4181"/>
                  <a:gd name="connsiteY96" fmla="*/ 736 h 1043"/>
                  <a:gd name="connsiteX97" fmla="*/ 244 w 4181"/>
                  <a:gd name="connsiteY97" fmla="*/ 782 h 1043"/>
                  <a:gd name="connsiteX98" fmla="*/ 281 w 4181"/>
                  <a:gd name="connsiteY98" fmla="*/ 825 h 1043"/>
                  <a:gd name="connsiteX99" fmla="*/ 322 w 4181"/>
                  <a:gd name="connsiteY99" fmla="*/ 863 h 1043"/>
                  <a:gd name="connsiteX100" fmla="*/ 366 w 4181"/>
                  <a:gd name="connsiteY100" fmla="*/ 894 h 1043"/>
                  <a:gd name="connsiteX101" fmla="*/ 413 w 4181"/>
                  <a:gd name="connsiteY101" fmla="*/ 921 h 1043"/>
                  <a:gd name="connsiteX102" fmla="*/ 463 w 4181"/>
                  <a:gd name="connsiteY102" fmla="*/ 940 h 1043"/>
                  <a:gd name="connsiteX103" fmla="*/ 518 w 4181"/>
                  <a:gd name="connsiteY103" fmla="*/ 952 h 1043"/>
                  <a:gd name="connsiteX104" fmla="*/ 580 w 4181"/>
                  <a:gd name="connsiteY104" fmla="*/ 956 h 1043"/>
                  <a:gd name="connsiteX105" fmla="*/ 587 w 4181"/>
                  <a:gd name="connsiteY105" fmla="*/ 956 h 1043"/>
                  <a:gd name="connsiteX106" fmla="*/ 646 w 4181"/>
                  <a:gd name="connsiteY106" fmla="*/ 950 h 1043"/>
                  <a:gd name="connsiteX107" fmla="*/ 702 w 4181"/>
                  <a:gd name="connsiteY107" fmla="*/ 935 h 1043"/>
                  <a:gd name="connsiteX108" fmla="*/ 756 w 4181"/>
                  <a:gd name="connsiteY108" fmla="*/ 913 h 1043"/>
                  <a:gd name="connsiteX109" fmla="*/ 803 w 4181"/>
                  <a:gd name="connsiteY109" fmla="*/ 884 h 1043"/>
                  <a:gd name="connsiteX110" fmla="*/ 849 w 4181"/>
                  <a:gd name="connsiteY110" fmla="*/ 846 h 1043"/>
                  <a:gd name="connsiteX111" fmla="*/ 892 w 4181"/>
                  <a:gd name="connsiteY111" fmla="*/ 803 h 1043"/>
                  <a:gd name="connsiteX112" fmla="*/ 931 w 4181"/>
                  <a:gd name="connsiteY112" fmla="*/ 755 h 1043"/>
                  <a:gd name="connsiteX113" fmla="*/ 971 w 4181"/>
                  <a:gd name="connsiteY113" fmla="*/ 703 h 1043"/>
                  <a:gd name="connsiteX114" fmla="*/ 1010 w 4181"/>
                  <a:gd name="connsiteY114" fmla="*/ 649 h 1043"/>
                  <a:gd name="connsiteX115" fmla="*/ 1121 w 4181"/>
                  <a:gd name="connsiteY115" fmla="*/ 475 h 1043"/>
                  <a:gd name="connsiteX116" fmla="*/ 1161 w 4181"/>
                  <a:gd name="connsiteY116" fmla="*/ 415 h 1043"/>
                  <a:gd name="connsiteX117" fmla="*/ 1202 w 4181"/>
                  <a:gd name="connsiteY117" fmla="*/ 357 h 1043"/>
                  <a:gd name="connsiteX118" fmla="*/ 1245 w 4181"/>
                  <a:gd name="connsiteY118" fmla="*/ 299 h 1043"/>
                  <a:gd name="connsiteX119" fmla="*/ 1291 w 4181"/>
                  <a:gd name="connsiteY119" fmla="*/ 245 h 1043"/>
                  <a:gd name="connsiteX120" fmla="*/ 1338 w 4181"/>
                  <a:gd name="connsiteY120" fmla="*/ 193 h 1043"/>
                  <a:gd name="connsiteX121" fmla="*/ 1392 w 4181"/>
                  <a:gd name="connsiteY121" fmla="*/ 145 h 1043"/>
                  <a:gd name="connsiteX122" fmla="*/ 1447 w 4181"/>
                  <a:gd name="connsiteY122" fmla="*/ 104 h 1043"/>
                  <a:gd name="connsiteX123" fmla="*/ 1509 w 4181"/>
                  <a:gd name="connsiteY123" fmla="*/ 69 h 1043"/>
                  <a:gd name="connsiteX124" fmla="*/ 1575 w 4181"/>
                  <a:gd name="connsiteY124" fmla="*/ 40 h 1043"/>
                  <a:gd name="connsiteX125" fmla="*/ 1648 w 4181"/>
                  <a:gd name="connsiteY125" fmla="*/ 19 h 1043"/>
                  <a:gd name="connsiteX126" fmla="*/ 1726 w 4181"/>
                  <a:gd name="connsiteY126" fmla="*/ 6 h 1043"/>
                  <a:gd name="connsiteX127" fmla="*/ 1796 w 4181"/>
                  <a:gd name="connsiteY127" fmla="*/ 4 h 1043"/>
                  <a:gd name="connsiteX128" fmla="*/ 1862 w 4181"/>
                  <a:gd name="connsiteY128" fmla="*/ 13 h 1043"/>
                  <a:gd name="connsiteX129" fmla="*/ 1922 w 4181"/>
                  <a:gd name="connsiteY129" fmla="*/ 27 h 1043"/>
                  <a:gd name="connsiteX130" fmla="*/ 1980 w 4181"/>
                  <a:gd name="connsiteY130" fmla="*/ 50 h 1043"/>
                  <a:gd name="connsiteX131" fmla="*/ 2034 w 4181"/>
                  <a:gd name="connsiteY131" fmla="*/ 81 h 1043"/>
                  <a:gd name="connsiteX132" fmla="*/ 2083 w 4181"/>
                  <a:gd name="connsiteY132" fmla="*/ 116 h 1043"/>
                  <a:gd name="connsiteX133" fmla="*/ 2129 w 4181"/>
                  <a:gd name="connsiteY133" fmla="*/ 158 h 1043"/>
                  <a:gd name="connsiteX134" fmla="*/ 2174 w 4181"/>
                  <a:gd name="connsiteY134" fmla="*/ 203 h 1043"/>
                  <a:gd name="connsiteX135" fmla="*/ 2216 w 4181"/>
                  <a:gd name="connsiteY135" fmla="*/ 251 h 1043"/>
                  <a:gd name="connsiteX136" fmla="*/ 2255 w 4181"/>
                  <a:gd name="connsiteY136" fmla="*/ 303 h 1043"/>
                  <a:gd name="connsiteX137" fmla="*/ 2292 w 4181"/>
                  <a:gd name="connsiteY137" fmla="*/ 357 h 1043"/>
                  <a:gd name="connsiteX138" fmla="*/ 2327 w 4181"/>
                  <a:gd name="connsiteY138" fmla="*/ 413 h 1043"/>
                  <a:gd name="connsiteX139" fmla="*/ 2362 w 4181"/>
                  <a:gd name="connsiteY139" fmla="*/ 467 h 1043"/>
                  <a:gd name="connsiteX140" fmla="*/ 2395 w 4181"/>
                  <a:gd name="connsiteY140" fmla="*/ 523 h 1043"/>
                  <a:gd name="connsiteX141" fmla="*/ 2432 w 4181"/>
                  <a:gd name="connsiteY141" fmla="*/ 585 h 1043"/>
                  <a:gd name="connsiteX142" fmla="*/ 2469 w 4181"/>
                  <a:gd name="connsiteY142" fmla="*/ 643 h 1043"/>
                  <a:gd name="connsiteX143" fmla="*/ 2509 w 4181"/>
                  <a:gd name="connsiteY143" fmla="*/ 701 h 1043"/>
                  <a:gd name="connsiteX144" fmla="*/ 2546 w 4181"/>
                  <a:gd name="connsiteY144" fmla="*/ 755 h 1043"/>
                  <a:gd name="connsiteX145" fmla="*/ 2587 w 4181"/>
                  <a:gd name="connsiteY145" fmla="*/ 805 h 1043"/>
                  <a:gd name="connsiteX146" fmla="*/ 2628 w 4181"/>
                  <a:gd name="connsiteY146" fmla="*/ 848 h 1043"/>
                  <a:gd name="connsiteX147" fmla="*/ 2672 w 4181"/>
                  <a:gd name="connsiteY147" fmla="*/ 886 h 1043"/>
                  <a:gd name="connsiteX148" fmla="*/ 2717 w 4181"/>
                  <a:gd name="connsiteY148" fmla="*/ 917 h 1043"/>
                  <a:gd name="connsiteX149" fmla="*/ 2767 w 4181"/>
                  <a:gd name="connsiteY149" fmla="*/ 940 h 1043"/>
                  <a:gd name="connsiteX150" fmla="*/ 2820 w 4181"/>
                  <a:gd name="connsiteY150" fmla="*/ 952 h 1043"/>
                  <a:gd name="connsiteX151" fmla="*/ 2876 w 4181"/>
                  <a:gd name="connsiteY151" fmla="*/ 956 h 1043"/>
                  <a:gd name="connsiteX152" fmla="*/ 2932 w 4181"/>
                  <a:gd name="connsiteY152" fmla="*/ 950 h 1043"/>
                  <a:gd name="connsiteX153" fmla="*/ 2982 w 4181"/>
                  <a:gd name="connsiteY153" fmla="*/ 935 h 1043"/>
                  <a:gd name="connsiteX154" fmla="*/ 3029 w 4181"/>
                  <a:gd name="connsiteY154" fmla="*/ 915 h 1043"/>
                  <a:gd name="connsiteX155" fmla="*/ 3072 w 4181"/>
                  <a:gd name="connsiteY155" fmla="*/ 884 h 1043"/>
                  <a:gd name="connsiteX156" fmla="*/ 3112 w 4181"/>
                  <a:gd name="connsiteY156" fmla="*/ 848 h 1043"/>
                  <a:gd name="connsiteX157" fmla="*/ 3149 w 4181"/>
                  <a:gd name="connsiteY157" fmla="*/ 807 h 1043"/>
                  <a:gd name="connsiteX158" fmla="*/ 3184 w 4181"/>
                  <a:gd name="connsiteY158" fmla="*/ 759 h 1043"/>
                  <a:gd name="connsiteX159" fmla="*/ 3217 w 4181"/>
                  <a:gd name="connsiteY159" fmla="*/ 709 h 1043"/>
                  <a:gd name="connsiteX160" fmla="*/ 3250 w 4181"/>
                  <a:gd name="connsiteY160" fmla="*/ 655 h 1043"/>
                  <a:gd name="connsiteX161" fmla="*/ 3283 w 4181"/>
                  <a:gd name="connsiteY161" fmla="*/ 597 h 1043"/>
                  <a:gd name="connsiteX0" fmla="*/ 3250 w 4181"/>
                  <a:gd name="connsiteY0" fmla="*/ 655 h 1043"/>
                  <a:gd name="connsiteX1" fmla="*/ 4004 w 4181"/>
                  <a:gd name="connsiteY1" fmla="*/ 0 h 1043"/>
                  <a:gd name="connsiteX2" fmla="*/ 4181 w 4181"/>
                  <a:gd name="connsiteY2" fmla="*/ 158 h 1043"/>
                  <a:gd name="connsiteX3" fmla="*/ 4142 w 4181"/>
                  <a:gd name="connsiteY3" fmla="*/ 135 h 1043"/>
                  <a:gd name="connsiteX4" fmla="*/ 4092 w 4181"/>
                  <a:gd name="connsiteY4" fmla="*/ 112 h 1043"/>
                  <a:gd name="connsiteX5" fmla="*/ 4049 w 4181"/>
                  <a:gd name="connsiteY5" fmla="*/ 98 h 1043"/>
                  <a:gd name="connsiteX6" fmla="*/ 4014 w 4181"/>
                  <a:gd name="connsiteY6" fmla="*/ 89 h 1043"/>
                  <a:gd name="connsiteX7" fmla="*/ 3985 w 4181"/>
                  <a:gd name="connsiteY7" fmla="*/ 87 h 1043"/>
                  <a:gd name="connsiteX8" fmla="*/ 3958 w 4181"/>
                  <a:gd name="connsiteY8" fmla="*/ 87 h 1043"/>
                  <a:gd name="connsiteX9" fmla="*/ 3892 w 4181"/>
                  <a:gd name="connsiteY9" fmla="*/ 93 h 1043"/>
                  <a:gd name="connsiteX10" fmla="*/ 3830 w 4181"/>
                  <a:gd name="connsiteY10" fmla="*/ 106 h 1043"/>
                  <a:gd name="connsiteX11" fmla="*/ 3774 w 4181"/>
                  <a:gd name="connsiteY11" fmla="*/ 127 h 1043"/>
                  <a:gd name="connsiteX12" fmla="*/ 3723 w 4181"/>
                  <a:gd name="connsiteY12" fmla="*/ 154 h 1043"/>
                  <a:gd name="connsiteX13" fmla="*/ 3675 w 4181"/>
                  <a:gd name="connsiteY13" fmla="*/ 187 h 1043"/>
                  <a:gd name="connsiteX14" fmla="*/ 3632 w 4181"/>
                  <a:gd name="connsiteY14" fmla="*/ 224 h 1043"/>
                  <a:gd name="connsiteX15" fmla="*/ 3593 w 4181"/>
                  <a:gd name="connsiteY15" fmla="*/ 268 h 1043"/>
                  <a:gd name="connsiteX16" fmla="*/ 3553 w 4181"/>
                  <a:gd name="connsiteY16" fmla="*/ 313 h 1043"/>
                  <a:gd name="connsiteX17" fmla="*/ 3518 w 4181"/>
                  <a:gd name="connsiteY17" fmla="*/ 363 h 1043"/>
                  <a:gd name="connsiteX18" fmla="*/ 3485 w 4181"/>
                  <a:gd name="connsiteY18" fmla="*/ 415 h 1043"/>
                  <a:gd name="connsiteX19" fmla="*/ 3423 w 4181"/>
                  <a:gd name="connsiteY19" fmla="*/ 523 h 1043"/>
                  <a:gd name="connsiteX20" fmla="*/ 3330 w 4181"/>
                  <a:gd name="connsiteY20" fmla="*/ 691 h 1043"/>
                  <a:gd name="connsiteX21" fmla="*/ 3297 w 4181"/>
                  <a:gd name="connsiteY21" fmla="*/ 747 h 1043"/>
                  <a:gd name="connsiteX22" fmla="*/ 3262 w 4181"/>
                  <a:gd name="connsiteY22" fmla="*/ 799 h 1043"/>
                  <a:gd name="connsiteX23" fmla="*/ 3227 w 4181"/>
                  <a:gd name="connsiteY23" fmla="*/ 848 h 1043"/>
                  <a:gd name="connsiteX24" fmla="*/ 3188 w 4181"/>
                  <a:gd name="connsiteY24" fmla="*/ 894 h 1043"/>
                  <a:gd name="connsiteX25" fmla="*/ 3147 w 4181"/>
                  <a:gd name="connsiteY25" fmla="*/ 935 h 1043"/>
                  <a:gd name="connsiteX26" fmla="*/ 3101 w 4181"/>
                  <a:gd name="connsiteY26" fmla="*/ 971 h 1043"/>
                  <a:gd name="connsiteX27" fmla="*/ 3052 w 4181"/>
                  <a:gd name="connsiteY27" fmla="*/ 1000 h 1043"/>
                  <a:gd name="connsiteX28" fmla="*/ 3000 w 4181"/>
                  <a:gd name="connsiteY28" fmla="*/ 1022 h 1043"/>
                  <a:gd name="connsiteX29" fmla="*/ 2942 w 4181"/>
                  <a:gd name="connsiteY29" fmla="*/ 1037 h 1043"/>
                  <a:gd name="connsiteX30" fmla="*/ 2878 w 4181"/>
                  <a:gd name="connsiteY30" fmla="*/ 1043 h 1043"/>
                  <a:gd name="connsiteX31" fmla="*/ 2870 w 4181"/>
                  <a:gd name="connsiteY31" fmla="*/ 1043 h 1043"/>
                  <a:gd name="connsiteX32" fmla="*/ 2808 w 4181"/>
                  <a:gd name="connsiteY32" fmla="*/ 1039 h 1043"/>
                  <a:gd name="connsiteX33" fmla="*/ 2748 w 4181"/>
                  <a:gd name="connsiteY33" fmla="*/ 1025 h 1043"/>
                  <a:gd name="connsiteX34" fmla="*/ 2695 w 4181"/>
                  <a:gd name="connsiteY34" fmla="*/ 1002 h 1043"/>
                  <a:gd name="connsiteX35" fmla="*/ 2643 w 4181"/>
                  <a:gd name="connsiteY35" fmla="*/ 973 h 1043"/>
                  <a:gd name="connsiteX36" fmla="*/ 2595 w 4181"/>
                  <a:gd name="connsiteY36" fmla="*/ 935 h 1043"/>
                  <a:gd name="connsiteX37" fmla="*/ 2552 w 4181"/>
                  <a:gd name="connsiteY37" fmla="*/ 894 h 1043"/>
                  <a:gd name="connsiteX38" fmla="*/ 2509 w 4181"/>
                  <a:gd name="connsiteY38" fmla="*/ 846 h 1043"/>
                  <a:gd name="connsiteX39" fmla="*/ 2469 w 4181"/>
                  <a:gd name="connsiteY39" fmla="*/ 796 h 1043"/>
                  <a:gd name="connsiteX40" fmla="*/ 2430 w 4181"/>
                  <a:gd name="connsiteY40" fmla="*/ 740 h 1043"/>
                  <a:gd name="connsiteX41" fmla="*/ 2393 w 4181"/>
                  <a:gd name="connsiteY41" fmla="*/ 684 h 1043"/>
                  <a:gd name="connsiteX42" fmla="*/ 2288 w 4181"/>
                  <a:gd name="connsiteY42" fmla="*/ 510 h 1043"/>
                  <a:gd name="connsiteX43" fmla="*/ 2251 w 4181"/>
                  <a:gd name="connsiteY43" fmla="*/ 452 h 1043"/>
                  <a:gd name="connsiteX44" fmla="*/ 2213 w 4181"/>
                  <a:gd name="connsiteY44" fmla="*/ 396 h 1043"/>
                  <a:gd name="connsiteX45" fmla="*/ 2176 w 4181"/>
                  <a:gd name="connsiteY45" fmla="*/ 342 h 1043"/>
                  <a:gd name="connsiteX46" fmla="*/ 2137 w 4181"/>
                  <a:gd name="connsiteY46" fmla="*/ 293 h 1043"/>
                  <a:gd name="connsiteX47" fmla="*/ 2096 w 4181"/>
                  <a:gd name="connsiteY47" fmla="*/ 247 h 1043"/>
                  <a:gd name="connsiteX48" fmla="*/ 2054 w 4181"/>
                  <a:gd name="connsiteY48" fmla="*/ 205 h 1043"/>
                  <a:gd name="connsiteX49" fmla="*/ 2009 w 4181"/>
                  <a:gd name="connsiteY49" fmla="*/ 168 h 1043"/>
                  <a:gd name="connsiteX50" fmla="*/ 1962 w 4181"/>
                  <a:gd name="connsiteY50" fmla="*/ 139 h 1043"/>
                  <a:gd name="connsiteX51" fmla="*/ 1910 w 4181"/>
                  <a:gd name="connsiteY51" fmla="*/ 116 h 1043"/>
                  <a:gd name="connsiteX52" fmla="*/ 1854 w 4181"/>
                  <a:gd name="connsiteY52" fmla="*/ 100 h 1043"/>
                  <a:gd name="connsiteX53" fmla="*/ 1796 w 4181"/>
                  <a:gd name="connsiteY53" fmla="*/ 91 h 1043"/>
                  <a:gd name="connsiteX54" fmla="*/ 1732 w 4181"/>
                  <a:gd name="connsiteY54" fmla="*/ 93 h 1043"/>
                  <a:gd name="connsiteX55" fmla="*/ 1664 w 4181"/>
                  <a:gd name="connsiteY55" fmla="*/ 104 h 1043"/>
                  <a:gd name="connsiteX56" fmla="*/ 1602 w 4181"/>
                  <a:gd name="connsiteY56" fmla="*/ 122 h 1043"/>
                  <a:gd name="connsiteX57" fmla="*/ 1545 w 4181"/>
                  <a:gd name="connsiteY57" fmla="*/ 147 h 1043"/>
                  <a:gd name="connsiteX58" fmla="*/ 1491 w 4181"/>
                  <a:gd name="connsiteY58" fmla="*/ 181 h 1043"/>
                  <a:gd name="connsiteX59" fmla="*/ 1439 w 4181"/>
                  <a:gd name="connsiteY59" fmla="*/ 218 h 1043"/>
                  <a:gd name="connsiteX60" fmla="*/ 1394 w 4181"/>
                  <a:gd name="connsiteY60" fmla="*/ 261 h 1043"/>
                  <a:gd name="connsiteX61" fmla="*/ 1348 w 4181"/>
                  <a:gd name="connsiteY61" fmla="*/ 307 h 1043"/>
                  <a:gd name="connsiteX62" fmla="*/ 1307 w 4181"/>
                  <a:gd name="connsiteY62" fmla="*/ 359 h 1043"/>
                  <a:gd name="connsiteX63" fmla="*/ 1268 w 4181"/>
                  <a:gd name="connsiteY63" fmla="*/ 413 h 1043"/>
                  <a:gd name="connsiteX64" fmla="*/ 1231 w 4181"/>
                  <a:gd name="connsiteY64" fmla="*/ 467 h 1043"/>
                  <a:gd name="connsiteX65" fmla="*/ 1194 w 4181"/>
                  <a:gd name="connsiteY65" fmla="*/ 523 h 1043"/>
                  <a:gd name="connsiteX66" fmla="*/ 1156 w 4181"/>
                  <a:gd name="connsiteY66" fmla="*/ 581 h 1043"/>
                  <a:gd name="connsiteX67" fmla="*/ 1121 w 4181"/>
                  <a:gd name="connsiteY67" fmla="*/ 637 h 1043"/>
                  <a:gd name="connsiteX68" fmla="*/ 1047 w 4181"/>
                  <a:gd name="connsiteY68" fmla="*/ 749 h 1043"/>
                  <a:gd name="connsiteX69" fmla="*/ 1008 w 4181"/>
                  <a:gd name="connsiteY69" fmla="*/ 801 h 1043"/>
                  <a:gd name="connsiteX70" fmla="*/ 966 w 4181"/>
                  <a:gd name="connsiteY70" fmla="*/ 850 h 1043"/>
                  <a:gd name="connsiteX71" fmla="*/ 923 w 4181"/>
                  <a:gd name="connsiteY71" fmla="*/ 896 h 1043"/>
                  <a:gd name="connsiteX72" fmla="*/ 876 w 4181"/>
                  <a:gd name="connsiteY72" fmla="*/ 937 h 1043"/>
                  <a:gd name="connsiteX73" fmla="*/ 826 w 4181"/>
                  <a:gd name="connsiteY73" fmla="*/ 973 h 1043"/>
                  <a:gd name="connsiteX74" fmla="*/ 772 w 4181"/>
                  <a:gd name="connsiteY74" fmla="*/ 1002 h 1043"/>
                  <a:gd name="connsiteX75" fmla="*/ 717 w 4181"/>
                  <a:gd name="connsiteY75" fmla="*/ 1025 h 1043"/>
                  <a:gd name="connsiteX76" fmla="*/ 653 w 4181"/>
                  <a:gd name="connsiteY76" fmla="*/ 1037 h 1043"/>
                  <a:gd name="connsiteX77" fmla="*/ 587 w 4181"/>
                  <a:gd name="connsiteY77" fmla="*/ 1043 h 1043"/>
                  <a:gd name="connsiteX78" fmla="*/ 580 w 4181"/>
                  <a:gd name="connsiteY78" fmla="*/ 1043 h 1043"/>
                  <a:gd name="connsiteX79" fmla="*/ 512 w 4181"/>
                  <a:gd name="connsiteY79" fmla="*/ 1039 h 1043"/>
                  <a:gd name="connsiteX80" fmla="*/ 450 w 4181"/>
                  <a:gd name="connsiteY80" fmla="*/ 1027 h 1043"/>
                  <a:gd name="connsiteX81" fmla="*/ 392 w 4181"/>
                  <a:gd name="connsiteY81" fmla="*/ 1008 h 1043"/>
                  <a:gd name="connsiteX82" fmla="*/ 341 w 4181"/>
                  <a:gd name="connsiteY82" fmla="*/ 983 h 1043"/>
                  <a:gd name="connsiteX83" fmla="*/ 293 w 4181"/>
                  <a:gd name="connsiteY83" fmla="*/ 952 h 1043"/>
                  <a:gd name="connsiteX84" fmla="*/ 248 w 4181"/>
                  <a:gd name="connsiteY84" fmla="*/ 915 h 1043"/>
                  <a:gd name="connsiteX85" fmla="*/ 207 w 4181"/>
                  <a:gd name="connsiteY85" fmla="*/ 873 h 1043"/>
                  <a:gd name="connsiteX86" fmla="*/ 169 w 4181"/>
                  <a:gd name="connsiteY86" fmla="*/ 828 h 1043"/>
                  <a:gd name="connsiteX87" fmla="*/ 132 w 4181"/>
                  <a:gd name="connsiteY87" fmla="*/ 780 h 1043"/>
                  <a:gd name="connsiteX88" fmla="*/ 99 w 4181"/>
                  <a:gd name="connsiteY88" fmla="*/ 728 h 1043"/>
                  <a:gd name="connsiteX89" fmla="*/ 64 w 4181"/>
                  <a:gd name="connsiteY89" fmla="*/ 674 h 1043"/>
                  <a:gd name="connsiteX90" fmla="*/ 33 w 4181"/>
                  <a:gd name="connsiteY90" fmla="*/ 618 h 1043"/>
                  <a:gd name="connsiteX91" fmla="*/ 0 w 4181"/>
                  <a:gd name="connsiteY91" fmla="*/ 560 h 1043"/>
                  <a:gd name="connsiteX92" fmla="*/ 77 w 4181"/>
                  <a:gd name="connsiteY92" fmla="*/ 516 h 1043"/>
                  <a:gd name="connsiteX93" fmla="*/ 110 w 4181"/>
                  <a:gd name="connsiteY93" fmla="*/ 575 h 1043"/>
                  <a:gd name="connsiteX94" fmla="*/ 143 w 4181"/>
                  <a:gd name="connsiteY94" fmla="*/ 631 h 1043"/>
                  <a:gd name="connsiteX95" fmla="*/ 176 w 4181"/>
                  <a:gd name="connsiteY95" fmla="*/ 684 h 1043"/>
                  <a:gd name="connsiteX96" fmla="*/ 209 w 4181"/>
                  <a:gd name="connsiteY96" fmla="*/ 736 h 1043"/>
                  <a:gd name="connsiteX97" fmla="*/ 244 w 4181"/>
                  <a:gd name="connsiteY97" fmla="*/ 782 h 1043"/>
                  <a:gd name="connsiteX98" fmla="*/ 281 w 4181"/>
                  <a:gd name="connsiteY98" fmla="*/ 825 h 1043"/>
                  <a:gd name="connsiteX99" fmla="*/ 322 w 4181"/>
                  <a:gd name="connsiteY99" fmla="*/ 863 h 1043"/>
                  <a:gd name="connsiteX100" fmla="*/ 366 w 4181"/>
                  <a:gd name="connsiteY100" fmla="*/ 894 h 1043"/>
                  <a:gd name="connsiteX101" fmla="*/ 413 w 4181"/>
                  <a:gd name="connsiteY101" fmla="*/ 921 h 1043"/>
                  <a:gd name="connsiteX102" fmla="*/ 463 w 4181"/>
                  <a:gd name="connsiteY102" fmla="*/ 940 h 1043"/>
                  <a:gd name="connsiteX103" fmla="*/ 518 w 4181"/>
                  <a:gd name="connsiteY103" fmla="*/ 952 h 1043"/>
                  <a:gd name="connsiteX104" fmla="*/ 580 w 4181"/>
                  <a:gd name="connsiteY104" fmla="*/ 956 h 1043"/>
                  <a:gd name="connsiteX105" fmla="*/ 587 w 4181"/>
                  <a:gd name="connsiteY105" fmla="*/ 956 h 1043"/>
                  <a:gd name="connsiteX106" fmla="*/ 646 w 4181"/>
                  <a:gd name="connsiteY106" fmla="*/ 950 h 1043"/>
                  <a:gd name="connsiteX107" fmla="*/ 702 w 4181"/>
                  <a:gd name="connsiteY107" fmla="*/ 935 h 1043"/>
                  <a:gd name="connsiteX108" fmla="*/ 756 w 4181"/>
                  <a:gd name="connsiteY108" fmla="*/ 913 h 1043"/>
                  <a:gd name="connsiteX109" fmla="*/ 803 w 4181"/>
                  <a:gd name="connsiteY109" fmla="*/ 884 h 1043"/>
                  <a:gd name="connsiteX110" fmla="*/ 849 w 4181"/>
                  <a:gd name="connsiteY110" fmla="*/ 846 h 1043"/>
                  <a:gd name="connsiteX111" fmla="*/ 892 w 4181"/>
                  <a:gd name="connsiteY111" fmla="*/ 803 h 1043"/>
                  <a:gd name="connsiteX112" fmla="*/ 931 w 4181"/>
                  <a:gd name="connsiteY112" fmla="*/ 755 h 1043"/>
                  <a:gd name="connsiteX113" fmla="*/ 971 w 4181"/>
                  <a:gd name="connsiteY113" fmla="*/ 703 h 1043"/>
                  <a:gd name="connsiteX114" fmla="*/ 1010 w 4181"/>
                  <a:gd name="connsiteY114" fmla="*/ 649 h 1043"/>
                  <a:gd name="connsiteX115" fmla="*/ 1121 w 4181"/>
                  <a:gd name="connsiteY115" fmla="*/ 475 h 1043"/>
                  <a:gd name="connsiteX116" fmla="*/ 1161 w 4181"/>
                  <a:gd name="connsiteY116" fmla="*/ 415 h 1043"/>
                  <a:gd name="connsiteX117" fmla="*/ 1202 w 4181"/>
                  <a:gd name="connsiteY117" fmla="*/ 357 h 1043"/>
                  <a:gd name="connsiteX118" fmla="*/ 1245 w 4181"/>
                  <a:gd name="connsiteY118" fmla="*/ 299 h 1043"/>
                  <a:gd name="connsiteX119" fmla="*/ 1291 w 4181"/>
                  <a:gd name="connsiteY119" fmla="*/ 245 h 1043"/>
                  <a:gd name="connsiteX120" fmla="*/ 1338 w 4181"/>
                  <a:gd name="connsiteY120" fmla="*/ 193 h 1043"/>
                  <a:gd name="connsiteX121" fmla="*/ 1392 w 4181"/>
                  <a:gd name="connsiteY121" fmla="*/ 145 h 1043"/>
                  <a:gd name="connsiteX122" fmla="*/ 1447 w 4181"/>
                  <a:gd name="connsiteY122" fmla="*/ 104 h 1043"/>
                  <a:gd name="connsiteX123" fmla="*/ 1509 w 4181"/>
                  <a:gd name="connsiteY123" fmla="*/ 69 h 1043"/>
                  <a:gd name="connsiteX124" fmla="*/ 1575 w 4181"/>
                  <a:gd name="connsiteY124" fmla="*/ 40 h 1043"/>
                  <a:gd name="connsiteX125" fmla="*/ 1648 w 4181"/>
                  <a:gd name="connsiteY125" fmla="*/ 19 h 1043"/>
                  <a:gd name="connsiteX126" fmla="*/ 1726 w 4181"/>
                  <a:gd name="connsiteY126" fmla="*/ 6 h 1043"/>
                  <a:gd name="connsiteX127" fmla="*/ 1796 w 4181"/>
                  <a:gd name="connsiteY127" fmla="*/ 4 h 1043"/>
                  <a:gd name="connsiteX128" fmla="*/ 1862 w 4181"/>
                  <a:gd name="connsiteY128" fmla="*/ 13 h 1043"/>
                  <a:gd name="connsiteX129" fmla="*/ 1922 w 4181"/>
                  <a:gd name="connsiteY129" fmla="*/ 27 h 1043"/>
                  <a:gd name="connsiteX130" fmla="*/ 1980 w 4181"/>
                  <a:gd name="connsiteY130" fmla="*/ 50 h 1043"/>
                  <a:gd name="connsiteX131" fmla="*/ 2034 w 4181"/>
                  <a:gd name="connsiteY131" fmla="*/ 81 h 1043"/>
                  <a:gd name="connsiteX132" fmla="*/ 2083 w 4181"/>
                  <a:gd name="connsiteY132" fmla="*/ 116 h 1043"/>
                  <a:gd name="connsiteX133" fmla="*/ 2129 w 4181"/>
                  <a:gd name="connsiteY133" fmla="*/ 158 h 1043"/>
                  <a:gd name="connsiteX134" fmla="*/ 2174 w 4181"/>
                  <a:gd name="connsiteY134" fmla="*/ 203 h 1043"/>
                  <a:gd name="connsiteX135" fmla="*/ 2216 w 4181"/>
                  <a:gd name="connsiteY135" fmla="*/ 251 h 1043"/>
                  <a:gd name="connsiteX136" fmla="*/ 2255 w 4181"/>
                  <a:gd name="connsiteY136" fmla="*/ 303 h 1043"/>
                  <a:gd name="connsiteX137" fmla="*/ 2292 w 4181"/>
                  <a:gd name="connsiteY137" fmla="*/ 357 h 1043"/>
                  <a:gd name="connsiteX138" fmla="*/ 2327 w 4181"/>
                  <a:gd name="connsiteY138" fmla="*/ 413 h 1043"/>
                  <a:gd name="connsiteX139" fmla="*/ 2362 w 4181"/>
                  <a:gd name="connsiteY139" fmla="*/ 467 h 1043"/>
                  <a:gd name="connsiteX140" fmla="*/ 2395 w 4181"/>
                  <a:gd name="connsiteY140" fmla="*/ 523 h 1043"/>
                  <a:gd name="connsiteX141" fmla="*/ 2432 w 4181"/>
                  <a:gd name="connsiteY141" fmla="*/ 585 h 1043"/>
                  <a:gd name="connsiteX142" fmla="*/ 2469 w 4181"/>
                  <a:gd name="connsiteY142" fmla="*/ 643 h 1043"/>
                  <a:gd name="connsiteX143" fmla="*/ 2509 w 4181"/>
                  <a:gd name="connsiteY143" fmla="*/ 701 h 1043"/>
                  <a:gd name="connsiteX144" fmla="*/ 2546 w 4181"/>
                  <a:gd name="connsiteY144" fmla="*/ 755 h 1043"/>
                  <a:gd name="connsiteX145" fmla="*/ 2587 w 4181"/>
                  <a:gd name="connsiteY145" fmla="*/ 805 h 1043"/>
                  <a:gd name="connsiteX146" fmla="*/ 2628 w 4181"/>
                  <a:gd name="connsiteY146" fmla="*/ 848 h 1043"/>
                  <a:gd name="connsiteX147" fmla="*/ 2672 w 4181"/>
                  <a:gd name="connsiteY147" fmla="*/ 886 h 1043"/>
                  <a:gd name="connsiteX148" fmla="*/ 2717 w 4181"/>
                  <a:gd name="connsiteY148" fmla="*/ 917 h 1043"/>
                  <a:gd name="connsiteX149" fmla="*/ 2767 w 4181"/>
                  <a:gd name="connsiteY149" fmla="*/ 940 h 1043"/>
                  <a:gd name="connsiteX150" fmla="*/ 2820 w 4181"/>
                  <a:gd name="connsiteY150" fmla="*/ 952 h 1043"/>
                  <a:gd name="connsiteX151" fmla="*/ 2876 w 4181"/>
                  <a:gd name="connsiteY151" fmla="*/ 956 h 1043"/>
                  <a:gd name="connsiteX152" fmla="*/ 2932 w 4181"/>
                  <a:gd name="connsiteY152" fmla="*/ 950 h 1043"/>
                  <a:gd name="connsiteX153" fmla="*/ 2982 w 4181"/>
                  <a:gd name="connsiteY153" fmla="*/ 935 h 1043"/>
                  <a:gd name="connsiteX154" fmla="*/ 3029 w 4181"/>
                  <a:gd name="connsiteY154" fmla="*/ 915 h 1043"/>
                  <a:gd name="connsiteX155" fmla="*/ 3072 w 4181"/>
                  <a:gd name="connsiteY155" fmla="*/ 884 h 1043"/>
                  <a:gd name="connsiteX156" fmla="*/ 3112 w 4181"/>
                  <a:gd name="connsiteY156" fmla="*/ 848 h 1043"/>
                  <a:gd name="connsiteX157" fmla="*/ 3149 w 4181"/>
                  <a:gd name="connsiteY157" fmla="*/ 807 h 1043"/>
                  <a:gd name="connsiteX158" fmla="*/ 3184 w 4181"/>
                  <a:gd name="connsiteY158" fmla="*/ 759 h 1043"/>
                  <a:gd name="connsiteX159" fmla="*/ 3217 w 4181"/>
                  <a:gd name="connsiteY159" fmla="*/ 709 h 1043"/>
                  <a:gd name="connsiteX160" fmla="*/ 3250 w 4181"/>
                  <a:gd name="connsiteY160" fmla="*/ 655 h 1043"/>
                  <a:gd name="connsiteX0" fmla="*/ 3217 w 4181"/>
                  <a:gd name="connsiteY0" fmla="*/ 709 h 1043"/>
                  <a:gd name="connsiteX1" fmla="*/ 4004 w 4181"/>
                  <a:gd name="connsiteY1" fmla="*/ 0 h 1043"/>
                  <a:gd name="connsiteX2" fmla="*/ 4181 w 4181"/>
                  <a:gd name="connsiteY2" fmla="*/ 158 h 1043"/>
                  <a:gd name="connsiteX3" fmla="*/ 4142 w 4181"/>
                  <a:gd name="connsiteY3" fmla="*/ 135 h 1043"/>
                  <a:gd name="connsiteX4" fmla="*/ 4092 w 4181"/>
                  <a:gd name="connsiteY4" fmla="*/ 112 h 1043"/>
                  <a:gd name="connsiteX5" fmla="*/ 4049 w 4181"/>
                  <a:gd name="connsiteY5" fmla="*/ 98 h 1043"/>
                  <a:gd name="connsiteX6" fmla="*/ 4014 w 4181"/>
                  <a:gd name="connsiteY6" fmla="*/ 89 h 1043"/>
                  <a:gd name="connsiteX7" fmla="*/ 3985 w 4181"/>
                  <a:gd name="connsiteY7" fmla="*/ 87 h 1043"/>
                  <a:gd name="connsiteX8" fmla="*/ 3958 w 4181"/>
                  <a:gd name="connsiteY8" fmla="*/ 87 h 1043"/>
                  <a:gd name="connsiteX9" fmla="*/ 3892 w 4181"/>
                  <a:gd name="connsiteY9" fmla="*/ 93 h 1043"/>
                  <a:gd name="connsiteX10" fmla="*/ 3830 w 4181"/>
                  <a:gd name="connsiteY10" fmla="*/ 106 h 1043"/>
                  <a:gd name="connsiteX11" fmla="*/ 3774 w 4181"/>
                  <a:gd name="connsiteY11" fmla="*/ 127 h 1043"/>
                  <a:gd name="connsiteX12" fmla="*/ 3723 w 4181"/>
                  <a:gd name="connsiteY12" fmla="*/ 154 h 1043"/>
                  <a:gd name="connsiteX13" fmla="*/ 3675 w 4181"/>
                  <a:gd name="connsiteY13" fmla="*/ 187 h 1043"/>
                  <a:gd name="connsiteX14" fmla="*/ 3632 w 4181"/>
                  <a:gd name="connsiteY14" fmla="*/ 224 h 1043"/>
                  <a:gd name="connsiteX15" fmla="*/ 3593 w 4181"/>
                  <a:gd name="connsiteY15" fmla="*/ 268 h 1043"/>
                  <a:gd name="connsiteX16" fmla="*/ 3553 w 4181"/>
                  <a:gd name="connsiteY16" fmla="*/ 313 h 1043"/>
                  <a:gd name="connsiteX17" fmla="*/ 3518 w 4181"/>
                  <a:gd name="connsiteY17" fmla="*/ 363 h 1043"/>
                  <a:gd name="connsiteX18" fmla="*/ 3485 w 4181"/>
                  <a:gd name="connsiteY18" fmla="*/ 415 h 1043"/>
                  <a:gd name="connsiteX19" fmla="*/ 3423 w 4181"/>
                  <a:gd name="connsiteY19" fmla="*/ 523 h 1043"/>
                  <a:gd name="connsiteX20" fmla="*/ 3330 w 4181"/>
                  <a:gd name="connsiteY20" fmla="*/ 691 h 1043"/>
                  <a:gd name="connsiteX21" fmla="*/ 3297 w 4181"/>
                  <a:gd name="connsiteY21" fmla="*/ 747 h 1043"/>
                  <a:gd name="connsiteX22" fmla="*/ 3262 w 4181"/>
                  <a:gd name="connsiteY22" fmla="*/ 799 h 1043"/>
                  <a:gd name="connsiteX23" fmla="*/ 3227 w 4181"/>
                  <a:gd name="connsiteY23" fmla="*/ 848 h 1043"/>
                  <a:gd name="connsiteX24" fmla="*/ 3188 w 4181"/>
                  <a:gd name="connsiteY24" fmla="*/ 894 h 1043"/>
                  <a:gd name="connsiteX25" fmla="*/ 3147 w 4181"/>
                  <a:gd name="connsiteY25" fmla="*/ 935 h 1043"/>
                  <a:gd name="connsiteX26" fmla="*/ 3101 w 4181"/>
                  <a:gd name="connsiteY26" fmla="*/ 971 h 1043"/>
                  <a:gd name="connsiteX27" fmla="*/ 3052 w 4181"/>
                  <a:gd name="connsiteY27" fmla="*/ 1000 h 1043"/>
                  <a:gd name="connsiteX28" fmla="*/ 3000 w 4181"/>
                  <a:gd name="connsiteY28" fmla="*/ 1022 h 1043"/>
                  <a:gd name="connsiteX29" fmla="*/ 2942 w 4181"/>
                  <a:gd name="connsiteY29" fmla="*/ 1037 h 1043"/>
                  <a:gd name="connsiteX30" fmla="*/ 2878 w 4181"/>
                  <a:gd name="connsiteY30" fmla="*/ 1043 h 1043"/>
                  <a:gd name="connsiteX31" fmla="*/ 2870 w 4181"/>
                  <a:gd name="connsiteY31" fmla="*/ 1043 h 1043"/>
                  <a:gd name="connsiteX32" fmla="*/ 2808 w 4181"/>
                  <a:gd name="connsiteY32" fmla="*/ 1039 h 1043"/>
                  <a:gd name="connsiteX33" fmla="*/ 2748 w 4181"/>
                  <a:gd name="connsiteY33" fmla="*/ 1025 h 1043"/>
                  <a:gd name="connsiteX34" fmla="*/ 2695 w 4181"/>
                  <a:gd name="connsiteY34" fmla="*/ 1002 h 1043"/>
                  <a:gd name="connsiteX35" fmla="*/ 2643 w 4181"/>
                  <a:gd name="connsiteY35" fmla="*/ 973 h 1043"/>
                  <a:gd name="connsiteX36" fmla="*/ 2595 w 4181"/>
                  <a:gd name="connsiteY36" fmla="*/ 935 h 1043"/>
                  <a:gd name="connsiteX37" fmla="*/ 2552 w 4181"/>
                  <a:gd name="connsiteY37" fmla="*/ 894 h 1043"/>
                  <a:gd name="connsiteX38" fmla="*/ 2509 w 4181"/>
                  <a:gd name="connsiteY38" fmla="*/ 846 h 1043"/>
                  <a:gd name="connsiteX39" fmla="*/ 2469 w 4181"/>
                  <a:gd name="connsiteY39" fmla="*/ 796 h 1043"/>
                  <a:gd name="connsiteX40" fmla="*/ 2430 w 4181"/>
                  <a:gd name="connsiteY40" fmla="*/ 740 h 1043"/>
                  <a:gd name="connsiteX41" fmla="*/ 2393 w 4181"/>
                  <a:gd name="connsiteY41" fmla="*/ 684 h 1043"/>
                  <a:gd name="connsiteX42" fmla="*/ 2288 w 4181"/>
                  <a:gd name="connsiteY42" fmla="*/ 510 h 1043"/>
                  <a:gd name="connsiteX43" fmla="*/ 2251 w 4181"/>
                  <a:gd name="connsiteY43" fmla="*/ 452 h 1043"/>
                  <a:gd name="connsiteX44" fmla="*/ 2213 w 4181"/>
                  <a:gd name="connsiteY44" fmla="*/ 396 h 1043"/>
                  <a:gd name="connsiteX45" fmla="*/ 2176 w 4181"/>
                  <a:gd name="connsiteY45" fmla="*/ 342 h 1043"/>
                  <a:gd name="connsiteX46" fmla="*/ 2137 w 4181"/>
                  <a:gd name="connsiteY46" fmla="*/ 293 h 1043"/>
                  <a:gd name="connsiteX47" fmla="*/ 2096 w 4181"/>
                  <a:gd name="connsiteY47" fmla="*/ 247 h 1043"/>
                  <a:gd name="connsiteX48" fmla="*/ 2054 w 4181"/>
                  <a:gd name="connsiteY48" fmla="*/ 205 h 1043"/>
                  <a:gd name="connsiteX49" fmla="*/ 2009 w 4181"/>
                  <a:gd name="connsiteY49" fmla="*/ 168 h 1043"/>
                  <a:gd name="connsiteX50" fmla="*/ 1962 w 4181"/>
                  <a:gd name="connsiteY50" fmla="*/ 139 h 1043"/>
                  <a:gd name="connsiteX51" fmla="*/ 1910 w 4181"/>
                  <a:gd name="connsiteY51" fmla="*/ 116 h 1043"/>
                  <a:gd name="connsiteX52" fmla="*/ 1854 w 4181"/>
                  <a:gd name="connsiteY52" fmla="*/ 100 h 1043"/>
                  <a:gd name="connsiteX53" fmla="*/ 1796 w 4181"/>
                  <a:gd name="connsiteY53" fmla="*/ 91 h 1043"/>
                  <a:gd name="connsiteX54" fmla="*/ 1732 w 4181"/>
                  <a:gd name="connsiteY54" fmla="*/ 93 h 1043"/>
                  <a:gd name="connsiteX55" fmla="*/ 1664 w 4181"/>
                  <a:gd name="connsiteY55" fmla="*/ 104 h 1043"/>
                  <a:gd name="connsiteX56" fmla="*/ 1602 w 4181"/>
                  <a:gd name="connsiteY56" fmla="*/ 122 h 1043"/>
                  <a:gd name="connsiteX57" fmla="*/ 1545 w 4181"/>
                  <a:gd name="connsiteY57" fmla="*/ 147 h 1043"/>
                  <a:gd name="connsiteX58" fmla="*/ 1491 w 4181"/>
                  <a:gd name="connsiteY58" fmla="*/ 181 h 1043"/>
                  <a:gd name="connsiteX59" fmla="*/ 1439 w 4181"/>
                  <a:gd name="connsiteY59" fmla="*/ 218 h 1043"/>
                  <a:gd name="connsiteX60" fmla="*/ 1394 w 4181"/>
                  <a:gd name="connsiteY60" fmla="*/ 261 h 1043"/>
                  <a:gd name="connsiteX61" fmla="*/ 1348 w 4181"/>
                  <a:gd name="connsiteY61" fmla="*/ 307 h 1043"/>
                  <a:gd name="connsiteX62" fmla="*/ 1307 w 4181"/>
                  <a:gd name="connsiteY62" fmla="*/ 359 h 1043"/>
                  <a:gd name="connsiteX63" fmla="*/ 1268 w 4181"/>
                  <a:gd name="connsiteY63" fmla="*/ 413 h 1043"/>
                  <a:gd name="connsiteX64" fmla="*/ 1231 w 4181"/>
                  <a:gd name="connsiteY64" fmla="*/ 467 h 1043"/>
                  <a:gd name="connsiteX65" fmla="*/ 1194 w 4181"/>
                  <a:gd name="connsiteY65" fmla="*/ 523 h 1043"/>
                  <a:gd name="connsiteX66" fmla="*/ 1156 w 4181"/>
                  <a:gd name="connsiteY66" fmla="*/ 581 h 1043"/>
                  <a:gd name="connsiteX67" fmla="*/ 1121 w 4181"/>
                  <a:gd name="connsiteY67" fmla="*/ 637 h 1043"/>
                  <a:gd name="connsiteX68" fmla="*/ 1047 w 4181"/>
                  <a:gd name="connsiteY68" fmla="*/ 749 h 1043"/>
                  <a:gd name="connsiteX69" fmla="*/ 1008 w 4181"/>
                  <a:gd name="connsiteY69" fmla="*/ 801 h 1043"/>
                  <a:gd name="connsiteX70" fmla="*/ 966 w 4181"/>
                  <a:gd name="connsiteY70" fmla="*/ 850 h 1043"/>
                  <a:gd name="connsiteX71" fmla="*/ 923 w 4181"/>
                  <a:gd name="connsiteY71" fmla="*/ 896 h 1043"/>
                  <a:gd name="connsiteX72" fmla="*/ 876 w 4181"/>
                  <a:gd name="connsiteY72" fmla="*/ 937 h 1043"/>
                  <a:gd name="connsiteX73" fmla="*/ 826 w 4181"/>
                  <a:gd name="connsiteY73" fmla="*/ 973 h 1043"/>
                  <a:gd name="connsiteX74" fmla="*/ 772 w 4181"/>
                  <a:gd name="connsiteY74" fmla="*/ 1002 h 1043"/>
                  <a:gd name="connsiteX75" fmla="*/ 717 w 4181"/>
                  <a:gd name="connsiteY75" fmla="*/ 1025 h 1043"/>
                  <a:gd name="connsiteX76" fmla="*/ 653 w 4181"/>
                  <a:gd name="connsiteY76" fmla="*/ 1037 h 1043"/>
                  <a:gd name="connsiteX77" fmla="*/ 587 w 4181"/>
                  <a:gd name="connsiteY77" fmla="*/ 1043 h 1043"/>
                  <a:gd name="connsiteX78" fmla="*/ 580 w 4181"/>
                  <a:gd name="connsiteY78" fmla="*/ 1043 h 1043"/>
                  <a:gd name="connsiteX79" fmla="*/ 512 w 4181"/>
                  <a:gd name="connsiteY79" fmla="*/ 1039 h 1043"/>
                  <a:gd name="connsiteX80" fmla="*/ 450 w 4181"/>
                  <a:gd name="connsiteY80" fmla="*/ 1027 h 1043"/>
                  <a:gd name="connsiteX81" fmla="*/ 392 w 4181"/>
                  <a:gd name="connsiteY81" fmla="*/ 1008 h 1043"/>
                  <a:gd name="connsiteX82" fmla="*/ 341 w 4181"/>
                  <a:gd name="connsiteY82" fmla="*/ 983 h 1043"/>
                  <a:gd name="connsiteX83" fmla="*/ 293 w 4181"/>
                  <a:gd name="connsiteY83" fmla="*/ 952 h 1043"/>
                  <a:gd name="connsiteX84" fmla="*/ 248 w 4181"/>
                  <a:gd name="connsiteY84" fmla="*/ 915 h 1043"/>
                  <a:gd name="connsiteX85" fmla="*/ 207 w 4181"/>
                  <a:gd name="connsiteY85" fmla="*/ 873 h 1043"/>
                  <a:gd name="connsiteX86" fmla="*/ 169 w 4181"/>
                  <a:gd name="connsiteY86" fmla="*/ 828 h 1043"/>
                  <a:gd name="connsiteX87" fmla="*/ 132 w 4181"/>
                  <a:gd name="connsiteY87" fmla="*/ 780 h 1043"/>
                  <a:gd name="connsiteX88" fmla="*/ 99 w 4181"/>
                  <a:gd name="connsiteY88" fmla="*/ 728 h 1043"/>
                  <a:gd name="connsiteX89" fmla="*/ 64 w 4181"/>
                  <a:gd name="connsiteY89" fmla="*/ 674 h 1043"/>
                  <a:gd name="connsiteX90" fmla="*/ 33 w 4181"/>
                  <a:gd name="connsiteY90" fmla="*/ 618 h 1043"/>
                  <a:gd name="connsiteX91" fmla="*/ 0 w 4181"/>
                  <a:gd name="connsiteY91" fmla="*/ 560 h 1043"/>
                  <a:gd name="connsiteX92" fmla="*/ 77 w 4181"/>
                  <a:gd name="connsiteY92" fmla="*/ 516 h 1043"/>
                  <a:gd name="connsiteX93" fmla="*/ 110 w 4181"/>
                  <a:gd name="connsiteY93" fmla="*/ 575 h 1043"/>
                  <a:gd name="connsiteX94" fmla="*/ 143 w 4181"/>
                  <a:gd name="connsiteY94" fmla="*/ 631 h 1043"/>
                  <a:gd name="connsiteX95" fmla="*/ 176 w 4181"/>
                  <a:gd name="connsiteY95" fmla="*/ 684 h 1043"/>
                  <a:gd name="connsiteX96" fmla="*/ 209 w 4181"/>
                  <a:gd name="connsiteY96" fmla="*/ 736 h 1043"/>
                  <a:gd name="connsiteX97" fmla="*/ 244 w 4181"/>
                  <a:gd name="connsiteY97" fmla="*/ 782 h 1043"/>
                  <a:gd name="connsiteX98" fmla="*/ 281 w 4181"/>
                  <a:gd name="connsiteY98" fmla="*/ 825 h 1043"/>
                  <a:gd name="connsiteX99" fmla="*/ 322 w 4181"/>
                  <a:gd name="connsiteY99" fmla="*/ 863 h 1043"/>
                  <a:gd name="connsiteX100" fmla="*/ 366 w 4181"/>
                  <a:gd name="connsiteY100" fmla="*/ 894 h 1043"/>
                  <a:gd name="connsiteX101" fmla="*/ 413 w 4181"/>
                  <a:gd name="connsiteY101" fmla="*/ 921 h 1043"/>
                  <a:gd name="connsiteX102" fmla="*/ 463 w 4181"/>
                  <a:gd name="connsiteY102" fmla="*/ 940 h 1043"/>
                  <a:gd name="connsiteX103" fmla="*/ 518 w 4181"/>
                  <a:gd name="connsiteY103" fmla="*/ 952 h 1043"/>
                  <a:gd name="connsiteX104" fmla="*/ 580 w 4181"/>
                  <a:gd name="connsiteY104" fmla="*/ 956 h 1043"/>
                  <a:gd name="connsiteX105" fmla="*/ 587 w 4181"/>
                  <a:gd name="connsiteY105" fmla="*/ 956 h 1043"/>
                  <a:gd name="connsiteX106" fmla="*/ 646 w 4181"/>
                  <a:gd name="connsiteY106" fmla="*/ 950 h 1043"/>
                  <a:gd name="connsiteX107" fmla="*/ 702 w 4181"/>
                  <a:gd name="connsiteY107" fmla="*/ 935 h 1043"/>
                  <a:gd name="connsiteX108" fmla="*/ 756 w 4181"/>
                  <a:gd name="connsiteY108" fmla="*/ 913 h 1043"/>
                  <a:gd name="connsiteX109" fmla="*/ 803 w 4181"/>
                  <a:gd name="connsiteY109" fmla="*/ 884 h 1043"/>
                  <a:gd name="connsiteX110" fmla="*/ 849 w 4181"/>
                  <a:gd name="connsiteY110" fmla="*/ 846 h 1043"/>
                  <a:gd name="connsiteX111" fmla="*/ 892 w 4181"/>
                  <a:gd name="connsiteY111" fmla="*/ 803 h 1043"/>
                  <a:gd name="connsiteX112" fmla="*/ 931 w 4181"/>
                  <a:gd name="connsiteY112" fmla="*/ 755 h 1043"/>
                  <a:gd name="connsiteX113" fmla="*/ 971 w 4181"/>
                  <a:gd name="connsiteY113" fmla="*/ 703 h 1043"/>
                  <a:gd name="connsiteX114" fmla="*/ 1010 w 4181"/>
                  <a:gd name="connsiteY114" fmla="*/ 649 h 1043"/>
                  <a:gd name="connsiteX115" fmla="*/ 1121 w 4181"/>
                  <a:gd name="connsiteY115" fmla="*/ 475 h 1043"/>
                  <a:gd name="connsiteX116" fmla="*/ 1161 w 4181"/>
                  <a:gd name="connsiteY116" fmla="*/ 415 h 1043"/>
                  <a:gd name="connsiteX117" fmla="*/ 1202 w 4181"/>
                  <a:gd name="connsiteY117" fmla="*/ 357 h 1043"/>
                  <a:gd name="connsiteX118" fmla="*/ 1245 w 4181"/>
                  <a:gd name="connsiteY118" fmla="*/ 299 h 1043"/>
                  <a:gd name="connsiteX119" fmla="*/ 1291 w 4181"/>
                  <a:gd name="connsiteY119" fmla="*/ 245 h 1043"/>
                  <a:gd name="connsiteX120" fmla="*/ 1338 w 4181"/>
                  <a:gd name="connsiteY120" fmla="*/ 193 h 1043"/>
                  <a:gd name="connsiteX121" fmla="*/ 1392 w 4181"/>
                  <a:gd name="connsiteY121" fmla="*/ 145 h 1043"/>
                  <a:gd name="connsiteX122" fmla="*/ 1447 w 4181"/>
                  <a:gd name="connsiteY122" fmla="*/ 104 h 1043"/>
                  <a:gd name="connsiteX123" fmla="*/ 1509 w 4181"/>
                  <a:gd name="connsiteY123" fmla="*/ 69 h 1043"/>
                  <a:gd name="connsiteX124" fmla="*/ 1575 w 4181"/>
                  <a:gd name="connsiteY124" fmla="*/ 40 h 1043"/>
                  <a:gd name="connsiteX125" fmla="*/ 1648 w 4181"/>
                  <a:gd name="connsiteY125" fmla="*/ 19 h 1043"/>
                  <a:gd name="connsiteX126" fmla="*/ 1726 w 4181"/>
                  <a:gd name="connsiteY126" fmla="*/ 6 h 1043"/>
                  <a:gd name="connsiteX127" fmla="*/ 1796 w 4181"/>
                  <a:gd name="connsiteY127" fmla="*/ 4 h 1043"/>
                  <a:gd name="connsiteX128" fmla="*/ 1862 w 4181"/>
                  <a:gd name="connsiteY128" fmla="*/ 13 h 1043"/>
                  <a:gd name="connsiteX129" fmla="*/ 1922 w 4181"/>
                  <a:gd name="connsiteY129" fmla="*/ 27 h 1043"/>
                  <a:gd name="connsiteX130" fmla="*/ 1980 w 4181"/>
                  <a:gd name="connsiteY130" fmla="*/ 50 h 1043"/>
                  <a:gd name="connsiteX131" fmla="*/ 2034 w 4181"/>
                  <a:gd name="connsiteY131" fmla="*/ 81 h 1043"/>
                  <a:gd name="connsiteX132" fmla="*/ 2083 w 4181"/>
                  <a:gd name="connsiteY132" fmla="*/ 116 h 1043"/>
                  <a:gd name="connsiteX133" fmla="*/ 2129 w 4181"/>
                  <a:gd name="connsiteY133" fmla="*/ 158 h 1043"/>
                  <a:gd name="connsiteX134" fmla="*/ 2174 w 4181"/>
                  <a:gd name="connsiteY134" fmla="*/ 203 h 1043"/>
                  <a:gd name="connsiteX135" fmla="*/ 2216 w 4181"/>
                  <a:gd name="connsiteY135" fmla="*/ 251 h 1043"/>
                  <a:gd name="connsiteX136" fmla="*/ 2255 w 4181"/>
                  <a:gd name="connsiteY136" fmla="*/ 303 h 1043"/>
                  <a:gd name="connsiteX137" fmla="*/ 2292 w 4181"/>
                  <a:gd name="connsiteY137" fmla="*/ 357 h 1043"/>
                  <a:gd name="connsiteX138" fmla="*/ 2327 w 4181"/>
                  <a:gd name="connsiteY138" fmla="*/ 413 h 1043"/>
                  <a:gd name="connsiteX139" fmla="*/ 2362 w 4181"/>
                  <a:gd name="connsiteY139" fmla="*/ 467 h 1043"/>
                  <a:gd name="connsiteX140" fmla="*/ 2395 w 4181"/>
                  <a:gd name="connsiteY140" fmla="*/ 523 h 1043"/>
                  <a:gd name="connsiteX141" fmla="*/ 2432 w 4181"/>
                  <a:gd name="connsiteY141" fmla="*/ 585 h 1043"/>
                  <a:gd name="connsiteX142" fmla="*/ 2469 w 4181"/>
                  <a:gd name="connsiteY142" fmla="*/ 643 h 1043"/>
                  <a:gd name="connsiteX143" fmla="*/ 2509 w 4181"/>
                  <a:gd name="connsiteY143" fmla="*/ 701 h 1043"/>
                  <a:gd name="connsiteX144" fmla="*/ 2546 w 4181"/>
                  <a:gd name="connsiteY144" fmla="*/ 755 h 1043"/>
                  <a:gd name="connsiteX145" fmla="*/ 2587 w 4181"/>
                  <a:gd name="connsiteY145" fmla="*/ 805 h 1043"/>
                  <a:gd name="connsiteX146" fmla="*/ 2628 w 4181"/>
                  <a:gd name="connsiteY146" fmla="*/ 848 h 1043"/>
                  <a:gd name="connsiteX147" fmla="*/ 2672 w 4181"/>
                  <a:gd name="connsiteY147" fmla="*/ 886 h 1043"/>
                  <a:gd name="connsiteX148" fmla="*/ 2717 w 4181"/>
                  <a:gd name="connsiteY148" fmla="*/ 917 h 1043"/>
                  <a:gd name="connsiteX149" fmla="*/ 2767 w 4181"/>
                  <a:gd name="connsiteY149" fmla="*/ 940 h 1043"/>
                  <a:gd name="connsiteX150" fmla="*/ 2820 w 4181"/>
                  <a:gd name="connsiteY150" fmla="*/ 952 h 1043"/>
                  <a:gd name="connsiteX151" fmla="*/ 2876 w 4181"/>
                  <a:gd name="connsiteY151" fmla="*/ 956 h 1043"/>
                  <a:gd name="connsiteX152" fmla="*/ 2932 w 4181"/>
                  <a:gd name="connsiteY152" fmla="*/ 950 h 1043"/>
                  <a:gd name="connsiteX153" fmla="*/ 2982 w 4181"/>
                  <a:gd name="connsiteY153" fmla="*/ 935 h 1043"/>
                  <a:gd name="connsiteX154" fmla="*/ 3029 w 4181"/>
                  <a:gd name="connsiteY154" fmla="*/ 915 h 1043"/>
                  <a:gd name="connsiteX155" fmla="*/ 3072 w 4181"/>
                  <a:gd name="connsiteY155" fmla="*/ 884 h 1043"/>
                  <a:gd name="connsiteX156" fmla="*/ 3112 w 4181"/>
                  <a:gd name="connsiteY156" fmla="*/ 848 h 1043"/>
                  <a:gd name="connsiteX157" fmla="*/ 3149 w 4181"/>
                  <a:gd name="connsiteY157" fmla="*/ 807 h 1043"/>
                  <a:gd name="connsiteX158" fmla="*/ 3184 w 4181"/>
                  <a:gd name="connsiteY158" fmla="*/ 759 h 1043"/>
                  <a:gd name="connsiteX159" fmla="*/ 3217 w 4181"/>
                  <a:gd name="connsiteY159" fmla="*/ 709 h 1043"/>
                  <a:gd name="connsiteX0" fmla="*/ 3184 w 4181"/>
                  <a:gd name="connsiteY0" fmla="*/ 759 h 1043"/>
                  <a:gd name="connsiteX1" fmla="*/ 4004 w 4181"/>
                  <a:gd name="connsiteY1" fmla="*/ 0 h 1043"/>
                  <a:gd name="connsiteX2" fmla="*/ 4181 w 4181"/>
                  <a:gd name="connsiteY2" fmla="*/ 158 h 1043"/>
                  <a:gd name="connsiteX3" fmla="*/ 4142 w 4181"/>
                  <a:gd name="connsiteY3" fmla="*/ 135 h 1043"/>
                  <a:gd name="connsiteX4" fmla="*/ 4092 w 4181"/>
                  <a:gd name="connsiteY4" fmla="*/ 112 h 1043"/>
                  <a:gd name="connsiteX5" fmla="*/ 4049 w 4181"/>
                  <a:gd name="connsiteY5" fmla="*/ 98 h 1043"/>
                  <a:gd name="connsiteX6" fmla="*/ 4014 w 4181"/>
                  <a:gd name="connsiteY6" fmla="*/ 89 h 1043"/>
                  <a:gd name="connsiteX7" fmla="*/ 3985 w 4181"/>
                  <a:gd name="connsiteY7" fmla="*/ 87 h 1043"/>
                  <a:gd name="connsiteX8" fmla="*/ 3958 w 4181"/>
                  <a:gd name="connsiteY8" fmla="*/ 87 h 1043"/>
                  <a:gd name="connsiteX9" fmla="*/ 3892 w 4181"/>
                  <a:gd name="connsiteY9" fmla="*/ 93 h 1043"/>
                  <a:gd name="connsiteX10" fmla="*/ 3830 w 4181"/>
                  <a:gd name="connsiteY10" fmla="*/ 106 h 1043"/>
                  <a:gd name="connsiteX11" fmla="*/ 3774 w 4181"/>
                  <a:gd name="connsiteY11" fmla="*/ 127 h 1043"/>
                  <a:gd name="connsiteX12" fmla="*/ 3723 w 4181"/>
                  <a:gd name="connsiteY12" fmla="*/ 154 h 1043"/>
                  <a:gd name="connsiteX13" fmla="*/ 3675 w 4181"/>
                  <a:gd name="connsiteY13" fmla="*/ 187 h 1043"/>
                  <a:gd name="connsiteX14" fmla="*/ 3632 w 4181"/>
                  <a:gd name="connsiteY14" fmla="*/ 224 h 1043"/>
                  <a:gd name="connsiteX15" fmla="*/ 3593 w 4181"/>
                  <a:gd name="connsiteY15" fmla="*/ 268 h 1043"/>
                  <a:gd name="connsiteX16" fmla="*/ 3553 w 4181"/>
                  <a:gd name="connsiteY16" fmla="*/ 313 h 1043"/>
                  <a:gd name="connsiteX17" fmla="*/ 3518 w 4181"/>
                  <a:gd name="connsiteY17" fmla="*/ 363 h 1043"/>
                  <a:gd name="connsiteX18" fmla="*/ 3485 w 4181"/>
                  <a:gd name="connsiteY18" fmla="*/ 415 h 1043"/>
                  <a:gd name="connsiteX19" fmla="*/ 3423 w 4181"/>
                  <a:gd name="connsiteY19" fmla="*/ 523 h 1043"/>
                  <a:gd name="connsiteX20" fmla="*/ 3330 w 4181"/>
                  <a:gd name="connsiteY20" fmla="*/ 691 h 1043"/>
                  <a:gd name="connsiteX21" fmla="*/ 3297 w 4181"/>
                  <a:gd name="connsiteY21" fmla="*/ 747 h 1043"/>
                  <a:gd name="connsiteX22" fmla="*/ 3262 w 4181"/>
                  <a:gd name="connsiteY22" fmla="*/ 799 h 1043"/>
                  <a:gd name="connsiteX23" fmla="*/ 3227 w 4181"/>
                  <a:gd name="connsiteY23" fmla="*/ 848 h 1043"/>
                  <a:gd name="connsiteX24" fmla="*/ 3188 w 4181"/>
                  <a:gd name="connsiteY24" fmla="*/ 894 h 1043"/>
                  <a:gd name="connsiteX25" fmla="*/ 3147 w 4181"/>
                  <a:gd name="connsiteY25" fmla="*/ 935 h 1043"/>
                  <a:gd name="connsiteX26" fmla="*/ 3101 w 4181"/>
                  <a:gd name="connsiteY26" fmla="*/ 971 h 1043"/>
                  <a:gd name="connsiteX27" fmla="*/ 3052 w 4181"/>
                  <a:gd name="connsiteY27" fmla="*/ 1000 h 1043"/>
                  <a:gd name="connsiteX28" fmla="*/ 3000 w 4181"/>
                  <a:gd name="connsiteY28" fmla="*/ 1022 h 1043"/>
                  <a:gd name="connsiteX29" fmla="*/ 2942 w 4181"/>
                  <a:gd name="connsiteY29" fmla="*/ 1037 h 1043"/>
                  <a:gd name="connsiteX30" fmla="*/ 2878 w 4181"/>
                  <a:gd name="connsiteY30" fmla="*/ 1043 h 1043"/>
                  <a:gd name="connsiteX31" fmla="*/ 2870 w 4181"/>
                  <a:gd name="connsiteY31" fmla="*/ 1043 h 1043"/>
                  <a:gd name="connsiteX32" fmla="*/ 2808 w 4181"/>
                  <a:gd name="connsiteY32" fmla="*/ 1039 h 1043"/>
                  <a:gd name="connsiteX33" fmla="*/ 2748 w 4181"/>
                  <a:gd name="connsiteY33" fmla="*/ 1025 h 1043"/>
                  <a:gd name="connsiteX34" fmla="*/ 2695 w 4181"/>
                  <a:gd name="connsiteY34" fmla="*/ 1002 h 1043"/>
                  <a:gd name="connsiteX35" fmla="*/ 2643 w 4181"/>
                  <a:gd name="connsiteY35" fmla="*/ 973 h 1043"/>
                  <a:gd name="connsiteX36" fmla="*/ 2595 w 4181"/>
                  <a:gd name="connsiteY36" fmla="*/ 935 h 1043"/>
                  <a:gd name="connsiteX37" fmla="*/ 2552 w 4181"/>
                  <a:gd name="connsiteY37" fmla="*/ 894 h 1043"/>
                  <a:gd name="connsiteX38" fmla="*/ 2509 w 4181"/>
                  <a:gd name="connsiteY38" fmla="*/ 846 h 1043"/>
                  <a:gd name="connsiteX39" fmla="*/ 2469 w 4181"/>
                  <a:gd name="connsiteY39" fmla="*/ 796 h 1043"/>
                  <a:gd name="connsiteX40" fmla="*/ 2430 w 4181"/>
                  <a:gd name="connsiteY40" fmla="*/ 740 h 1043"/>
                  <a:gd name="connsiteX41" fmla="*/ 2393 w 4181"/>
                  <a:gd name="connsiteY41" fmla="*/ 684 h 1043"/>
                  <a:gd name="connsiteX42" fmla="*/ 2288 w 4181"/>
                  <a:gd name="connsiteY42" fmla="*/ 510 h 1043"/>
                  <a:gd name="connsiteX43" fmla="*/ 2251 w 4181"/>
                  <a:gd name="connsiteY43" fmla="*/ 452 h 1043"/>
                  <a:gd name="connsiteX44" fmla="*/ 2213 w 4181"/>
                  <a:gd name="connsiteY44" fmla="*/ 396 h 1043"/>
                  <a:gd name="connsiteX45" fmla="*/ 2176 w 4181"/>
                  <a:gd name="connsiteY45" fmla="*/ 342 h 1043"/>
                  <a:gd name="connsiteX46" fmla="*/ 2137 w 4181"/>
                  <a:gd name="connsiteY46" fmla="*/ 293 h 1043"/>
                  <a:gd name="connsiteX47" fmla="*/ 2096 w 4181"/>
                  <a:gd name="connsiteY47" fmla="*/ 247 h 1043"/>
                  <a:gd name="connsiteX48" fmla="*/ 2054 w 4181"/>
                  <a:gd name="connsiteY48" fmla="*/ 205 h 1043"/>
                  <a:gd name="connsiteX49" fmla="*/ 2009 w 4181"/>
                  <a:gd name="connsiteY49" fmla="*/ 168 h 1043"/>
                  <a:gd name="connsiteX50" fmla="*/ 1962 w 4181"/>
                  <a:gd name="connsiteY50" fmla="*/ 139 h 1043"/>
                  <a:gd name="connsiteX51" fmla="*/ 1910 w 4181"/>
                  <a:gd name="connsiteY51" fmla="*/ 116 h 1043"/>
                  <a:gd name="connsiteX52" fmla="*/ 1854 w 4181"/>
                  <a:gd name="connsiteY52" fmla="*/ 100 h 1043"/>
                  <a:gd name="connsiteX53" fmla="*/ 1796 w 4181"/>
                  <a:gd name="connsiteY53" fmla="*/ 91 h 1043"/>
                  <a:gd name="connsiteX54" fmla="*/ 1732 w 4181"/>
                  <a:gd name="connsiteY54" fmla="*/ 93 h 1043"/>
                  <a:gd name="connsiteX55" fmla="*/ 1664 w 4181"/>
                  <a:gd name="connsiteY55" fmla="*/ 104 h 1043"/>
                  <a:gd name="connsiteX56" fmla="*/ 1602 w 4181"/>
                  <a:gd name="connsiteY56" fmla="*/ 122 h 1043"/>
                  <a:gd name="connsiteX57" fmla="*/ 1545 w 4181"/>
                  <a:gd name="connsiteY57" fmla="*/ 147 h 1043"/>
                  <a:gd name="connsiteX58" fmla="*/ 1491 w 4181"/>
                  <a:gd name="connsiteY58" fmla="*/ 181 h 1043"/>
                  <a:gd name="connsiteX59" fmla="*/ 1439 w 4181"/>
                  <a:gd name="connsiteY59" fmla="*/ 218 h 1043"/>
                  <a:gd name="connsiteX60" fmla="*/ 1394 w 4181"/>
                  <a:gd name="connsiteY60" fmla="*/ 261 h 1043"/>
                  <a:gd name="connsiteX61" fmla="*/ 1348 w 4181"/>
                  <a:gd name="connsiteY61" fmla="*/ 307 h 1043"/>
                  <a:gd name="connsiteX62" fmla="*/ 1307 w 4181"/>
                  <a:gd name="connsiteY62" fmla="*/ 359 h 1043"/>
                  <a:gd name="connsiteX63" fmla="*/ 1268 w 4181"/>
                  <a:gd name="connsiteY63" fmla="*/ 413 h 1043"/>
                  <a:gd name="connsiteX64" fmla="*/ 1231 w 4181"/>
                  <a:gd name="connsiteY64" fmla="*/ 467 h 1043"/>
                  <a:gd name="connsiteX65" fmla="*/ 1194 w 4181"/>
                  <a:gd name="connsiteY65" fmla="*/ 523 h 1043"/>
                  <a:gd name="connsiteX66" fmla="*/ 1156 w 4181"/>
                  <a:gd name="connsiteY66" fmla="*/ 581 h 1043"/>
                  <a:gd name="connsiteX67" fmla="*/ 1121 w 4181"/>
                  <a:gd name="connsiteY67" fmla="*/ 637 h 1043"/>
                  <a:gd name="connsiteX68" fmla="*/ 1047 w 4181"/>
                  <a:gd name="connsiteY68" fmla="*/ 749 h 1043"/>
                  <a:gd name="connsiteX69" fmla="*/ 1008 w 4181"/>
                  <a:gd name="connsiteY69" fmla="*/ 801 h 1043"/>
                  <a:gd name="connsiteX70" fmla="*/ 966 w 4181"/>
                  <a:gd name="connsiteY70" fmla="*/ 850 h 1043"/>
                  <a:gd name="connsiteX71" fmla="*/ 923 w 4181"/>
                  <a:gd name="connsiteY71" fmla="*/ 896 h 1043"/>
                  <a:gd name="connsiteX72" fmla="*/ 876 w 4181"/>
                  <a:gd name="connsiteY72" fmla="*/ 937 h 1043"/>
                  <a:gd name="connsiteX73" fmla="*/ 826 w 4181"/>
                  <a:gd name="connsiteY73" fmla="*/ 973 h 1043"/>
                  <a:gd name="connsiteX74" fmla="*/ 772 w 4181"/>
                  <a:gd name="connsiteY74" fmla="*/ 1002 h 1043"/>
                  <a:gd name="connsiteX75" fmla="*/ 717 w 4181"/>
                  <a:gd name="connsiteY75" fmla="*/ 1025 h 1043"/>
                  <a:gd name="connsiteX76" fmla="*/ 653 w 4181"/>
                  <a:gd name="connsiteY76" fmla="*/ 1037 h 1043"/>
                  <a:gd name="connsiteX77" fmla="*/ 587 w 4181"/>
                  <a:gd name="connsiteY77" fmla="*/ 1043 h 1043"/>
                  <a:gd name="connsiteX78" fmla="*/ 580 w 4181"/>
                  <a:gd name="connsiteY78" fmla="*/ 1043 h 1043"/>
                  <a:gd name="connsiteX79" fmla="*/ 512 w 4181"/>
                  <a:gd name="connsiteY79" fmla="*/ 1039 h 1043"/>
                  <a:gd name="connsiteX80" fmla="*/ 450 w 4181"/>
                  <a:gd name="connsiteY80" fmla="*/ 1027 h 1043"/>
                  <a:gd name="connsiteX81" fmla="*/ 392 w 4181"/>
                  <a:gd name="connsiteY81" fmla="*/ 1008 h 1043"/>
                  <a:gd name="connsiteX82" fmla="*/ 341 w 4181"/>
                  <a:gd name="connsiteY82" fmla="*/ 983 h 1043"/>
                  <a:gd name="connsiteX83" fmla="*/ 293 w 4181"/>
                  <a:gd name="connsiteY83" fmla="*/ 952 h 1043"/>
                  <a:gd name="connsiteX84" fmla="*/ 248 w 4181"/>
                  <a:gd name="connsiteY84" fmla="*/ 915 h 1043"/>
                  <a:gd name="connsiteX85" fmla="*/ 207 w 4181"/>
                  <a:gd name="connsiteY85" fmla="*/ 873 h 1043"/>
                  <a:gd name="connsiteX86" fmla="*/ 169 w 4181"/>
                  <a:gd name="connsiteY86" fmla="*/ 828 h 1043"/>
                  <a:gd name="connsiteX87" fmla="*/ 132 w 4181"/>
                  <a:gd name="connsiteY87" fmla="*/ 780 h 1043"/>
                  <a:gd name="connsiteX88" fmla="*/ 99 w 4181"/>
                  <a:gd name="connsiteY88" fmla="*/ 728 h 1043"/>
                  <a:gd name="connsiteX89" fmla="*/ 64 w 4181"/>
                  <a:gd name="connsiteY89" fmla="*/ 674 h 1043"/>
                  <a:gd name="connsiteX90" fmla="*/ 33 w 4181"/>
                  <a:gd name="connsiteY90" fmla="*/ 618 h 1043"/>
                  <a:gd name="connsiteX91" fmla="*/ 0 w 4181"/>
                  <a:gd name="connsiteY91" fmla="*/ 560 h 1043"/>
                  <a:gd name="connsiteX92" fmla="*/ 77 w 4181"/>
                  <a:gd name="connsiteY92" fmla="*/ 516 h 1043"/>
                  <a:gd name="connsiteX93" fmla="*/ 110 w 4181"/>
                  <a:gd name="connsiteY93" fmla="*/ 575 h 1043"/>
                  <a:gd name="connsiteX94" fmla="*/ 143 w 4181"/>
                  <a:gd name="connsiteY94" fmla="*/ 631 h 1043"/>
                  <a:gd name="connsiteX95" fmla="*/ 176 w 4181"/>
                  <a:gd name="connsiteY95" fmla="*/ 684 h 1043"/>
                  <a:gd name="connsiteX96" fmla="*/ 209 w 4181"/>
                  <a:gd name="connsiteY96" fmla="*/ 736 h 1043"/>
                  <a:gd name="connsiteX97" fmla="*/ 244 w 4181"/>
                  <a:gd name="connsiteY97" fmla="*/ 782 h 1043"/>
                  <a:gd name="connsiteX98" fmla="*/ 281 w 4181"/>
                  <a:gd name="connsiteY98" fmla="*/ 825 h 1043"/>
                  <a:gd name="connsiteX99" fmla="*/ 322 w 4181"/>
                  <a:gd name="connsiteY99" fmla="*/ 863 h 1043"/>
                  <a:gd name="connsiteX100" fmla="*/ 366 w 4181"/>
                  <a:gd name="connsiteY100" fmla="*/ 894 h 1043"/>
                  <a:gd name="connsiteX101" fmla="*/ 413 w 4181"/>
                  <a:gd name="connsiteY101" fmla="*/ 921 h 1043"/>
                  <a:gd name="connsiteX102" fmla="*/ 463 w 4181"/>
                  <a:gd name="connsiteY102" fmla="*/ 940 h 1043"/>
                  <a:gd name="connsiteX103" fmla="*/ 518 w 4181"/>
                  <a:gd name="connsiteY103" fmla="*/ 952 h 1043"/>
                  <a:gd name="connsiteX104" fmla="*/ 580 w 4181"/>
                  <a:gd name="connsiteY104" fmla="*/ 956 h 1043"/>
                  <a:gd name="connsiteX105" fmla="*/ 587 w 4181"/>
                  <a:gd name="connsiteY105" fmla="*/ 956 h 1043"/>
                  <a:gd name="connsiteX106" fmla="*/ 646 w 4181"/>
                  <a:gd name="connsiteY106" fmla="*/ 950 h 1043"/>
                  <a:gd name="connsiteX107" fmla="*/ 702 w 4181"/>
                  <a:gd name="connsiteY107" fmla="*/ 935 h 1043"/>
                  <a:gd name="connsiteX108" fmla="*/ 756 w 4181"/>
                  <a:gd name="connsiteY108" fmla="*/ 913 h 1043"/>
                  <a:gd name="connsiteX109" fmla="*/ 803 w 4181"/>
                  <a:gd name="connsiteY109" fmla="*/ 884 h 1043"/>
                  <a:gd name="connsiteX110" fmla="*/ 849 w 4181"/>
                  <a:gd name="connsiteY110" fmla="*/ 846 h 1043"/>
                  <a:gd name="connsiteX111" fmla="*/ 892 w 4181"/>
                  <a:gd name="connsiteY111" fmla="*/ 803 h 1043"/>
                  <a:gd name="connsiteX112" fmla="*/ 931 w 4181"/>
                  <a:gd name="connsiteY112" fmla="*/ 755 h 1043"/>
                  <a:gd name="connsiteX113" fmla="*/ 971 w 4181"/>
                  <a:gd name="connsiteY113" fmla="*/ 703 h 1043"/>
                  <a:gd name="connsiteX114" fmla="*/ 1010 w 4181"/>
                  <a:gd name="connsiteY114" fmla="*/ 649 h 1043"/>
                  <a:gd name="connsiteX115" fmla="*/ 1121 w 4181"/>
                  <a:gd name="connsiteY115" fmla="*/ 475 h 1043"/>
                  <a:gd name="connsiteX116" fmla="*/ 1161 w 4181"/>
                  <a:gd name="connsiteY116" fmla="*/ 415 h 1043"/>
                  <a:gd name="connsiteX117" fmla="*/ 1202 w 4181"/>
                  <a:gd name="connsiteY117" fmla="*/ 357 h 1043"/>
                  <a:gd name="connsiteX118" fmla="*/ 1245 w 4181"/>
                  <a:gd name="connsiteY118" fmla="*/ 299 h 1043"/>
                  <a:gd name="connsiteX119" fmla="*/ 1291 w 4181"/>
                  <a:gd name="connsiteY119" fmla="*/ 245 h 1043"/>
                  <a:gd name="connsiteX120" fmla="*/ 1338 w 4181"/>
                  <a:gd name="connsiteY120" fmla="*/ 193 h 1043"/>
                  <a:gd name="connsiteX121" fmla="*/ 1392 w 4181"/>
                  <a:gd name="connsiteY121" fmla="*/ 145 h 1043"/>
                  <a:gd name="connsiteX122" fmla="*/ 1447 w 4181"/>
                  <a:gd name="connsiteY122" fmla="*/ 104 h 1043"/>
                  <a:gd name="connsiteX123" fmla="*/ 1509 w 4181"/>
                  <a:gd name="connsiteY123" fmla="*/ 69 h 1043"/>
                  <a:gd name="connsiteX124" fmla="*/ 1575 w 4181"/>
                  <a:gd name="connsiteY124" fmla="*/ 40 h 1043"/>
                  <a:gd name="connsiteX125" fmla="*/ 1648 w 4181"/>
                  <a:gd name="connsiteY125" fmla="*/ 19 h 1043"/>
                  <a:gd name="connsiteX126" fmla="*/ 1726 w 4181"/>
                  <a:gd name="connsiteY126" fmla="*/ 6 h 1043"/>
                  <a:gd name="connsiteX127" fmla="*/ 1796 w 4181"/>
                  <a:gd name="connsiteY127" fmla="*/ 4 h 1043"/>
                  <a:gd name="connsiteX128" fmla="*/ 1862 w 4181"/>
                  <a:gd name="connsiteY128" fmla="*/ 13 h 1043"/>
                  <a:gd name="connsiteX129" fmla="*/ 1922 w 4181"/>
                  <a:gd name="connsiteY129" fmla="*/ 27 h 1043"/>
                  <a:gd name="connsiteX130" fmla="*/ 1980 w 4181"/>
                  <a:gd name="connsiteY130" fmla="*/ 50 h 1043"/>
                  <a:gd name="connsiteX131" fmla="*/ 2034 w 4181"/>
                  <a:gd name="connsiteY131" fmla="*/ 81 h 1043"/>
                  <a:gd name="connsiteX132" fmla="*/ 2083 w 4181"/>
                  <a:gd name="connsiteY132" fmla="*/ 116 h 1043"/>
                  <a:gd name="connsiteX133" fmla="*/ 2129 w 4181"/>
                  <a:gd name="connsiteY133" fmla="*/ 158 h 1043"/>
                  <a:gd name="connsiteX134" fmla="*/ 2174 w 4181"/>
                  <a:gd name="connsiteY134" fmla="*/ 203 h 1043"/>
                  <a:gd name="connsiteX135" fmla="*/ 2216 w 4181"/>
                  <a:gd name="connsiteY135" fmla="*/ 251 h 1043"/>
                  <a:gd name="connsiteX136" fmla="*/ 2255 w 4181"/>
                  <a:gd name="connsiteY136" fmla="*/ 303 h 1043"/>
                  <a:gd name="connsiteX137" fmla="*/ 2292 w 4181"/>
                  <a:gd name="connsiteY137" fmla="*/ 357 h 1043"/>
                  <a:gd name="connsiteX138" fmla="*/ 2327 w 4181"/>
                  <a:gd name="connsiteY138" fmla="*/ 413 h 1043"/>
                  <a:gd name="connsiteX139" fmla="*/ 2362 w 4181"/>
                  <a:gd name="connsiteY139" fmla="*/ 467 h 1043"/>
                  <a:gd name="connsiteX140" fmla="*/ 2395 w 4181"/>
                  <a:gd name="connsiteY140" fmla="*/ 523 h 1043"/>
                  <a:gd name="connsiteX141" fmla="*/ 2432 w 4181"/>
                  <a:gd name="connsiteY141" fmla="*/ 585 h 1043"/>
                  <a:gd name="connsiteX142" fmla="*/ 2469 w 4181"/>
                  <a:gd name="connsiteY142" fmla="*/ 643 h 1043"/>
                  <a:gd name="connsiteX143" fmla="*/ 2509 w 4181"/>
                  <a:gd name="connsiteY143" fmla="*/ 701 h 1043"/>
                  <a:gd name="connsiteX144" fmla="*/ 2546 w 4181"/>
                  <a:gd name="connsiteY144" fmla="*/ 755 h 1043"/>
                  <a:gd name="connsiteX145" fmla="*/ 2587 w 4181"/>
                  <a:gd name="connsiteY145" fmla="*/ 805 h 1043"/>
                  <a:gd name="connsiteX146" fmla="*/ 2628 w 4181"/>
                  <a:gd name="connsiteY146" fmla="*/ 848 h 1043"/>
                  <a:gd name="connsiteX147" fmla="*/ 2672 w 4181"/>
                  <a:gd name="connsiteY147" fmla="*/ 886 h 1043"/>
                  <a:gd name="connsiteX148" fmla="*/ 2717 w 4181"/>
                  <a:gd name="connsiteY148" fmla="*/ 917 h 1043"/>
                  <a:gd name="connsiteX149" fmla="*/ 2767 w 4181"/>
                  <a:gd name="connsiteY149" fmla="*/ 940 h 1043"/>
                  <a:gd name="connsiteX150" fmla="*/ 2820 w 4181"/>
                  <a:gd name="connsiteY150" fmla="*/ 952 h 1043"/>
                  <a:gd name="connsiteX151" fmla="*/ 2876 w 4181"/>
                  <a:gd name="connsiteY151" fmla="*/ 956 h 1043"/>
                  <a:gd name="connsiteX152" fmla="*/ 2932 w 4181"/>
                  <a:gd name="connsiteY152" fmla="*/ 950 h 1043"/>
                  <a:gd name="connsiteX153" fmla="*/ 2982 w 4181"/>
                  <a:gd name="connsiteY153" fmla="*/ 935 h 1043"/>
                  <a:gd name="connsiteX154" fmla="*/ 3029 w 4181"/>
                  <a:gd name="connsiteY154" fmla="*/ 915 h 1043"/>
                  <a:gd name="connsiteX155" fmla="*/ 3072 w 4181"/>
                  <a:gd name="connsiteY155" fmla="*/ 884 h 1043"/>
                  <a:gd name="connsiteX156" fmla="*/ 3112 w 4181"/>
                  <a:gd name="connsiteY156" fmla="*/ 848 h 1043"/>
                  <a:gd name="connsiteX157" fmla="*/ 3149 w 4181"/>
                  <a:gd name="connsiteY157" fmla="*/ 807 h 1043"/>
                  <a:gd name="connsiteX158" fmla="*/ 3184 w 4181"/>
                  <a:gd name="connsiteY158" fmla="*/ 759 h 1043"/>
                  <a:gd name="connsiteX0" fmla="*/ 3149 w 4181"/>
                  <a:gd name="connsiteY0" fmla="*/ 807 h 1043"/>
                  <a:gd name="connsiteX1" fmla="*/ 4004 w 4181"/>
                  <a:gd name="connsiteY1" fmla="*/ 0 h 1043"/>
                  <a:gd name="connsiteX2" fmla="*/ 4181 w 4181"/>
                  <a:gd name="connsiteY2" fmla="*/ 158 h 1043"/>
                  <a:gd name="connsiteX3" fmla="*/ 4142 w 4181"/>
                  <a:gd name="connsiteY3" fmla="*/ 135 h 1043"/>
                  <a:gd name="connsiteX4" fmla="*/ 4092 w 4181"/>
                  <a:gd name="connsiteY4" fmla="*/ 112 h 1043"/>
                  <a:gd name="connsiteX5" fmla="*/ 4049 w 4181"/>
                  <a:gd name="connsiteY5" fmla="*/ 98 h 1043"/>
                  <a:gd name="connsiteX6" fmla="*/ 4014 w 4181"/>
                  <a:gd name="connsiteY6" fmla="*/ 89 h 1043"/>
                  <a:gd name="connsiteX7" fmla="*/ 3985 w 4181"/>
                  <a:gd name="connsiteY7" fmla="*/ 87 h 1043"/>
                  <a:gd name="connsiteX8" fmla="*/ 3958 w 4181"/>
                  <a:gd name="connsiteY8" fmla="*/ 87 h 1043"/>
                  <a:gd name="connsiteX9" fmla="*/ 3892 w 4181"/>
                  <a:gd name="connsiteY9" fmla="*/ 93 h 1043"/>
                  <a:gd name="connsiteX10" fmla="*/ 3830 w 4181"/>
                  <a:gd name="connsiteY10" fmla="*/ 106 h 1043"/>
                  <a:gd name="connsiteX11" fmla="*/ 3774 w 4181"/>
                  <a:gd name="connsiteY11" fmla="*/ 127 h 1043"/>
                  <a:gd name="connsiteX12" fmla="*/ 3723 w 4181"/>
                  <a:gd name="connsiteY12" fmla="*/ 154 h 1043"/>
                  <a:gd name="connsiteX13" fmla="*/ 3675 w 4181"/>
                  <a:gd name="connsiteY13" fmla="*/ 187 h 1043"/>
                  <a:gd name="connsiteX14" fmla="*/ 3632 w 4181"/>
                  <a:gd name="connsiteY14" fmla="*/ 224 h 1043"/>
                  <a:gd name="connsiteX15" fmla="*/ 3593 w 4181"/>
                  <a:gd name="connsiteY15" fmla="*/ 268 h 1043"/>
                  <a:gd name="connsiteX16" fmla="*/ 3553 w 4181"/>
                  <a:gd name="connsiteY16" fmla="*/ 313 h 1043"/>
                  <a:gd name="connsiteX17" fmla="*/ 3518 w 4181"/>
                  <a:gd name="connsiteY17" fmla="*/ 363 h 1043"/>
                  <a:gd name="connsiteX18" fmla="*/ 3485 w 4181"/>
                  <a:gd name="connsiteY18" fmla="*/ 415 h 1043"/>
                  <a:gd name="connsiteX19" fmla="*/ 3423 w 4181"/>
                  <a:gd name="connsiteY19" fmla="*/ 523 h 1043"/>
                  <a:gd name="connsiteX20" fmla="*/ 3330 w 4181"/>
                  <a:gd name="connsiteY20" fmla="*/ 691 h 1043"/>
                  <a:gd name="connsiteX21" fmla="*/ 3297 w 4181"/>
                  <a:gd name="connsiteY21" fmla="*/ 747 h 1043"/>
                  <a:gd name="connsiteX22" fmla="*/ 3262 w 4181"/>
                  <a:gd name="connsiteY22" fmla="*/ 799 h 1043"/>
                  <a:gd name="connsiteX23" fmla="*/ 3227 w 4181"/>
                  <a:gd name="connsiteY23" fmla="*/ 848 h 1043"/>
                  <a:gd name="connsiteX24" fmla="*/ 3188 w 4181"/>
                  <a:gd name="connsiteY24" fmla="*/ 894 h 1043"/>
                  <a:gd name="connsiteX25" fmla="*/ 3147 w 4181"/>
                  <a:gd name="connsiteY25" fmla="*/ 935 h 1043"/>
                  <a:gd name="connsiteX26" fmla="*/ 3101 w 4181"/>
                  <a:gd name="connsiteY26" fmla="*/ 971 h 1043"/>
                  <a:gd name="connsiteX27" fmla="*/ 3052 w 4181"/>
                  <a:gd name="connsiteY27" fmla="*/ 1000 h 1043"/>
                  <a:gd name="connsiteX28" fmla="*/ 3000 w 4181"/>
                  <a:gd name="connsiteY28" fmla="*/ 1022 h 1043"/>
                  <a:gd name="connsiteX29" fmla="*/ 2942 w 4181"/>
                  <a:gd name="connsiteY29" fmla="*/ 1037 h 1043"/>
                  <a:gd name="connsiteX30" fmla="*/ 2878 w 4181"/>
                  <a:gd name="connsiteY30" fmla="*/ 1043 h 1043"/>
                  <a:gd name="connsiteX31" fmla="*/ 2870 w 4181"/>
                  <a:gd name="connsiteY31" fmla="*/ 1043 h 1043"/>
                  <a:gd name="connsiteX32" fmla="*/ 2808 w 4181"/>
                  <a:gd name="connsiteY32" fmla="*/ 1039 h 1043"/>
                  <a:gd name="connsiteX33" fmla="*/ 2748 w 4181"/>
                  <a:gd name="connsiteY33" fmla="*/ 1025 h 1043"/>
                  <a:gd name="connsiteX34" fmla="*/ 2695 w 4181"/>
                  <a:gd name="connsiteY34" fmla="*/ 1002 h 1043"/>
                  <a:gd name="connsiteX35" fmla="*/ 2643 w 4181"/>
                  <a:gd name="connsiteY35" fmla="*/ 973 h 1043"/>
                  <a:gd name="connsiteX36" fmla="*/ 2595 w 4181"/>
                  <a:gd name="connsiteY36" fmla="*/ 935 h 1043"/>
                  <a:gd name="connsiteX37" fmla="*/ 2552 w 4181"/>
                  <a:gd name="connsiteY37" fmla="*/ 894 h 1043"/>
                  <a:gd name="connsiteX38" fmla="*/ 2509 w 4181"/>
                  <a:gd name="connsiteY38" fmla="*/ 846 h 1043"/>
                  <a:gd name="connsiteX39" fmla="*/ 2469 w 4181"/>
                  <a:gd name="connsiteY39" fmla="*/ 796 h 1043"/>
                  <a:gd name="connsiteX40" fmla="*/ 2430 w 4181"/>
                  <a:gd name="connsiteY40" fmla="*/ 740 h 1043"/>
                  <a:gd name="connsiteX41" fmla="*/ 2393 w 4181"/>
                  <a:gd name="connsiteY41" fmla="*/ 684 h 1043"/>
                  <a:gd name="connsiteX42" fmla="*/ 2288 w 4181"/>
                  <a:gd name="connsiteY42" fmla="*/ 510 h 1043"/>
                  <a:gd name="connsiteX43" fmla="*/ 2251 w 4181"/>
                  <a:gd name="connsiteY43" fmla="*/ 452 h 1043"/>
                  <a:gd name="connsiteX44" fmla="*/ 2213 w 4181"/>
                  <a:gd name="connsiteY44" fmla="*/ 396 h 1043"/>
                  <a:gd name="connsiteX45" fmla="*/ 2176 w 4181"/>
                  <a:gd name="connsiteY45" fmla="*/ 342 h 1043"/>
                  <a:gd name="connsiteX46" fmla="*/ 2137 w 4181"/>
                  <a:gd name="connsiteY46" fmla="*/ 293 h 1043"/>
                  <a:gd name="connsiteX47" fmla="*/ 2096 w 4181"/>
                  <a:gd name="connsiteY47" fmla="*/ 247 h 1043"/>
                  <a:gd name="connsiteX48" fmla="*/ 2054 w 4181"/>
                  <a:gd name="connsiteY48" fmla="*/ 205 h 1043"/>
                  <a:gd name="connsiteX49" fmla="*/ 2009 w 4181"/>
                  <a:gd name="connsiteY49" fmla="*/ 168 h 1043"/>
                  <a:gd name="connsiteX50" fmla="*/ 1962 w 4181"/>
                  <a:gd name="connsiteY50" fmla="*/ 139 h 1043"/>
                  <a:gd name="connsiteX51" fmla="*/ 1910 w 4181"/>
                  <a:gd name="connsiteY51" fmla="*/ 116 h 1043"/>
                  <a:gd name="connsiteX52" fmla="*/ 1854 w 4181"/>
                  <a:gd name="connsiteY52" fmla="*/ 100 h 1043"/>
                  <a:gd name="connsiteX53" fmla="*/ 1796 w 4181"/>
                  <a:gd name="connsiteY53" fmla="*/ 91 h 1043"/>
                  <a:gd name="connsiteX54" fmla="*/ 1732 w 4181"/>
                  <a:gd name="connsiteY54" fmla="*/ 93 h 1043"/>
                  <a:gd name="connsiteX55" fmla="*/ 1664 w 4181"/>
                  <a:gd name="connsiteY55" fmla="*/ 104 h 1043"/>
                  <a:gd name="connsiteX56" fmla="*/ 1602 w 4181"/>
                  <a:gd name="connsiteY56" fmla="*/ 122 h 1043"/>
                  <a:gd name="connsiteX57" fmla="*/ 1545 w 4181"/>
                  <a:gd name="connsiteY57" fmla="*/ 147 h 1043"/>
                  <a:gd name="connsiteX58" fmla="*/ 1491 w 4181"/>
                  <a:gd name="connsiteY58" fmla="*/ 181 h 1043"/>
                  <a:gd name="connsiteX59" fmla="*/ 1439 w 4181"/>
                  <a:gd name="connsiteY59" fmla="*/ 218 h 1043"/>
                  <a:gd name="connsiteX60" fmla="*/ 1394 w 4181"/>
                  <a:gd name="connsiteY60" fmla="*/ 261 h 1043"/>
                  <a:gd name="connsiteX61" fmla="*/ 1348 w 4181"/>
                  <a:gd name="connsiteY61" fmla="*/ 307 h 1043"/>
                  <a:gd name="connsiteX62" fmla="*/ 1307 w 4181"/>
                  <a:gd name="connsiteY62" fmla="*/ 359 h 1043"/>
                  <a:gd name="connsiteX63" fmla="*/ 1268 w 4181"/>
                  <a:gd name="connsiteY63" fmla="*/ 413 h 1043"/>
                  <a:gd name="connsiteX64" fmla="*/ 1231 w 4181"/>
                  <a:gd name="connsiteY64" fmla="*/ 467 h 1043"/>
                  <a:gd name="connsiteX65" fmla="*/ 1194 w 4181"/>
                  <a:gd name="connsiteY65" fmla="*/ 523 h 1043"/>
                  <a:gd name="connsiteX66" fmla="*/ 1156 w 4181"/>
                  <a:gd name="connsiteY66" fmla="*/ 581 h 1043"/>
                  <a:gd name="connsiteX67" fmla="*/ 1121 w 4181"/>
                  <a:gd name="connsiteY67" fmla="*/ 637 h 1043"/>
                  <a:gd name="connsiteX68" fmla="*/ 1047 w 4181"/>
                  <a:gd name="connsiteY68" fmla="*/ 749 h 1043"/>
                  <a:gd name="connsiteX69" fmla="*/ 1008 w 4181"/>
                  <a:gd name="connsiteY69" fmla="*/ 801 h 1043"/>
                  <a:gd name="connsiteX70" fmla="*/ 966 w 4181"/>
                  <a:gd name="connsiteY70" fmla="*/ 850 h 1043"/>
                  <a:gd name="connsiteX71" fmla="*/ 923 w 4181"/>
                  <a:gd name="connsiteY71" fmla="*/ 896 h 1043"/>
                  <a:gd name="connsiteX72" fmla="*/ 876 w 4181"/>
                  <a:gd name="connsiteY72" fmla="*/ 937 h 1043"/>
                  <a:gd name="connsiteX73" fmla="*/ 826 w 4181"/>
                  <a:gd name="connsiteY73" fmla="*/ 973 h 1043"/>
                  <a:gd name="connsiteX74" fmla="*/ 772 w 4181"/>
                  <a:gd name="connsiteY74" fmla="*/ 1002 h 1043"/>
                  <a:gd name="connsiteX75" fmla="*/ 717 w 4181"/>
                  <a:gd name="connsiteY75" fmla="*/ 1025 h 1043"/>
                  <a:gd name="connsiteX76" fmla="*/ 653 w 4181"/>
                  <a:gd name="connsiteY76" fmla="*/ 1037 h 1043"/>
                  <a:gd name="connsiteX77" fmla="*/ 587 w 4181"/>
                  <a:gd name="connsiteY77" fmla="*/ 1043 h 1043"/>
                  <a:gd name="connsiteX78" fmla="*/ 580 w 4181"/>
                  <a:gd name="connsiteY78" fmla="*/ 1043 h 1043"/>
                  <a:gd name="connsiteX79" fmla="*/ 512 w 4181"/>
                  <a:gd name="connsiteY79" fmla="*/ 1039 h 1043"/>
                  <a:gd name="connsiteX80" fmla="*/ 450 w 4181"/>
                  <a:gd name="connsiteY80" fmla="*/ 1027 h 1043"/>
                  <a:gd name="connsiteX81" fmla="*/ 392 w 4181"/>
                  <a:gd name="connsiteY81" fmla="*/ 1008 h 1043"/>
                  <a:gd name="connsiteX82" fmla="*/ 341 w 4181"/>
                  <a:gd name="connsiteY82" fmla="*/ 983 h 1043"/>
                  <a:gd name="connsiteX83" fmla="*/ 293 w 4181"/>
                  <a:gd name="connsiteY83" fmla="*/ 952 h 1043"/>
                  <a:gd name="connsiteX84" fmla="*/ 248 w 4181"/>
                  <a:gd name="connsiteY84" fmla="*/ 915 h 1043"/>
                  <a:gd name="connsiteX85" fmla="*/ 207 w 4181"/>
                  <a:gd name="connsiteY85" fmla="*/ 873 h 1043"/>
                  <a:gd name="connsiteX86" fmla="*/ 169 w 4181"/>
                  <a:gd name="connsiteY86" fmla="*/ 828 h 1043"/>
                  <a:gd name="connsiteX87" fmla="*/ 132 w 4181"/>
                  <a:gd name="connsiteY87" fmla="*/ 780 h 1043"/>
                  <a:gd name="connsiteX88" fmla="*/ 99 w 4181"/>
                  <a:gd name="connsiteY88" fmla="*/ 728 h 1043"/>
                  <a:gd name="connsiteX89" fmla="*/ 64 w 4181"/>
                  <a:gd name="connsiteY89" fmla="*/ 674 h 1043"/>
                  <a:gd name="connsiteX90" fmla="*/ 33 w 4181"/>
                  <a:gd name="connsiteY90" fmla="*/ 618 h 1043"/>
                  <a:gd name="connsiteX91" fmla="*/ 0 w 4181"/>
                  <a:gd name="connsiteY91" fmla="*/ 560 h 1043"/>
                  <a:gd name="connsiteX92" fmla="*/ 77 w 4181"/>
                  <a:gd name="connsiteY92" fmla="*/ 516 h 1043"/>
                  <a:gd name="connsiteX93" fmla="*/ 110 w 4181"/>
                  <a:gd name="connsiteY93" fmla="*/ 575 h 1043"/>
                  <a:gd name="connsiteX94" fmla="*/ 143 w 4181"/>
                  <a:gd name="connsiteY94" fmla="*/ 631 h 1043"/>
                  <a:gd name="connsiteX95" fmla="*/ 176 w 4181"/>
                  <a:gd name="connsiteY95" fmla="*/ 684 h 1043"/>
                  <a:gd name="connsiteX96" fmla="*/ 209 w 4181"/>
                  <a:gd name="connsiteY96" fmla="*/ 736 h 1043"/>
                  <a:gd name="connsiteX97" fmla="*/ 244 w 4181"/>
                  <a:gd name="connsiteY97" fmla="*/ 782 h 1043"/>
                  <a:gd name="connsiteX98" fmla="*/ 281 w 4181"/>
                  <a:gd name="connsiteY98" fmla="*/ 825 h 1043"/>
                  <a:gd name="connsiteX99" fmla="*/ 322 w 4181"/>
                  <a:gd name="connsiteY99" fmla="*/ 863 h 1043"/>
                  <a:gd name="connsiteX100" fmla="*/ 366 w 4181"/>
                  <a:gd name="connsiteY100" fmla="*/ 894 h 1043"/>
                  <a:gd name="connsiteX101" fmla="*/ 413 w 4181"/>
                  <a:gd name="connsiteY101" fmla="*/ 921 h 1043"/>
                  <a:gd name="connsiteX102" fmla="*/ 463 w 4181"/>
                  <a:gd name="connsiteY102" fmla="*/ 940 h 1043"/>
                  <a:gd name="connsiteX103" fmla="*/ 518 w 4181"/>
                  <a:gd name="connsiteY103" fmla="*/ 952 h 1043"/>
                  <a:gd name="connsiteX104" fmla="*/ 580 w 4181"/>
                  <a:gd name="connsiteY104" fmla="*/ 956 h 1043"/>
                  <a:gd name="connsiteX105" fmla="*/ 587 w 4181"/>
                  <a:gd name="connsiteY105" fmla="*/ 956 h 1043"/>
                  <a:gd name="connsiteX106" fmla="*/ 646 w 4181"/>
                  <a:gd name="connsiteY106" fmla="*/ 950 h 1043"/>
                  <a:gd name="connsiteX107" fmla="*/ 702 w 4181"/>
                  <a:gd name="connsiteY107" fmla="*/ 935 h 1043"/>
                  <a:gd name="connsiteX108" fmla="*/ 756 w 4181"/>
                  <a:gd name="connsiteY108" fmla="*/ 913 h 1043"/>
                  <a:gd name="connsiteX109" fmla="*/ 803 w 4181"/>
                  <a:gd name="connsiteY109" fmla="*/ 884 h 1043"/>
                  <a:gd name="connsiteX110" fmla="*/ 849 w 4181"/>
                  <a:gd name="connsiteY110" fmla="*/ 846 h 1043"/>
                  <a:gd name="connsiteX111" fmla="*/ 892 w 4181"/>
                  <a:gd name="connsiteY111" fmla="*/ 803 h 1043"/>
                  <a:gd name="connsiteX112" fmla="*/ 931 w 4181"/>
                  <a:gd name="connsiteY112" fmla="*/ 755 h 1043"/>
                  <a:gd name="connsiteX113" fmla="*/ 971 w 4181"/>
                  <a:gd name="connsiteY113" fmla="*/ 703 h 1043"/>
                  <a:gd name="connsiteX114" fmla="*/ 1010 w 4181"/>
                  <a:gd name="connsiteY114" fmla="*/ 649 h 1043"/>
                  <a:gd name="connsiteX115" fmla="*/ 1121 w 4181"/>
                  <a:gd name="connsiteY115" fmla="*/ 475 h 1043"/>
                  <a:gd name="connsiteX116" fmla="*/ 1161 w 4181"/>
                  <a:gd name="connsiteY116" fmla="*/ 415 h 1043"/>
                  <a:gd name="connsiteX117" fmla="*/ 1202 w 4181"/>
                  <a:gd name="connsiteY117" fmla="*/ 357 h 1043"/>
                  <a:gd name="connsiteX118" fmla="*/ 1245 w 4181"/>
                  <a:gd name="connsiteY118" fmla="*/ 299 h 1043"/>
                  <a:gd name="connsiteX119" fmla="*/ 1291 w 4181"/>
                  <a:gd name="connsiteY119" fmla="*/ 245 h 1043"/>
                  <a:gd name="connsiteX120" fmla="*/ 1338 w 4181"/>
                  <a:gd name="connsiteY120" fmla="*/ 193 h 1043"/>
                  <a:gd name="connsiteX121" fmla="*/ 1392 w 4181"/>
                  <a:gd name="connsiteY121" fmla="*/ 145 h 1043"/>
                  <a:gd name="connsiteX122" fmla="*/ 1447 w 4181"/>
                  <a:gd name="connsiteY122" fmla="*/ 104 h 1043"/>
                  <a:gd name="connsiteX123" fmla="*/ 1509 w 4181"/>
                  <a:gd name="connsiteY123" fmla="*/ 69 h 1043"/>
                  <a:gd name="connsiteX124" fmla="*/ 1575 w 4181"/>
                  <a:gd name="connsiteY124" fmla="*/ 40 h 1043"/>
                  <a:gd name="connsiteX125" fmla="*/ 1648 w 4181"/>
                  <a:gd name="connsiteY125" fmla="*/ 19 h 1043"/>
                  <a:gd name="connsiteX126" fmla="*/ 1726 w 4181"/>
                  <a:gd name="connsiteY126" fmla="*/ 6 h 1043"/>
                  <a:gd name="connsiteX127" fmla="*/ 1796 w 4181"/>
                  <a:gd name="connsiteY127" fmla="*/ 4 h 1043"/>
                  <a:gd name="connsiteX128" fmla="*/ 1862 w 4181"/>
                  <a:gd name="connsiteY128" fmla="*/ 13 h 1043"/>
                  <a:gd name="connsiteX129" fmla="*/ 1922 w 4181"/>
                  <a:gd name="connsiteY129" fmla="*/ 27 h 1043"/>
                  <a:gd name="connsiteX130" fmla="*/ 1980 w 4181"/>
                  <a:gd name="connsiteY130" fmla="*/ 50 h 1043"/>
                  <a:gd name="connsiteX131" fmla="*/ 2034 w 4181"/>
                  <a:gd name="connsiteY131" fmla="*/ 81 h 1043"/>
                  <a:gd name="connsiteX132" fmla="*/ 2083 w 4181"/>
                  <a:gd name="connsiteY132" fmla="*/ 116 h 1043"/>
                  <a:gd name="connsiteX133" fmla="*/ 2129 w 4181"/>
                  <a:gd name="connsiteY133" fmla="*/ 158 h 1043"/>
                  <a:gd name="connsiteX134" fmla="*/ 2174 w 4181"/>
                  <a:gd name="connsiteY134" fmla="*/ 203 h 1043"/>
                  <a:gd name="connsiteX135" fmla="*/ 2216 w 4181"/>
                  <a:gd name="connsiteY135" fmla="*/ 251 h 1043"/>
                  <a:gd name="connsiteX136" fmla="*/ 2255 w 4181"/>
                  <a:gd name="connsiteY136" fmla="*/ 303 h 1043"/>
                  <a:gd name="connsiteX137" fmla="*/ 2292 w 4181"/>
                  <a:gd name="connsiteY137" fmla="*/ 357 h 1043"/>
                  <a:gd name="connsiteX138" fmla="*/ 2327 w 4181"/>
                  <a:gd name="connsiteY138" fmla="*/ 413 h 1043"/>
                  <a:gd name="connsiteX139" fmla="*/ 2362 w 4181"/>
                  <a:gd name="connsiteY139" fmla="*/ 467 h 1043"/>
                  <a:gd name="connsiteX140" fmla="*/ 2395 w 4181"/>
                  <a:gd name="connsiteY140" fmla="*/ 523 h 1043"/>
                  <a:gd name="connsiteX141" fmla="*/ 2432 w 4181"/>
                  <a:gd name="connsiteY141" fmla="*/ 585 h 1043"/>
                  <a:gd name="connsiteX142" fmla="*/ 2469 w 4181"/>
                  <a:gd name="connsiteY142" fmla="*/ 643 h 1043"/>
                  <a:gd name="connsiteX143" fmla="*/ 2509 w 4181"/>
                  <a:gd name="connsiteY143" fmla="*/ 701 h 1043"/>
                  <a:gd name="connsiteX144" fmla="*/ 2546 w 4181"/>
                  <a:gd name="connsiteY144" fmla="*/ 755 h 1043"/>
                  <a:gd name="connsiteX145" fmla="*/ 2587 w 4181"/>
                  <a:gd name="connsiteY145" fmla="*/ 805 h 1043"/>
                  <a:gd name="connsiteX146" fmla="*/ 2628 w 4181"/>
                  <a:gd name="connsiteY146" fmla="*/ 848 h 1043"/>
                  <a:gd name="connsiteX147" fmla="*/ 2672 w 4181"/>
                  <a:gd name="connsiteY147" fmla="*/ 886 h 1043"/>
                  <a:gd name="connsiteX148" fmla="*/ 2717 w 4181"/>
                  <a:gd name="connsiteY148" fmla="*/ 917 h 1043"/>
                  <a:gd name="connsiteX149" fmla="*/ 2767 w 4181"/>
                  <a:gd name="connsiteY149" fmla="*/ 940 h 1043"/>
                  <a:gd name="connsiteX150" fmla="*/ 2820 w 4181"/>
                  <a:gd name="connsiteY150" fmla="*/ 952 h 1043"/>
                  <a:gd name="connsiteX151" fmla="*/ 2876 w 4181"/>
                  <a:gd name="connsiteY151" fmla="*/ 956 h 1043"/>
                  <a:gd name="connsiteX152" fmla="*/ 2932 w 4181"/>
                  <a:gd name="connsiteY152" fmla="*/ 950 h 1043"/>
                  <a:gd name="connsiteX153" fmla="*/ 2982 w 4181"/>
                  <a:gd name="connsiteY153" fmla="*/ 935 h 1043"/>
                  <a:gd name="connsiteX154" fmla="*/ 3029 w 4181"/>
                  <a:gd name="connsiteY154" fmla="*/ 915 h 1043"/>
                  <a:gd name="connsiteX155" fmla="*/ 3072 w 4181"/>
                  <a:gd name="connsiteY155" fmla="*/ 884 h 1043"/>
                  <a:gd name="connsiteX156" fmla="*/ 3112 w 4181"/>
                  <a:gd name="connsiteY156" fmla="*/ 848 h 1043"/>
                  <a:gd name="connsiteX157" fmla="*/ 3149 w 4181"/>
                  <a:gd name="connsiteY157" fmla="*/ 807 h 1043"/>
                  <a:gd name="connsiteX0" fmla="*/ 3149 w 4181"/>
                  <a:gd name="connsiteY0" fmla="*/ 803 h 1039"/>
                  <a:gd name="connsiteX1" fmla="*/ 4181 w 4181"/>
                  <a:gd name="connsiteY1" fmla="*/ 154 h 1039"/>
                  <a:gd name="connsiteX2" fmla="*/ 4142 w 4181"/>
                  <a:gd name="connsiteY2" fmla="*/ 131 h 1039"/>
                  <a:gd name="connsiteX3" fmla="*/ 4092 w 4181"/>
                  <a:gd name="connsiteY3" fmla="*/ 108 h 1039"/>
                  <a:gd name="connsiteX4" fmla="*/ 4049 w 4181"/>
                  <a:gd name="connsiteY4" fmla="*/ 94 h 1039"/>
                  <a:gd name="connsiteX5" fmla="*/ 4014 w 4181"/>
                  <a:gd name="connsiteY5" fmla="*/ 85 h 1039"/>
                  <a:gd name="connsiteX6" fmla="*/ 3985 w 4181"/>
                  <a:gd name="connsiteY6" fmla="*/ 83 h 1039"/>
                  <a:gd name="connsiteX7" fmla="*/ 3958 w 4181"/>
                  <a:gd name="connsiteY7" fmla="*/ 83 h 1039"/>
                  <a:gd name="connsiteX8" fmla="*/ 3892 w 4181"/>
                  <a:gd name="connsiteY8" fmla="*/ 89 h 1039"/>
                  <a:gd name="connsiteX9" fmla="*/ 3830 w 4181"/>
                  <a:gd name="connsiteY9" fmla="*/ 102 h 1039"/>
                  <a:gd name="connsiteX10" fmla="*/ 3774 w 4181"/>
                  <a:gd name="connsiteY10" fmla="*/ 123 h 1039"/>
                  <a:gd name="connsiteX11" fmla="*/ 3723 w 4181"/>
                  <a:gd name="connsiteY11" fmla="*/ 150 h 1039"/>
                  <a:gd name="connsiteX12" fmla="*/ 3675 w 4181"/>
                  <a:gd name="connsiteY12" fmla="*/ 183 h 1039"/>
                  <a:gd name="connsiteX13" fmla="*/ 3632 w 4181"/>
                  <a:gd name="connsiteY13" fmla="*/ 220 h 1039"/>
                  <a:gd name="connsiteX14" fmla="*/ 3593 w 4181"/>
                  <a:gd name="connsiteY14" fmla="*/ 264 h 1039"/>
                  <a:gd name="connsiteX15" fmla="*/ 3553 w 4181"/>
                  <a:gd name="connsiteY15" fmla="*/ 309 h 1039"/>
                  <a:gd name="connsiteX16" fmla="*/ 3518 w 4181"/>
                  <a:gd name="connsiteY16" fmla="*/ 359 h 1039"/>
                  <a:gd name="connsiteX17" fmla="*/ 3485 w 4181"/>
                  <a:gd name="connsiteY17" fmla="*/ 411 h 1039"/>
                  <a:gd name="connsiteX18" fmla="*/ 3423 w 4181"/>
                  <a:gd name="connsiteY18" fmla="*/ 519 h 1039"/>
                  <a:gd name="connsiteX19" fmla="*/ 3330 w 4181"/>
                  <a:gd name="connsiteY19" fmla="*/ 687 h 1039"/>
                  <a:gd name="connsiteX20" fmla="*/ 3297 w 4181"/>
                  <a:gd name="connsiteY20" fmla="*/ 743 h 1039"/>
                  <a:gd name="connsiteX21" fmla="*/ 3262 w 4181"/>
                  <a:gd name="connsiteY21" fmla="*/ 795 h 1039"/>
                  <a:gd name="connsiteX22" fmla="*/ 3227 w 4181"/>
                  <a:gd name="connsiteY22" fmla="*/ 844 h 1039"/>
                  <a:gd name="connsiteX23" fmla="*/ 3188 w 4181"/>
                  <a:gd name="connsiteY23" fmla="*/ 890 h 1039"/>
                  <a:gd name="connsiteX24" fmla="*/ 3147 w 4181"/>
                  <a:gd name="connsiteY24" fmla="*/ 931 h 1039"/>
                  <a:gd name="connsiteX25" fmla="*/ 3101 w 4181"/>
                  <a:gd name="connsiteY25" fmla="*/ 967 h 1039"/>
                  <a:gd name="connsiteX26" fmla="*/ 3052 w 4181"/>
                  <a:gd name="connsiteY26" fmla="*/ 996 h 1039"/>
                  <a:gd name="connsiteX27" fmla="*/ 3000 w 4181"/>
                  <a:gd name="connsiteY27" fmla="*/ 1018 h 1039"/>
                  <a:gd name="connsiteX28" fmla="*/ 2942 w 4181"/>
                  <a:gd name="connsiteY28" fmla="*/ 1033 h 1039"/>
                  <a:gd name="connsiteX29" fmla="*/ 2878 w 4181"/>
                  <a:gd name="connsiteY29" fmla="*/ 1039 h 1039"/>
                  <a:gd name="connsiteX30" fmla="*/ 2870 w 4181"/>
                  <a:gd name="connsiteY30" fmla="*/ 1039 h 1039"/>
                  <a:gd name="connsiteX31" fmla="*/ 2808 w 4181"/>
                  <a:gd name="connsiteY31" fmla="*/ 1035 h 1039"/>
                  <a:gd name="connsiteX32" fmla="*/ 2748 w 4181"/>
                  <a:gd name="connsiteY32" fmla="*/ 1021 h 1039"/>
                  <a:gd name="connsiteX33" fmla="*/ 2695 w 4181"/>
                  <a:gd name="connsiteY33" fmla="*/ 998 h 1039"/>
                  <a:gd name="connsiteX34" fmla="*/ 2643 w 4181"/>
                  <a:gd name="connsiteY34" fmla="*/ 969 h 1039"/>
                  <a:gd name="connsiteX35" fmla="*/ 2595 w 4181"/>
                  <a:gd name="connsiteY35" fmla="*/ 931 h 1039"/>
                  <a:gd name="connsiteX36" fmla="*/ 2552 w 4181"/>
                  <a:gd name="connsiteY36" fmla="*/ 890 h 1039"/>
                  <a:gd name="connsiteX37" fmla="*/ 2509 w 4181"/>
                  <a:gd name="connsiteY37" fmla="*/ 842 h 1039"/>
                  <a:gd name="connsiteX38" fmla="*/ 2469 w 4181"/>
                  <a:gd name="connsiteY38" fmla="*/ 792 h 1039"/>
                  <a:gd name="connsiteX39" fmla="*/ 2430 w 4181"/>
                  <a:gd name="connsiteY39" fmla="*/ 736 h 1039"/>
                  <a:gd name="connsiteX40" fmla="*/ 2393 w 4181"/>
                  <a:gd name="connsiteY40" fmla="*/ 680 h 1039"/>
                  <a:gd name="connsiteX41" fmla="*/ 2288 w 4181"/>
                  <a:gd name="connsiteY41" fmla="*/ 506 h 1039"/>
                  <a:gd name="connsiteX42" fmla="*/ 2251 w 4181"/>
                  <a:gd name="connsiteY42" fmla="*/ 448 h 1039"/>
                  <a:gd name="connsiteX43" fmla="*/ 2213 w 4181"/>
                  <a:gd name="connsiteY43" fmla="*/ 392 h 1039"/>
                  <a:gd name="connsiteX44" fmla="*/ 2176 w 4181"/>
                  <a:gd name="connsiteY44" fmla="*/ 338 h 1039"/>
                  <a:gd name="connsiteX45" fmla="*/ 2137 w 4181"/>
                  <a:gd name="connsiteY45" fmla="*/ 289 h 1039"/>
                  <a:gd name="connsiteX46" fmla="*/ 2096 w 4181"/>
                  <a:gd name="connsiteY46" fmla="*/ 243 h 1039"/>
                  <a:gd name="connsiteX47" fmla="*/ 2054 w 4181"/>
                  <a:gd name="connsiteY47" fmla="*/ 201 h 1039"/>
                  <a:gd name="connsiteX48" fmla="*/ 2009 w 4181"/>
                  <a:gd name="connsiteY48" fmla="*/ 164 h 1039"/>
                  <a:gd name="connsiteX49" fmla="*/ 1962 w 4181"/>
                  <a:gd name="connsiteY49" fmla="*/ 135 h 1039"/>
                  <a:gd name="connsiteX50" fmla="*/ 1910 w 4181"/>
                  <a:gd name="connsiteY50" fmla="*/ 112 h 1039"/>
                  <a:gd name="connsiteX51" fmla="*/ 1854 w 4181"/>
                  <a:gd name="connsiteY51" fmla="*/ 96 h 1039"/>
                  <a:gd name="connsiteX52" fmla="*/ 1796 w 4181"/>
                  <a:gd name="connsiteY52" fmla="*/ 87 h 1039"/>
                  <a:gd name="connsiteX53" fmla="*/ 1732 w 4181"/>
                  <a:gd name="connsiteY53" fmla="*/ 89 h 1039"/>
                  <a:gd name="connsiteX54" fmla="*/ 1664 w 4181"/>
                  <a:gd name="connsiteY54" fmla="*/ 100 h 1039"/>
                  <a:gd name="connsiteX55" fmla="*/ 1602 w 4181"/>
                  <a:gd name="connsiteY55" fmla="*/ 118 h 1039"/>
                  <a:gd name="connsiteX56" fmla="*/ 1545 w 4181"/>
                  <a:gd name="connsiteY56" fmla="*/ 143 h 1039"/>
                  <a:gd name="connsiteX57" fmla="*/ 1491 w 4181"/>
                  <a:gd name="connsiteY57" fmla="*/ 177 h 1039"/>
                  <a:gd name="connsiteX58" fmla="*/ 1439 w 4181"/>
                  <a:gd name="connsiteY58" fmla="*/ 214 h 1039"/>
                  <a:gd name="connsiteX59" fmla="*/ 1394 w 4181"/>
                  <a:gd name="connsiteY59" fmla="*/ 257 h 1039"/>
                  <a:gd name="connsiteX60" fmla="*/ 1348 w 4181"/>
                  <a:gd name="connsiteY60" fmla="*/ 303 h 1039"/>
                  <a:gd name="connsiteX61" fmla="*/ 1307 w 4181"/>
                  <a:gd name="connsiteY61" fmla="*/ 355 h 1039"/>
                  <a:gd name="connsiteX62" fmla="*/ 1268 w 4181"/>
                  <a:gd name="connsiteY62" fmla="*/ 409 h 1039"/>
                  <a:gd name="connsiteX63" fmla="*/ 1231 w 4181"/>
                  <a:gd name="connsiteY63" fmla="*/ 463 h 1039"/>
                  <a:gd name="connsiteX64" fmla="*/ 1194 w 4181"/>
                  <a:gd name="connsiteY64" fmla="*/ 519 h 1039"/>
                  <a:gd name="connsiteX65" fmla="*/ 1156 w 4181"/>
                  <a:gd name="connsiteY65" fmla="*/ 577 h 1039"/>
                  <a:gd name="connsiteX66" fmla="*/ 1121 w 4181"/>
                  <a:gd name="connsiteY66" fmla="*/ 633 h 1039"/>
                  <a:gd name="connsiteX67" fmla="*/ 1047 w 4181"/>
                  <a:gd name="connsiteY67" fmla="*/ 745 h 1039"/>
                  <a:gd name="connsiteX68" fmla="*/ 1008 w 4181"/>
                  <a:gd name="connsiteY68" fmla="*/ 797 h 1039"/>
                  <a:gd name="connsiteX69" fmla="*/ 966 w 4181"/>
                  <a:gd name="connsiteY69" fmla="*/ 846 h 1039"/>
                  <a:gd name="connsiteX70" fmla="*/ 923 w 4181"/>
                  <a:gd name="connsiteY70" fmla="*/ 892 h 1039"/>
                  <a:gd name="connsiteX71" fmla="*/ 876 w 4181"/>
                  <a:gd name="connsiteY71" fmla="*/ 933 h 1039"/>
                  <a:gd name="connsiteX72" fmla="*/ 826 w 4181"/>
                  <a:gd name="connsiteY72" fmla="*/ 969 h 1039"/>
                  <a:gd name="connsiteX73" fmla="*/ 772 w 4181"/>
                  <a:gd name="connsiteY73" fmla="*/ 998 h 1039"/>
                  <a:gd name="connsiteX74" fmla="*/ 717 w 4181"/>
                  <a:gd name="connsiteY74" fmla="*/ 1021 h 1039"/>
                  <a:gd name="connsiteX75" fmla="*/ 653 w 4181"/>
                  <a:gd name="connsiteY75" fmla="*/ 1033 h 1039"/>
                  <a:gd name="connsiteX76" fmla="*/ 587 w 4181"/>
                  <a:gd name="connsiteY76" fmla="*/ 1039 h 1039"/>
                  <a:gd name="connsiteX77" fmla="*/ 580 w 4181"/>
                  <a:gd name="connsiteY77" fmla="*/ 1039 h 1039"/>
                  <a:gd name="connsiteX78" fmla="*/ 512 w 4181"/>
                  <a:gd name="connsiteY78" fmla="*/ 1035 h 1039"/>
                  <a:gd name="connsiteX79" fmla="*/ 450 w 4181"/>
                  <a:gd name="connsiteY79" fmla="*/ 1023 h 1039"/>
                  <a:gd name="connsiteX80" fmla="*/ 392 w 4181"/>
                  <a:gd name="connsiteY80" fmla="*/ 1004 h 1039"/>
                  <a:gd name="connsiteX81" fmla="*/ 341 w 4181"/>
                  <a:gd name="connsiteY81" fmla="*/ 979 h 1039"/>
                  <a:gd name="connsiteX82" fmla="*/ 293 w 4181"/>
                  <a:gd name="connsiteY82" fmla="*/ 948 h 1039"/>
                  <a:gd name="connsiteX83" fmla="*/ 248 w 4181"/>
                  <a:gd name="connsiteY83" fmla="*/ 911 h 1039"/>
                  <a:gd name="connsiteX84" fmla="*/ 207 w 4181"/>
                  <a:gd name="connsiteY84" fmla="*/ 869 h 1039"/>
                  <a:gd name="connsiteX85" fmla="*/ 169 w 4181"/>
                  <a:gd name="connsiteY85" fmla="*/ 824 h 1039"/>
                  <a:gd name="connsiteX86" fmla="*/ 132 w 4181"/>
                  <a:gd name="connsiteY86" fmla="*/ 776 h 1039"/>
                  <a:gd name="connsiteX87" fmla="*/ 99 w 4181"/>
                  <a:gd name="connsiteY87" fmla="*/ 724 h 1039"/>
                  <a:gd name="connsiteX88" fmla="*/ 64 w 4181"/>
                  <a:gd name="connsiteY88" fmla="*/ 670 h 1039"/>
                  <a:gd name="connsiteX89" fmla="*/ 33 w 4181"/>
                  <a:gd name="connsiteY89" fmla="*/ 614 h 1039"/>
                  <a:gd name="connsiteX90" fmla="*/ 0 w 4181"/>
                  <a:gd name="connsiteY90" fmla="*/ 556 h 1039"/>
                  <a:gd name="connsiteX91" fmla="*/ 77 w 4181"/>
                  <a:gd name="connsiteY91" fmla="*/ 512 h 1039"/>
                  <a:gd name="connsiteX92" fmla="*/ 110 w 4181"/>
                  <a:gd name="connsiteY92" fmla="*/ 571 h 1039"/>
                  <a:gd name="connsiteX93" fmla="*/ 143 w 4181"/>
                  <a:gd name="connsiteY93" fmla="*/ 627 h 1039"/>
                  <a:gd name="connsiteX94" fmla="*/ 176 w 4181"/>
                  <a:gd name="connsiteY94" fmla="*/ 680 h 1039"/>
                  <a:gd name="connsiteX95" fmla="*/ 209 w 4181"/>
                  <a:gd name="connsiteY95" fmla="*/ 732 h 1039"/>
                  <a:gd name="connsiteX96" fmla="*/ 244 w 4181"/>
                  <a:gd name="connsiteY96" fmla="*/ 778 h 1039"/>
                  <a:gd name="connsiteX97" fmla="*/ 281 w 4181"/>
                  <a:gd name="connsiteY97" fmla="*/ 821 h 1039"/>
                  <a:gd name="connsiteX98" fmla="*/ 322 w 4181"/>
                  <a:gd name="connsiteY98" fmla="*/ 859 h 1039"/>
                  <a:gd name="connsiteX99" fmla="*/ 366 w 4181"/>
                  <a:gd name="connsiteY99" fmla="*/ 890 h 1039"/>
                  <a:gd name="connsiteX100" fmla="*/ 413 w 4181"/>
                  <a:gd name="connsiteY100" fmla="*/ 917 h 1039"/>
                  <a:gd name="connsiteX101" fmla="*/ 463 w 4181"/>
                  <a:gd name="connsiteY101" fmla="*/ 936 h 1039"/>
                  <a:gd name="connsiteX102" fmla="*/ 518 w 4181"/>
                  <a:gd name="connsiteY102" fmla="*/ 948 h 1039"/>
                  <a:gd name="connsiteX103" fmla="*/ 580 w 4181"/>
                  <a:gd name="connsiteY103" fmla="*/ 952 h 1039"/>
                  <a:gd name="connsiteX104" fmla="*/ 587 w 4181"/>
                  <a:gd name="connsiteY104" fmla="*/ 952 h 1039"/>
                  <a:gd name="connsiteX105" fmla="*/ 646 w 4181"/>
                  <a:gd name="connsiteY105" fmla="*/ 946 h 1039"/>
                  <a:gd name="connsiteX106" fmla="*/ 702 w 4181"/>
                  <a:gd name="connsiteY106" fmla="*/ 931 h 1039"/>
                  <a:gd name="connsiteX107" fmla="*/ 756 w 4181"/>
                  <a:gd name="connsiteY107" fmla="*/ 909 h 1039"/>
                  <a:gd name="connsiteX108" fmla="*/ 803 w 4181"/>
                  <a:gd name="connsiteY108" fmla="*/ 880 h 1039"/>
                  <a:gd name="connsiteX109" fmla="*/ 849 w 4181"/>
                  <a:gd name="connsiteY109" fmla="*/ 842 h 1039"/>
                  <a:gd name="connsiteX110" fmla="*/ 892 w 4181"/>
                  <a:gd name="connsiteY110" fmla="*/ 799 h 1039"/>
                  <a:gd name="connsiteX111" fmla="*/ 931 w 4181"/>
                  <a:gd name="connsiteY111" fmla="*/ 751 h 1039"/>
                  <a:gd name="connsiteX112" fmla="*/ 971 w 4181"/>
                  <a:gd name="connsiteY112" fmla="*/ 699 h 1039"/>
                  <a:gd name="connsiteX113" fmla="*/ 1010 w 4181"/>
                  <a:gd name="connsiteY113" fmla="*/ 645 h 1039"/>
                  <a:gd name="connsiteX114" fmla="*/ 1121 w 4181"/>
                  <a:gd name="connsiteY114" fmla="*/ 471 h 1039"/>
                  <a:gd name="connsiteX115" fmla="*/ 1161 w 4181"/>
                  <a:gd name="connsiteY115" fmla="*/ 411 h 1039"/>
                  <a:gd name="connsiteX116" fmla="*/ 1202 w 4181"/>
                  <a:gd name="connsiteY116" fmla="*/ 353 h 1039"/>
                  <a:gd name="connsiteX117" fmla="*/ 1245 w 4181"/>
                  <a:gd name="connsiteY117" fmla="*/ 295 h 1039"/>
                  <a:gd name="connsiteX118" fmla="*/ 1291 w 4181"/>
                  <a:gd name="connsiteY118" fmla="*/ 241 h 1039"/>
                  <a:gd name="connsiteX119" fmla="*/ 1338 w 4181"/>
                  <a:gd name="connsiteY119" fmla="*/ 189 h 1039"/>
                  <a:gd name="connsiteX120" fmla="*/ 1392 w 4181"/>
                  <a:gd name="connsiteY120" fmla="*/ 141 h 1039"/>
                  <a:gd name="connsiteX121" fmla="*/ 1447 w 4181"/>
                  <a:gd name="connsiteY121" fmla="*/ 100 h 1039"/>
                  <a:gd name="connsiteX122" fmla="*/ 1509 w 4181"/>
                  <a:gd name="connsiteY122" fmla="*/ 65 h 1039"/>
                  <a:gd name="connsiteX123" fmla="*/ 1575 w 4181"/>
                  <a:gd name="connsiteY123" fmla="*/ 36 h 1039"/>
                  <a:gd name="connsiteX124" fmla="*/ 1648 w 4181"/>
                  <a:gd name="connsiteY124" fmla="*/ 15 h 1039"/>
                  <a:gd name="connsiteX125" fmla="*/ 1726 w 4181"/>
                  <a:gd name="connsiteY125" fmla="*/ 2 h 1039"/>
                  <a:gd name="connsiteX126" fmla="*/ 1796 w 4181"/>
                  <a:gd name="connsiteY126" fmla="*/ 0 h 1039"/>
                  <a:gd name="connsiteX127" fmla="*/ 1862 w 4181"/>
                  <a:gd name="connsiteY127" fmla="*/ 9 h 1039"/>
                  <a:gd name="connsiteX128" fmla="*/ 1922 w 4181"/>
                  <a:gd name="connsiteY128" fmla="*/ 23 h 1039"/>
                  <a:gd name="connsiteX129" fmla="*/ 1980 w 4181"/>
                  <a:gd name="connsiteY129" fmla="*/ 46 h 1039"/>
                  <a:gd name="connsiteX130" fmla="*/ 2034 w 4181"/>
                  <a:gd name="connsiteY130" fmla="*/ 77 h 1039"/>
                  <a:gd name="connsiteX131" fmla="*/ 2083 w 4181"/>
                  <a:gd name="connsiteY131" fmla="*/ 112 h 1039"/>
                  <a:gd name="connsiteX132" fmla="*/ 2129 w 4181"/>
                  <a:gd name="connsiteY132" fmla="*/ 154 h 1039"/>
                  <a:gd name="connsiteX133" fmla="*/ 2174 w 4181"/>
                  <a:gd name="connsiteY133" fmla="*/ 199 h 1039"/>
                  <a:gd name="connsiteX134" fmla="*/ 2216 w 4181"/>
                  <a:gd name="connsiteY134" fmla="*/ 247 h 1039"/>
                  <a:gd name="connsiteX135" fmla="*/ 2255 w 4181"/>
                  <a:gd name="connsiteY135" fmla="*/ 299 h 1039"/>
                  <a:gd name="connsiteX136" fmla="*/ 2292 w 4181"/>
                  <a:gd name="connsiteY136" fmla="*/ 353 h 1039"/>
                  <a:gd name="connsiteX137" fmla="*/ 2327 w 4181"/>
                  <a:gd name="connsiteY137" fmla="*/ 409 h 1039"/>
                  <a:gd name="connsiteX138" fmla="*/ 2362 w 4181"/>
                  <a:gd name="connsiteY138" fmla="*/ 463 h 1039"/>
                  <a:gd name="connsiteX139" fmla="*/ 2395 w 4181"/>
                  <a:gd name="connsiteY139" fmla="*/ 519 h 1039"/>
                  <a:gd name="connsiteX140" fmla="*/ 2432 w 4181"/>
                  <a:gd name="connsiteY140" fmla="*/ 581 h 1039"/>
                  <a:gd name="connsiteX141" fmla="*/ 2469 w 4181"/>
                  <a:gd name="connsiteY141" fmla="*/ 639 h 1039"/>
                  <a:gd name="connsiteX142" fmla="*/ 2509 w 4181"/>
                  <a:gd name="connsiteY142" fmla="*/ 697 h 1039"/>
                  <a:gd name="connsiteX143" fmla="*/ 2546 w 4181"/>
                  <a:gd name="connsiteY143" fmla="*/ 751 h 1039"/>
                  <a:gd name="connsiteX144" fmla="*/ 2587 w 4181"/>
                  <a:gd name="connsiteY144" fmla="*/ 801 h 1039"/>
                  <a:gd name="connsiteX145" fmla="*/ 2628 w 4181"/>
                  <a:gd name="connsiteY145" fmla="*/ 844 h 1039"/>
                  <a:gd name="connsiteX146" fmla="*/ 2672 w 4181"/>
                  <a:gd name="connsiteY146" fmla="*/ 882 h 1039"/>
                  <a:gd name="connsiteX147" fmla="*/ 2717 w 4181"/>
                  <a:gd name="connsiteY147" fmla="*/ 913 h 1039"/>
                  <a:gd name="connsiteX148" fmla="*/ 2767 w 4181"/>
                  <a:gd name="connsiteY148" fmla="*/ 936 h 1039"/>
                  <a:gd name="connsiteX149" fmla="*/ 2820 w 4181"/>
                  <a:gd name="connsiteY149" fmla="*/ 948 h 1039"/>
                  <a:gd name="connsiteX150" fmla="*/ 2876 w 4181"/>
                  <a:gd name="connsiteY150" fmla="*/ 952 h 1039"/>
                  <a:gd name="connsiteX151" fmla="*/ 2932 w 4181"/>
                  <a:gd name="connsiteY151" fmla="*/ 946 h 1039"/>
                  <a:gd name="connsiteX152" fmla="*/ 2982 w 4181"/>
                  <a:gd name="connsiteY152" fmla="*/ 931 h 1039"/>
                  <a:gd name="connsiteX153" fmla="*/ 3029 w 4181"/>
                  <a:gd name="connsiteY153" fmla="*/ 911 h 1039"/>
                  <a:gd name="connsiteX154" fmla="*/ 3072 w 4181"/>
                  <a:gd name="connsiteY154" fmla="*/ 880 h 1039"/>
                  <a:gd name="connsiteX155" fmla="*/ 3112 w 4181"/>
                  <a:gd name="connsiteY155" fmla="*/ 844 h 1039"/>
                  <a:gd name="connsiteX156" fmla="*/ 3149 w 4181"/>
                  <a:gd name="connsiteY156" fmla="*/ 803 h 1039"/>
                  <a:gd name="connsiteX0" fmla="*/ 3149 w 4142"/>
                  <a:gd name="connsiteY0" fmla="*/ 803 h 1039"/>
                  <a:gd name="connsiteX1" fmla="*/ 4142 w 4142"/>
                  <a:gd name="connsiteY1" fmla="*/ 131 h 1039"/>
                  <a:gd name="connsiteX2" fmla="*/ 4092 w 4142"/>
                  <a:gd name="connsiteY2" fmla="*/ 108 h 1039"/>
                  <a:gd name="connsiteX3" fmla="*/ 4049 w 4142"/>
                  <a:gd name="connsiteY3" fmla="*/ 94 h 1039"/>
                  <a:gd name="connsiteX4" fmla="*/ 4014 w 4142"/>
                  <a:gd name="connsiteY4" fmla="*/ 85 h 1039"/>
                  <a:gd name="connsiteX5" fmla="*/ 3985 w 4142"/>
                  <a:gd name="connsiteY5" fmla="*/ 83 h 1039"/>
                  <a:gd name="connsiteX6" fmla="*/ 3958 w 4142"/>
                  <a:gd name="connsiteY6" fmla="*/ 83 h 1039"/>
                  <a:gd name="connsiteX7" fmla="*/ 3892 w 4142"/>
                  <a:gd name="connsiteY7" fmla="*/ 89 h 1039"/>
                  <a:gd name="connsiteX8" fmla="*/ 3830 w 4142"/>
                  <a:gd name="connsiteY8" fmla="*/ 102 h 1039"/>
                  <a:gd name="connsiteX9" fmla="*/ 3774 w 4142"/>
                  <a:gd name="connsiteY9" fmla="*/ 123 h 1039"/>
                  <a:gd name="connsiteX10" fmla="*/ 3723 w 4142"/>
                  <a:gd name="connsiteY10" fmla="*/ 150 h 1039"/>
                  <a:gd name="connsiteX11" fmla="*/ 3675 w 4142"/>
                  <a:gd name="connsiteY11" fmla="*/ 183 h 1039"/>
                  <a:gd name="connsiteX12" fmla="*/ 3632 w 4142"/>
                  <a:gd name="connsiteY12" fmla="*/ 220 h 1039"/>
                  <a:gd name="connsiteX13" fmla="*/ 3593 w 4142"/>
                  <a:gd name="connsiteY13" fmla="*/ 264 h 1039"/>
                  <a:gd name="connsiteX14" fmla="*/ 3553 w 4142"/>
                  <a:gd name="connsiteY14" fmla="*/ 309 h 1039"/>
                  <a:gd name="connsiteX15" fmla="*/ 3518 w 4142"/>
                  <a:gd name="connsiteY15" fmla="*/ 359 h 1039"/>
                  <a:gd name="connsiteX16" fmla="*/ 3485 w 4142"/>
                  <a:gd name="connsiteY16" fmla="*/ 411 h 1039"/>
                  <a:gd name="connsiteX17" fmla="*/ 3423 w 4142"/>
                  <a:gd name="connsiteY17" fmla="*/ 519 h 1039"/>
                  <a:gd name="connsiteX18" fmla="*/ 3330 w 4142"/>
                  <a:gd name="connsiteY18" fmla="*/ 687 h 1039"/>
                  <a:gd name="connsiteX19" fmla="*/ 3297 w 4142"/>
                  <a:gd name="connsiteY19" fmla="*/ 743 h 1039"/>
                  <a:gd name="connsiteX20" fmla="*/ 3262 w 4142"/>
                  <a:gd name="connsiteY20" fmla="*/ 795 h 1039"/>
                  <a:gd name="connsiteX21" fmla="*/ 3227 w 4142"/>
                  <a:gd name="connsiteY21" fmla="*/ 844 h 1039"/>
                  <a:gd name="connsiteX22" fmla="*/ 3188 w 4142"/>
                  <a:gd name="connsiteY22" fmla="*/ 890 h 1039"/>
                  <a:gd name="connsiteX23" fmla="*/ 3147 w 4142"/>
                  <a:gd name="connsiteY23" fmla="*/ 931 h 1039"/>
                  <a:gd name="connsiteX24" fmla="*/ 3101 w 4142"/>
                  <a:gd name="connsiteY24" fmla="*/ 967 h 1039"/>
                  <a:gd name="connsiteX25" fmla="*/ 3052 w 4142"/>
                  <a:gd name="connsiteY25" fmla="*/ 996 h 1039"/>
                  <a:gd name="connsiteX26" fmla="*/ 3000 w 4142"/>
                  <a:gd name="connsiteY26" fmla="*/ 1018 h 1039"/>
                  <a:gd name="connsiteX27" fmla="*/ 2942 w 4142"/>
                  <a:gd name="connsiteY27" fmla="*/ 1033 h 1039"/>
                  <a:gd name="connsiteX28" fmla="*/ 2878 w 4142"/>
                  <a:gd name="connsiteY28" fmla="*/ 1039 h 1039"/>
                  <a:gd name="connsiteX29" fmla="*/ 2870 w 4142"/>
                  <a:gd name="connsiteY29" fmla="*/ 1039 h 1039"/>
                  <a:gd name="connsiteX30" fmla="*/ 2808 w 4142"/>
                  <a:gd name="connsiteY30" fmla="*/ 1035 h 1039"/>
                  <a:gd name="connsiteX31" fmla="*/ 2748 w 4142"/>
                  <a:gd name="connsiteY31" fmla="*/ 1021 h 1039"/>
                  <a:gd name="connsiteX32" fmla="*/ 2695 w 4142"/>
                  <a:gd name="connsiteY32" fmla="*/ 998 h 1039"/>
                  <a:gd name="connsiteX33" fmla="*/ 2643 w 4142"/>
                  <a:gd name="connsiteY33" fmla="*/ 969 h 1039"/>
                  <a:gd name="connsiteX34" fmla="*/ 2595 w 4142"/>
                  <a:gd name="connsiteY34" fmla="*/ 931 h 1039"/>
                  <a:gd name="connsiteX35" fmla="*/ 2552 w 4142"/>
                  <a:gd name="connsiteY35" fmla="*/ 890 h 1039"/>
                  <a:gd name="connsiteX36" fmla="*/ 2509 w 4142"/>
                  <a:gd name="connsiteY36" fmla="*/ 842 h 1039"/>
                  <a:gd name="connsiteX37" fmla="*/ 2469 w 4142"/>
                  <a:gd name="connsiteY37" fmla="*/ 792 h 1039"/>
                  <a:gd name="connsiteX38" fmla="*/ 2430 w 4142"/>
                  <a:gd name="connsiteY38" fmla="*/ 736 h 1039"/>
                  <a:gd name="connsiteX39" fmla="*/ 2393 w 4142"/>
                  <a:gd name="connsiteY39" fmla="*/ 680 h 1039"/>
                  <a:gd name="connsiteX40" fmla="*/ 2288 w 4142"/>
                  <a:gd name="connsiteY40" fmla="*/ 506 h 1039"/>
                  <a:gd name="connsiteX41" fmla="*/ 2251 w 4142"/>
                  <a:gd name="connsiteY41" fmla="*/ 448 h 1039"/>
                  <a:gd name="connsiteX42" fmla="*/ 2213 w 4142"/>
                  <a:gd name="connsiteY42" fmla="*/ 392 h 1039"/>
                  <a:gd name="connsiteX43" fmla="*/ 2176 w 4142"/>
                  <a:gd name="connsiteY43" fmla="*/ 338 h 1039"/>
                  <a:gd name="connsiteX44" fmla="*/ 2137 w 4142"/>
                  <a:gd name="connsiteY44" fmla="*/ 289 h 1039"/>
                  <a:gd name="connsiteX45" fmla="*/ 2096 w 4142"/>
                  <a:gd name="connsiteY45" fmla="*/ 243 h 1039"/>
                  <a:gd name="connsiteX46" fmla="*/ 2054 w 4142"/>
                  <a:gd name="connsiteY46" fmla="*/ 201 h 1039"/>
                  <a:gd name="connsiteX47" fmla="*/ 2009 w 4142"/>
                  <a:gd name="connsiteY47" fmla="*/ 164 h 1039"/>
                  <a:gd name="connsiteX48" fmla="*/ 1962 w 4142"/>
                  <a:gd name="connsiteY48" fmla="*/ 135 h 1039"/>
                  <a:gd name="connsiteX49" fmla="*/ 1910 w 4142"/>
                  <a:gd name="connsiteY49" fmla="*/ 112 h 1039"/>
                  <a:gd name="connsiteX50" fmla="*/ 1854 w 4142"/>
                  <a:gd name="connsiteY50" fmla="*/ 96 h 1039"/>
                  <a:gd name="connsiteX51" fmla="*/ 1796 w 4142"/>
                  <a:gd name="connsiteY51" fmla="*/ 87 h 1039"/>
                  <a:gd name="connsiteX52" fmla="*/ 1732 w 4142"/>
                  <a:gd name="connsiteY52" fmla="*/ 89 h 1039"/>
                  <a:gd name="connsiteX53" fmla="*/ 1664 w 4142"/>
                  <a:gd name="connsiteY53" fmla="*/ 100 h 1039"/>
                  <a:gd name="connsiteX54" fmla="*/ 1602 w 4142"/>
                  <a:gd name="connsiteY54" fmla="*/ 118 h 1039"/>
                  <a:gd name="connsiteX55" fmla="*/ 1545 w 4142"/>
                  <a:gd name="connsiteY55" fmla="*/ 143 h 1039"/>
                  <a:gd name="connsiteX56" fmla="*/ 1491 w 4142"/>
                  <a:gd name="connsiteY56" fmla="*/ 177 h 1039"/>
                  <a:gd name="connsiteX57" fmla="*/ 1439 w 4142"/>
                  <a:gd name="connsiteY57" fmla="*/ 214 h 1039"/>
                  <a:gd name="connsiteX58" fmla="*/ 1394 w 4142"/>
                  <a:gd name="connsiteY58" fmla="*/ 257 h 1039"/>
                  <a:gd name="connsiteX59" fmla="*/ 1348 w 4142"/>
                  <a:gd name="connsiteY59" fmla="*/ 303 h 1039"/>
                  <a:gd name="connsiteX60" fmla="*/ 1307 w 4142"/>
                  <a:gd name="connsiteY60" fmla="*/ 355 h 1039"/>
                  <a:gd name="connsiteX61" fmla="*/ 1268 w 4142"/>
                  <a:gd name="connsiteY61" fmla="*/ 409 h 1039"/>
                  <a:gd name="connsiteX62" fmla="*/ 1231 w 4142"/>
                  <a:gd name="connsiteY62" fmla="*/ 463 h 1039"/>
                  <a:gd name="connsiteX63" fmla="*/ 1194 w 4142"/>
                  <a:gd name="connsiteY63" fmla="*/ 519 h 1039"/>
                  <a:gd name="connsiteX64" fmla="*/ 1156 w 4142"/>
                  <a:gd name="connsiteY64" fmla="*/ 577 h 1039"/>
                  <a:gd name="connsiteX65" fmla="*/ 1121 w 4142"/>
                  <a:gd name="connsiteY65" fmla="*/ 633 h 1039"/>
                  <a:gd name="connsiteX66" fmla="*/ 1047 w 4142"/>
                  <a:gd name="connsiteY66" fmla="*/ 745 h 1039"/>
                  <a:gd name="connsiteX67" fmla="*/ 1008 w 4142"/>
                  <a:gd name="connsiteY67" fmla="*/ 797 h 1039"/>
                  <a:gd name="connsiteX68" fmla="*/ 966 w 4142"/>
                  <a:gd name="connsiteY68" fmla="*/ 846 h 1039"/>
                  <a:gd name="connsiteX69" fmla="*/ 923 w 4142"/>
                  <a:gd name="connsiteY69" fmla="*/ 892 h 1039"/>
                  <a:gd name="connsiteX70" fmla="*/ 876 w 4142"/>
                  <a:gd name="connsiteY70" fmla="*/ 933 h 1039"/>
                  <a:gd name="connsiteX71" fmla="*/ 826 w 4142"/>
                  <a:gd name="connsiteY71" fmla="*/ 969 h 1039"/>
                  <a:gd name="connsiteX72" fmla="*/ 772 w 4142"/>
                  <a:gd name="connsiteY72" fmla="*/ 998 h 1039"/>
                  <a:gd name="connsiteX73" fmla="*/ 717 w 4142"/>
                  <a:gd name="connsiteY73" fmla="*/ 1021 h 1039"/>
                  <a:gd name="connsiteX74" fmla="*/ 653 w 4142"/>
                  <a:gd name="connsiteY74" fmla="*/ 1033 h 1039"/>
                  <a:gd name="connsiteX75" fmla="*/ 587 w 4142"/>
                  <a:gd name="connsiteY75" fmla="*/ 1039 h 1039"/>
                  <a:gd name="connsiteX76" fmla="*/ 580 w 4142"/>
                  <a:gd name="connsiteY76" fmla="*/ 1039 h 1039"/>
                  <a:gd name="connsiteX77" fmla="*/ 512 w 4142"/>
                  <a:gd name="connsiteY77" fmla="*/ 1035 h 1039"/>
                  <a:gd name="connsiteX78" fmla="*/ 450 w 4142"/>
                  <a:gd name="connsiteY78" fmla="*/ 1023 h 1039"/>
                  <a:gd name="connsiteX79" fmla="*/ 392 w 4142"/>
                  <a:gd name="connsiteY79" fmla="*/ 1004 h 1039"/>
                  <a:gd name="connsiteX80" fmla="*/ 341 w 4142"/>
                  <a:gd name="connsiteY80" fmla="*/ 979 h 1039"/>
                  <a:gd name="connsiteX81" fmla="*/ 293 w 4142"/>
                  <a:gd name="connsiteY81" fmla="*/ 948 h 1039"/>
                  <a:gd name="connsiteX82" fmla="*/ 248 w 4142"/>
                  <a:gd name="connsiteY82" fmla="*/ 911 h 1039"/>
                  <a:gd name="connsiteX83" fmla="*/ 207 w 4142"/>
                  <a:gd name="connsiteY83" fmla="*/ 869 h 1039"/>
                  <a:gd name="connsiteX84" fmla="*/ 169 w 4142"/>
                  <a:gd name="connsiteY84" fmla="*/ 824 h 1039"/>
                  <a:gd name="connsiteX85" fmla="*/ 132 w 4142"/>
                  <a:gd name="connsiteY85" fmla="*/ 776 h 1039"/>
                  <a:gd name="connsiteX86" fmla="*/ 99 w 4142"/>
                  <a:gd name="connsiteY86" fmla="*/ 724 h 1039"/>
                  <a:gd name="connsiteX87" fmla="*/ 64 w 4142"/>
                  <a:gd name="connsiteY87" fmla="*/ 670 h 1039"/>
                  <a:gd name="connsiteX88" fmla="*/ 33 w 4142"/>
                  <a:gd name="connsiteY88" fmla="*/ 614 h 1039"/>
                  <a:gd name="connsiteX89" fmla="*/ 0 w 4142"/>
                  <a:gd name="connsiteY89" fmla="*/ 556 h 1039"/>
                  <a:gd name="connsiteX90" fmla="*/ 77 w 4142"/>
                  <a:gd name="connsiteY90" fmla="*/ 512 h 1039"/>
                  <a:gd name="connsiteX91" fmla="*/ 110 w 4142"/>
                  <a:gd name="connsiteY91" fmla="*/ 571 h 1039"/>
                  <a:gd name="connsiteX92" fmla="*/ 143 w 4142"/>
                  <a:gd name="connsiteY92" fmla="*/ 627 h 1039"/>
                  <a:gd name="connsiteX93" fmla="*/ 176 w 4142"/>
                  <a:gd name="connsiteY93" fmla="*/ 680 h 1039"/>
                  <a:gd name="connsiteX94" fmla="*/ 209 w 4142"/>
                  <a:gd name="connsiteY94" fmla="*/ 732 h 1039"/>
                  <a:gd name="connsiteX95" fmla="*/ 244 w 4142"/>
                  <a:gd name="connsiteY95" fmla="*/ 778 h 1039"/>
                  <a:gd name="connsiteX96" fmla="*/ 281 w 4142"/>
                  <a:gd name="connsiteY96" fmla="*/ 821 h 1039"/>
                  <a:gd name="connsiteX97" fmla="*/ 322 w 4142"/>
                  <a:gd name="connsiteY97" fmla="*/ 859 h 1039"/>
                  <a:gd name="connsiteX98" fmla="*/ 366 w 4142"/>
                  <a:gd name="connsiteY98" fmla="*/ 890 h 1039"/>
                  <a:gd name="connsiteX99" fmla="*/ 413 w 4142"/>
                  <a:gd name="connsiteY99" fmla="*/ 917 h 1039"/>
                  <a:gd name="connsiteX100" fmla="*/ 463 w 4142"/>
                  <a:gd name="connsiteY100" fmla="*/ 936 h 1039"/>
                  <a:gd name="connsiteX101" fmla="*/ 518 w 4142"/>
                  <a:gd name="connsiteY101" fmla="*/ 948 h 1039"/>
                  <a:gd name="connsiteX102" fmla="*/ 580 w 4142"/>
                  <a:gd name="connsiteY102" fmla="*/ 952 h 1039"/>
                  <a:gd name="connsiteX103" fmla="*/ 587 w 4142"/>
                  <a:gd name="connsiteY103" fmla="*/ 952 h 1039"/>
                  <a:gd name="connsiteX104" fmla="*/ 646 w 4142"/>
                  <a:gd name="connsiteY104" fmla="*/ 946 h 1039"/>
                  <a:gd name="connsiteX105" fmla="*/ 702 w 4142"/>
                  <a:gd name="connsiteY105" fmla="*/ 931 h 1039"/>
                  <a:gd name="connsiteX106" fmla="*/ 756 w 4142"/>
                  <a:gd name="connsiteY106" fmla="*/ 909 h 1039"/>
                  <a:gd name="connsiteX107" fmla="*/ 803 w 4142"/>
                  <a:gd name="connsiteY107" fmla="*/ 880 h 1039"/>
                  <a:gd name="connsiteX108" fmla="*/ 849 w 4142"/>
                  <a:gd name="connsiteY108" fmla="*/ 842 h 1039"/>
                  <a:gd name="connsiteX109" fmla="*/ 892 w 4142"/>
                  <a:gd name="connsiteY109" fmla="*/ 799 h 1039"/>
                  <a:gd name="connsiteX110" fmla="*/ 931 w 4142"/>
                  <a:gd name="connsiteY110" fmla="*/ 751 h 1039"/>
                  <a:gd name="connsiteX111" fmla="*/ 971 w 4142"/>
                  <a:gd name="connsiteY111" fmla="*/ 699 h 1039"/>
                  <a:gd name="connsiteX112" fmla="*/ 1010 w 4142"/>
                  <a:gd name="connsiteY112" fmla="*/ 645 h 1039"/>
                  <a:gd name="connsiteX113" fmla="*/ 1121 w 4142"/>
                  <a:gd name="connsiteY113" fmla="*/ 471 h 1039"/>
                  <a:gd name="connsiteX114" fmla="*/ 1161 w 4142"/>
                  <a:gd name="connsiteY114" fmla="*/ 411 h 1039"/>
                  <a:gd name="connsiteX115" fmla="*/ 1202 w 4142"/>
                  <a:gd name="connsiteY115" fmla="*/ 353 h 1039"/>
                  <a:gd name="connsiteX116" fmla="*/ 1245 w 4142"/>
                  <a:gd name="connsiteY116" fmla="*/ 295 h 1039"/>
                  <a:gd name="connsiteX117" fmla="*/ 1291 w 4142"/>
                  <a:gd name="connsiteY117" fmla="*/ 241 h 1039"/>
                  <a:gd name="connsiteX118" fmla="*/ 1338 w 4142"/>
                  <a:gd name="connsiteY118" fmla="*/ 189 h 1039"/>
                  <a:gd name="connsiteX119" fmla="*/ 1392 w 4142"/>
                  <a:gd name="connsiteY119" fmla="*/ 141 h 1039"/>
                  <a:gd name="connsiteX120" fmla="*/ 1447 w 4142"/>
                  <a:gd name="connsiteY120" fmla="*/ 100 h 1039"/>
                  <a:gd name="connsiteX121" fmla="*/ 1509 w 4142"/>
                  <a:gd name="connsiteY121" fmla="*/ 65 h 1039"/>
                  <a:gd name="connsiteX122" fmla="*/ 1575 w 4142"/>
                  <a:gd name="connsiteY122" fmla="*/ 36 h 1039"/>
                  <a:gd name="connsiteX123" fmla="*/ 1648 w 4142"/>
                  <a:gd name="connsiteY123" fmla="*/ 15 h 1039"/>
                  <a:gd name="connsiteX124" fmla="*/ 1726 w 4142"/>
                  <a:gd name="connsiteY124" fmla="*/ 2 h 1039"/>
                  <a:gd name="connsiteX125" fmla="*/ 1796 w 4142"/>
                  <a:gd name="connsiteY125" fmla="*/ 0 h 1039"/>
                  <a:gd name="connsiteX126" fmla="*/ 1862 w 4142"/>
                  <a:gd name="connsiteY126" fmla="*/ 9 h 1039"/>
                  <a:gd name="connsiteX127" fmla="*/ 1922 w 4142"/>
                  <a:gd name="connsiteY127" fmla="*/ 23 h 1039"/>
                  <a:gd name="connsiteX128" fmla="*/ 1980 w 4142"/>
                  <a:gd name="connsiteY128" fmla="*/ 46 h 1039"/>
                  <a:gd name="connsiteX129" fmla="*/ 2034 w 4142"/>
                  <a:gd name="connsiteY129" fmla="*/ 77 h 1039"/>
                  <a:gd name="connsiteX130" fmla="*/ 2083 w 4142"/>
                  <a:gd name="connsiteY130" fmla="*/ 112 h 1039"/>
                  <a:gd name="connsiteX131" fmla="*/ 2129 w 4142"/>
                  <a:gd name="connsiteY131" fmla="*/ 154 h 1039"/>
                  <a:gd name="connsiteX132" fmla="*/ 2174 w 4142"/>
                  <a:gd name="connsiteY132" fmla="*/ 199 h 1039"/>
                  <a:gd name="connsiteX133" fmla="*/ 2216 w 4142"/>
                  <a:gd name="connsiteY133" fmla="*/ 247 h 1039"/>
                  <a:gd name="connsiteX134" fmla="*/ 2255 w 4142"/>
                  <a:gd name="connsiteY134" fmla="*/ 299 h 1039"/>
                  <a:gd name="connsiteX135" fmla="*/ 2292 w 4142"/>
                  <a:gd name="connsiteY135" fmla="*/ 353 h 1039"/>
                  <a:gd name="connsiteX136" fmla="*/ 2327 w 4142"/>
                  <a:gd name="connsiteY136" fmla="*/ 409 h 1039"/>
                  <a:gd name="connsiteX137" fmla="*/ 2362 w 4142"/>
                  <a:gd name="connsiteY137" fmla="*/ 463 h 1039"/>
                  <a:gd name="connsiteX138" fmla="*/ 2395 w 4142"/>
                  <a:gd name="connsiteY138" fmla="*/ 519 h 1039"/>
                  <a:gd name="connsiteX139" fmla="*/ 2432 w 4142"/>
                  <a:gd name="connsiteY139" fmla="*/ 581 h 1039"/>
                  <a:gd name="connsiteX140" fmla="*/ 2469 w 4142"/>
                  <a:gd name="connsiteY140" fmla="*/ 639 h 1039"/>
                  <a:gd name="connsiteX141" fmla="*/ 2509 w 4142"/>
                  <a:gd name="connsiteY141" fmla="*/ 697 h 1039"/>
                  <a:gd name="connsiteX142" fmla="*/ 2546 w 4142"/>
                  <a:gd name="connsiteY142" fmla="*/ 751 h 1039"/>
                  <a:gd name="connsiteX143" fmla="*/ 2587 w 4142"/>
                  <a:gd name="connsiteY143" fmla="*/ 801 h 1039"/>
                  <a:gd name="connsiteX144" fmla="*/ 2628 w 4142"/>
                  <a:gd name="connsiteY144" fmla="*/ 844 h 1039"/>
                  <a:gd name="connsiteX145" fmla="*/ 2672 w 4142"/>
                  <a:gd name="connsiteY145" fmla="*/ 882 h 1039"/>
                  <a:gd name="connsiteX146" fmla="*/ 2717 w 4142"/>
                  <a:gd name="connsiteY146" fmla="*/ 913 h 1039"/>
                  <a:gd name="connsiteX147" fmla="*/ 2767 w 4142"/>
                  <a:gd name="connsiteY147" fmla="*/ 936 h 1039"/>
                  <a:gd name="connsiteX148" fmla="*/ 2820 w 4142"/>
                  <a:gd name="connsiteY148" fmla="*/ 948 h 1039"/>
                  <a:gd name="connsiteX149" fmla="*/ 2876 w 4142"/>
                  <a:gd name="connsiteY149" fmla="*/ 952 h 1039"/>
                  <a:gd name="connsiteX150" fmla="*/ 2932 w 4142"/>
                  <a:gd name="connsiteY150" fmla="*/ 946 h 1039"/>
                  <a:gd name="connsiteX151" fmla="*/ 2982 w 4142"/>
                  <a:gd name="connsiteY151" fmla="*/ 931 h 1039"/>
                  <a:gd name="connsiteX152" fmla="*/ 3029 w 4142"/>
                  <a:gd name="connsiteY152" fmla="*/ 911 h 1039"/>
                  <a:gd name="connsiteX153" fmla="*/ 3072 w 4142"/>
                  <a:gd name="connsiteY153" fmla="*/ 880 h 1039"/>
                  <a:gd name="connsiteX154" fmla="*/ 3112 w 4142"/>
                  <a:gd name="connsiteY154" fmla="*/ 844 h 1039"/>
                  <a:gd name="connsiteX155" fmla="*/ 3149 w 4142"/>
                  <a:gd name="connsiteY155" fmla="*/ 803 h 1039"/>
                  <a:gd name="connsiteX0" fmla="*/ 3149 w 4292"/>
                  <a:gd name="connsiteY0" fmla="*/ 803 h 1039"/>
                  <a:gd name="connsiteX1" fmla="*/ 4142 w 4292"/>
                  <a:gd name="connsiteY1" fmla="*/ 131 h 1039"/>
                  <a:gd name="connsiteX2" fmla="*/ 4049 w 4292"/>
                  <a:gd name="connsiteY2" fmla="*/ 94 h 1039"/>
                  <a:gd name="connsiteX3" fmla="*/ 4014 w 4292"/>
                  <a:gd name="connsiteY3" fmla="*/ 85 h 1039"/>
                  <a:gd name="connsiteX4" fmla="*/ 3985 w 4292"/>
                  <a:gd name="connsiteY4" fmla="*/ 83 h 1039"/>
                  <a:gd name="connsiteX5" fmla="*/ 3958 w 4292"/>
                  <a:gd name="connsiteY5" fmla="*/ 83 h 1039"/>
                  <a:gd name="connsiteX6" fmla="*/ 3892 w 4292"/>
                  <a:gd name="connsiteY6" fmla="*/ 89 h 1039"/>
                  <a:gd name="connsiteX7" fmla="*/ 3830 w 4292"/>
                  <a:gd name="connsiteY7" fmla="*/ 102 h 1039"/>
                  <a:gd name="connsiteX8" fmla="*/ 3774 w 4292"/>
                  <a:gd name="connsiteY8" fmla="*/ 123 h 1039"/>
                  <a:gd name="connsiteX9" fmla="*/ 3723 w 4292"/>
                  <a:gd name="connsiteY9" fmla="*/ 150 h 1039"/>
                  <a:gd name="connsiteX10" fmla="*/ 3675 w 4292"/>
                  <a:gd name="connsiteY10" fmla="*/ 183 h 1039"/>
                  <a:gd name="connsiteX11" fmla="*/ 3632 w 4292"/>
                  <a:gd name="connsiteY11" fmla="*/ 220 h 1039"/>
                  <a:gd name="connsiteX12" fmla="*/ 3593 w 4292"/>
                  <a:gd name="connsiteY12" fmla="*/ 264 h 1039"/>
                  <a:gd name="connsiteX13" fmla="*/ 3553 w 4292"/>
                  <a:gd name="connsiteY13" fmla="*/ 309 h 1039"/>
                  <a:gd name="connsiteX14" fmla="*/ 3518 w 4292"/>
                  <a:gd name="connsiteY14" fmla="*/ 359 h 1039"/>
                  <a:gd name="connsiteX15" fmla="*/ 3485 w 4292"/>
                  <a:gd name="connsiteY15" fmla="*/ 411 h 1039"/>
                  <a:gd name="connsiteX16" fmla="*/ 3423 w 4292"/>
                  <a:gd name="connsiteY16" fmla="*/ 519 h 1039"/>
                  <a:gd name="connsiteX17" fmla="*/ 3330 w 4292"/>
                  <a:gd name="connsiteY17" fmla="*/ 687 h 1039"/>
                  <a:gd name="connsiteX18" fmla="*/ 3297 w 4292"/>
                  <a:gd name="connsiteY18" fmla="*/ 743 h 1039"/>
                  <a:gd name="connsiteX19" fmla="*/ 3262 w 4292"/>
                  <a:gd name="connsiteY19" fmla="*/ 795 h 1039"/>
                  <a:gd name="connsiteX20" fmla="*/ 3227 w 4292"/>
                  <a:gd name="connsiteY20" fmla="*/ 844 h 1039"/>
                  <a:gd name="connsiteX21" fmla="*/ 3188 w 4292"/>
                  <a:gd name="connsiteY21" fmla="*/ 890 h 1039"/>
                  <a:gd name="connsiteX22" fmla="*/ 3147 w 4292"/>
                  <a:gd name="connsiteY22" fmla="*/ 931 h 1039"/>
                  <a:gd name="connsiteX23" fmla="*/ 3101 w 4292"/>
                  <a:gd name="connsiteY23" fmla="*/ 967 h 1039"/>
                  <a:gd name="connsiteX24" fmla="*/ 3052 w 4292"/>
                  <a:gd name="connsiteY24" fmla="*/ 996 h 1039"/>
                  <a:gd name="connsiteX25" fmla="*/ 3000 w 4292"/>
                  <a:gd name="connsiteY25" fmla="*/ 1018 h 1039"/>
                  <a:gd name="connsiteX26" fmla="*/ 2942 w 4292"/>
                  <a:gd name="connsiteY26" fmla="*/ 1033 h 1039"/>
                  <a:gd name="connsiteX27" fmla="*/ 2878 w 4292"/>
                  <a:gd name="connsiteY27" fmla="*/ 1039 h 1039"/>
                  <a:gd name="connsiteX28" fmla="*/ 2870 w 4292"/>
                  <a:gd name="connsiteY28" fmla="*/ 1039 h 1039"/>
                  <a:gd name="connsiteX29" fmla="*/ 2808 w 4292"/>
                  <a:gd name="connsiteY29" fmla="*/ 1035 h 1039"/>
                  <a:gd name="connsiteX30" fmla="*/ 2748 w 4292"/>
                  <a:gd name="connsiteY30" fmla="*/ 1021 h 1039"/>
                  <a:gd name="connsiteX31" fmla="*/ 2695 w 4292"/>
                  <a:gd name="connsiteY31" fmla="*/ 998 h 1039"/>
                  <a:gd name="connsiteX32" fmla="*/ 2643 w 4292"/>
                  <a:gd name="connsiteY32" fmla="*/ 969 h 1039"/>
                  <a:gd name="connsiteX33" fmla="*/ 2595 w 4292"/>
                  <a:gd name="connsiteY33" fmla="*/ 931 h 1039"/>
                  <a:gd name="connsiteX34" fmla="*/ 2552 w 4292"/>
                  <a:gd name="connsiteY34" fmla="*/ 890 h 1039"/>
                  <a:gd name="connsiteX35" fmla="*/ 2509 w 4292"/>
                  <a:gd name="connsiteY35" fmla="*/ 842 h 1039"/>
                  <a:gd name="connsiteX36" fmla="*/ 2469 w 4292"/>
                  <a:gd name="connsiteY36" fmla="*/ 792 h 1039"/>
                  <a:gd name="connsiteX37" fmla="*/ 2430 w 4292"/>
                  <a:gd name="connsiteY37" fmla="*/ 736 h 1039"/>
                  <a:gd name="connsiteX38" fmla="*/ 2393 w 4292"/>
                  <a:gd name="connsiteY38" fmla="*/ 680 h 1039"/>
                  <a:gd name="connsiteX39" fmla="*/ 2288 w 4292"/>
                  <a:gd name="connsiteY39" fmla="*/ 506 h 1039"/>
                  <a:gd name="connsiteX40" fmla="*/ 2251 w 4292"/>
                  <a:gd name="connsiteY40" fmla="*/ 448 h 1039"/>
                  <a:gd name="connsiteX41" fmla="*/ 2213 w 4292"/>
                  <a:gd name="connsiteY41" fmla="*/ 392 h 1039"/>
                  <a:gd name="connsiteX42" fmla="*/ 2176 w 4292"/>
                  <a:gd name="connsiteY42" fmla="*/ 338 h 1039"/>
                  <a:gd name="connsiteX43" fmla="*/ 2137 w 4292"/>
                  <a:gd name="connsiteY43" fmla="*/ 289 h 1039"/>
                  <a:gd name="connsiteX44" fmla="*/ 2096 w 4292"/>
                  <a:gd name="connsiteY44" fmla="*/ 243 h 1039"/>
                  <a:gd name="connsiteX45" fmla="*/ 2054 w 4292"/>
                  <a:gd name="connsiteY45" fmla="*/ 201 h 1039"/>
                  <a:gd name="connsiteX46" fmla="*/ 2009 w 4292"/>
                  <a:gd name="connsiteY46" fmla="*/ 164 h 1039"/>
                  <a:gd name="connsiteX47" fmla="*/ 1962 w 4292"/>
                  <a:gd name="connsiteY47" fmla="*/ 135 h 1039"/>
                  <a:gd name="connsiteX48" fmla="*/ 1910 w 4292"/>
                  <a:gd name="connsiteY48" fmla="*/ 112 h 1039"/>
                  <a:gd name="connsiteX49" fmla="*/ 1854 w 4292"/>
                  <a:gd name="connsiteY49" fmla="*/ 96 h 1039"/>
                  <a:gd name="connsiteX50" fmla="*/ 1796 w 4292"/>
                  <a:gd name="connsiteY50" fmla="*/ 87 h 1039"/>
                  <a:gd name="connsiteX51" fmla="*/ 1732 w 4292"/>
                  <a:gd name="connsiteY51" fmla="*/ 89 h 1039"/>
                  <a:gd name="connsiteX52" fmla="*/ 1664 w 4292"/>
                  <a:gd name="connsiteY52" fmla="*/ 100 h 1039"/>
                  <a:gd name="connsiteX53" fmla="*/ 1602 w 4292"/>
                  <a:gd name="connsiteY53" fmla="*/ 118 h 1039"/>
                  <a:gd name="connsiteX54" fmla="*/ 1545 w 4292"/>
                  <a:gd name="connsiteY54" fmla="*/ 143 h 1039"/>
                  <a:gd name="connsiteX55" fmla="*/ 1491 w 4292"/>
                  <a:gd name="connsiteY55" fmla="*/ 177 h 1039"/>
                  <a:gd name="connsiteX56" fmla="*/ 1439 w 4292"/>
                  <a:gd name="connsiteY56" fmla="*/ 214 h 1039"/>
                  <a:gd name="connsiteX57" fmla="*/ 1394 w 4292"/>
                  <a:gd name="connsiteY57" fmla="*/ 257 h 1039"/>
                  <a:gd name="connsiteX58" fmla="*/ 1348 w 4292"/>
                  <a:gd name="connsiteY58" fmla="*/ 303 h 1039"/>
                  <a:gd name="connsiteX59" fmla="*/ 1307 w 4292"/>
                  <a:gd name="connsiteY59" fmla="*/ 355 h 1039"/>
                  <a:gd name="connsiteX60" fmla="*/ 1268 w 4292"/>
                  <a:gd name="connsiteY60" fmla="*/ 409 h 1039"/>
                  <a:gd name="connsiteX61" fmla="*/ 1231 w 4292"/>
                  <a:gd name="connsiteY61" fmla="*/ 463 h 1039"/>
                  <a:gd name="connsiteX62" fmla="*/ 1194 w 4292"/>
                  <a:gd name="connsiteY62" fmla="*/ 519 h 1039"/>
                  <a:gd name="connsiteX63" fmla="*/ 1156 w 4292"/>
                  <a:gd name="connsiteY63" fmla="*/ 577 h 1039"/>
                  <a:gd name="connsiteX64" fmla="*/ 1121 w 4292"/>
                  <a:gd name="connsiteY64" fmla="*/ 633 h 1039"/>
                  <a:gd name="connsiteX65" fmla="*/ 1047 w 4292"/>
                  <a:gd name="connsiteY65" fmla="*/ 745 h 1039"/>
                  <a:gd name="connsiteX66" fmla="*/ 1008 w 4292"/>
                  <a:gd name="connsiteY66" fmla="*/ 797 h 1039"/>
                  <a:gd name="connsiteX67" fmla="*/ 966 w 4292"/>
                  <a:gd name="connsiteY67" fmla="*/ 846 h 1039"/>
                  <a:gd name="connsiteX68" fmla="*/ 923 w 4292"/>
                  <a:gd name="connsiteY68" fmla="*/ 892 h 1039"/>
                  <a:gd name="connsiteX69" fmla="*/ 876 w 4292"/>
                  <a:gd name="connsiteY69" fmla="*/ 933 h 1039"/>
                  <a:gd name="connsiteX70" fmla="*/ 826 w 4292"/>
                  <a:gd name="connsiteY70" fmla="*/ 969 h 1039"/>
                  <a:gd name="connsiteX71" fmla="*/ 772 w 4292"/>
                  <a:gd name="connsiteY71" fmla="*/ 998 h 1039"/>
                  <a:gd name="connsiteX72" fmla="*/ 717 w 4292"/>
                  <a:gd name="connsiteY72" fmla="*/ 1021 h 1039"/>
                  <a:gd name="connsiteX73" fmla="*/ 653 w 4292"/>
                  <a:gd name="connsiteY73" fmla="*/ 1033 h 1039"/>
                  <a:gd name="connsiteX74" fmla="*/ 587 w 4292"/>
                  <a:gd name="connsiteY74" fmla="*/ 1039 h 1039"/>
                  <a:gd name="connsiteX75" fmla="*/ 580 w 4292"/>
                  <a:gd name="connsiteY75" fmla="*/ 1039 h 1039"/>
                  <a:gd name="connsiteX76" fmla="*/ 512 w 4292"/>
                  <a:gd name="connsiteY76" fmla="*/ 1035 h 1039"/>
                  <a:gd name="connsiteX77" fmla="*/ 450 w 4292"/>
                  <a:gd name="connsiteY77" fmla="*/ 1023 h 1039"/>
                  <a:gd name="connsiteX78" fmla="*/ 392 w 4292"/>
                  <a:gd name="connsiteY78" fmla="*/ 1004 h 1039"/>
                  <a:gd name="connsiteX79" fmla="*/ 341 w 4292"/>
                  <a:gd name="connsiteY79" fmla="*/ 979 h 1039"/>
                  <a:gd name="connsiteX80" fmla="*/ 293 w 4292"/>
                  <a:gd name="connsiteY80" fmla="*/ 948 h 1039"/>
                  <a:gd name="connsiteX81" fmla="*/ 248 w 4292"/>
                  <a:gd name="connsiteY81" fmla="*/ 911 h 1039"/>
                  <a:gd name="connsiteX82" fmla="*/ 207 w 4292"/>
                  <a:gd name="connsiteY82" fmla="*/ 869 h 1039"/>
                  <a:gd name="connsiteX83" fmla="*/ 169 w 4292"/>
                  <a:gd name="connsiteY83" fmla="*/ 824 h 1039"/>
                  <a:gd name="connsiteX84" fmla="*/ 132 w 4292"/>
                  <a:gd name="connsiteY84" fmla="*/ 776 h 1039"/>
                  <a:gd name="connsiteX85" fmla="*/ 99 w 4292"/>
                  <a:gd name="connsiteY85" fmla="*/ 724 h 1039"/>
                  <a:gd name="connsiteX86" fmla="*/ 64 w 4292"/>
                  <a:gd name="connsiteY86" fmla="*/ 670 h 1039"/>
                  <a:gd name="connsiteX87" fmla="*/ 33 w 4292"/>
                  <a:gd name="connsiteY87" fmla="*/ 614 h 1039"/>
                  <a:gd name="connsiteX88" fmla="*/ 0 w 4292"/>
                  <a:gd name="connsiteY88" fmla="*/ 556 h 1039"/>
                  <a:gd name="connsiteX89" fmla="*/ 77 w 4292"/>
                  <a:gd name="connsiteY89" fmla="*/ 512 h 1039"/>
                  <a:gd name="connsiteX90" fmla="*/ 110 w 4292"/>
                  <a:gd name="connsiteY90" fmla="*/ 571 h 1039"/>
                  <a:gd name="connsiteX91" fmla="*/ 143 w 4292"/>
                  <a:gd name="connsiteY91" fmla="*/ 627 h 1039"/>
                  <a:gd name="connsiteX92" fmla="*/ 176 w 4292"/>
                  <a:gd name="connsiteY92" fmla="*/ 680 h 1039"/>
                  <a:gd name="connsiteX93" fmla="*/ 209 w 4292"/>
                  <a:gd name="connsiteY93" fmla="*/ 732 h 1039"/>
                  <a:gd name="connsiteX94" fmla="*/ 244 w 4292"/>
                  <a:gd name="connsiteY94" fmla="*/ 778 h 1039"/>
                  <a:gd name="connsiteX95" fmla="*/ 281 w 4292"/>
                  <a:gd name="connsiteY95" fmla="*/ 821 h 1039"/>
                  <a:gd name="connsiteX96" fmla="*/ 322 w 4292"/>
                  <a:gd name="connsiteY96" fmla="*/ 859 h 1039"/>
                  <a:gd name="connsiteX97" fmla="*/ 366 w 4292"/>
                  <a:gd name="connsiteY97" fmla="*/ 890 h 1039"/>
                  <a:gd name="connsiteX98" fmla="*/ 413 w 4292"/>
                  <a:gd name="connsiteY98" fmla="*/ 917 h 1039"/>
                  <a:gd name="connsiteX99" fmla="*/ 463 w 4292"/>
                  <a:gd name="connsiteY99" fmla="*/ 936 h 1039"/>
                  <a:gd name="connsiteX100" fmla="*/ 518 w 4292"/>
                  <a:gd name="connsiteY100" fmla="*/ 948 h 1039"/>
                  <a:gd name="connsiteX101" fmla="*/ 580 w 4292"/>
                  <a:gd name="connsiteY101" fmla="*/ 952 h 1039"/>
                  <a:gd name="connsiteX102" fmla="*/ 587 w 4292"/>
                  <a:gd name="connsiteY102" fmla="*/ 952 h 1039"/>
                  <a:gd name="connsiteX103" fmla="*/ 646 w 4292"/>
                  <a:gd name="connsiteY103" fmla="*/ 946 h 1039"/>
                  <a:gd name="connsiteX104" fmla="*/ 702 w 4292"/>
                  <a:gd name="connsiteY104" fmla="*/ 931 h 1039"/>
                  <a:gd name="connsiteX105" fmla="*/ 756 w 4292"/>
                  <a:gd name="connsiteY105" fmla="*/ 909 h 1039"/>
                  <a:gd name="connsiteX106" fmla="*/ 803 w 4292"/>
                  <a:gd name="connsiteY106" fmla="*/ 880 h 1039"/>
                  <a:gd name="connsiteX107" fmla="*/ 849 w 4292"/>
                  <a:gd name="connsiteY107" fmla="*/ 842 h 1039"/>
                  <a:gd name="connsiteX108" fmla="*/ 892 w 4292"/>
                  <a:gd name="connsiteY108" fmla="*/ 799 h 1039"/>
                  <a:gd name="connsiteX109" fmla="*/ 931 w 4292"/>
                  <a:gd name="connsiteY109" fmla="*/ 751 h 1039"/>
                  <a:gd name="connsiteX110" fmla="*/ 971 w 4292"/>
                  <a:gd name="connsiteY110" fmla="*/ 699 h 1039"/>
                  <a:gd name="connsiteX111" fmla="*/ 1010 w 4292"/>
                  <a:gd name="connsiteY111" fmla="*/ 645 h 1039"/>
                  <a:gd name="connsiteX112" fmla="*/ 1121 w 4292"/>
                  <a:gd name="connsiteY112" fmla="*/ 471 h 1039"/>
                  <a:gd name="connsiteX113" fmla="*/ 1161 w 4292"/>
                  <a:gd name="connsiteY113" fmla="*/ 411 h 1039"/>
                  <a:gd name="connsiteX114" fmla="*/ 1202 w 4292"/>
                  <a:gd name="connsiteY114" fmla="*/ 353 h 1039"/>
                  <a:gd name="connsiteX115" fmla="*/ 1245 w 4292"/>
                  <a:gd name="connsiteY115" fmla="*/ 295 h 1039"/>
                  <a:gd name="connsiteX116" fmla="*/ 1291 w 4292"/>
                  <a:gd name="connsiteY116" fmla="*/ 241 h 1039"/>
                  <a:gd name="connsiteX117" fmla="*/ 1338 w 4292"/>
                  <a:gd name="connsiteY117" fmla="*/ 189 h 1039"/>
                  <a:gd name="connsiteX118" fmla="*/ 1392 w 4292"/>
                  <a:gd name="connsiteY118" fmla="*/ 141 h 1039"/>
                  <a:gd name="connsiteX119" fmla="*/ 1447 w 4292"/>
                  <a:gd name="connsiteY119" fmla="*/ 100 h 1039"/>
                  <a:gd name="connsiteX120" fmla="*/ 1509 w 4292"/>
                  <a:gd name="connsiteY120" fmla="*/ 65 h 1039"/>
                  <a:gd name="connsiteX121" fmla="*/ 1575 w 4292"/>
                  <a:gd name="connsiteY121" fmla="*/ 36 h 1039"/>
                  <a:gd name="connsiteX122" fmla="*/ 1648 w 4292"/>
                  <a:gd name="connsiteY122" fmla="*/ 15 h 1039"/>
                  <a:gd name="connsiteX123" fmla="*/ 1726 w 4292"/>
                  <a:gd name="connsiteY123" fmla="*/ 2 h 1039"/>
                  <a:gd name="connsiteX124" fmla="*/ 1796 w 4292"/>
                  <a:gd name="connsiteY124" fmla="*/ 0 h 1039"/>
                  <a:gd name="connsiteX125" fmla="*/ 1862 w 4292"/>
                  <a:gd name="connsiteY125" fmla="*/ 9 h 1039"/>
                  <a:gd name="connsiteX126" fmla="*/ 1922 w 4292"/>
                  <a:gd name="connsiteY126" fmla="*/ 23 h 1039"/>
                  <a:gd name="connsiteX127" fmla="*/ 1980 w 4292"/>
                  <a:gd name="connsiteY127" fmla="*/ 46 h 1039"/>
                  <a:gd name="connsiteX128" fmla="*/ 2034 w 4292"/>
                  <a:gd name="connsiteY128" fmla="*/ 77 h 1039"/>
                  <a:gd name="connsiteX129" fmla="*/ 2083 w 4292"/>
                  <a:gd name="connsiteY129" fmla="*/ 112 h 1039"/>
                  <a:gd name="connsiteX130" fmla="*/ 2129 w 4292"/>
                  <a:gd name="connsiteY130" fmla="*/ 154 h 1039"/>
                  <a:gd name="connsiteX131" fmla="*/ 2174 w 4292"/>
                  <a:gd name="connsiteY131" fmla="*/ 199 h 1039"/>
                  <a:gd name="connsiteX132" fmla="*/ 2216 w 4292"/>
                  <a:gd name="connsiteY132" fmla="*/ 247 h 1039"/>
                  <a:gd name="connsiteX133" fmla="*/ 2255 w 4292"/>
                  <a:gd name="connsiteY133" fmla="*/ 299 h 1039"/>
                  <a:gd name="connsiteX134" fmla="*/ 2292 w 4292"/>
                  <a:gd name="connsiteY134" fmla="*/ 353 h 1039"/>
                  <a:gd name="connsiteX135" fmla="*/ 2327 w 4292"/>
                  <a:gd name="connsiteY135" fmla="*/ 409 h 1039"/>
                  <a:gd name="connsiteX136" fmla="*/ 2362 w 4292"/>
                  <a:gd name="connsiteY136" fmla="*/ 463 h 1039"/>
                  <a:gd name="connsiteX137" fmla="*/ 2395 w 4292"/>
                  <a:gd name="connsiteY137" fmla="*/ 519 h 1039"/>
                  <a:gd name="connsiteX138" fmla="*/ 2432 w 4292"/>
                  <a:gd name="connsiteY138" fmla="*/ 581 h 1039"/>
                  <a:gd name="connsiteX139" fmla="*/ 2469 w 4292"/>
                  <a:gd name="connsiteY139" fmla="*/ 639 h 1039"/>
                  <a:gd name="connsiteX140" fmla="*/ 2509 w 4292"/>
                  <a:gd name="connsiteY140" fmla="*/ 697 h 1039"/>
                  <a:gd name="connsiteX141" fmla="*/ 2546 w 4292"/>
                  <a:gd name="connsiteY141" fmla="*/ 751 h 1039"/>
                  <a:gd name="connsiteX142" fmla="*/ 2587 w 4292"/>
                  <a:gd name="connsiteY142" fmla="*/ 801 h 1039"/>
                  <a:gd name="connsiteX143" fmla="*/ 2628 w 4292"/>
                  <a:gd name="connsiteY143" fmla="*/ 844 h 1039"/>
                  <a:gd name="connsiteX144" fmla="*/ 2672 w 4292"/>
                  <a:gd name="connsiteY144" fmla="*/ 882 h 1039"/>
                  <a:gd name="connsiteX145" fmla="*/ 2717 w 4292"/>
                  <a:gd name="connsiteY145" fmla="*/ 913 h 1039"/>
                  <a:gd name="connsiteX146" fmla="*/ 2767 w 4292"/>
                  <a:gd name="connsiteY146" fmla="*/ 936 h 1039"/>
                  <a:gd name="connsiteX147" fmla="*/ 2820 w 4292"/>
                  <a:gd name="connsiteY147" fmla="*/ 948 h 1039"/>
                  <a:gd name="connsiteX148" fmla="*/ 2876 w 4292"/>
                  <a:gd name="connsiteY148" fmla="*/ 952 h 1039"/>
                  <a:gd name="connsiteX149" fmla="*/ 2932 w 4292"/>
                  <a:gd name="connsiteY149" fmla="*/ 946 h 1039"/>
                  <a:gd name="connsiteX150" fmla="*/ 2982 w 4292"/>
                  <a:gd name="connsiteY150" fmla="*/ 931 h 1039"/>
                  <a:gd name="connsiteX151" fmla="*/ 3029 w 4292"/>
                  <a:gd name="connsiteY151" fmla="*/ 911 h 1039"/>
                  <a:gd name="connsiteX152" fmla="*/ 3072 w 4292"/>
                  <a:gd name="connsiteY152" fmla="*/ 880 h 1039"/>
                  <a:gd name="connsiteX153" fmla="*/ 3112 w 4292"/>
                  <a:gd name="connsiteY153" fmla="*/ 844 h 1039"/>
                  <a:gd name="connsiteX154" fmla="*/ 3149 w 4292"/>
                  <a:gd name="connsiteY154" fmla="*/ 803 h 1039"/>
                  <a:gd name="connsiteX0" fmla="*/ 3149 w 4292"/>
                  <a:gd name="connsiteY0" fmla="*/ 803 h 1039"/>
                  <a:gd name="connsiteX1" fmla="*/ 4142 w 4292"/>
                  <a:gd name="connsiteY1" fmla="*/ 131 h 1039"/>
                  <a:gd name="connsiteX2" fmla="*/ 4049 w 4292"/>
                  <a:gd name="connsiteY2" fmla="*/ 94 h 1039"/>
                  <a:gd name="connsiteX3" fmla="*/ 4014 w 4292"/>
                  <a:gd name="connsiteY3" fmla="*/ 85 h 1039"/>
                  <a:gd name="connsiteX4" fmla="*/ 3958 w 4292"/>
                  <a:gd name="connsiteY4" fmla="*/ 83 h 1039"/>
                  <a:gd name="connsiteX5" fmla="*/ 3892 w 4292"/>
                  <a:gd name="connsiteY5" fmla="*/ 89 h 1039"/>
                  <a:gd name="connsiteX6" fmla="*/ 3830 w 4292"/>
                  <a:gd name="connsiteY6" fmla="*/ 102 h 1039"/>
                  <a:gd name="connsiteX7" fmla="*/ 3774 w 4292"/>
                  <a:gd name="connsiteY7" fmla="*/ 123 h 1039"/>
                  <a:gd name="connsiteX8" fmla="*/ 3723 w 4292"/>
                  <a:gd name="connsiteY8" fmla="*/ 150 h 1039"/>
                  <a:gd name="connsiteX9" fmla="*/ 3675 w 4292"/>
                  <a:gd name="connsiteY9" fmla="*/ 183 h 1039"/>
                  <a:gd name="connsiteX10" fmla="*/ 3632 w 4292"/>
                  <a:gd name="connsiteY10" fmla="*/ 220 h 1039"/>
                  <a:gd name="connsiteX11" fmla="*/ 3593 w 4292"/>
                  <a:gd name="connsiteY11" fmla="*/ 264 h 1039"/>
                  <a:gd name="connsiteX12" fmla="*/ 3553 w 4292"/>
                  <a:gd name="connsiteY12" fmla="*/ 309 h 1039"/>
                  <a:gd name="connsiteX13" fmla="*/ 3518 w 4292"/>
                  <a:gd name="connsiteY13" fmla="*/ 359 h 1039"/>
                  <a:gd name="connsiteX14" fmla="*/ 3485 w 4292"/>
                  <a:gd name="connsiteY14" fmla="*/ 411 h 1039"/>
                  <a:gd name="connsiteX15" fmla="*/ 3423 w 4292"/>
                  <a:gd name="connsiteY15" fmla="*/ 519 h 1039"/>
                  <a:gd name="connsiteX16" fmla="*/ 3330 w 4292"/>
                  <a:gd name="connsiteY16" fmla="*/ 687 h 1039"/>
                  <a:gd name="connsiteX17" fmla="*/ 3297 w 4292"/>
                  <a:gd name="connsiteY17" fmla="*/ 743 h 1039"/>
                  <a:gd name="connsiteX18" fmla="*/ 3262 w 4292"/>
                  <a:gd name="connsiteY18" fmla="*/ 795 h 1039"/>
                  <a:gd name="connsiteX19" fmla="*/ 3227 w 4292"/>
                  <a:gd name="connsiteY19" fmla="*/ 844 h 1039"/>
                  <a:gd name="connsiteX20" fmla="*/ 3188 w 4292"/>
                  <a:gd name="connsiteY20" fmla="*/ 890 h 1039"/>
                  <a:gd name="connsiteX21" fmla="*/ 3147 w 4292"/>
                  <a:gd name="connsiteY21" fmla="*/ 931 h 1039"/>
                  <a:gd name="connsiteX22" fmla="*/ 3101 w 4292"/>
                  <a:gd name="connsiteY22" fmla="*/ 967 h 1039"/>
                  <a:gd name="connsiteX23" fmla="*/ 3052 w 4292"/>
                  <a:gd name="connsiteY23" fmla="*/ 996 h 1039"/>
                  <a:gd name="connsiteX24" fmla="*/ 3000 w 4292"/>
                  <a:gd name="connsiteY24" fmla="*/ 1018 h 1039"/>
                  <a:gd name="connsiteX25" fmla="*/ 2942 w 4292"/>
                  <a:gd name="connsiteY25" fmla="*/ 1033 h 1039"/>
                  <a:gd name="connsiteX26" fmla="*/ 2878 w 4292"/>
                  <a:gd name="connsiteY26" fmla="*/ 1039 h 1039"/>
                  <a:gd name="connsiteX27" fmla="*/ 2870 w 4292"/>
                  <a:gd name="connsiteY27" fmla="*/ 1039 h 1039"/>
                  <a:gd name="connsiteX28" fmla="*/ 2808 w 4292"/>
                  <a:gd name="connsiteY28" fmla="*/ 1035 h 1039"/>
                  <a:gd name="connsiteX29" fmla="*/ 2748 w 4292"/>
                  <a:gd name="connsiteY29" fmla="*/ 1021 h 1039"/>
                  <a:gd name="connsiteX30" fmla="*/ 2695 w 4292"/>
                  <a:gd name="connsiteY30" fmla="*/ 998 h 1039"/>
                  <a:gd name="connsiteX31" fmla="*/ 2643 w 4292"/>
                  <a:gd name="connsiteY31" fmla="*/ 969 h 1039"/>
                  <a:gd name="connsiteX32" fmla="*/ 2595 w 4292"/>
                  <a:gd name="connsiteY32" fmla="*/ 931 h 1039"/>
                  <a:gd name="connsiteX33" fmla="*/ 2552 w 4292"/>
                  <a:gd name="connsiteY33" fmla="*/ 890 h 1039"/>
                  <a:gd name="connsiteX34" fmla="*/ 2509 w 4292"/>
                  <a:gd name="connsiteY34" fmla="*/ 842 h 1039"/>
                  <a:gd name="connsiteX35" fmla="*/ 2469 w 4292"/>
                  <a:gd name="connsiteY35" fmla="*/ 792 h 1039"/>
                  <a:gd name="connsiteX36" fmla="*/ 2430 w 4292"/>
                  <a:gd name="connsiteY36" fmla="*/ 736 h 1039"/>
                  <a:gd name="connsiteX37" fmla="*/ 2393 w 4292"/>
                  <a:gd name="connsiteY37" fmla="*/ 680 h 1039"/>
                  <a:gd name="connsiteX38" fmla="*/ 2288 w 4292"/>
                  <a:gd name="connsiteY38" fmla="*/ 506 h 1039"/>
                  <a:gd name="connsiteX39" fmla="*/ 2251 w 4292"/>
                  <a:gd name="connsiteY39" fmla="*/ 448 h 1039"/>
                  <a:gd name="connsiteX40" fmla="*/ 2213 w 4292"/>
                  <a:gd name="connsiteY40" fmla="*/ 392 h 1039"/>
                  <a:gd name="connsiteX41" fmla="*/ 2176 w 4292"/>
                  <a:gd name="connsiteY41" fmla="*/ 338 h 1039"/>
                  <a:gd name="connsiteX42" fmla="*/ 2137 w 4292"/>
                  <a:gd name="connsiteY42" fmla="*/ 289 h 1039"/>
                  <a:gd name="connsiteX43" fmla="*/ 2096 w 4292"/>
                  <a:gd name="connsiteY43" fmla="*/ 243 h 1039"/>
                  <a:gd name="connsiteX44" fmla="*/ 2054 w 4292"/>
                  <a:gd name="connsiteY44" fmla="*/ 201 h 1039"/>
                  <a:gd name="connsiteX45" fmla="*/ 2009 w 4292"/>
                  <a:gd name="connsiteY45" fmla="*/ 164 h 1039"/>
                  <a:gd name="connsiteX46" fmla="*/ 1962 w 4292"/>
                  <a:gd name="connsiteY46" fmla="*/ 135 h 1039"/>
                  <a:gd name="connsiteX47" fmla="*/ 1910 w 4292"/>
                  <a:gd name="connsiteY47" fmla="*/ 112 h 1039"/>
                  <a:gd name="connsiteX48" fmla="*/ 1854 w 4292"/>
                  <a:gd name="connsiteY48" fmla="*/ 96 h 1039"/>
                  <a:gd name="connsiteX49" fmla="*/ 1796 w 4292"/>
                  <a:gd name="connsiteY49" fmla="*/ 87 h 1039"/>
                  <a:gd name="connsiteX50" fmla="*/ 1732 w 4292"/>
                  <a:gd name="connsiteY50" fmla="*/ 89 h 1039"/>
                  <a:gd name="connsiteX51" fmla="*/ 1664 w 4292"/>
                  <a:gd name="connsiteY51" fmla="*/ 100 h 1039"/>
                  <a:gd name="connsiteX52" fmla="*/ 1602 w 4292"/>
                  <a:gd name="connsiteY52" fmla="*/ 118 h 1039"/>
                  <a:gd name="connsiteX53" fmla="*/ 1545 w 4292"/>
                  <a:gd name="connsiteY53" fmla="*/ 143 h 1039"/>
                  <a:gd name="connsiteX54" fmla="*/ 1491 w 4292"/>
                  <a:gd name="connsiteY54" fmla="*/ 177 h 1039"/>
                  <a:gd name="connsiteX55" fmla="*/ 1439 w 4292"/>
                  <a:gd name="connsiteY55" fmla="*/ 214 h 1039"/>
                  <a:gd name="connsiteX56" fmla="*/ 1394 w 4292"/>
                  <a:gd name="connsiteY56" fmla="*/ 257 h 1039"/>
                  <a:gd name="connsiteX57" fmla="*/ 1348 w 4292"/>
                  <a:gd name="connsiteY57" fmla="*/ 303 h 1039"/>
                  <a:gd name="connsiteX58" fmla="*/ 1307 w 4292"/>
                  <a:gd name="connsiteY58" fmla="*/ 355 h 1039"/>
                  <a:gd name="connsiteX59" fmla="*/ 1268 w 4292"/>
                  <a:gd name="connsiteY59" fmla="*/ 409 h 1039"/>
                  <a:gd name="connsiteX60" fmla="*/ 1231 w 4292"/>
                  <a:gd name="connsiteY60" fmla="*/ 463 h 1039"/>
                  <a:gd name="connsiteX61" fmla="*/ 1194 w 4292"/>
                  <a:gd name="connsiteY61" fmla="*/ 519 h 1039"/>
                  <a:gd name="connsiteX62" fmla="*/ 1156 w 4292"/>
                  <a:gd name="connsiteY62" fmla="*/ 577 h 1039"/>
                  <a:gd name="connsiteX63" fmla="*/ 1121 w 4292"/>
                  <a:gd name="connsiteY63" fmla="*/ 633 h 1039"/>
                  <a:gd name="connsiteX64" fmla="*/ 1047 w 4292"/>
                  <a:gd name="connsiteY64" fmla="*/ 745 h 1039"/>
                  <a:gd name="connsiteX65" fmla="*/ 1008 w 4292"/>
                  <a:gd name="connsiteY65" fmla="*/ 797 h 1039"/>
                  <a:gd name="connsiteX66" fmla="*/ 966 w 4292"/>
                  <a:gd name="connsiteY66" fmla="*/ 846 h 1039"/>
                  <a:gd name="connsiteX67" fmla="*/ 923 w 4292"/>
                  <a:gd name="connsiteY67" fmla="*/ 892 h 1039"/>
                  <a:gd name="connsiteX68" fmla="*/ 876 w 4292"/>
                  <a:gd name="connsiteY68" fmla="*/ 933 h 1039"/>
                  <a:gd name="connsiteX69" fmla="*/ 826 w 4292"/>
                  <a:gd name="connsiteY69" fmla="*/ 969 h 1039"/>
                  <a:gd name="connsiteX70" fmla="*/ 772 w 4292"/>
                  <a:gd name="connsiteY70" fmla="*/ 998 h 1039"/>
                  <a:gd name="connsiteX71" fmla="*/ 717 w 4292"/>
                  <a:gd name="connsiteY71" fmla="*/ 1021 h 1039"/>
                  <a:gd name="connsiteX72" fmla="*/ 653 w 4292"/>
                  <a:gd name="connsiteY72" fmla="*/ 1033 h 1039"/>
                  <a:gd name="connsiteX73" fmla="*/ 587 w 4292"/>
                  <a:gd name="connsiteY73" fmla="*/ 1039 h 1039"/>
                  <a:gd name="connsiteX74" fmla="*/ 580 w 4292"/>
                  <a:gd name="connsiteY74" fmla="*/ 1039 h 1039"/>
                  <a:gd name="connsiteX75" fmla="*/ 512 w 4292"/>
                  <a:gd name="connsiteY75" fmla="*/ 1035 h 1039"/>
                  <a:gd name="connsiteX76" fmla="*/ 450 w 4292"/>
                  <a:gd name="connsiteY76" fmla="*/ 1023 h 1039"/>
                  <a:gd name="connsiteX77" fmla="*/ 392 w 4292"/>
                  <a:gd name="connsiteY77" fmla="*/ 1004 h 1039"/>
                  <a:gd name="connsiteX78" fmla="*/ 341 w 4292"/>
                  <a:gd name="connsiteY78" fmla="*/ 979 h 1039"/>
                  <a:gd name="connsiteX79" fmla="*/ 293 w 4292"/>
                  <a:gd name="connsiteY79" fmla="*/ 948 h 1039"/>
                  <a:gd name="connsiteX80" fmla="*/ 248 w 4292"/>
                  <a:gd name="connsiteY80" fmla="*/ 911 h 1039"/>
                  <a:gd name="connsiteX81" fmla="*/ 207 w 4292"/>
                  <a:gd name="connsiteY81" fmla="*/ 869 h 1039"/>
                  <a:gd name="connsiteX82" fmla="*/ 169 w 4292"/>
                  <a:gd name="connsiteY82" fmla="*/ 824 h 1039"/>
                  <a:gd name="connsiteX83" fmla="*/ 132 w 4292"/>
                  <a:gd name="connsiteY83" fmla="*/ 776 h 1039"/>
                  <a:gd name="connsiteX84" fmla="*/ 99 w 4292"/>
                  <a:gd name="connsiteY84" fmla="*/ 724 h 1039"/>
                  <a:gd name="connsiteX85" fmla="*/ 64 w 4292"/>
                  <a:gd name="connsiteY85" fmla="*/ 670 h 1039"/>
                  <a:gd name="connsiteX86" fmla="*/ 33 w 4292"/>
                  <a:gd name="connsiteY86" fmla="*/ 614 h 1039"/>
                  <a:gd name="connsiteX87" fmla="*/ 0 w 4292"/>
                  <a:gd name="connsiteY87" fmla="*/ 556 h 1039"/>
                  <a:gd name="connsiteX88" fmla="*/ 77 w 4292"/>
                  <a:gd name="connsiteY88" fmla="*/ 512 h 1039"/>
                  <a:gd name="connsiteX89" fmla="*/ 110 w 4292"/>
                  <a:gd name="connsiteY89" fmla="*/ 571 h 1039"/>
                  <a:gd name="connsiteX90" fmla="*/ 143 w 4292"/>
                  <a:gd name="connsiteY90" fmla="*/ 627 h 1039"/>
                  <a:gd name="connsiteX91" fmla="*/ 176 w 4292"/>
                  <a:gd name="connsiteY91" fmla="*/ 680 h 1039"/>
                  <a:gd name="connsiteX92" fmla="*/ 209 w 4292"/>
                  <a:gd name="connsiteY92" fmla="*/ 732 h 1039"/>
                  <a:gd name="connsiteX93" fmla="*/ 244 w 4292"/>
                  <a:gd name="connsiteY93" fmla="*/ 778 h 1039"/>
                  <a:gd name="connsiteX94" fmla="*/ 281 w 4292"/>
                  <a:gd name="connsiteY94" fmla="*/ 821 h 1039"/>
                  <a:gd name="connsiteX95" fmla="*/ 322 w 4292"/>
                  <a:gd name="connsiteY95" fmla="*/ 859 h 1039"/>
                  <a:gd name="connsiteX96" fmla="*/ 366 w 4292"/>
                  <a:gd name="connsiteY96" fmla="*/ 890 h 1039"/>
                  <a:gd name="connsiteX97" fmla="*/ 413 w 4292"/>
                  <a:gd name="connsiteY97" fmla="*/ 917 h 1039"/>
                  <a:gd name="connsiteX98" fmla="*/ 463 w 4292"/>
                  <a:gd name="connsiteY98" fmla="*/ 936 h 1039"/>
                  <a:gd name="connsiteX99" fmla="*/ 518 w 4292"/>
                  <a:gd name="connsiteY99" fmla="*/ 948 h 1039"/>
                  <a:gd name="connsiteX100" fmla="*/ 580 w 4292"/>
                  <a:gd name="connsiteY100" fmla="*/ 952 h 1039"/>
                  <a:gd name="connsiteX101" fmla="*/ 587 w 4292"/>
                  <a:gd name="connsiteY101" fmla="*/ 952 h 1039"/>
                  <a:gd name="connsiteX102" fmla="*/ 646 w 4292"/>
                  <a:gd name="connsiteY102" fmla="*/ 946 h 1039"/>
                  <a:gd name="connsiteX103" fmla="*/ 702 w 4292"/>
                  <a:gd name="connsiteY103" fmla="*/ 931 h 1039"/>
                  <a:gd name="connsiteX104" fmla="*/ 756 w 4292"/>
                  <a:gd name="connsiteY104" fmla="*/ 909 h 1039"/>
                  <a:gd name="connsiteX105" fmla="*/ 803 w 4292"/>
                  <a:gd name="connsiteY105" fmla="*/ 880 h 1039"/>
                  <a:gd name="connsiteX106" fmla="*/ 849 w 4292"/>
                  <a:gd name="connsiteY106" fmla="*/ 842 h 1039"/>
                  <a:gd name="connsiteX107" fmla="*/ 892 w 4292"/>
                  <a:gd name="connsiteY107" fmla="*/ 799 h 1039"/>
                  <a:gd name="connsiteX108" fmla="*/ 931 w 4292"/>
                  <a:gd name="connsiteY108" fmla="*/ 751 h 1039"/>
                  <a:gd name="connsiteX109" fmla="*/ 971 w 4292"/>
                  <a:gd name="connsiteY109" fmla="*/ 699 h 1039"/>
                  <a:gd name="connsiteX110" fmla="*/ 1010 w 4292"/>
                  <a:gd name="connsiteY110" fmla="*/ 645 h 1039"/>
                  <a:gd name="connsiteX111" fmla="*/ 1121 w 4292"/>
                  <a:gd name="connsiteY111" fmla="*/ 471 h 1039"/>
                  <a:gd name="connsiteX112" fmla="*/ 1161 w 4292"/>
                  <a:gd name="connsiteY112" fmla="*/ 411 h 1039"/>
                  <a:gd name="connsiteX113" fmla="*/ 1202 w 4292"/>
                  <a:gd name="connsiteY113" fmla="*/ 353 h 1039"/>
                  <a:gd name="connsiteX114" fmla="*/ 1245 w 4292"/>
                  <a:gd name="connsiteY114" fmla="*/ 295 h 1039"/>
                  <a:gd name="connsiteX115" fmla="*/ 1291 w 4292"/>
                  <a:gd name="connsiteY115" fmla="*/ 241 h 1039"/>
                  <a:gd name="connsiteX116" fmla="*/ 1338 w 4292"/>
                  <a:gd name="connsiteY116" fmla="*/ 189 h 1039"/>
                  <a:gd name="connsiteX117" fmla="*/ 1392 w 4292"/>
                  <a:gd name="connsiteY117" fmla="*/ 141 h 1039"/>
                  <a:gd name="connsiteX118" fmla="*/ 1447 w 4292"/>
                  <a:gd name="connsiteY118" fmla="*/ 100 h 1039"/>
                  <a:gd name="connsiteX119" fmla="*/ 1509 w 4292"/>
                  <a:gd name="connsiteY119" fmla="*/ 65 h 1039"/>
                  <a:gd name="connsiteX120" fmla="*/ 1575 w 4292"/>
                  <a:gd name="connsiteY120" fmla="*/ 36 h 1039"/>
                  <a:gd name="connsiteX121" fmla="*/ 1648 w 4292"/>
                  <a:gd name="connsiteY121" fmla="*/ 15 h 1039"/>
                  <a:gd name="connsiteX122" fmla="*/ 1726 w 4292"/>
                  <a:gd name="connsiteY122" fmla="*/ 2 h 1039"/>
                  <a:gd name="connsiteX123" fmla="*/ 1796 w 4292"/>
                  <a:gd name="connsiteY123" fmla="*/ 0 h 1039"/>
                  <a:gd name="connsiteX124" fmla="*/ 1862 w 4292"/>
                  <a:gd name="connsiteY124" fmla="*/ 9 h 1039"/>
                  <a:gd name="connsiteX125" fmla="*/ 1922 w 4292"/>
                  <a:gd name="connsiteY125" fmla="*/ 23 h 1039"/>
                  <a:gd name="connsiteX126" fmla="*/ 1980 w 4292"/>
                  <a:gd name="connsiteY126" fmla="*/ 46 h 1039"/>
                  <a:gd name="connsiteX127" fmla="*/ 2034 w 4292"/>
                  <a:gd name="connsiteY127" fmla="*/ 77 h 1039"/>
                  <a:gd name="connsiteX128" fmla="*/ 2083 w 4292"/>
                  <a:gd name="connsiteY128" fmla="*/ 112 h 1039"/>
                  <a:gd name="connsiteX129" fmla="*/ 2129 w 4292"/>
                  <a:gd name="connsiteY129" fmla="*/ 154 h 1039"/>
                  <a:gd name="connsiteX130" fmla="*/ 2174 w 4292"/>
                  <a:gd name="connsiteY130" fmla="*/ 199 h 1039"/>
                  <a:gd name="connsiteX131" fmla="*/ 2216 w 4292"/>
                  <a:gd name="connsiteY131" fmla="*/ 247 h 1039"/>
                  <a:gd name="connsiteX132" fmla="*/ 2255 w 4292"/>
                  <a:gd name="connsiteY132" fmla="*/ 299 h 1039"/>
                  <a:gd name="connsiteX133" fmla="*/ 2292 w 4292"/>
                  <a:gd name="connsiteY133" fmla="*/ 353 h 1039"/>
                  <a:gd name="connsiteX134" fmla="*/ 2327 w 4292"/>
                  <a:gd name="connsiteY134" fmla="*/ 409 h 1039"/>
                  <a:gd name="connsiteX135" fmla="*/ 2362 w 4292"/>
                  <a:gd name="connsiteY135" fmla="*/ 463 h 1039"/>
                  <a:gd name="connsiteX136" fmla="*/ 2395 w 4292"/>
                  <a:gd name="connsiteY136" fmla="*/ 519 h 1039"/>
                  <a:gd name="connsiteX137" fmla="*/ 2432 w 4292"/>
                  <a:gd name="connsiteY137" fmla="*/ 581 h 1039"/>
                  <a:gd name="connsiteX138" fmla="*/ 2469 w 4292"/>
                  <a:gd name="connsiteY138" fmla="*/ 639 h 1039"/>
                  <a:gd name="connsiteX139" fmla="*/ 2509 w 4292"/>
                  <a:gd name="connsiteY139" fmla="*/ 697 h 1039"/>
                  <a:gd name="connsiteX140" fmla="*/ 2546 w 4292"/>
                  <a:gd name="connsiteY140" fmla="*/ 751 h 1039"/>
                  <a:gd name="connsiteX141" fmla="*/ 2587 w 4292"/>
                  <a:gd name="connsiteY141" fmla="*/ 801 h 1039"/>
                  <a:gd name="connsiteX142" fmla="*/ 2628 w 4292"/>
                  <a:gd name="connsiteY142" fmla="*/ 844 h 1039"/>
                  <a:gd name="connsiteX143" fmla="*/ 2672 w 4292"/>
                  <a:gd name="connsiteY143" fmla="*/ 882 h 1039"/>
                  <a:gd name="connsiteX144" fmla="*/ 2717 w 4292"/>
                  <a:gd name="connsiteY144" fmla="*/ 913 h 1039"/>
                  <a:gd name="connsiteX145" fmla="*/ 2767 w 4292"/>
                  <a:gd name="connsiteY145" fmla="*/ 936 h 1039"/>
                  <a:gd name="connsiteX146" fmla="*/ 2820 w 4292"/>
                  <a:gd name="connsiteY146" fmla="*/ 948 h 1039"/>
                  <a:gd name="connsiteX147" fmla="*/ 2876 w 4292"/>
                  <a:gd name="connsiteY147" fmla="*/ 952 h 1039"/>
                  <a:gd name="connsiteX148" fmla="*/ 2932 w 4292"/>
                  <a:gd name="connsiteY148" fmla="*/ 946 h 1039"/>
                  <a:gd name="connsiteX149" fmla="*/ 2982 w 4292"/>
                  <a:gd name="connsiteY149" fmla="*/ 931 h 1039"/>
                  <a:gd name="connsiteX150" fmla="*/ 3029 w 4292"/>
                  <a:gd name="connsiteY150" fmla="*/ 911 h 1039"/>
                  <a:gd name="connsiteX151" fmla="*/ 3072 w 4292"/>
                  <a:gd name="connsiteY151" fmla="*/ 880 h 1039"/>
                  <a:gd name="connsiteX152" fmla="*/ 3112 w 4292"/>
                  <a:gd name="connsiteY152" fmla="*/ 844 h 1039"/>
                  <a:gd name="connsiteX153" fmla="*/ 3149 w 4292"/>
                  <a:gd name="connsiteY153" fmla="*/ 803 h 1039"/>
                  <a:gd name="connsiteX0" fmla="*/ 3149 w 4292"/>
                  <a:gd name="connsiteY0" fmla="*/ 803 h 1039"/>
                  <a:gd name="connsiteX1" fmla="*/ 4142 w 4292"/>
                  <a:gd name="connsiteY1" fmla="*/ 131 h 1039"/>
                  <a:gd name="connsiteX2" fmla="*/ 4049 w 4292"/>
                  <a:gd name="connsiteY2" fmla="*/ 94 h 1039"/>
                  <a:gd name="connsiteX3" fmla="*/ 4014 w 4292"/>
                  <a:gd name="connsiteY3" fmla="*/ 85 h 1039"/>
                  <a:gd name="connsiteX4" fmla="*/ 3958 w 4292"/>
                  <a:gd name="connsiteY4" fmla="*/ 83 h 1039"/>
                  <a:gd name="connsiteX5" fmla="*/ 3830 w 4292"/>
                  <a:gd name="connsiteY5" fmla="*/ 102 h 1039"/>
                  <a:gd name="connsiteX6" fmla="*/ 3774 w 4292"/>
                  <a:gd name="connsiteY6" fmla="*/ 123 h 1039"/>
                  <a:gd name="connsiteX7" fmla="*/ 3723 w 4292"/>
                  <a:gd name="connsiteY7" fmla="*/ 150 h 1039"/>
                  <a:gd name="connsiteX8" fmla="*/ 3675 w 4292"/>
                  <a:gd name="connsiteY8" fmla="*/ 183 h 1039"/>
                  <a:gd name="connsiteX9" fmla="*/ 3632 w 4292"/>
                  <a:gd name="connsiteY9" fmla="*/ 220 h 1039"/>
                  <a:gd name="connsiteX10" fmla="*/ 3593 w 4292"/>
                  <a:gd name="connsiteY10" fmla="*/ 264 h 1039"/>
                  <a:gd name="connsiteX11" fmla="*/ 3553 w 4292"/>
                  <a:gd name="connsiteY11" fmla="*/ 309 h 1039"/>
                  <a:gd name="connsiteX12" fmla="*/ 3518 w 4292"/>
                  <a:gd name="connsiteY12" fmla="*/ 359 h 1039"/>
                  <a:gd name="connsiteX13" fmla="*/ 3485 w 4292"/>
                  <a:gd name="connsiteY13" fmla="*/ 411 h 1039"/>
                  <a:gd name="connsiteX14" fmla="*/ 3423 w 4292"/>
                  <a:gd name="connsiteY14" fmla="*/ 519 h 1039"/>
                  <a:gd name="connsiteX15" fmla="*/ 3330 w 4292"/>
                  <a:gd name="connsiteY15" fmla="*/ 687 h 1039"/>
                  <a:gd name="connsiteX16" fmla="*/ 3297 w 4292"/>
                  <a:gd name="connsiteY16" fmla="*/ 743 h 1039"/>
                  <a:gd name="connsiteX17" fmla="*/ 3262 w 4292"/>
                  <a:gd name="connsiteY17" fmla="*/ 795 h 1039"/>
                  <a:gd name="connsiteX18" fmla="*/ 3227 w 4292"/>
                  <a:gd name="connsiteY18" fmla="*/ 844 h 1039"/>
                  <a:gd name="connsiteX19" fmla="*/ 3188 w 4292"/>
                  <a:gd name="connsiteY19" fmla="*/ 890 h 1039"/>
                  <a:gd name="connsiteX20" fmla="*/ 3147 w 4292"/>
                  <a:gd name="connsiteY20" fmla="*/ 931 h 1039"/>
                  <a:gd name="connsiteX21" fmla="*/ 3101 w 4292"/>
                  <a:gd name="connsiteY21" fmla="*/ 967 h 1039"/>
                  <a:gd name="connsiteX22" fmla="*/ 3052 w 4292"/>
                  <a:gd name="connsiteY22" fmla="*/ 996 h 1039"/>
                  <a:gd name="connsiteX23" fmla="*/ 3000 w 4292"/>
                  <a:gd name="connsiteY23" fmla="*/ 1018 h 1039"/>
                  <a:gd name="connsiteX24" fmla="*/ 2942 w 4292"/>
                  <a:gd name="connsiteY24" fmla="*/ 1033 h 1039"/>
                  <a:gd name="connsiteX25" fmla="*/ 2878 w 4292"/>
                  <a:gd name="connsiteY25" fmla="*/ 1039 h 1039"/>
                  <a:gd name="connsiteX26" fmla="*/ 2870 w 4292"/>
                  <a:gd name="connsiteY26" fmla="*/ 1039 h 1039"/>
                  <a:gd name="connsiteX27" fmla="*/ 2808 w 4292"/>
                  <a:gd name="connsiteY27" fmla="*/ 1035 h 1039"/>
                  <a:gd name="connsiteX28" fmla="*/ 2748 w 4292"/>
                  <a:gd name="connsiteY28" fmla="*/ 1021 h 1039"/>
                  <a:gd name="connsiteX29" fmla="*/ 2695 w 4292"/>
                  <a:gd name="connsiteY29" fmla="*/ 998 h 1039"/>
                  <a:gd name="connsiteX30" fmla="*/ 2643 w 4292"/>
                  <a:gd name="connsiteY30" fmla="*/ 969 h 1039"/>
                  <a:gd name="connsiteX31" fmla="*/ 2595 w 4292"/>
                  <a:gd name="connsiteY31" fmla="*/ 931 h 1039"/>
                  <a:gd name="connsiteX32" fmla="*/ 2552 w 4292"/>
                  <a:gd name="connsiteY32" fmla="*/ 890 h 1039"/>
                  <a:gd name="connsiteX33" fmla="*/ 2509 w 4292"/>
                  <a:gd name="connsiteY33" fmla="*/ 842 h 1039"/>
                  <a:gd name="connsiteX34" fmla="*/ 2469 w 4292"/>
                  <a:gd name="connsiteY34" fmla="*/ 792 h 1039"/>
                  <a:gd name="connsiteX35" fmla="*/ 2430 w 4292"/>
                  <a:gd name="connsiteY35" fmla="*/ 736 h 1039"/>
                  <a:gd name="connsiteX36" fmla="*/ 2393 w 4292"/>
                  <a:gd name="connsiteY36" fmla="*/ 680 h 1039"/>
                  <a:gd name="connsiteX37" fmla="*/ 2288 w 4292"/>
                  <a:gd name="connsiteY37" fmla="*/ 506 h 1039"/>
                  <a:gd name="connsiteX38" fmla="*/ 2251 w 4292"/>
                  <a:gd name="connsiteY38" fmla="*/ 448 h 1039"/>
                  <a:gd name="connsiteX39" fmla="*/ 2213 w 4292"/>
                  <a:gd name="connsiteY39" fmla="*/ 392 h 1039"/>
                  <a:gd name="connsiteX40" fmla="*/ 2176 w 4292"/>
                  <a:gd name="connsiteY40" fmla="*/ 338 h 1039"/>
                  <a:gd name="connsiteX41" fmla="*/ 2137 w 4292"/>
                  <a:gd name="connsiteY41" fmla="*/ 289 h 1039"/>
                  <a:gd name="connsiteX42" fmla="*/ 2096 w 4292"/>
                  <a:gd name="connsiteY42" fmla="*/ 243 h 1039"/>
                  <a:gd name="connsiteX43" fmla="*/ 2054 w 4292"/>
                  <a:gd name="connsiteY43" fmla="*/ 201 h 1039"/>
                  <a:gd name="connsiteX44" fmla="*/ 2009 w 4292"/>
                  <a:gd name="connsiteY44" fmla="*/ 164 h 1039"/>
                  <a:gd name="connsiteX45" fmla="*/ 1962 w 4292"/>
                  <a:gd name="connsiteY45" fmla="*/ 135 h 1039"/>
                  <a:gd name="connsiteX46" fmla="*/ 1910 w 4292"/>
                  <a:gd name="connsiteY46" fmla="*/ 112 h 1039"/>
                  <a:gd name="connsiteX47" fmla="*/ 1854 w 4292"/>
                  <a:gd name="connsiteY47" fmla="*/ 96 h 1039"/>
                  <a:gd name="connsiteX48" fmla="*/ 1796 w 4292"/>
                  <a:gd name="connsiteY48" fmla="*/ 87 h 1039"/>
                  <a:gd name="connsiteX49" fmla="*/ 1732 w 4292"/>
                  <a:gd name="connsiteY49" fmla="*/ 89 h 1039"/>
                  <a:gd name="connsiteX50" fmla="*/ 1664 w 4292"/>
                  <a:gd name="connsiteY50" fmla="*/ 100 h 1039"/>
                  <a:gd name="connsiteX51" fmla="*/ 1602 w 4292"/>
                  <a:gd name="connsiteY51" fmla="*/ 118 h 1039"/>
                  <a:gd name="connsiteX52" fmla="*/ 1545 w 4292"/>
                  <a:gd name="connsiteY52" fmla="*/ 143 h 1039"/>
                  <a:gd name="connsiteX53" fmla="*/ 1491 w 4292"/>
                  <a:gd name="connsiteY53" fmla="*/ 177 h 1039"/>
                  <a:gd name="connsiteX54" fmla="*/ 1439 w 4292"/>
                  <a:gd name="connsiteY54" fmla="*/ 214 h 1039"/>
                  <a:gd name="connsiteX55" fmla="*/ 1394 w 4292"/>
                  <a:gd name="connsiteY55" fmla="*/ 257 h 1039"/>
                  <a:gd name="connsiteX56" fmla="*/ 1348 w 4292"/>
                  <a:gd name="connsiteY56" fmla="*/ 303 h 1039"/>
                  <a:gd name="connsiteX57" fmla="*/ 1307 w 4292"/>
                  <a:gd name="connsiteY57" fmla="*/ 355 h 1039"/>
                  <a:gd name="connsiteX58" fmla="*/ 1268 w 4292"/>
                  <a:gd name="connsiteY58" fmla="*/ 409 h 1039"/>
                  <a:gd name="connsiteX59" fmla="*/ 1231 w 4292"/>
                  <a:gd name="connsiteY59" fmla="*/ 463 h 1039"/>
                  <a:gd name="connsiteX60" fmla="*/ 1194 w 4292"/>
                  <a:gd name="connsiteY60" fmla="*/ 519 h 1039"/>
                  <a:gd name="connsiteX61" fmla="*/ 1156 w 4292"/>
                  <a:gd name="connsiteY61" fmla="*/ 577 h 1039"/>
                  <a:gd name="connsiteX62" fmla="*/ 1121 w 4292"/>
                  <a:gd name="connsiteY62" fmla="*/ 633 h 1039"/>
                  <a:gd name="connsiteX63" fmla="*/ 1047 w 4292"/>
                  <a:gd name="connsiteY63" fmla="*/ 745 h 1039"/>
                  <a:gd name="connsiteX64" fmla="*/ 1008 w 4292"/>
                  <a:gd name="connsiteY64" fmla="*/ 797 h 1039"/>
                  <a:gd name="connsiteX65" fmla="*/ 966 w 4292"/>
                  <a:gd name="connsiteY65" fmla="*/ 846 h 1039"/>
                  <a:gd name="connsiteX66" fmla="*/ 923 w 4292"/>
                  <a:gd name="connsiteY66" fmla="*/ 892 h 1039"/>
                  <a:gd name="connsiteX67" fmla="*/ 876 w 4292"/>
                  <a:gd name="connsiteY67" fmla="*/ 933 h 1039"/>
                  <a:gd name="connsiteX68" fmla="*/ 826 w 4292"/>
                  <a:gd name="connsiteY68" fmla="*/ 969 h 1039"/>
                  <a:gd name="connsiteX69" fmla="*/ 772 w 4292"/>
                  <a:gd name="connsiteY69" fmla="*/ 998 h 1039"/>
                  <a:gd name="connsiteX70" fmla="*/ 717 w 4292"/>
                  <a:gd name="connsiteY70" fmla="*/ 1021 h 1039"/>
                  <a:gd name="connsiteX71" fmla="*/ 653 w 4292"/>
                  <a:gd name="connsiteY71" fmla="*/ 1033 h 1039"/>
                  <a:gd name="connsiteX72" fmla="*/ 587 w 4292"/>
                  <a:gd name="connsiteY72" fmla="*/ 1039 h 1039"/>
                  <a:gd name="connsiteX73" fmla="*/ 580 w 4292"/>
                  <a:gd name="connsiteY73" fmla="*/ 1039 h 1039"/>
                  <a:gd name="connsiteX74" fmla="*/ 512 w 4292"/>
                  <a:gd name="connsiteY74" fmla="*/ 1035 h 1039"/>
                  <a:gd name="connsiteX75" fmla="*/ 450 w 4292"/>
                  <a:gd name="connsiteY75" fmla="*/ 1023 h 1039"/>
                  <a:gd name="connsiteX76" fmla="*/ 392 w 4292"/>
                  <a:gd name="connsiteY76" fmla="*/ 1004 h 1039"/>
                  <a:gd name="connsiteX77" fmla="*/ 341 w 4292"/>
                  <a:gd name="connsiteY77" fmla="*/ 979 h 1039"/>
                  <a:gd name="connsiteX78" fmla="*/ 293 w 4292"/>
                  <a:gd name="connsiteY78" fmla="*/ 948 h 1039"/>
                  <a:gd name="connsiteX79" fmla="*/ 248 w 4292"/>
                  <a:gd name="connsiteY79" fmla="*/ 911 h 1039"/>
                  <a:gd name="connsiteX80" fmla="*/ 207 w 4292"/>
                  <a:gd name="connsiteY80" fmla="*/ 869 h 1039"/>
                  <a:gd name="connsiteX81" fmla="*/ 169 w 4292"/>
                  <a:gd name="connsiteY81" fmla="*/ 824 h 1039"/>
                  <a:gd name="connsiteX82" fmla="*/ 132 w 4292"/>
                  <a:gd name="connsiteY82" fmla="*/ 776 h 1039"/>
                  <a:gd name="connsiteX83" fmla="*/ 99 w 4292"/>
                  <a:gd name="connsiteY83" fmla="*/ 724 h 1039"/>
                  <a:gd name="connsiteX84" fmla="*/ 64 w 4292"/>
                  <a:gd name="connsiteY84" fmla="*/ 670 h 1039"/>
                  <a:gd name="connsiteX85" fmla="*/ 33 w 4292"/>
                  <a:gd name="connsiteY85" fmla="*/ 614 h 1039"/>
                  <a:gd name="connsiteX86" fmla="*/ 0 w 4292"/>
                  <a:gd name="connsiteY86" fmla="*/ 556 h 1039"/>
                  <a:gd name="connsiteX87" fmla="*/ 77 w 4292"/>
                  <a:gd name="connsiteY87" fmla="*/ 512 h 1039"/>
                  <a:gd name="connsiteX88" fmla="*/ 110 w 4292"/>
                  <a:gd name="connsiteY88" fmla="*/ 571 h 1039"/>
                  <a:gd name="connsiteX89" fmla="*/ 143 w 4292"/>
                  <a:gd name="connsiteY89" fmla="*/ 627 h 1039"/>
                  <a:gd name="connsiteX90" fmla="*/ 176 w 4292"/>
                  <a:gd name="connsiteY90" fmla="*/ 680 h 1039"/>
                  <a:gd name="connsiteX91" fmla="*/ 209 w 4292"/>
                  <a:gd name="connsiteY91" fmla="*/ 732 h 1039"/>
                  <a:gd name="connsiteX92" fmla="*/ 244 w 4292"/>
                  <a:gd name="connsiteY92" fmla="*/ 778 h 1039"/>
                  <a:gd name="connsiteX93" fmla="*/ 281 w 4292"/>
                  <a:gd name="connsiteY93" fmla="*/ 821 h 1039"/>
                  <a:gd name="connsiteX94" fmla="*/ 322 w 4292"/>
                  <a:gd name="connsiteY94" fmla="*/ 859 h 1039"/>
                  <a:gd name="connsiteX95" fmla="*/ 366 w 4292"/>
                  <a:gd name="connsiteY95" fmla="*/ 890 h 1039"/>
                  <a:gd name="connsiteX96" fmla="*/ 413 w 4292"/>
                  <a:gd name="connsiteY96" fmla="*/ 917 h 1039"/>
                  <a:gd name="connsiteX97" fmla="*/ 463 w 4292"/>
                  <a:gd name="connsiteY97" fmla="*/ 936 h 1039"/>
                  <a:gd name="connsiteX98" fmla="*/ 518 w 4292"/>
                  <a:gd name="connsiteY98" fmla="*/ 948 h 1039"/>
                  <a:gd name="connsiteX99" fmla="*/ 580 w 4292"/>
                  <a:gd name="connsiteY99" fmla="*/ 952 h 1039"/>
                  <a:gd name="connsiteX100" fmla="*/ 587 w 4292"/>
                  <a:gd name="connsiteY100" fmla="*/ 952 h 1039"/>
                  <a:gd name="connsiteX101" fmla="*/ 646 w 4292"/>
                  <a:gd name="connsiteY101" fmla="*/ 946 h 1039"/>
                  <a:gd name="connsiteX102" fmla="*/ 702 w 4292"/>
                  <a:gd name="connsiteY102" fmla="*/ 931 h 1039"/>
                  <a:gd name="connsiteX103" fmla="*/ 756 w 4292"/>
                  <a:gd name="connsiteY103" fmla="*/ 909 h 1039"/>
                  <a:gd name="connsiteX104" fmla="*/ 803 w 4292"/>
                  <a:gd name="connsiteY104" fmla="*/ 880 h 1039"/>
                  <a:gd name="connsiteX105" fmla="*/ 849 w 4292"/>
                  <a:gd name="connsiteY105" fmla="*/ 842 h 1039"/>
                  <a:gd name="connsiteX106" fmla="*/ 892 w 4292"/>
                  <a:gd name="connsiteY106" fmla="*/ 799 h 1039"/>
                  <a:gd name="connsiteX107" fmla="*/ 931 w 4292"/>
                  <a:gd name="connsiteY107" fmla="*/ 751 h 1039"/>
                  <a:gd name="connsiteX108" fmla="*/ 971 w 4292"/>
                  <a:gd name="connsiteY108" fmla="*/ 699 h 1039"/>
                  <a:gd name="connsiteX109" fmla="*/ 1010 w 4292"/>
                  <a:gd name="connsiteY109" fmla="*/ 645 h 1039"/>
                  <a:gd name="connsiteX110" fmla="*/ 1121 w 4292"/>
                  <a:gd name="connsiteY110" fmla="*/ 471 h 1039"/>
                  <a:gd name="connsiteX111" fmla="*/ 1161 w 4292"/>
                  <a:gd name="connsiteY111" fmla="*/ 411 h 1039"/>
                  <a:gd name="connsiteX112" fmla="*/ 1202 w 4292"/>
                  <a:gd name="connsiteY112" fmla="*/ 353 h 1039"/>
                  <a:gd name="connsiteX113" fmla="*/ 1245 w 4292"/>
                  <a:gd name="connsiteY113" fmla="*/ 295 h 1039"/>
                  <a:gd name="connsiteX114" fmla="*/ 1291 w 4292"/>
                  <a:gd name="connsiteY114" fmla="*/ 241 h 1039"/>
                  <a:gd name="connsiteX115" fmla="*/ 1338 w 4292"/>
                  <a:gd name="connsiteY115" fmla="*/ 189 h 1039"/>
                  <a:gd name="connsiteX116" fmla="*/ 1392 w 4292"/>
                  <a:gd name="connsiteY116" fmla="*/ 141 h 1039"/>
                  <a:gd name="connsiteX117" fmla="*/ 1447 w 4292"/>
                  <a:gd name="connsiteY117" fmla="*/ 100 h 1039"/>
                  <a:gd name="connsiteX118" fmla="*/ 1509 w 4292"/>
                  <a:gd name="connsiteY118" fmla="*/ 65 h 1039"/>
                  <a:gd name="connsiteX119" fmla="*/ 1575 w 4292"/>
                  <a:gd name="connsiteY119" fmla="*/ 36 h 1039"/>
                  <a:gd name="connsiteX120" fmla="*/ 1648 w 4292"/>
                  <a:gd name="connsiteY120" fmla="*/ 15 h 1039"/>
                  <a:gd name="connsiteX121" fmla="*/ 1726 w 4292"/>
                  <a:gd name="connsiteY121" fmla="*/ 2 h 1039"/>
                  <a:gd name="connsiteX122" fmla="*/ 1796 w 4292"/>
                  <a:gd name="connsiteY122" fmla="*/ 0 h 1039"/>
                  <a:gd name="connsiteX123" fmla="*/ 1862 w 4292"/>
                  <a:gd name="connsiteY123" fmla="*/ 9 h 1039"/>
                  <a:gd name="connsiteX124" fmla="*/ 1922 w 4292"/>
                  <a:gd name="connsiteY124" fmla="*/ 23 h 1039"/>
                  <a:gd name="connsiteX125" fmla="*/ 1980 w 4292"/>
                  <a:gd name="connsiteY125" fmla="*/ 46 h 1039"/>
                  <a:gd name="connsiteX126" fmla="*/ 2034 w 4292"/>
                  <a:gd name="connsiteY126" fmla="*/ 77 h 1039"/>
                  <a:gd name="connsiteX127" fmla="*/ 2083 w 4292"/>
                  <a:gd name="connsiteY127" fmla="*/ 112 h 1039"/>
                  <a:gd name="connsiteX128" fmla="*/ 2129 w 4292"/>
                  <a:gd name="connsiteY128" fmla="*/ 154 h 1039"/>
                  <a:gd name="connsiteX129" fmla="*/ 2174 w 4292"/>
                  <a:gd name="connsiteY129" fmla="*/ 199 h 1039"/>
                  <a:gd name="connsiteX130" fmla="*/ 2216 w 4292"/>
                  <a:gd name="connsiteY130" fmla="*/ 247 h 1039"/>
                  <a:gd name="connsiteX131" fmla="*/ 2255 w 4292"/>
                  <a:gd name="connsiteY131" fmla="*/ 299 h 1039"/>
                  <a:gd name="connsiteX132" fmla="*/ 2292 w 4292"/>
                  <a:gd name="connsiteY132" fmla="*/ 353 h 1039"/>
                  <a:gd name="connsiteX133" fmla="*/ 2327 w 4292"/>
                  <a:gd name="connsiteY133" fmla="*/ 409 h 1039"/>
                  <a:gd name="connsiteX134" fmla="*/ 2362 w 4292"/>
                  <a:gd name="connsiteY134" fmla="*/ 463 h 1039"/>
                  <a:gd name="connsiteX135" fmla="*/ 2395 w 4292"/>
                  <a:gd name="connsiteY135" fmla="*/ 519 h 1039"/>
                  <a:gd name="connsiteX136" fmla="*/ 2432 w 4292"/>
                  <a:gd name="connsiteY136" fmla="*/ 581 h 1039"/>
                  <a:gd name="connsiteX137" fmla="*/ 2469 w 4292"/>
                  <a:gd name="connsiteY137" fmla="*/ 639 h 1039"/>
                  <a:gd name="connsiteX138" fmla="*/ 2509 w 4292"/>
                  <a:gd name="connsiteY138" fmla="*/ 697 h 1039"/>
                  <a:gd name="connsiteX139" fmla="*/ 2546 w 4292"/>
                  <a:gd name="connsiteY139" fmla="*/ 751 h 1039"/>
                  <a:gd name="connsiteX140" fmla="*/ 2587 w 4292"/>
                  <a:gd name="connsiteY140" fmla="*/ 801 h 1039"/>
                  <a:gd name="connsiteX141" fmla="*/ 2628 w 4292"/>
                  <a:gd name="connsiteY141" fmla="*/ 844 h 1039"/>
                  <a:gd name="connsiteX142" fmla="*/ 2672 w 4292"/>
                  <a:gd name="connsiteY142" fmla="*/ 882 h 1039"/>
                  <a:gd name="connsiteX143" fmla="*/ 2717 w 4292"/>
                  <a:gd name="connsiteY143" fmla="*/ 913 h 1039"/>
                  <a:gd name="connsiteX144" fmla="*/ 2767 w 4292"/>
                  <a:gd name="connsiteY144" fmla="*/ 936 h 1039"/>
                  <a:gd name="connsiteX145" fmla="*/ 2820 w 4292"/>
                  <a:gd name="connsiteY145" fmla="*/ 948 h 1039"/>
                  <a:gd name="connsiteX146" fmla="*/ 2876 w 4292"/>
                  <a:gd name="connsiteY146" fmla="*/ 952 h 1039"/>
                  <a:gd name="connsiteX147" fmla="*/ 2932 w 4292"/>
                  <a:gd name="connsiteY147" fmla="*/ 946 h 1039"/>
                  <a:gd name="connsiteX148" fmla="*/ 2982 w 4292"/>
                  <a:gd name="connsiteY148" fmla="*/ 931 h 1039"/>
                  <a:gd name="connsiteX149" fmla="*/ 3029 w 4292"/>
                  <a:gd name="connsiteY149" fmla="*/ 911 h 1039"/>
                  <a:gd name="connsiteX150" fmla="*/ 3072 w 4292"/>
                  <a:gd name="connsiteY150" fmla="*/ 880 h 1039"/>
                  <a:gd name="connsiteX151" fmla="*/ 3112 w 4292"/>
                  <a:gd name="connsiteY151" fmla="*/ 844 h 1039"/>
                  <a:gd name="connsiteX152" fmla="*/ 3149 w 4292"/>
                  <a:gd name="connsiteY152" fmla="*/ 803 h 1039"/>
                  <a:gd name="connsiteX0" fmla="*/ 3149 w 4292"/>
                  <a:gd name="connsiteY0" fmla="*/ 803 h 1039"/>
                  <a:gd name="connsiteX1" fmla="*/ 4142 w 4292"/>
                  <a:gd name="connsiteY1" fmla="*/ 131 h 1039"/>
                  <a:gd name="connsiteX2" fmla="*/ 4049 w 4292"/>
                  <a:gd name="connsiteY2" fmla="*/ 94 h 1039"/>
                  <a:gd name="connsiteX3" fmla="*/ 4014 w 4292"/>
                  <a:gd name="connsiteY3" fmla="*/ 85 h 1039"/>
                  <a:gd name="connsiteX4" fmla="*/ 3958 w 4292"/>
                  <a:gd name="connsiteY4" fmla="*/ 83 h 1039"/>
                  <a:gd name="connsiteX5" fmla="*/ 3830 w 4292"/>
                  <a:gd name="connsiteY5" fmla="*/ 102 h 1039"/>
                  <a:gd name="connsiteX6" fmla="*/ 3774 w 4292"/>
                  <a:gd name="connsiteY6" fmla="*/ 123 h 1039"/>
                  <a:gd name="connsiteX7" fmla="*/ 3675 w 4292"/>
                  <a:gd name="connsiteY7" fmla="*/ 183 h 1039"/>
                  <a:gd name="connsiteX8" fmla="*/ 3632 w 4292"/>
                  <a:gd name="connsiteY8" fmla="*/ 220 h 1039"/>
                  <a:gd name="connsiteX9" fmla="*/ 3593 w 4292"/>
                  <a:gd name="connsiteY9" fmla="*/ 264 h 1039"/>
                  <a:gd name="connsiteX10" fmla="*/ 3553 w 4292"/>
                  <a:gd name="connsiteY10" fmla="*/ 309 h 1039"/>
                  <a:gd name="connsiteX11" fmla="*/ 3518 w 4292"/>
                  <a:gd name="connsiteY11" fmla="*/ 359 h 1039"/>
                  <a:gd name="connsiteX12" fmla="*/ 3485 w 4292"/>
                  <a:gd name="connsiteY12" fmla="*/ 411 h 1039"/>
                  <a:gd name="connsiteX13" fmla="*/ 3423 w 4292"/>
                  <a:gd name="connsiteY13" fmla="*/ 519 h 1039"/>
                  <a:gd name="connsiteX14" fmla="*/ 3330 w 4292"/>
                  <a:gd name="connsiteY14" fmla="*/ 687 h 1039"/>
                  <a:gd name="connsiteX15" fmla="*/ 3297 w 4292"/>
                  <a:gd name="connsiteY15" fmla="*/ 743 h 1039"/>
                  <a:gd name="connsiteX16" fmla="*/ 3262 w 4292"/>
                  <a:gd name="connsiteY16" fmla="*/ 795 h 1039"/>
                  <a:gd name="connsiteX17" fmla="*/ 3227 w 4292"/>
                  <a:gd name="connsiteY17" fmla="*/ 844 h 1039"/>
                  <a:gd name="connsiteX18" fmla="*/ 3188 w 4292"/>
                  <a:gd name="connsiteY18" fmla="*/ 890 h 1039"/>
                  <a:gd name="connsiteX19" fmla="*/ 3147 w 4292"/>
                  <a:gd name="connsiteY19" fmla="*/ 931 h 1039"/>
                  <a:gd name="connsiteX20" fmla="*/ 3101 w 4292"/>
                  <a:gd name="connsiteY20" fmla="*/ 967 h 1039"/>
                  <a:gd name="connsiteX21" fmla="*/ 3052 w 4292"/>
                  <a:gd name="connsiteY21" fmla="*/ 996 h 1039"/>
                  <a:gd name="connsiteX22" fmla="*/ 3000 w 4292"/>
                  <a:gd name="connsiteY22" fmla="*/ 1018 h 1039"/>
                  <a:gd name="connsiteX23" fmla="*/ 2942 w 4292"/>
                  <a:gd name="connsiteY23" fmla="*/ 1033 h 1039"/>
                  <a:gd name="connsiteX24" fmla="*/ 2878 w 4292"/>
                  <a:gd name="connsiteY24" fmla="*/ 1039 h 1039"/>
                  <a:gd name="connsiteX25" fmla="*/ 2870 w 4292"/>
                  <a:gd name="connsiteY25" fmla="*/ 1039 h 1039"/>
                  <a:gd name="connsiteX26" fmla="*/ 2808 w 4292"/>
                  <a:gd name="connsiteY26" fmla="*/ 1035 h 1039"/>
                  <a:gd name="connsiteX27" fmla="*/ 2748 w 4292"/>
                  <a:gd name="connsiteY27" fmla="*/ 1021 h 1039"/>
                  <a:gd name="connsiteX28" fmla="*/ 2695 w 4292"/>
                  <a:gd name="connsiteY28" fmla="*/ 998 h 1039"/>
                  <a:gd name="connsiteX29" fmla="*/ 2643 w 4292"/>
                  <a:gd name="connsiteY29" fmla="*/ 969 h 1039"/>
                  <a:gd name="connsiteX30" fmla="*/ 2595 w 4292"/>
                  <a:gd name="connsiteY30" fmla="*/ 931 h 1039"/>
                  <a:gd name="connsiteX31" fmla="*/ 2552 w 4292"/>
                  <a:gd name="connsiteY31" fmla="*/ 890 h 1039"/>
                  <a:gd name="connsiteX32" fmla="*/ 2509 w 4292"/>
                  <a:gd name="connsiteY32" fmla="*/ 842 h 1039"/>
                  <a:gd name="connsiteX33" fmla="*/ 2469 w 4292"/>
                  <a:gd name="connsiteY33" fmla="*/ 792 h 1039"/>
                  <a:gd name="connsiteX34" fmla="*/ 2430 w 4292"/>
                  <a:gd name="connsiteY34" fmla="*/ 736 h 1039"/>
                  <a:gd name="connsiteX35" fmla="*/ 2393 w 4292"/>
                  <a:gd name="connsiteY35" fmla="*/ 680 h 1039"/>
                  <a:gd name="connsiteX36" fmla="*/ 2288 w 4292"/>
                  <a:gd name="connsiteY36" fmla="*/ 506 h 1039"/>
                  <a:gd name="connsiteX37" fmla="*/ 2251 w 4292"/>
                  <a:gd name="connsiteY37" fmla="*/ 448 h 1039"/>
                  <a:gd name="connsiteX38" fmla="*/ 2213 w 4292"/>
                  <a:gd name="connsiteY38" fmla="*/ 392 h 1039"/>
                  <a:gd name="connsiteX39" fmla="*/ 2176 w 4292"/>
                  <a:gd name="connsiteY39" fmla="*/ 338 h 1039"/>
                  <a:gd name="connsiteX40" fmla="*/ 2137 w 4292"/>
                  <a:gd name="connsiteY40" fmla="*/ 289 h 1039"/>
                  <a:gd name="connsiteX41" fmla="*/ 2096 w 4292"/>
                  <a:gd name="connsiteY41" fmla="*/ 243 h 1039"/>
                  <a:gd name="connsiteX42" fmla="*/ 2054 w 4292"/>
                  <a:gd name="connsiteY42" fmla="*/ 201 h 1039"/>
                  <a:gd name="connsiteX43" fmla="*/ 2009 w 4292"/>
                  <a:gd name="connsiteY43" fmla="*/ 164 h 1039"/>
                  <a:gd name="connsiteX44" fmla="*/ 1962 w 4292"/>
                  <a:gd name="connsiteY44" fmla="*/ 135 h 1039"/>
                  <a:gd name="connsiteX45" fmla="*/ 1910 w 4292"/>
                  <a:gd name="connsiteY45" fmla="*/ 112 h 1039"/>
                  <a:gd name="connsiteX46" fmla="*/ 1854 w 4292"/>
                  <a:gd name="connsiteY46" fmla="*/ 96 h 1039"/>
                  <a:gd name="connsiteX47" fmla="*/ 1796 w 4292"/>
                  <a:gd name="connsiteY47" fmla="*/ 87 h 1039"/>
                  <a:gd name="connsiteX48" fmla="*/ 1732 w 4292"/>
                  <a:gd name="connsiteY48" fmla="*/ 89 h 1039"/>
                  <a:gd name="connsiteX49" fmla="*/ 1664 w 4292"/>
                  <a:gd name="connsiteY49" fmla="*/ 100 h 1039"/>
                  <a:gd name="connsiteX50" fmla="*/ 1602 w 4292"/>
                  <a:gd name="connsiteY50" fmla="*/ 118 h 1039"/>
                  <a:gd name="connsiteX51" fmla="*/ 1545 w 4292"/>
                  <a:gd name="connsiteY51" fmla="*/ 143 h 1039"/>
                  <a:gd name="connsiteX52" fmla="*/ 1491 w 4292"/>
                  <a:gd name="connsiteY52" fmla="*/ 177 h 1039"/>
                  <a:gd name="connsiteX53" fmla="*/ 1439 w 4292"/>
                  <a:gd name="connsiteY53" fmla="*/ 214 h 1039"/>
                  <a:gd name="connsiteX54" fmla="*/ 1394 w 4292"/>
                  <a:gd name="connsiteY54" fmla="*/ 257 h 1039"/>
                  <a:gd name="connsiteX55" fmla="*/ 1348 w 4292"/>
                  <a:gd name="connsiteY55" fmla="*/ 303 h 1039"/>
                  <a:gd name="connsiteX56" fmla="*/ 1307 w 4292"/>
                  <a:gd name="connsiteY56" fmla="*/ 355 h 1039"/>
                  <a:gd name="connsiteX57" fmla="*/ 1268 w 4292"/>
                  <a:gd name="connsiteY57" fmla="*/ 409 h 1039"/>
                  <a:gd name="connsiteX58" fmla="*/ 1231 w 4292"/>
                  <a:gd name="connsiteY58" fmla="*/ 463 h 1039"/>
                  <a:gd name="connsiteX59" fmla="*/ 1194 w 4292"/>
                  <a:gd name="connsiteY59" fmla="*/ 519 h 1039"/>
                  <a:gd name="connsiteX60" fmla="*/ 1156 w 4292"/>
                  <a:gd name="connsiteY60" fmla="*/ 577 h 1039"/>
                  <a:gd name="connsiteX61" fmla="*/ 1121 w 4292"/>
                  <a:gd name="connsiteY61" fmla="*/ 633 h 1039"/>
                  <a:gd name="connsiteX62" fmla="*/ 1047 w 4292"/>
                  <a:gd name="connsiteY62" fmla="*/ 745 h 1039"/>
                  <a:gd name="connsiteX63" fmla="*/ 1008 w 4292"/>
                  <a:gd name="connsiteY63" fmla="*/ 797 h 1039"/>
                  <a:gd name="connsiteX64" fmla="*/ 966 w 4292"/>
                  <a:gd name="connsiteY64" fmla="*/ 846 h 1039"/>
                  <a:gd name="connsiteX65" fmla="*/ 923 w 4292"/>
                  <a:gd name="connsiteY65" fmla="*/ 892 h 1039"/>
                  <a:gd name="connsiteX66" fmla="*/ 876 w 4292"/>
                  <a:gd name="connsiteY66" fmla="*/ 933 h 1039"/>
                  <a:gd name="connsiteX67" fmla="*/ 826 w 4292"/>
                  <a:gd name="connsiteY67" fmla="*/ 969 h 1039"/>
                  <a:gd name="connsiteX68" fmla="*/ 772 w 4292"/>
                  <a:gd name="connsiteY68" fmla="*/ 998 h 1039"/>
                  <a:gd name="connsiteX69" fmla="*/ 717 w 4292"/>
                  <a:gd name="connsiteY69" fmla="*/ 1021 h 1039"/>
                  <a:gd name="connsiteX70" fmla="*/ 653 w 4292"/>
                  <a:gd name="connsiteY70" fmla="*/ 1033 h 1039"/>
                  <a:gd name="connsiteX71" fmla="*/ 587 w 4292"/>
                  <a:gd name="connsiteY71" fmla="*/ 1039 h 1039"/>
                  <a:gd name="connsiteX72" fmla="*/ 580 w 4292"/>
                  <a:gd name="connsiteY72" fmla="*/ 1039 h 1039"/>
                  <a:gd name="connsiteX73" fmla="*/ 512 w 4292"/>
                  <a:gd name="connsiteY73" fmla="*/ 1035 h 1039"/>
                  <a:gd name="connsiteX74" fmla="*/ 450 w 4292"/>
                  <a:gd name="connsiteY74" fmla="*/ 1023 h 1039"/>
                  <a:gd name="connsiteX75" fmla="*/ 392 w 4292"/>
                  <a:gd name="connsiteY75" fmla="*/ 1004 h 1039"/>
                  <a:gd name="connsiteX76" fmla="*/ 341 w 4292"/>
                  <a:gd name="connsiteY76" fmla="*/ 979 h 1039"/>
                  <a:gd name="connsiteX77" fmla="*/ 293 w 4292"/>
                  <a:gd name="connsiteY77" fmla="*/ 948 h 1039"/>
                  <a:gd name="connsiteX78" fmla="*/ 248 w 4292"/>
                  <a:gd name="connsiteY78" fmla="*/ 911 h 1039"/>
                  <a:gd name="connsiteX79" fmla="*/ 207 w 4292"/>
                  <a:gd name="connsiteY79" fmla="*/ 869 h 1039"/>
                  <a:gd name="connsiteX80" fmla="*/ 169 w 4292"/>
                  <a:gd name="connsiteY80" fmla="*/ 824 h 1039"/>
                  <a:gd name="connsiteX81" fmla="*/ 132 w 4292"/>
                  <a:gd name="connsiteY81" fmla="*/ 776 h 1039"/>
                  <a:gd name="connsiteX82" fmla="*/ 99 w 4292"/>
                  <a:gd name="connsiteY82" fmla="*/ 724 h 1039"/>
                  <a:gd name="connsiteX83" fmla="*/ 64 w 4292"/>
                  <a:gd name="connsiteY83" fmla="*/ 670 h 1039"/>
                  <a:gd name="connsiteX84" fmla="*/ 33 w 4292"/>
                  <a:gd name="connsiteY84" fmla="*/ 614 h 1039"/>
                  <a:gd name="connsiteX85" fmla="*/ 0 w 4292"/>
                  <a:gd name="connsiteY85" fmla="*/ 556 h 1039"/>
                  <a:gd name="connsiteX86" fmla="*/ 77 w 4292"/>
                  <a:gd name="connsiteY86" fmla="*/ 512 h 1039"/>
                  <a:gd name="connsiteX87" fmla="*/ 110 w 4292"/>
                  <a:gd name="connsiteY87" fmla="*/ 571 h 1039"/>
                  <a:gd name="connsiteX88" fmla="*/ 143 w 4292"/>
                  <a:gd name="connsiteY88" fmla="*/ 627 h 1039"/>
                  <a:gd name="connsiteX89" fmla="*/ 176 w 4292"/>
                  <a:gd name="connsiteY89" fmla="*/ 680 h 1039"/>
                  <a:gd name="connsiteX90" fmla="*/ 209 w 4292"/>
                  <a:gd name="connsiteY90" fmla="*/ 732 h 1039"/>
                  <a:gd name="connsiteX91" fmla="*/ 244 w 4292"/>
                  <a:gd name="connsiteY91" fmla="*/ 778 h 1039"/>
                  <a:gd name="connsiteX92" fmla="*/ 281 w 4292"/>
                  <a:gd name="connsiteY92" fmla="*/ 821 h 1039"/>
                  <a:gd name="connsiteX93" fmla="*/ 322 w 4292"/>
                  <a:gd name="connsiteY93" fmla="*/ 859 h 1039"/>
                  <a:gd name="connsiteX94" fmla="*/ 366 w 4292"/>
                  <a:gd name="connsiteY94" fmla="*/ 890 h 1039"/>
                  <a:gd name="connsiteX95" fmla="*/ 413 w 4292"/>
                  <a:gd name="connsiteY95" fmla="*/ 917 h 1039"/>
                  <a:gd name="connsiteX96" fmla="*/ 463 w 4292"/>
                  <a:gd name="connsiteY96" fmla="*/ 936 h 1039"/>
                  <a:gd name="connsiteX97" fmla="*/ 518 w 4292"/>
                  <a:gd name="connsiteY97" fmla="*/ 948 h 1039"/>
                  <a:gd name="connsiteX98" fmla="*/ 580 w 4292"/>
                  <a:gd name="connsiteY98" fmla="*/ 952 h 1039"/>
                  <a:gd name="connsiteX99" fmla="*/ 587 w 4292"/>
                  <a:gd name="connsiteY99" fmla="*/ 952 h 1039"/>
                  <a:gd name="connsiteX100" fmla="*/ 646 w 4292"/>
                  <a:gd name="connsiteY100" fmla="*/ 946 h 1039"/>
                  <a:gd name="connsiteX101" fmla="*/ 702 w 4292"/>
                  <a:gd name="connsiteY101" fmla="*/ 931 h 1039"/>
                  <a:gd name="connsiteX102" fmla="*/ 756 w 4292"/>
                  <a:gd name="connsiteY102" fmla="*/ 909 h 1039"/>
                  <a:gd name="connsiteX103" fmla="*/ 803 w 4292"/>
                  <a:gd name="connsiteY103" fmla="*/ 880 h 1039"/>
                  <a:gd name="connsiteX104" fmla="*/ 849 w 4292"/>
                  <a:gd name="connsiteY104" fmla="*/ 842 h 1039"/>
                  <a:gd name="connsiteX105" fmla="*/ 892 w 4292"/>
                  <a:gd name="connsiteY105" fmla="*/ 799 h 1039"/>
                  <a:gd name="connsiteX106" fmla="*/ 931 w 4292"/>
                  <a:gd name="connsiteY106" fmla="*/ 751 h 1039"/>
                  <a:gd name="connsiteX107" fmla="*/ 971 w 4292"/>
                  <a:gd name="connsiteY107" fmla="*/ 699 h 1039"/>
                  <a:gd name="connsiteX108" fmla="*/ 1010 w 4292"/>
                  <a:gd name="connsiteY108" fmla="*/ 645 h 1039"/>
                  <a:gd name="connsiteX109" fmla="*/ 1121 w 4292"/>
                  <a:gd name="connsiteY109" fmla="*/ 471 h 1039"/>
                  <a:gd name="connsiteX110" fmla="*/ 1161 w 4292"/>
                  <a:gd name="connsiteY110" fmla="*/ 411 h 1039"/>
                  <a:gd name="connsiteX111" fmla="*/ 1202 w 4292"/>
                  <a:gd name="connsiteY111" fmla="*/ 353 h 1039"/>
                  <a:gd name="connsiteX112" fmla="*/ 1245 w 4292"/>
                  <a:gd name="connsiteY112" fmla="*/ 295 h 1039"/>
                  <a:gd name="connsiteX113" fmla="*/ 1291 w 4292"/>
                  <a:gd name="connsiteY113" fmla="*/ 241 h 1039"/>
                  <a:gd name="connsiteX114" fmla="*/ 1338 w 4292"/>
                  <a:gd name="connsiteY114" fmla="*/ 189 h 1039"/>
                  <a:gd name="connsiteX115" fmla="*/ 1392 w 4292"/>
                  <a:gd name="connsiteY115" fmla="*/ 141 h 1039"/>
                  <a:gd name="connsiteX116" fmla="*/ 1447 w 4292"/>
                  <a:gd name="connsiteY116" fmla="*/ 100 h 1039"/>
                  <a:gd name="connsiteX117" fmla="*/ 1509 w 4292"/>
                  <a:gd name="connsiteY117" fmla="*/ 65 h 1039"/>
                  <a:gd name="connsiteX118" fmla="*/ 1575 w 4292"/>
                  <a:gd name="connsiteY118" fmla="*/ 36 h 1039"/>
                  <a:gd name="connsiteX119" fmla="*/ 1648 w 4292"/>
                  <a:gd name="connsiteY119" fmla="*/ 15 h 1039"/>
                  <a:gd name="connsiteX120" fmla="*/ 1726 w 4292"/>
                  <a:gd name="connsiteY120" fmla="*/ 2 h 1039"/>
                  <a:gd name="connsiteX121" fmla="*/ 1796 w 4292"/>
                  <a:gd name="connsiteY121" fmla="*/ 0 h 1039"/>
                  <a:gd name="connsiteX122" fmla="*/ 1862 w 4292"/>
                  <a:gd name="connsiteY122" fmla="*/ 9 h 1039"/>
                  <a:gd name="connsiteX123" fmla="*/ 1922 w 4292"/>
                  <a:gd name="connsiteY123" fmla="*/ 23 h 1039"/>
                  <a:gd name="connsiteX124" fmla="*/ 1980 w 4292"/>
                  <a:gd name="connsiteY124" fmla="*/ 46 h 1039"/>
                  <a:gd name="connsiteX125" fmla="*/ 2034 w 4292"/>
                  <a:gd name="connsiteY125" fmla="*/ 77 h 1039"/>
                  <a:gd name="connsiteX126" fmla="*/ 2083 w 4292"/>
                  <a:gd name="connsiteY126" fmla="*/ 112 h 1039"/>
                  <a:gd name="connsiteX127" fmla="*/ 2129 w 4292"/>
                  <a:gd name="connsiteY127" fmla="*/ 154 h 1039"/>
                  <a:gd name="connsiteX128" fmla="*/ 2174 w 4292"/>
                  <a:gd name="connsiteY128" fmla="*/ 199 h 1039"/>
                  <a:gd name="connsiteX129" fmla="*/ 2216 w 4292"/>
                  <a:gd name="connsiteY129" fmla="*/ 247 h 1039"/>
                  <a:gd name="connsiteX130" fmla="*/ 2255 w 4292"/>
                  <a:gd name="connsiteY130" fmla="*/ 299 h 1039"/>
                  <a:gd name="connsiteX131" fmla="*/ 2292 w 4292"/>
                  <a:gd name="connsiteY131" fmla="*/ 353 h 1039"/>
                  <a:gd name="connsiteX132" fmla="*/ 2327 w 4292"/>
                  <a:gd name="connsiteY132" fmla="*/ 409 h 1039"/>
                  <a:gd name="connsiteX133" fmla="*/ 2362 w 4292"/>
                  <a:gd name="connsiteY133" fmla="*/ 463 h 1039"/>
                  <a:gd name="connsiteX134" fmla="*/ 2395 w 4292"/>
                  <a:gd name="connsiteY134" fmla="*/ 519 h 1039"/>
                  <a:gd name="connsiteX135" fmla="*/ 2432 w 4292"/>
                  <a:gd name="connsiteY135" fmla="*/ 581 h 1039"/>
                  <a:gd name="connsiteX136" fmla="*/ 2469 w 4292"/>
                  <a:gd name="connsiteY136" fmla="*/ 639 h 1039"/>
                  <a:gd name="connsiteX137" fmla="*/ 2509 w 4292"/>
                  <a:gd name="connsiteY137" fmla="*/ 697 h 1039"/>
                  <a:gd name="connsiteX138" fmla="*/ 2546 w 4292"/>
                  <a:gd name="connsiteY138" fmla="*/ 751 h 1039"/>
                  <a:gd name="connsiteX139" fmla="*/ 2587 w 4292"/>
                  <a:gd name="connsiteY139" fmla="*/ 801 h 1039"/>
                  <a:gd name="connsiteX140" fmla="*/ 2628 w 4292"/>
                  <a:gd name="connsiteY140" fmla="*/ 844 h 1039"/>
                  <a:gd name="connsiteX141" fmla="*/ 2672 w 4292"/>
                  <a:gd name="connsiteY141" fmla="*/ 882 h 1039"/>
                  <a:gd name="connsiteX142" fmla="*/ 2717 w 4292"/>
                  <a:gd name="connsiteY142" fmla="*/ 913 h 1039"/>
                  <a:gd name="connsiteX143" fmla="*/ 2767 w 4292"/>
                  <a:gd name="connsiteY143" fmla="*/ 936 h 1039"/>
                  <a:gd name="connsiteX144" fmla="*/ 2820 w 4292"/>
                  <a:gd name="connsiteY144" fmla="*/ 948 h 1039"/>
                  <a:gd name="connsiteX145" fmla="*/ 2876 w 4292"/>
                  <a:gd name="connsiteY145" fmla="*/ 952 h 1039"/>
                  <a:gd name="connsiteX146" fmla="*/ 2932 w 4292"/>
                  <a:gd name="connsiteY146" fmla="*/ 946 h 1039"/>
                  <a:gd name="connsiteX147" fmla="*/ 2982 w 4292"/>
                  <a:gd name="connsiteY147" fmla="*/ 931 h 1039"/>
                  <a:gd name="connsiteX148" fmla="*/ 3029 w 4292"/>
                  <a:gd name="connsiteY148" fmla="*/ 911 h 1039"/>
                  <a:gd name="connsiteX149" fmla="*/ 3072 w 4292"/>
                  <a:gd name="connsiteY149" fmla="*/ 880 h 1039"/>
                  <a:gd name="connsiteX150" fmla="*/ 3112 w 4292"/>
                  <a:gd name="connsiteY150" fmla="*/ 844 h 1039"/>
                  <a:gd name="connsiteX151" fmla="*/ 3149 w 4292"/>
                  <a:gd name="connsiteY151" fmla="*/ 803 h 1039"/>
                  <a:gd name="connsiteX0" fmla="*/ 3149 w 4292"/>
                  <a:gd name="connsiteY0" fmla="*/ 803 h 1039"/>
                  <a:gd name="connsiteX1" fmla="*/ 4142 w 4292"/>
                  <a:gd name="connsiteY1" fmla="*/ 131 h 1039"/>
                  <a:gd name="connsiteX2" fmla="*/ 4049 w 4292"/>
                  <a:gd name="connsiteY2" fmla="*/ 94 h 1039"/>
                  <a:gd name="connsiteX3" fmla="*/ 4014 w 4292"/>
                  <a:gd name="connsiteY3" fmla="*/ 85 h 1039"/>
                  <a:gd name="connsiteX4" fmla="*/ 3958 w 4292"/>
                  <a:gd name="connsiteY4" fmla="*/ 83 h 1039"/>
                  <a:gd name="connsiteX5" fmla="*/ 3830 w 4292"/>
                  <a:gd name="connsiteY5" fmla="*/ 102 h 1039"/>
                  <a:gd name="connsiteX6" fmla="*/ 3774 w 4292"/>
                  <a:gd name="connsiteY6" fmla="*/ 123 h 1039"/>
                  <a:gd name="connsiteX7" fmla="*/ 3675 w 4292"/>
                  <a:gd name="connsiteY7" fmla="*/ 183 h 1039"/>
                  <a:gd name="connsiteX8" fmla="*/ 3593 w 4292"/>
                  <a:gd name="connsiteY8" fmla="*/ 264 h 1039"/>
                  <a:gd name="connsiteX9" fmla="*/ 3553 w 4292"/>
                  <a:gd name="connsiteY9" fmla="*/ 309 h 1039"/>
                  <a:gd name="connsiteX10" fmla="*/ 3518 w 4292"/>
                  <a:gd name="connsiteY10" fmla="*/ 359 h 1039"/>
                  <a:gd name="connsiteX11" fmla="*/ 3485 w 4292"/>
                  <a:gd name="connsiteY11" fmla="*/ 411 h 1039"/>
                  <a:gd name="connsiteX12" fmla="*/ 3423 w 4292"/>
                  <a:gd name="connsiteY12" fmla="*/ 519 h 1039"/>
                  <a:gd name="connsiteX13" fmla="*/ 3330 w 4292"/>
                  <a:gd name="connsiteY13" fmla="*/ 687 h 1039"/>
                  <a:gd name="connsiteX14" fmla="*/ 3297 w 4292"/>
                  <a:gd name="connsiteY14" fmla="*/ 743 h 1039"/>
                  <a:gd name="connsiteX15" fmla="*/ 3262 w 4292"/>
                  <a:gd name="connsiteY15" fmla="*/ 795 h 1039"/>
                  <a:gd name="connsiteX16" fmla="*/ 3227 w 4292"/>
                  <a:gd name="connsiteY16" fmla="*/ 844 h 1039"/>
                  <a:gd name="connsiteX17" fmla="*/ 3188 w 4292"/>
                  <a:gd name="connsiteY17" fmla="*/ 890 h 1039"/>
                  <a:gd name="connsiteX18" fmla="*/ 3147 w 4292"/>
                  <a:gd name="connsiteY18" fmla="*/ 931 h 1039"/>
                  <a:gd name="connsiteX19" fmla="*/ 3101 w 4292"/>
                  <a:gd name="connsiteY19" fmla="*/ 967 h 1039"/>
                  <a:gd name="connsiteX20" fmla="*/ 3052 w 4292"/>
                  <a:gd name="connsiteY20" fmla="*/ 996 h 1039"/>
                  <a:gd name="connsiteX21" fmla="*/ 3000 w 4292"/>
                  <a:gd name="connsiteY21" fmla="*/ 1018 h 1039"/>
                  <a:gd name="connsiteX22" fmla="*/ 2942 w 4292"/>
                  <a:gd name="connsiteY22" fmla="*/ 1033 h 1039"/>
                  <a:gd name="connsiteX23" fmla="*/ 2878 w 4292"/>
                  <a:gd name="connsiteY23" fmla="*/ 1039 h 1039"/>
                  <a:gd name="connsiteX24" fmla="*/ 2870 w 4292"/>
                  <a:gd name="connsiteY24" fmla="*/ 1039 h 1039"/>
                  <a:gd name="connsiteX25" fmla="*/ 2808 w 4292"/>
                  <a:gd name="connsiteY25" fmla="*/ 1035 h 1039"/>
                  <a:gd name="connsiteX26" fmla="*/ 2748 w 4292"/>
                  <a:gd name="connsiteY26" fmla="*/ 1021 h 1039"/>
                  <a:gd name="connsiteX27" fmla="*/ 2695 w 4292"/>
                  <a:gd name="connsiteY27" fmla="*/ 998 h 1039"/>
                  <a:gd name="connsiteX28" fmla="*/ 2643 w 4292"/>
                  <a:gd name="connsiteY28" fmla="*/ 969 h 1039"/>
                  <a:gd name="connsiteX29" fmla="*/ 2595 w 4292"/>
                  <a:gd name="connsiteY29" fmla="*/ 931 h 1039"/>
                  <a:gd name="connsiteX30" fmla="*/ 2552 w 4292"/>
                  <a:gd name="connsiteY30" fmla="*/ 890 h 1039"/>
                  <a:gd name="connsiteX31" fmla="*/ 2509 w 4292"/>
                  <a:gd name="connsiteY31" fmla="*/ 842 h 1039"/>
                  <a:gd name="connsiteX32" fmla="*/ 2469 w 4292"/>
                  <a:gd name="connsiteY32" fmla="*/ 792 h 1039"/>
                  <a:gd name="connsiteX33" fmla="*/ 2430 w 4292"/>
                  <a:gd name="connsiteY33" fmla="*/ 736 h 1039"/>
                  <a:gd name="connsiteX34" fmla="*/ 2393 w 4292"/>
                  <a:gd name="connsiteY34" fmla="*/ 680 h 1039"/>
                  <a:gd name="connsiteX35" fmla="*/ 2288 w 4292"/>
                  <a:gd name="connsiteY35" fmla="*/ 506 h 1039"/>
                  <a:gd name="connsiteX36" fmla="*/ 2251 w 4292"/>
                  <a:gd name="connsiteY36" fmla="*/ 448 h 1039"/>
                  <a:gd name="connsiteX37" fmla="*/ 2213 w 4292"/>
                  <a:gd name="connsiteY37" fmla="*/ 392 h 1039"/>
                  <a:gd name="connsiteX38" fmla="*/ 2176 w 4292"/>
                  <a:gd name="connsiteY38" fmla="*/ 338 h 1039"/>
                  <a:gd name="connsiteX39" fmla="*/ 2137 w 4292"/>
                  <a:gd name="connsiteY39" fmla="*/ 289 h 1039"/>
                  <a:gd name="connsiteX40" fmla="*/ 2096 w 4292"/>
                  <a:gd name="connsiteY40" fmla="*/ 243 h 1039"/>
                  <a:gd name="connsiteX41" fmla="*/ 2054 w 4292"/>
                  <a:gd name="connsiteY41" fmla="*/ 201 h 1039"/>
                  <a:gd name="connsiteX42" fmla="*/ 2009 w 4292"/>
                  <a:gd name="connsiteY42" fmla="*/ 164 h 1039"/>
                  <a:gd name="connsiteX43" fmla="*/ 1962 w 4292"/>
                  <a:gd name="connsiteY43" fmla="*/ 135 h 1039"/>
                  <a:gd name="connsiteX44" fmla="*/ 1910 w 4292"/>
                  <a:gd name="connsiteY44" fmla="*/ 112 h 1039"/>
                  <a:gd name="connsiteX45" fmla="*/ 1854 w 4292"/>
                  <a:gd name="connsiteY45" fmla="*/ 96 h 1039"/>
                  <a:gd name="connsiteX46" fmla="*/ 1796 w 4292"/>
                  <a:gd name="connsiteY46" fmla="*/ 87 h 1039"/>
                  <a:gd name="connsiteX47" fmla="*/ 1732 w 4292"/>
                  <a:gd name="connsiteY47" fmla="*/ 89 h 1039"/>
                  <a:gd name="connsiteX48" fmla="*/ 1664 w 4292"/>
                  <a:gd name="connsiteY48" fmla="*/ 100 h 1039"/>
                  <a:gd name="connsiteX49" fmla="*/ 1602 w 4292"/>
                  <a:gd name="connsiteY49" fmla="*/ 118 h 1039"/>
                  <a:gd name="connsiteX50" fmla="*/ 1545 w 4292"/>
                  <a:gd name="connsiteY50" fmla="*/ 143 h 1039"/>
                  <a:gd name="connsiteX51" fmla="*/ 1491 w 4292"/>
                  <a:gd name="connsiteY51" fmla="*/ 177 h 1039"/>
                  <a:gd name="connsiteX52" fmla="*/ 1439 w 4292"/>
                  <a:gd name="connsiteY52" fmla="*/ 214 h 1039"/>
                  <a:gd name="connsiteX53" fmla="*/ 1394 w 4292"/>
                  <a:gd name="connsiteY53" fmla="*/ 257 h 1039"/>
                  <a:gd name="connsiteX54" fmla="*/ 1348 w 4292"/>
                  <a:gd name="connsiteY54" fmla="*/ 303 h 1039"/>
                  <a:gd name="connsiteX55" fmla="*/ 1307 w 4292"/>
                  <a:gd name="connsiteY55" fmla="*/ 355 h 1039"/>
                  <a:gd name="connsiteX56" fmla="*/ 1268 w 4292"/>
                  <a:gd name="connsiteY56" fmla="*/ 409 h 1039"/>
                  <a:gd name="connsiteX57" fmla="*/ 1231 w 4292"/>
                  <a:gd name="connsiteY57" fmla="*/ 463 h 1039"/>
                  <a:gd name="connsiteX58" fmla="*/ 1194 w 4292"/>
                  <a:gd name="connsiteY58" fmla="*/ 519 h 1039"/>
                  <a:gd name="connsiteX59" fmla="*/ 1156 w 4292"/>
                  <a:gd name="connsiteY59" fmla="*/ 577 h 1039"/>
                  <a:gd name="connsiteX60" fmla="*/ 1121 w 4292"/>
                  <a:gd name="connsiteY60" fmla="*/ 633 h 1039"/>
                  <a:gd name="connsiteX61" fmla="*/ 1047 w 4292"/>
                  <a:gd name="connsiteY61" fmla="*/ 745 h 1039"/>
                  <a:gd name="connsiteX62" fmla="*/ 1008 w 4292"/>
                  <a:gd name="connsiteY62" fmla="*/ 797 h 1039"/>
                  <a:gd name="connsiteX63" fmla="*/ 966 w 4292"/>
                  <a:gd name="connsiteY63" fmla="*/ 846 h 1039"/>
                  <a:gd name="connsiteX64" fmla="*/ 923 w 4292"/>
                  <a:gd name="connsiteY64" fmla="*/ 892 h 1039"/>
                  <a:gd name="connsiteX65" fmla="*/ 876 w 4292"/>
                  <a:gd name="connsiteY65" fmla="*/ 933 h 1039"/>
                  <a:gd name="connsiteX66" fmla="*/ 826 w 4292"/>
                  <a:gd name="connsiteY66" fmla="*/ 969 h 1039"/>
                  <a:gd name="connsiteX67" fmla="*/ 772 w 4292"/>
                  <a:gd name="connsiteY67" fmla="*/ 998 h 1039"/>
                  <a:gd name="connsiteX68" fmla="*/ 717 w 4292"/>
                  <a:gd name="connsiteY68" fmla="*/ 1021 h 1039"/>
                  <a:gd name="connsiteX69" fmla="*/ 653 w 4292"/>
                  <a:gd name="connsiteY69" fmla="*/ 1033 h 1039"/>
                  <a:gd name="connsiteX70" fmla="*/ 587 w 4292"/>
                  <a:gd name="connsiteY70" fmla="*/ 1039 h 1039"/>
                  <a:gd name="connsiteX71" fmla="*/ 580 w 4292"/>
                  <a:gd name="connsiteY71" fmla="*/ 1039 h 1039"/>
                  <a:gd name="connsiteX72" fmla="*/ 512 w 4292"/>
                  <a:gd name="connsiteY72" fmla="*/ 1035 h 1039"/>
                  <a:gd name="connsiteX73" fmla="*/ 450 w 4292"/>
                  <a:gd name="connsiteY73" fmla="*/ 1023 h 1039"/>
                  <a:gd name="connsiteX74" fmla="*/ 392 w 4292"/>
                  <a:gd name="connsiteY74" fmla="*/ 1004 h 1039"/>
                  <a:gd name="connsiteX75" fmla="*/ 341 w 4292"/>
                  <a:gd name="connsiteY75" fmla="*/ 979 h 1039"/>
                  <a:gd name="connsiteX76" fmla="*/ 293 w 4292"/>
                  <a:gd name="connsiteY76" fmla="*/ 948 h 1039"/>
                  <a:gd name="connsiteX77" fmla="*/ 248 w 4292"/>
                  <a:gd name="connsiteY77" fmla="*/ 911 h 1039"/>
                  <a:gd name="connsiteX78" fmla="*/ 207 w 4292"/>
                  <a:gd name="connsiteY78" fmla="*/ 869 h 1039"/>
                  <a:gd name="connsiteX79" fmla="*/ 169 w 4292"/>
                  <a:gd name="connsiteY79" fmla="*/ 824 h 1039"/>
                  <a:gd name="connsiteX80" fmla="*/ 132 w 4292"/>
                  <a:gd name="connsiteY80" fmla="*/ 776 h 1039"/>
                  <a:gd name="connsiteX81" fmla="*/ 99 w 4292"/>
                  <a:gd name="connsiteY81" fmla="*/ 724 h 1039"/>
                  <a:gd name="connsiteX82" fmla="*/ 64 w 4292"/>
                  <a:gd name="connsiteY82" fmla="*/ 670 h 1039"/>
                  <a:gd name="connsiteX83" fmla="*/ 33 w 4292"/>
                  <a:gd name="connsiteY83" fmla="*/ 614 h 1039"/>
                  <a:gd name="connsiteX84" fmla="*/ 0 w 4292"/>
                  <a:gd name="connsiteY84" fmla="*/ 556 h 1039"/>
                  <a:gd name="connsiteX85" fmla="*/ 77 w 4292"/>
                  <a:gd name="connsiteY85" fmla="*/ 512 h 1039"/>
                  <a:gd name="connsiteX86" fmla="*/ 110 w 4292"/>
                  <a:gd name="connsiteY86" fmla="*/ 571 h 1039"/>
                  <a:gd name="connsiteX87" fmla="*/ 143 w 4292"/>
                  <a:gd name="connsiteY87" fmla="*/ 627 h 1039"/>
                  <a:gd name="connsiteX88" fmla="*/ 176 w 4292"/>
                  <a:gd name="connsiteY88" fmla="*/ 680 h 1039"/>
                  <a:gd name="connsiteX89" fmla="*/ 209 w 4292"/>
                  <a:gd name="connsiteY89" fmla="*/ 732 h 1039"/>
                  <a:gd name="connsiteX90" fmla="*/ 244 w 4292"/>
                  <a:gd name="connsiteY90" fmla="*/ 778 h 1039"/>
                  <a:gd name="connsiteX91" fmla="*/ 281 w 4292"/>
                  <a:gd name="connsiteY91" fmla="*/ 821 h 1039"/>
                  <a:gd name="connsiteX92" fmla="*/ 322 w 4292"/>
                  <a:gd name="connsiteY92" fmla="*/ 859 h 1039"/>
                  <a:gd name="connsiteX93" fmla="*/ 366 w 4292"/>
                  <a:gd name="connsiteY93" fmla="*/ 890 h 1039"/>
                  <a:gd name="connsiteX94" fmla="*/ 413 w 4292"/>
                  <a:gd name="connsiteY94" fmla="*/ 917 h 1039"/>
                  <a:gd name="connsiteX95" fmla="*/ 463 w 4292"/>
                  <a:gd name="connsiteY95" fmla="*/ 936 h 1039"/>
                  <a:gd name="connsiteX96" fmla="*/ 518 w 4292"/>
                  <a:gd name="connsiteY96" fmla="*/ 948 h 1039"/>
                  <a:gd name="connsiteX97" fmla="*/ 580 w 4292"/>
                  <a:gd name="connsiteY97" fmla="*/ 952 h 1039"/>
                  <a:gd name="connsiteX98" fmla="*/ 587 w 4292"/>
                  <a:gd name="connsiteY98" fmla="*/ 952 h 1039"/>
                  <a:gd name="connsiteX99" fmla="*/ 646 w 4292"/>
                  <a:gd name="connsiteY99" fmla="*/ 946 h 1039"/>
                  <a:gd name="connsiteX100" fmla="*/ 702 w 4292"/>
                  <a:gd name="connsiteY100" fmla="*/ 931 h 1039"/>
                  <a:gd name="connsiteX101" fmla="*/ 756 w 4292"/>
                  <a:gd name="connsiteY101" fmla="*/ 909 h 1039"/>
                  <a:gd name="connsiteX102" fmla="*/ 803 w 4292"/>
                  <a:gd name="connsiteY102" fmla="*/ 880 h 1039"/>
                  <a:gd name="connsiteX103" fmla="*/ 849 w 4292"/>
                  <a:gd name="connsiteY103" fmla="*/ 842 h 1039"/>
                  <a:gd name="connsiteX104" fmla="*/ 892 w 4292"/>
                  <a:gd name="connsiteY104" fmla="*/ 799 h 1039"/>
                  <a:gd name="connsiteX105" fmla="*/ 931 w 4292"/>
                  <a:gd name="connsiteY105" fmla="*/ 751 h 1039"/>
                  <a:gd name="connsiteX106" fmla="*/ 971 w 4292"/>
                  <a:gd name="connsiteY106" fmla="*/ 699 h 1039"/>
                  <a:gd name="connsiteX107" fmla="*/ 1010 w 4292"/>
                  <a:gd name="connsiteY107" fmla="*/ 645 h 1039"/>
                  <a:gd name="connsiteX108" fmla="*/ 1121 w 4292"/>
                  <a:gd name="connsiteY108" fmla="*/ 471 h 1039"/>
                  <a:gd name="connsiteX109" fmla="*/ 1161 w 4292"/>
                  <a:gd name="connsiteY109" fmla="*/ 411 h 1039"/>
                  <a:gd name="connsiteX110" fmla="*/ 1202 w 4292"/>
                  <a:gd name="connsiteY110" fmla="*/ 353 h 1039"/>
                  <a:gd name="connsiteX111" fmla="*/ 1245 w 4292"/>
                  <a:gd name="connsiteY111" fmla="*/ 295 h 1039"/>
                  <a:gd name="connsiteX112" fmla="*/ 1291 w 4292"/>
                  <a:gd name="connsiteY112" fmla="*/ 241 h 1039"/>
                  <a:gd name="connsiteX113" fmla="*/ 1338 w 4292"/>
                  <a:gd name="connsiteY113" fmla="*/ 189 h 1039"/>
                  <a:gd name="connsiteX114" fmla="*/ 1392 w 4292"/>
                  <a:gd name="connsiteY114" fmla="*/ 141 h 1039"/>
                  <a:gd name="connsiteX115" fmla="*/ 1447 w 4292"/>
                  <a:gd name="connsiteY115" fmla="*/ 100 h 1039"/>
                  <a:gd name="connsiteX116" fmla="*/ 1509 w 4292"/>
                  <a:gd name="connsiteY116" fmla="*/ 65 h 1039"/>
                  <a:gd name="connsiteX117" fmla="*/ 1575 w 4292"/>
                  <a:gd name="connsiteY117" fmla="*/ 36 h 1039"/>
                  <a:gd name="connsiteX118" fmla="*/ 1648 w 4292"/>
                  <a:gd name="connsiteY118" fmla="*/ 15 h 1039"/>
                  <a:gd name="connsiteX119" fmla="*/ 1726 w 4292"/>
                  <a:gd name="connsiteY119" fmla="*/ 2 h 1039"/>
                  <a:gd name="connsiteX120" fmla="*/ 1796 w 4292"/>
                  <a:gd name="connsiteY120" fmla="*/ 0 h 1039"/>
                  <a:gd name="connsiteX121" fmla="*/ 1862 w 4292"/>
                  <a:gd name="connsiteY121" fmla="*/ 9 h 1039"/>
                  <a:gd name="connsiteX122" fmla="*/ 1922 w 4292"/>
                  <a:gd name="connsiteY122" fmla="*/ 23 h 1039"/>
                  <a:gd name="connsiteX123" fmla="*/ 1980 w 4292"/>
                  <a:gd name="connsiteY123" fmla="*/ 46 h 1039"/>
                  <a:gd name="connsiteX124" fmla="*/ 2034 w 4292"/>
                  <a:gd name="connsiteY124" fmla="*/ 77 h 1039"/>
                  <a:gd name="connsiteX125" fmla="*/ 2083 w 4292"/>
                  <a:gd name="connsiteY125" fmla="*/ 112 h 1039"/>
                  <a:gd name="connsiteX126" fmla="*/ 2129 w 4292"/>
                  <a:gd name="connsiteY126" fmla="*/ 154 h 1039"/>
                  <a:gd name="connsiteX127" fmla="*/ 2174 w 4292"/>
                  <a:gd name="connsiteY127" fmla="*/ 199 h 1039"/>
                  <a:gd name="connsiteX128" fmla="*/ 2216 w 4292"/>
                  <a:gd name="connsiteY128" fmla="*/ 247 h 1039"/>
                  <a:gd name="connsiteX129" fmla="*/ 2255 w 4292"/>
                  <a:gd name="connsiteY129" fmla="*/ 299 h 1039"/>
                  <a:gd name="connsiteX130" fmla="*/ 2292 w 4292"/>
                  <a:gd name="connsiteY130" fmla="*/ 353 h 1039"/>
                  <a:gd name="connsiteX131" fmla="*/ 2327 w 4292"/>
                  <a:gd name="connsiteY131" fmla="*/ 409 h 1039"/>
                  <a:gd name="connsiteX132" fmla="*/ 2362 w 4292"/>
                  <a:gd name="connsiteY132" fmla="*/ 463 h 1039"/>
                  <a:gd name="connsiteX133" fmla="*/ 2395 w 4292"/>
                  <a:gd name="connsiteY133" fmla="*/ 519 h 1039"/>
                  <a:gd name="connsiteX134" fmla="*/ 2432 w 4292"/>
                  <a:gd name="connsiteY134" fmla="*/ 581 h 1039"/>
                  <a:gd name="connsiteX135" fmla="*/ 2469 w 4292"/>
                  <a:gd name="connsiteY135" fmla="*/ 639 h 1039"/>
                  <a:gd name="connsiteX136" fmla="*/ 2509 w 4292"/>
                  <a:gd name="connsiteY136" fmla="*/ 697 h 1039"/>
                  <a:gd name="connsiteX137" fmla="*/ 2546 w 4292"/>
                  <a:gd name="connsiteY137" fmla="*/ 751 h 1039"/>
                  <a:gd name="connsiteX138" fmla="*/ 2587 w 4292"/>
                  <a:gd name="connsiteY138" fmla="*/ 801 h 1039"/>
                  <a:gd name="connsiteX139" fmla="*/ 2628 w 4292"/>
                  <a:gd name="connsiteY139" fmla="*/ 844 h 1039"/>
                  <a:gd name="connsiteX140" fmla="*/ 2672 w 4292"/>
                  <a:gd name="connsiteY140" fmla="*/ 882 h 1039"/>
                  <a:gd name="connsiteX141" fmla="*/ 2717 w 4292"/>
                  <a:gd name="connsiteY141" fmla="*/ 913 h 1039"/>
                  <a:gd name="connsiteX142" fmla="*/ 2767 w 4292"/>
                  <a:gd name="connsiteY142" fmla="*/ 936 h 1039"/>
                  <a:gd name="connsiteX143" fmla="*/ 2820 w 4292"/>
                  <a:gd name="connsiteY143" fmla="*/ 948 h 1039"/>
                  <a:gd name="connsiteX144" fmla="*/ 2876 w 4292"/>
                  <a:gd name="connsiteY144" fmla="*/ 952 h 1039"/>
                  <a:gd name="connsiteX145" fmla="*/ 2932 w 4292"/>
                  <a:gd name="connsiteY145" fmla="*/ 946 h 1039"/>
                  <a:gd name="connsiteX146" fmla="*/ 2982 w 4292"/>
                  <a:gd name="connsiteY146" fmla="*/ 931 h 1039"/>
                  <a:gd name="connsiteX147" fmla="*/ 3029 w 4292"/>
                  <a:gd name="connsiteY147" fmla="*/ 911 h 1039"/>
                  <a:gd name="connsiteX148" fmla="*/ 3072 w 4292"/>
                  <a:gd name="connsiteY148" fmla="*/ 880 h 1039"/>
                  <a:gd name="connsiteX149" fmla="*/ 3112 w 4292"/>
                  <a:gd name="connsiteY149" fmla="*/ 844 h 1039"/>
                  <a:gd name="connsiteX150" fmla="*/ 3149 w 4292"/>
                  <a:gd name="connsiteY150" fmla="*/ 803 h 1039"/>
                  <a:gd name="connsiteX0" fmla="*/ 3149 w 4292"/>
                  <a:gd name="connsiteY0" fmla="*/ 803 h 1039"/>
                  <a:gd name="connsiteX1" fmla="*/ 4142 w 4292"/>
                  <a:gd name="connsiteY1" fmla="*/ 131 h 1039"/>
                  <a:gd name="connsiteX2" fmla="*/ 4049 w 4292"/>
                  <a:gd name="connsiteY2" fmla="*/ 94 h 1039"/>
                  <a:gd name="connsiteX3" fmla="*/ 4014 w 4292"/>
                  <a:gd name="connsiteY3" fmla="*/ 85 h 1039"/>
                  <a:gd name="connsiteX4" fmla="*/ 3958 w 4292"/>
                  <a:gd name="connsiteY4" fmla="*/ 83 h 1039"/>
                  <a:gd name="connsiteX5" fmla="*/ 3830 w 4292"/>
                  <a:gd name="connsiteY5" fmla="*/ 102 h 1039"/>
                  <a:gd name="connsiteX6" fmla="*/ 3774 w 4292"/>
                  <a:gd name="connsiteY6" fmla="*/ 123 h 1039"/>
                  <a:gd name="connsiteX7" fmla="*/ 3675 w 4292"/>
                  <a:gd name="connsiteY7" fmla="*/ 183 h 1039"/>
                  <a:gd name="connsiteX8" fmla="*/ 3553 w 4292"/>
                  <a:gd name="connsiteY8" fmla="*/ 309 h 1039"/>
                  <a:gd name="connsiteX9" fmla="*/ 3518 w 4292"/>
                  <a:gd name="connsiteY9" fmla="*/ 359 h 1039"/>
                  <a:gd name="connsiteX10" fmla="*/ 3485 w 4292"/>
                  <a:gd name="connsiteY10" fmla="*/ 411 h 1039"/>
                  <a:gd name="connsiteX11" fmla="*/ 3423 w 4292"/>
                  <a:gd name="connsiteY11" fmla="*/ 519 h 1039"/>
                  <a:gd name="connsiteX12" fmla="*/ 3330 w 4292"/>
                  <a:gd name="connsiteY12" fmla="*/ 687 h 1039"/>
                  <a:gd name="connsiteX13" fmla="*/ 3297 w 4292"/>
                  <a:gd name="connsiteY13" fmla="*/ 743 h 1039"/>
                  <a:gd name="connsiteX14" fmla="*/ 3262 w 4292"/>
                  <a:gd name="connsiteY14" fmla="*/ 795 h 1039"/>
                  <a:gd name="connsiteX15" fmla="*/ 3227 w 4292"/>
                  <a:gd name="connsiteY15" fmla="*/ 844 h 1039"/>
                  <a:gd name="connsiteX16" fmla="*/ 3188 w 4292"/>
                  <a:gd name="connsiteY16" fmla="*/ 890 h 1039"/>
                  <a:gd name="connsiteX17" fmla="*/ 3147 w 4292"/>
                  <a:gd name="connsiteY17" fmla="*/ 931 h 1039"/>
                  <a:gd name="connsiteX18" fmla="*/ 3101 w 4292"/>
                  <a:gd name="connsiteY18" fmla="*/ 967 h 1039"/>
                  <a:gd name="connsiteX19" fmla="*/ 3052 w 4292"/>
                  <a:gd name="connsiteY19" fmla="*/ 996 h 1039"/>
                  <a:gd name="connsiteX20" fmla="*/ 3000 w 4292"/>
                  <a:gd name="connsiteY20" fmla="*/ 1018 h 1039"/>
                  <a:gd name="connsiteX21" fmla="*/ 2942 w 4292"/>
                  <a:gd name="connsiteY21" fmla="*/ 1033 h 1039"/>
                  <a:gd name="connsiteX22" fmla="*/ 2878 w 4292"/>
                  <a:gd name="connsiteY22" fmla="*/ 1039 h 1039"/>
                  <a:gd name="connsiteX23" fmla="*/ 2870 w 4292"/>
                  <a:gd name="connsiteY23" fmla="*/ 1039 h 1039"/>
                  <a:gd name="connsiteX24" fmla="*/ 2808 w 4292"/>
                  <a:gd name="connsiteY24" fmla="*/ 1035 h 1039"/>
                  <a:gd name="connsiteX25" fmla="*/ 2748 w 4292"/>
                  <a:gd name="connsiteY25" fmla="*/ 1021 h 1039"/>
                  <a:gd name="connsiteX26" fmla="*/ 2695 w 4292"/>
                  <a:gd name="connsiteY26" fmla="*/ 998 h 1039"/>
                  <a:gd name="connsiteX27" fmla="*/ 2643 w 4292"/>
                  <a:gd name="connsiteY27" fmla="*/ 969 h 1039"/>
                  <a:gd name="connsiteX28" fmla="*/ 2595 w 4292"/>
                  <a:gd name="connsiteY28" fmla="*/ 931 h 1039"/>
                  <a:gd name="connsiteX29" fmla="*/ 2552 w 4292"/>
                  <a:gd name="connsiteY29" fmla="*/ 890 h 1039"/>
                  <a:gd name="connsiteX30" fmla="*/ 2509 w 4292"/>
                  <a:gd name="connsiteY30" fmla="*/ 842 h 1039"/>
                  <a:gd name="connsiteX31" fmla="*/ 2469 w 4292"/>
                  <a:gd name="connsiteY31" fmla="*/ 792 h 1039"/>
                  <a:gd name="connsiteX32" fmla="*/ 2430 w 4292"/>
                  <a:gd name="connsiteY32" fmla="*/ 736 h 1039"/>
                  <a:gd name="connsiteX33" fmla="*/ 2393 w 4292"/>
                  <a:gd name="connsiteY33" fmla="*/ 680 h 1039"/>
                  <a:gd name="connsiteX34" fmla="*/ 2288 w 4292"/>
                  <a:gd name="connsiteY34" fmla="*/ 506 h 1039"/>
                  <a:gd name="connsiteX35" fmla="*/ 2251 w 4292"/>
                  <a:gd name="connsiteY35" fmla="*/ 448 h 1039"/>
                  <a:gd name="connsiteX36" fmla="*/ 2213 w 4292"/>
                  <a:gd name="connsiteY36" fmla="*/ 392 h 1039"/>
                  <a:gd name="connsiteX37" fmla="*/ 2176 w 4292"/>
                  <a:gd name="connsiteY37" fmla="*/ 338 h 1039"/>
                  <a:gd name="connsiteX38" fmla="*/ 2137 w 4292"/>
                  <a:gd name="connsiteY38" fmla="*/ 289 h 1039"/>
                  <a:gd name="connsiteX39" fmla="*/ 2096 w 4292"/>
                  <a:gd name="connsiteY39" fmla="*/ 243 h 1039"/>
                  <a:gd name="connsiteX40" fmla="*/ 2054 w 4292"/>
                  <a:gd name="connsiteY40" fmla="*/ 201 h 1039"/>
                  <a:gd name="connsiteX41" fmla="*/ 2009 w 4292"/>
                  <a:gd name="connsiteY41" fmla="*/ 164 h 1039"/>
                  <a:gd name="connsiteX42" fmla="*/ 1962 w 4292"/>
                  <a:gd name="connsiteY42" fmla="*/ 135 h 1039"/>
                  <a:gd name="connsiteX43" fmla="*/ 1910 w 4292"/>
                  <a:gd name="connsiteY43" fmla="*/ 112 h 1039"/>
                  <a:gd name="connsiteX44" fmla="*/ 1854 w 4292"/>
                  <a:gd name="connsiteY44" fmla="*/ 96 h 1039"/>
                  <a:gd name="connsiteX45" fmla="*/ 1796 w 4292"/>
                  <a:gd name="connsiteY45" fmla="*/ 87 h 1039"/>
                  <a:gd name="connsiteX46" fmla="*/ 1732 w 4292"/>
                  <a:gd name="connsiteY46" fmla="*/ 89 h 1039"/>
                  <a:gd name="connsiteX47" fmla="*/ 1664 w 4292"/>
                  <a:gd name="connsiteY47" fmla="*/ 100 h 1039"/>
                  <a:gd name="connsiteX48" fmla="*/ 1602 w 4292"/>
                  <a:gd name="connsiteY48" fmla="*/ 118 h 1039"/>
                  <a:gd name="connsiteX49" fmla="*/ 1545 w 4292"/>
                  <a:gd name="connsiteY49" fmla="*/ 143 h 1039"/>
                  <a:gd name="connsiteX50" fmla="*/ 1491 w 4292"/>
                  <a:gd name="connsiteY50" fmla="*/ 177 h 1039"/>
                  <a:gd name="connsiteX51" fmla="*/ 1439 w 4292"/>
                  <a:gd name="connsiteY51" fmla="*/ 214 h 1039"/>
                  <a:gd name="connsiteX52" fmla="*/ 1394 w 4292"/>
                  <a:gd name="connsiteY52" fmla="*/ 257 h 1039"/>
                  <a:gd name="connsiteX53" fmla="*/ 1348 w 4292"/>
                  <a:gd name="connsiteY53" fmla="*/ 303 h 1039"/>
                  <a:gd name="connsiteX54" fmla="*/ 1307 w 4292"/>
                  <a:gd name="connsiteY54" fmla="*/ 355 h 1039"/>
                  <a:gd name="connsiteX55" fmla="*/ 1268 w 4292"/>
                  <a:gd name="connsiteY55" fmla="*/ 409 h 1039"/>
                  <a:gd name="connsiteX56" fmla="*/ 1231 w 4292"/>
                  <a:gd name="connsiteY56" fmla="*/ 463 h 1039"/>
                  <a:gd name="connsiteX57" fmla="*/ 1194 w 4292"/>
                  <a:gd name="connsiteY57" fmla="*/ 519 h 1039"/>
                  <a:gd name="connsiteX58" fmla="*/ 1156 w 4292"/>
                  <a:gd name="connsiteY58" fmla="*/ 577 h 1039"/>
                  <a:gd name="connsiteX59" fmla="*/ 1121 w 4292"/>
                  <a:gd name="connsiteY59" fmla="*/ 633 h 1039"/>
                  <a:gd name="connsiteX60" fmla="*/ 1047 w 4292"/>
                  <a:gd name="connsiteY60" fmla="*/ 745 h 1039"/>
                  <a:gd name="connsiteX61" fmla="*/ 1008 w 4292"/>
                  <a:gd name="connsiteY61" fmla="*/ 797 h 1039"/>
                  <a:gd name="connsiteX62" fmla="*/ 966 w 4292"/>
                  <a:gd name="connsiteY62" fmla="*/ 846 h 1039"/>
                  <a:gd name="connsiteX63" fmla="*/ 923 w 4292"/>
                  <a:gd name="connsiteY63" fmla="*/ 892 h 1039"/>
                  <a:gd name="connsiteX64" fmla="*/ 876 w 4292"/>
                  <a:gd name="connsiteY64" fmla="*/ 933 h 1039"/>
                  <a:gd name="connsiteX65" fmla="*/ 826 w 4292"/>
                  <a:gd name="connsiteY65" fmla="*/ 969 h 1039"/>
                  <a:gd name="connsiteX66" fmla="*/ 772 w 4292"/>
                  <a:gd name="connsiteY66" fmla="*/ 998 h 1039"/>
                  <a:gd name="connsiteX67" fmla="*/ 717 w 4292"/>
                  <a:gd name="connsiteY67" fmla="*/ 1021 h 1039"/>
                  <a:gd name="connsiteX68" fmla="*/ 653 w 4292"/>
                  <a:gd name="connsiteY68" fmla="*/ 1033 h 1039"/>
                  <a:gd name="connsiteX69" fmla="*/ 587 w 4292"/>
                  <a:gd name="connsiteY69" fmla="*/ 1039 h 1039"/>
                  <a:gd name="connsiteX70" fmla="*/ 580 w 4292"/>
                  <a:gd name="connsiteY70" fmla="*/ 1039 h 1039"/>
                  <a:gd name="connsiteX71" fmla="*/ 512 w 4292"/>
                  <a:gd name="connsiteY71" fmla="*/ 1035 h 1039"/>
                  <a:gd name="connsiteX72" fmla="*/ 450 w 4292"/>
                  <a:gd name="connsiteY72" fmla="*/ 1023 h 1039"/>
                  <a:gd name="connsiteX73" fmla="*/ 392 w 4292"/>
                  <a:gd name="connsiteY73" fmla="*/ 1004 h 1039"/>
                  <a:gd name="connsiteX74" fmla="*/ 341 w 4292"/>
                  <a:gd name="connsiteY74" fmla="*/ 979 h 1039"/>
                  <a:gd name="connsiteX75" fmla="*/ 293 w 4292"/>
                  <a:gd name="connsiteY75" fmla="*/ 948 h 1039"/>
                  <a:gd name="connsiteX76" fmla="*/ 248 w 4292"/>
                  <a:gd name="connsiteY76" fmla="*/ 911 h 1039"/>
                  <a:gd name="connsiteX77" fmla="*/ 207 w 4292"/>
                  <a:gd name="connsiteY77" fmla="*/ 869 h 1039"/>
                  <a:gd name="connsiteX78" fmla="*/ 169 w 4292"/>
                  <a:gd name="connsiteY78" fmla="*/ 824 h 1039"/>
                  <a:gd name="connsiteX79" fmla="*/ 132 w 4292"/>
                  <a:gd name="connsiteY79" fmla="*/ 776 h 1039"/>
                  <a:gd name="connsiteX80" fmla="*/ 99 w 4292"/>
                  <a:gd name="connsiteY80" fmla="*/ 724 h 1039"/>
                  <a:gd name="connsiteX81" fmla="*/ 64 w 4292"/>
                  <a:gd name="connsiteY81" fmla="*/ 670 h 1039"/>
                  <a:gd name="connsiteX82" fmla="*/ 33 w 4292"/>
                  <a:gd name="connsiteY82" fmla="*/ 614 h 1039"/>
                  <a:gd name="connsiteX83" fmla="*/ 0 w 4292"/>
                  <a:gd name="connsiteY83" fmla="*/ 556 h 1039"/>
                  <a:gd name="connsiteX84" fmla="*/ 77 w 4292"/>
                  <a:gd name="connsiteY84" fmla="*/ 512 h 1039"/>
                  <a:gd name="connsiteX85" fmla="*/ 110 w 4292"/>
                  <a:gd name="connsiteY85" fmla="*/ 571 h 1039"/>
                  <a:gd name="connsiteX86" fmla="*/ 143 w 4292"/>
                  <a:gd name="connsiteY86" fmla="*/ 627 h 1039"/>
                  <a:gd name="connsiteX87" fmla="*/ 176 w 4292"/>
                  <a:gd name="connsiteY87" fmla="*/ 680 h 1039"/>
                  <a:gd name="connsiteX88" fmla="*/ 209 w 4292"/>
                  <a:gd name="connsiteY88" fmla="*/ 732 h 1039"/>
                  <a:gd name="connsiteX89" fmla="*/ 244 w 4292"/>
                  <a:gd name="connsiteY89" fmla="*/ 778 h 1039"/>
                  <a:gd name="connsiteX90" fmla="*/ 281 w 4292"/>
                  <a:gd name="connsiteY90" fmla="*/ 821 h 1039"/>
                  <a:gd name="connsiteX91" fmla="*/ 322 w 4292"/>
                  <a:gd name="connsiteY91" fmla="*/ 859 h 1039"/>
                  <a:gd name="connsiteX92" fmla="*/ 366 w 4292"/>
                  <a:gd name="connsiteY92" fmla="*/ 890 h 1039"/>
                  <a:gd name="connsiteX93" fmla="*/ 413 w 4292"/>
                  <a:gd name="connsiteY93" fmla="*/ 917 h 1039"/>
                  <a:gd name="connsiteX94" fmla="*/ 463 w 4292"/>
                  <a:gd name="connsiteY94" fmla="*/ 936 h 1039"/>
                  <a:gd name="connsiteX95" fmla="*/ 518 w 4292"/>
                  <a:gd name="connsiteY95" fmla="*/ 948 h 1039"/>
                  <a:gd name="connsiteX96" fmla="*/ 580 w 4292"/>
                  <a:gd name="connsiteY96" fmla="*/ 952 h 1039"/>
                  <a:gd name="connsiteX97" fmla="*/ 587 w 4292"/>
                  <a:gd name="connsiteY97" fmla="*/ 952 h 1039"/>
                  <a:gd name="connsiteX98" fmla="*/ 646 w 4292"/>
                  <a:gd name="connsiteY98" fmla="*/ 946 h 1039"/>
                  <a:gd name="connsiteX99" fmla="*/ 702 w 4292"/>
                  <a:gd name="connsiteY99" fmla="*/ 931 h 1039"/>
                  <a:gd name="connsiteX100" fmla="*/ 756 w 4292"/>
                  <a:gd name="connsiteY100" fmla="*/ 909 h 1039"/>
                  <a:gd name="connsiteX101" fmla="*/ 803 w 4292"/>
                  <a:gd name="connsiteY101" fmla="*/ 880 h 1039"/>
                  <a:gd name="connsiteX102" fmla="*/ 849 w 4292"/>
                  <a:gd name="connsiteY102" fmla="*/ 842 h 1039"/>
                  <a:gd name="connsiteX103" fmla="*/ 892 w 4292"/>
                  <a:gd name="connsiteY103" fmla="*/ 799 h 1039"/>
                  <a:gd name="connsiteX104" fmla="*/ 931 w 4292"/>
                  <a:gd name="connsiteY104" fmla="*/ 751 h 1039"/>
                  <a:gd name="connsiteX105" fmla="*/ 971 w 4292"/>
                  <a:gd name="connsiteY105" fmla="*/ 699 h 1039"/>
                  <a:gd name="connsiteX106" fmla="*/ 1010 w 4292"/>
                  <a:gd name="connsiteY106" fmla="*/ 645 h 1039"/>
                  <a:gd name="connsiteX107" fmla="*/ 1121 w 4292"/>
                  <a:gd name="connsiteY107" fmla="*/ 471 h 1039"/>
                  <a:gd name="connsiteX108" fmla="*/ 1161 w 4292"/>
                  <a:gd name="connsiteY108" fmla="*/ 411 h 1039"/>
                  <a:gd name="connsiteX109" fmla="*/ 1202 w 4292"/>
                  <a:gd name="connsiteY109" fmla="*/ 353 h 1039"/>
                  <a:gd name="connsiteX110" fmla="*/ 1245 w 4292"/>
                  <a:gd name="connsiteY110" fmla="*/ 295 h 1039"/>
                  <a:gd name="connsiteX111" fmla="*/ 1291 w 4292"/>
                  <a:gd name="connsiteY111" fmla="*/ 241 h 1039"/>
                  <a:gd name="connsiteX112" fmla="*/ 1338 w 4292"/>
                  <a:gd name="connsiteY112" fmla="*/ 189 h 1039"/>
                  <a:gd name="connsiteX113" fmla="*/ 1392 w 4292"/>
                  <a:gd name="connsiteY113" fmla="*/ 141 h 1039"/>
                  <a:gd name="connsiteX114" fmla="*/ 1447 w 4292"/>
                  <a:gd name="connsiteY114" fmla="*/ 100 h 1039"/>
                  <a:gd name="connsiteX115" fmla="*/ 1509 w 4292"/>
                  <a:gd name="connsiteY115" fmla="*/ 65 h 1039"/>
                  <a:gd name="connsiteX116" fmla="*/ 1575 w 4292"/>
                  <a:gd name="connsiteY116" fmla="*/ 36 h 1039"/>
                  <a:gd name="connsiteX117" fmla="*/ 1648 w 4292"/>
                  <a:gd name="connsiteY117" fmla="*/ 15 h 1039"/>
                  <a:gd name="connsiteX118" fmla="*/ 1726 w 4292"/>
                  <a:gd name="connsiteY118" fmla="*/ 2 h 1039"/>
                  <a:gd name="connsiteX119" fmla="*/ 1796 w 4292"/>
                  <a:gd name="connsiteY119" fmla="*/ 0 h 1039"/>
                  <a:gd name="connsiteX120" fmla="*/ 1862 w 4292"/>
                  <a:gd name="connsiteY120" fmla="*/ 9 h 1039"/>
                  <a:gd name="connsiteX121" fmla="*/ 1922 w 4292"/>
                  <a:gd name="connsiteY121" fmla="*/ 23 h 1039"/>
                  <a:gd name="connsiteX122" fmla="*/ 1980 w 4292"/>
                  <a:gd name="connsiteY122" fmla="*/ 46 h 1039"/>
                  <a:gd name="connsiteX123" fmla="*/ 2034 w 4292"/>
                  <a:gd name="connsiteY123" fmla="*/ 77 h 1039"/>
                  <a:gd name="connsiteX124" fmla="*/ 2083 w 4292"/>
                  <a:gd name="connsiteY124" fmla="*/ 112 h 1039"/>
                  <a:gd name="connsiteX125" fmla="*/ 2129 w 4292"/>
                  <a:gd name="connsiteY125" fmla="*/ 154 h 1039"/>
                  <a:gd name="connsiteX126" fmla="*/ 2174 w 4292"/>
                  <a:gd name="connsiteY126" fmla="*/ 199 h 1039"/>
                  <a:gd name="connsiteX127" fmla="*/ 2216 w 4292"/>
                  <a:gd name="connsiteY127" fmla="*/ 247 h 1039"/>
                  <a:gd name="connsiteX128" fmla="*/ 2255 w 4292"/>
                  <a:gd name="connsiteY128" fmla="*/ 299 h 1039"/>
                  <a:gd name="connsiteX129" fmla="*/ 2292 w 4292"/>
                  <a:gd name="connsiteY129" fmla="*/ 353 h 1039"/>
                  <a:gd name="connsiteX130" fmla="*/ 2327 w 4292"/>
                  <a:gd name="connsiteY130" fmla="*/ 409 h 1039"/>
                  <a:gd name="connsiteX131" fmla="*/ 2362 w 4292"/>
                  <a:gd name="connsiteY131" fmla="*/ 463 h 1039"/>
                  <a:gd name="connsiteX132" fmla="*/ 2395 w 4292"/>
                  <a:gd name="connsiteY132" fmla="*/ 519 h 1039"/>
                  <a:gd name="connsiteX133" fmla="*/ 2432 w 4292"/>
                  <a:gd name="connsiteY133" fmla="*/ 581 h 1039"/>
                  <a:gd name="connsiteX134" fmla="*/ 2469 w 4292"/>
                  <a:gd name="connsiteY134" fmla="*/ 639 h 1039"/>
                  <a:gd name="connsiteX135" fmla="*/ 2509 w 4292"/>
                  <a:gd name="connsiteY135" fmla="*/ 697 h 1039"/>
                  <a:gd name="connsiteX136" fmla="*/ 2546 w 4292"/>
                  <a:gd name="connsiteY136" fmla="*/ 751 h 1039"/>
                  <a:gd name="connsiteX137" fmla="*/ 2587 w 4292"/>
                  <a:gd name="connsiteY137" fmla="*/ 801 h 1039"/>
                  <a:gd name="connsiteX138" fmla="*/ 2628 w 4292"/>
                  <a:gd name="connsiteY138" fmla="*/ 844 h 1039"/>
                  <a:gd name="connsiteX139" fmla="*/ 2672 w 4292"/>
                  <a:gd name="connsiteY139" fmla="*/ 882 h 1039"/>
                  <a:gd name="connsiteX140" fmla="*/ 2717 w 4292"/>
                  <a:gd name="connsiteY140" fmla="*/ 913 h 1039"/>
                  <a:gd name="connsiteX141" fmla="*/ 2767 w 4292"/>
                  <a:gd name="connsiteY141" fmla="*/ 936 h 1039"/>
                  <a:gd name="connsiteX142" fmla="*/ 2820 w 4292"/>
                  <a:gd name="connsiteY142" fmla="*/ 948 h 1039"/>
                  <a:gd name="connsiteX143" fmla="*/ 2876 w 4292"/>
                  <a:gd name="connsiteY143" fmla="*/ 952 h 1039"/>
                  <a:gd name="connsiteX144" fmla="*/ 2932 w 4292"/>
                  <a:gd name="connsiteY144" fmla="*/ 946 h 1039"/>
                  <a:gd name="connsiteX145" fmla="*/ 2982 w 4292"/>
                  <a:gd name="connsiteY145" fmla="*/ 931 h 1039"/>
                  <a:gd name="connsiteX146" fmla="*/ 3029 w 4292"/>
                  <a:gd name="connsiteY146" fmla="*/ 911 h 1039"/>
                  <a:gd name="connsiteX147" fmla="*/ 3072 w 4292"/>
                  <a:gd name="connsiteY147" fmla="*/ 880 h 1039"/>
                  <a:gd name="connsiteX148" fmla="*/ 3112 w 4292"/>
                  <a:gd name="connsiteY148" fmla="*/ 844 h 1039"/>
                  <a:gd name="connsiteX149" fmla="*/ 3149 w 4292"/>
                  <a:gd name="connsiteY149" fmla="*/ 803 h 1039"/>
                  <a:gd name="connsiteX0" fmla="*/ 3149 w 4292"/>
                  <a:gd name="connsiteY0" fmla="*/ 803 h 1039"/>
                  <a:gd name="connsiteX1" fmla="*/ 4142 w 4292"/>
                  <a:gd name="connsiteY1" fmla="*/ 131 h 1039"/>
                  <a:gd name="connsiteX2" fmla="*/ 4049 w 4292"/>
                  <a:gd name="connsiteY2" fmla="*/ 94 h 1039"/>
                  <a:gd name="connsiteX3" fmla="*/ 4014 w 4292"/>
                  <a:gd name="connsiteY3" fmla="*/ 85 h 1039"/>
                  <a:gd name="connsiteX4" fmla="*/ 3958 w 4292"/>
                  <a:gd name="connsiteY4" fmla="*/ 83 h 1039"/>
                  <a:gd name="connsiteX5" fmla="*/ 3830 w 4292"/>
                  <a:gd name="connsiteY5" fmla="*/ 102 h 1039"/>
                  <a:gd name="connsiteX6" fmla="*/ 3774 w 4292"/>
                  <a:gd name="connsiteY6" fmla="*/ 123 h 1039"/>
                  <a:gd name="connsiteX7" fmla="*/ 3675 w 4292"/>
                  <a:gd name="connsiteY7" fmla="*/ 183 h 1039"/>
                  <a:gd name="connsiteX8" fmla="*/ 3553 w 4292"/>
                  <a:gd name="connsiteY8" fmla="*/ 309 h 1039"/>
                  <a:gd name="connsiteX9" fmla="*/ 3485 w 4292"/>
                  <a:gd name="connsiteY9" fmla="*/ 411 h 1039"/>
                  <a:gd name="connsiteX10" fmla="*/ 3423 w 4292"/>
                  <a:gd name="connsiteY10" fmla="*/ 519 h 1039"/>
                  <a:gd name="connsiteX11" fmla="*/ 3330 w 4292"/>
                  <a:gd name="connsiteY11" fmla="*/ 687 h 1039"/>
                  <a:gd name="connsiteX12" fmla="*/ 3297 w 4292"/>
                  <a:gd name="connsiteY12" fmla="*/ 743 h 1039"/>
                  <a:gd name="connsiteX13" fmla="*/ 3262 w 4292"/>
                  <a:gd name="connsiteY13" fmla="*/ 795 h 1039"/>
                  <a:gd name="connsiteX14" fmla="*/ 3227 w 4292"/>
                  <a:gd name="connsiteY14" fmla="*/ 844 h 1039"/>
                  <a:gd name="connsiteX15" fmla="*/ 3188 w 4292"/>
                  <a:gd name="connsiteY15" fmla="*/ 890 h 1039"/>
                  <a:gd name="connsiteX16" fmla="*/ 3147 w 4292"/>
                  <a:gd name="connsiteY16" fmla="*/ 931 h 1039"/>
                  <a:gd name="connsiteX17" fmla="*/ 3101 w 4292"/>
                  <a:gd name="connsiteY17" fmla="*/ 967 h 1039"/>
                  <a:gd name="connsiteX18" fmla="*/ 3052 w 4292"/>
                  <a:gd name="connsiteY18" fmla="*/ 996 h 1039"/>
                  <a:gd name="connsiteX19" fmla="*/ 3000 w 4292"/>
                  <a:gd name="connsiteY19" fmla="*/ 1018 h 1039"/>
                  <a:gd name="connsiteX20" fmla="*/ 2942 w 4292"/>
                  <a:gd name="connsiteY20" fmla="*/ 1033 h 1039"/>
                  <a:gd name="connsiteX21" fmla="*/ 2878 w 4292"/>
                  <a:gd name="connsiteY21" fmla="*/ 1039 h 1039"/>
                  <a:gd name="connsiteX22" fmla="*/ 2870 w 4292"/>
                  <a:gd name="connsiteY22" fmla="*/ 1039 h 1039"/>
                  <a:gd name="connsiteX23" fmla="*/ 2808 w 4292"/>
                  <a:gd name="connsiteY23" fmla="*/ 1035 h 1039"/>
                  <a:gd name="connsiteX24" fmla="*/ 2748 w 4292"/>
                  <a:gd name="connsiteY24" fmla="*/ 1021 h 1039"/>
                  <a:gd name="connsiteX25" fmla="*/ 2695 w 4292"/>
                  <a:gd name="connsiteY25" fmla="*/ 998 h 1039"/>
                  <a:gd name="connsiteX26" fmla="*/ 2643 w 4292"/>
                  <a:gd name="connsiteY26" fmla="*/ 969 h 1039"/>
                  <a:gd name="connsiteX27" fmla="*/ 2595 w 4292"/>
                  <a:gd name="connsiteY27" fmla="*/ 931 h 1039"/>
                  <a:gd name="connsiteX28" fmla="*/ 2552 w 4292"/>
                  <a:gd name="connsiteY28" fmla="*/ 890 h 1039"/>
                  <a:gd name="connsiteX29" fmla="*/ 2509 w 4292"/>
                  <a:gd name="connsiteY29" fmla="*/ 842 h 1039"/>
                  <a:gd name="connsiteX30" fmla="*/ 2469 w 4292"/>
                  <a:gd name="connsiteY30" fmla="*/ 792 h 1039"/>
                  <a:gd name="connsiteX31" fmla="*/ 2430 w 4292"/>
                  <a:gd name="connsiteY31" fmla="*/ 736 h 1039"/>
                  <a:gd name="connsiteX32" fmla="*/ 2393 w 4292"/>
                  <a:gd name="connsiteY32" fmla="*/ 680 h 1039"/>
                  <a:gd name="connsiteX33" fmla="*/ 2288 w 4292"/>
                  <a:gd name="connsiteY33" fmla="*/ 506 h 1039"/>
                  <a:gd name="connsiteX34" fmla="*/ 2251 w 4292"/>
                  <a:gd name="connsiteY34" fmla="*/ 448 h 1039"/>
                  <a:gd name="connsiteX35" fmla="*/ 2213 w 4292"/>
                  <a:gd name="connsiteY35" fmla="*/ 392 h 1039"/>
                  <a:gd name="connsiteX36" fmla="*/ 2176 w 4292"/>
                  <a:gd name="connsiteY36" fmla="*/ 338 h 1039"/>
                  <a:gd name="connsiteX37" fmla="*/ 2137 w 4292"/>
                  <a:gd name="connsiteY37" fmla="*/ 289 h 1039"/>
                  <a:gd name="connsiteX38" fmla="*/ 2096 w 4292"/>
                  <a:gd name="connsiteY38" fmla="*/ 243 h 1039"/>
                  <a:gd name="connsiteX39" fmla="*/ 2054 w 4292"/>
                  <a:gd name="connsiteY39" fmla="*/ 201 h 1039"/>
                  <a:gd name="connsiteX40" fmla="*/ 2009 w 4292"/>
                  <a:gd name="connsiteY40" fmla="*/ 164 h 1039"/>
                  <a:gd name="connsiteX41" fmla="*/ 1962 w 4292"/>
                  <a:gd name="connsiteY41" fmla="*/ 135 h 1039"/>
                  <a:gd name="connsiteX42" fmla="*/ 1910 w 4292"/>
                  <a:gd name="connsiteY42" fmla="*/ 112 h 1039"/>
                  <a:gd name="connsiteX43" fmla="*/ 1854 w 4292"/>
                  <a:gd name="connsiteY43" fmla="*/ 96 h 1039"/>
                  <a:gd name="connsiteX44" fmla="*/ 1796 w 4292"/>
                  <a:gd name="connsiteY44" fmla="*/ 87 h 1039"/>
                  <a:gd name="connsiteX45" fmla="*/ 1732 w 4292"/>
                  <a:gd name="connsiteY45" fmla="*/ 89 h 1039"/>
                  <a:gd name="connsiteX46" fmla="*/ 1664 w 4292"/>
                  <a:gd name="connsiteY46" fmla="*/ 100 h 1039"/>
                  <a:gd name="connsiteX47" fmla="*/ 1602 w 4292"/>
                  <a:gd name="connsiteY47" fmla="*/ 118 h 1039"/>
                  <a:gd name="connsiteX48" fmla="*/ 1545 w 4292"/>
                  <a:gd name="connsiteY48" fmla="*/ 143 h 1039"/>
                  <a:gd name="connsiteX49" fmla="*/ 1491 w 4292"/>
                  <a:gd name="connsiteY49" fmla="*/ 177 h 1039"/>
                  <a:gd name="connsiteX50" fmla="*/ 1439 w 4292"/>
                  <a:gd name="connsiteY50" fmla="*/ 214 h 1039"/>
                  <a:gd name="connsiteX51" fmla="*/ 1394 w 4292"/>
                  <a:gd name="connsiteY51" fmla="*/ 257 h 1039"/>
                  <a:gd name="connsiteX52" fmla="*/ 1348 w 4292"/>
                  <a:gd name="connsiteY52" fmla="*/ 303 h 1039"/>
                  <a:gd name="connsiteX53" fmla="*/ 1307 w 4292"/>
                  <a:gd name="connsiteY53" fmla="*/ 355 h 1039"/>
                  <a:gd name="connsiteX54" fmla="*/ 1268 w 4292"/>
                  <a:gd name="connsiteY54" fmla="*/ 409 h 1039"/>
                  <a:gd name="connsiteX55" fmla="*/ 1231 w 4292"/>
                  <a:gd name="connsiteY55" fmla="*/ 463 h 1039"/>
                  <a:gd name="connsiteX56" fmla="*/ 1194 w 4292"/>
                  <a:gd name="connsiteY56" fmla="*/ 519 h 1039"/>
                  <a:gd name="connsiteX57" fmla="*/ 1156 w 4292"/>
                  <a:gd name="connsiteY57" fmla="*/ 577 h 1039"/>
                  <a:gd name="connsiteX58" fmla="*/ 1121 w 4292"/>
                  <a:gd name="connsiteY58" fmla="*/ 633 h 1039"/>
                  <a:gd name="connsiteX59" fmla="*/ 1047 w 4292"/>
                  <a:gd name="connsiteY59" fmla="*/ 745 h 1039"/>
                  <a:gd name="connsiteX60" fmla="*/ 1008 w 4292"/>
                  <a:gd name="connsiteY60" fmla="*/ 797 h 1039"/>
                  <a:gd name="connsiteX61" fmla="*/ 966 w 4292"/>
                  <a:gd name="connsiteY61" fmla="*/ 846 h 1039"/>
                  <a:gd name="connsiteX62" fmla="*/ 923 w 4292"/>
                  <a:gd name="connsiteY62" fmla="*/ 892 h 1039"/>
                  <a:gd name="connsiteX63" fmla="*/ 876 w 4292"/>
                  <a:gd name="connsiteY63" fmla="*/ 933 h 1039"/>
                  <a:gd name="connsiteX64" fmla="*/ 826 w 4292"/>
                  <a:gd name="connsiteY64" fmla="*/ 969 h 1039"/>
                  <a:gd name="connsiteX65" fmla="*/ 772 w 4292"/>
                  <a:gd name="connsiteY65" fmla="*/ 998 h 1039"/>
                  <a:gd name="connsiteX66" fmla="*/ 717 w 4292"/>
                  <a:gd name="connsiteY66" fmla="*/ 1021 h 1039"/>
                  <a:gd name="connsiteX67" fmla="*/ 653 w 4292"/>
                  <a:gd name="connsiteY67" fmla="*/ 1033 h 1039"/>
                  <a:gd name="connsiteX68" fmla="*/ 587 w 4292"/>
                  <a:gd name="connsiteY68" fmla="*/ 1039 h 1039"/>
                  <a:gd name="connsiteX69" fmla="*/ 580 w 4292"/>
                  <a:gd name="connsiteY69" fmla="*/ 1039 h 1039"/>
                  <a:gd name="connsiteX70" fmla="*/ 512 w 4292"/>
                  <a:gd name="connsiteY70" fmla="*/ 1035 h 1039"/>
                  <a:gd name="connsiteX71" fmla="*/ 450 w 4292"/>
                  <a:gd name="connsiteY71" fmla="*/ 1023 h 1039"/>
                  <a:gd name="connsiteX72" fmla="*/ 392 w 4292"/>
                  <a:gd name="connsiteY72" fmla="*/ 1004 h 1039"/>
                  <a:gd name="connsiteX73" fmla="*/ 341 w 4292"/>
                  <a:gd name="connsiteY73" fmla="*/ 979 h 1039"/>
                  <a:gd name="connsiteX74" fmla="*/ 293 w 4292"/>
                  <a:gd name="connsiteY74" fmla="*/ 948 h 1039"/>
                  <a:gd name="connsiteX75" fmla="*/ 248 w 4292"/>
                  <a:gd name="connsiteY75" fmla="*/ 911 h 1039"/>
                  <a:gd name="connsiteX76" fmla="*/ 207 w 4292"/>
                  <a:gd name="connsiteY76" fmla="*/ 869 h 1039"/>
                  <a:gd name="connsiteX77" fmla="*/ 169 w 4292"/>
                  <a:gd name="connsiteY77" fmla="*/ 824 h 1039"/>
                  <a:gd name="connsiteX78" fmla="*/ 132 w 4292"/>
                  <a:gd name="connsiteY78" fmla="*/ 776 h 1039"/>
                  <a:gd name="connsiteX79" fmla="*/ 99 w 4292"/>
                  <a:gd name="connsiteY79" fmla="*/ 724 h 1039"/>
                  <a:gd name="connsiteX80" fmla="*/ 64 w 4292"/>
                  <a:gd name="connsiteY80" fmla="*/ 670 h 1039"/>
                  <a:gd name="connsiteX81" fmla="*/ 33 w 4292"/>
                  <a:gd name="connsiteY81" fmla="*/ 614 h 1039"/>
                  <a:gd name="connsiteX82" fmla="*/ 0 w 4292"/>
                  <a:gd name="connsiteY82" fmla="*/ 556 h 1039"/>
                  <a:gd name="connsiteX83" fmla="*/ 77 w 4292"/>
                  <a:gd name="connsiteY83" fmla="*/ 512 h 1039"/>
                  <a:gd name="connsiteX84" fmla="*/ 110 w 4292"/>
                  <a:gd name="connsiteY84" fmla="*/ 571 h 1039"/>
                  <a:gd name="connsiteX85" fmla="*/ 143 w 4292"/>
                  <a:gd name="connsiteY85" fmla="*/ 627 h 1039"/>
                  <a:gd name="connsiteX86" fmla="*/ 176 w 4292"/>
                  <a:gd name="connsiteY86" fmla="*/ 680 h 1039"/>
                  <a:gd name="connsiteX87" fmla="*/ 209 w 4292"/>
                  <a:gd name="connsiteY87" fmla="*/ 732 h 1039"/>
                  <a:gd name="connsiteX88" fmla="*/ 244 w 4292"/>
                  <a:gd name="connsiteY88" fmla="*/ 778 h 1039"/>
                  <a:gd name="connsiteX89" fmla="*/ 281 w 4292"/>
                  <a:gd name="connsiteY89" fmla="*/ 821 h 1039"/>
                  <a:gd name="connsiteX90" fmla="*/ 322 w 4292"/>
                  <a:gd name="connsiteY90" fmla="*/ 859 h 1039"/>
                  <a:gd name="connsiteX91" fmla="*/ 366 w 4292"/>
                  <a:gd name="connsiteY91" fmla="*/ 890 h 1039"/>
                  <a:gd name="connsiteX92" fmla="*/ 413 w 4292"/>
                  <a:gd name="connsiteY92" fmla="*/ 917 h 1039"/>
                  <a:gd name="connsiteX93" fmla="*/ 463 w 4292"/>
                  <a:gd name="connsiteY93" fmla="*/ 936 h 1039"/>
                  <a:gd name="connsiteX94" fmla="*/ 518 w 4292"/>
                  <a:gd name="connsiteY94" fmla="*/ 948 h 1039"/>
                  <a:gd name="connsiteX95" fmla="*/ 580 w 4292"/>
                  <a:gd name="connsiteY95" fmla="*/ 952 h 1039"/>
                  <a:gd name="connsiteX96" fmla="*/ 587 w 4292"/>
                  <a:gd name="connsiteY96" fmla="*/ 952 h 1039"/>
                  <a:gd name="connsiteX97" fmla="*/ 646 w 4292"/>
                  <a:gd name="connsiteY97" fmla="*/ 946 h 1039"/>
                  <a:gd name="connsiteX98" fmla="*/ 702 w 4292"/>
                  <a:gd name="connsiteY98" fmla="*/ 931 h 1039"/>
                  <a:gd name="connsiteX99" fmla="*/ 756 w 4292"/>
                  <a:gd name="connsiteY99" fmla="*/ 909 h 1039"/>
                  <a:gd name="connsiteX100" fmla="*/ 803 w 4292"/>
                  <a:gd name="connsiteY100" fmla="*/ 880 h 1039"/>
                  <a:gd name="connsiteX101" fmla="*/ 849 w 4292"/>
                  <a:gd name="connsiteY101" fmla="*/ 842 h 1039"/>
                  <a:gd name="connsiteX102" fmla="*/ 892 w 4292"/>
                  <a:gd name="connsiteY102" fmla="*/ 799 h 1039"/>
                  <a:gd name="connsiteX103" fmla="*/ 931 w 4292"/>
                  <a:gd name="connsiteY103" fmla="*/ 751 h 1039"/>
                  <a:gd name="connsiteX104" fmla="*/ 971 w 4292"/>
                  <a:gd name="connsiteY104" fmla="*/ 699 h 1039"/>
                  <a:gd name="connsiteX105" fmla="*/ 1010 w 4292"/>
                  <a:gd name="connsiteY105" fmla="*/ 645 h 1039"/>
                  <a:gd name="connsiteX106" fmla="*/ 1121 w 4292"/>
                  <a:gd name="connsiteY106" fmla="*/ 471 h 1039"/>
                  <a:gd name="connsiteX107" fmla="*/ 1161 w 4292"/>
                  <a:gd name="connsiteY107" fmla="*/ 411 h 1039"/>
                  <a:gd name="connsiteX108" fmla="*/ 1202 w 4292"/>
                  <a:gd name="connsiteY108" fmla="*/ 353 h 1039"/>
                  <a:gd name="connsiteX109" fmla="*/ 1245 w 4292"/>
                  <a:gd name="connsiteY109" fmla="*/ 295 h 1039"/>
                  <a:gd name="connsiteX110" fmla="*/ 1291 w 4292"/>
                  <a:gd name="connsiteY110" fmla="*/ 241 h 1039"/>
                  <a:gd name="connsiteX111" fmla="*/ 1338 w 4292"/>
                  <a:gd name="connsiteY111" fmla="*/ 189 h 1039"/>
                  <a:gd name="connsiteX112" fmla="*/ 1392 w 4292"/>
                  <a:gd name="connsiteY112" fmla="*/ 141 h 1039"/>
                  <a:gd name="connsiteX113" fmla="*/ 1447 w 4292"/>
                  <a:gd name="connsiteY113" fmla="*/ 100 h 1039"/>
                  <a:gd name="connsiteX114" fmla="*/ 1509 w 4292"/>
                  <a:gd name="connsiteY114" fmla="*/ 65 h 1039"/>
                  <a:gd name="connsiteX115" fmla="*/ 1575 w 4292"/>
                  <a:gd name="connsiteY115" fmla="*/ 36 h 1039"/>
                  <a:gd name="connsiteX116" fmla="*/ 1648 w 4292"/>
                  <a:gd name="connsiteY116" fmla="*/ 15 h 1039"/>
                  <a:gd name="connsiteX117" fmla="*/ 1726 w 4292"/>
                  <a:gd name="connsiteY117" fmla="*/ 2 h 1039"/>
                  <a:gd name="connsiteX118" fmla="*/ 1796 w 4292"/>
                  <a:gd name="connsiteY118" fmla="*/ 0 h 1039"/>
                  <a:gd name="connsiteX119" fmla="*/ 1862 w 4292"/>
                  <a:gd name="connsiteY119" fmla="*/ 9 h 1039"/>
                  <a:gd name="connsiteX120" fmla="*/ 1922 w 4292"/>
                  <a:gd name="connsiteY120" fmla="*/ 23 h 1039"/>
                  <a:gd name="connsiteX121" fmla="*/ 1980 w 4292"/>
                  <a:gd name="connsiteY121" fmla="*/ 46 h 1039"/>
                  <a:gd name="connsiteX122" fmla="*/ 2034 w 4292"/>
                  <a:gd name="connsiteY122" fmla="*/ 77 h 1039"/>
                  <a:gd name="connsiteX123" fmla="*/ 2083 w 4292"/>
                  <a:gd name="connsiteY123" fmla="*/ 112 h 1039"/>
                  <a:gd name="connsiteX124" fmla="*/ 2129 w 4292"/>
                  <a:gd name="connsiteY124" fmla="*/ 154 h 1039"/>
                  <a:gd name="connsiteX125" fmla="*/ 2174 w 4292"/>
                  <a:gd name="connsiteY125" fmla="*/ 199 h 1039"/>
                  <a:gd name="connsiteX126" fmla="*/ 2216 w 4292"/>
                  <a:gd name="connsiteY126" fmla="*/ 247 h 1039"/>
                  <a:gd name="connsiteX127" fmla="*/ 2255 w 4292"/>
                  <a:gd name="connsiteY127" fmla="*/ 299 h 1039"/>
                  <a:gd name="connsiteX128" fmla="*/ 2292 w 4292"/>
                  <a:gd name="connsiteY128" fmla="*/ 353 h 1039"/>
                  <a:gd name="connsiteX129" fmla="*/ 2327 w 4292"/>
                  <a:gd name="connsiteY129" fmla="*/ 409 h 1039"/>
                  <a:gd name="connsiteX130" fmla="*/ 2362 w 4292"/>
                  <a:gd name="connsiteY130" fmla="*/ 463 h 1039"/>
                  <a:gd name="connsiteX131" fmla="*/ 2395 w 4292"/>
                  <a:gd name="connsiteY131" fmla="*/ 519 h 1039"/>
                  <a:gd name="connsiteX132" fmla="*/ 2432 w 4292"/>
                  <a:gd name="connsiteY132" fmla="*/ 581 h 1039"/>
                  <a:gd name="connsiteX133" fmla="*/ 2469 w 4292"/>
                  <a:gd name="connsiteY133" fmla="*/ 639 h 1039"/>
                  <a:gd name="connsiteX134" fmla="*/ 2509 w 4292"/>
                  <a:gd name="connsiteY134" fmla="*/ 697 h 1039"/>
                  <a:gd name="connsiteX135" fmla="*/ 2546 w 4292"/>
                  <a:gd name="connsiteY135" fmla="*/ 751 h 1039"/>
                  <a:gd name="connsiteX136" fmla="*/ 2587 w 4292"/>
                  <a:gd name="connsiteY136" fmla="*/ 801 h 1039"/>
                  <a:gd name="connsiteX137" fmla="*/ 2628 w 4292"/>
                  <a:gd name="connsiteY137" fmla="*/ 844 h 1039"/>
                  <a:gd name="connsiteX138" fmla="*/ 2672 w 4292"/>
                  <a:gd name="connsiteY138" fmla="*/ 882 h 1039"/>
                  <a:gd name="connsiteX139" fmla="*/ 2717 w 4292"/>
                  <a:gd name="connsiteY139" fmla="*/ 913 h 1039"/>
                  <a:gd name="connsiteX140" fmla="*/ 2767 w 4292"/>
                  <a:gd name="connsiteY140" fmla="*/ 936 h 1039"/>
                  <a:gd name="connsiteX141" fmla="*/ 2820 w 4292"/>
                  <a:gd name="connsiteY141" fmla="*/ 948 h 1039"/>
                  <a:gd name="connsiteX142" fmla="*/ 2876 w 4292"/>
                  <a:gd name="connsiteY142" fmla="*/ 952 h 1039"/>
                  <a:gd name="connsiteX143" fmla="*/ 2932 w 4292"/>
                  <a:gd name="connsiteY143" fmla="*/ 946 h 1039"/>
                  <a:gd name="connsiteX144" fmla="*/ 2982 w 4292"/>
                  <a:gd name="connsiteY144" fmla="*/ 931 h 1039"/>
                  <a:gd name="connsiteX145" fmla="*/ 3029 w 4292"/>
                  <a:gd name="connsiteY145" fmla="*/ 911 h 1039"/>
                  <a:gd name="connsiteX146" fmla="*/ 3072 w 4292"/>
                  <a:gd name="connsiteY146" fmla="*/ 880 h 1039"/>
                  <a:gd name="connsiteX147" fmla="*/ 3112 w 4292"/>
                  <a:gd name="connsiteY147" fmla="*/ 844 h 1039"/>
                  <a:gd name="connsiteX148" fmla="*/ 3149 w 4292"/>
                  <a:gd name="connsiteY148" fmla="*/ 803 h 1039"/>
                  <a:gd name="connsiteX0" fmla="*/ 3149 w 4292"/>
                  <a:gd name="connsiteY0" fmla="*/ 803 h 1039"/>
                  <a:gd name="connsiteX1" fmla="*/ 4142 w 4292"/>
                  <a:gd name="connsiteY1" fmla="*/ 131 h 1039"/>
                  <a:gd name="connsiteX2" fmla="*/ 4049 w 4292"/>
                  <a:gd name="connsiteY2" fmla="*/ 94 h 1039"/>
                  <a:gd name="connsiteX3" fmla="*/ 4014 w 4292"/>
                  <a:gd name="connsiteY3" fmla="*/ 85 h 1039"/>
                  <a:gd name="connsiteX4" fmla="*/ 3958 w 4292"/>
                  <a:gd name="connsiteY4" fmla="*/ 83 h 1039"/>
                  <a:gd name="connsiteX5" fmla="*/ 3830 w 4292"/>
                  <a:gd name="connsiteY5" fmla="*/ 102 h 1039"/>
                  <a:gd name="connsiteX6" fmla="*/ 3774 w 4292"/>
                  <a:gd name="connsiteY6" fmla="*/ 123 h 1039"/>
                  <a:gd name="connsiteX7" fmla="*/ 3675 w 4292"/>
                  <a:gd name="connsiteY7" fmla="*/ 183 h 1039"/>
                  <a:gd name="connsiteX8" fmla="*/ 3553 w 4292"/>
                  <a:gd name="connsiteY8" fmla="*/ 309 h 1039"/>
                  <a:gd name="connsiteX9" fmla="*/ 3423 w 4292"/>
                  <a:gd name="connsiteY9" fmla="*/ 519 h 1039"/>
                  <a:gd name="connsiteX10" fmla="*/ 3330 w 4292"/>
                  <a:gd name="connsiteY10" fmla="*/ 687 h 1039"/>
                  <a:gd name="connsiteX11" fmla="*/ 3297 w 4292"/>
                  <a:gd name="connsiteY11" fmla="*/ 743 h 1039"/>
                  <a:gd name="connsiteX12" fmla="*/ 3262 w 4292"/>
                  <a:gd name="connsiteY12" fmla="*/ 795 h 1039"/>
                  <a:gd name="connsiteX13" fmla="*/ 3227 w 4292"/>
                  <a:gd name="connsiteY13" fmla="*/ 844 h 1039"/>
                  <a:gd name="connsiteX14" fmla="*/ 3188 w 4292"/>
                  <a:gd name="connsiteY14" fmla="*/ 890 h 1039"/>
                  <a:gd name="connsiteX15" fmla="*/ 3147 w 4292"/>
                  <a:gd name="connsiteY15" fmla="*/ 931 h 1039"/>
                  <a:gd name="connsiteX16" fmla="*/ 3101 w 4292"/>
                  <a:gd name="connsiteY16" fmla="*/ 967 h 1039"/>
                  <a:gd name="connsiteX17" fmla="*/ 3052 w 4292"/>
                  <a:gd name="connsiteY17" fmla="*/ 996 h 1039"/>
                  <a:gd name="connsiteX18" fmla="*/ 3000 w 4292"/>
                  <a:gd name="connsiteY18" fmla="*/ 1018 h 1039"/>
                  <a:gd name="connsiteX19" fmla="*/ 2942 w 4292"/>
                  <a:gd name="connsiteY19" fmla="*/ 1033 h 1039"/>
                  <a:gd name="connsiteX20" fmla="*/ 2878 w 4292"/>
                  <a:gd name="connsiteY20" fmla="*/ 1039 h 1039"/>
                  <a:gd name="connsiteX21" fmla="*/ 2870 w 4292"/>
                  <a:gd name="connsiteY21" fmla="*/ 1039 h 1039"/>
                  <a:gd name="connsiteX22" fmla="*/ 2808 w 4292"/>
                  <a:gd name="connsiteY22" fmla="*/ 1035 h 1039"/>
                  <a:gd name="connsiteX23" fmla="*/ 2748 w 4292"/>
                  <a:gd name="connsiteY23" fmla="*/ 1021 h 1039"/>
                  <a:gd name="connsiteX24" fmla="*/ 2695 w 4292"/>
                  <a:gd name="connsiteY24" fmla="*/ 998 h 1039"/>
                  <a:gd name="connsiteX25" fmla="*/ 2643 w 4292"/>
                  <a:gd name="connsiteY25" fmla="*/ 969 h 1039"/>
                  <a:gd name="connsiteX26" fmla="*/ 2595 w 4292"/>
                  <a:gd name="connsiteY26" fmla="*/ 931 h 1039"/>
                  <a:gd name="connsiteX27" fmla="*/ 2552 w 4292"/>
                  <a:gd name="connsiteY27" fmla="*/ 890 h 1039"/>
                  <a:gd name="connsiteX28" fmla="*/ 2509 w 4292"/>
                  <a:gd name="connsiteY28" fmla="*/ 842 h 1039"/>
                  <a:gd name="connsiteX29" fmla="*/ 2469 w 4292"/>
                  <a:gd name="connsiteY29" fmla="*/ 792 h 1039"/>
                  <a:gd name="connsiteX30" fmla="*/ 2430 w 4292"/>
                  <a:gd name="connsiteY30" fmla="*/ 736 h 1039"/>
                  <a:gd name="connsiteX31" fmla="*/ 2393 w 4292"/>
                  <a:gd name="connsiteY31" fmla="*/ 680 h 1039"/>
                  <a:gd name="connsiteX32" fmla="*/ 2288 w 4292"/>
                  <a:gd name="connsiteY32" fmla="*/ 506 h 1039"/>
                  <a:gd name="connsiteX33" fmla="*/ 2251 w 4292"/>
                  <a:gd name="connsiteY33" fmla="*/ 448 h 1039"/>
                  <a:gd name="connsiteX34" fmla="*/ 2213 w 4292"/>
                  <a:gd name="connsiteY34" fmla="*/ 392 h 1039"/>
                  <a:gd name="connsiteX35" fmla="*/ 2176 w 4292"/>
                  <a:gd name="connsiteY35" fmla="*/ 338 h 1039"/>
                  <a:gd name="connsiteX36" fmla="*/ 2137 w 4292"/>
                  <a:gd name="connsiteY36" fmla="*/ 289 h 1039"/>
                  <a:gd name="connsiteX37" fmla="*/ 2096 w 4292"/>
                  <a:gd name="connsiteY37" fmla="*/ 243 h 1039"/>
                  <a:gd name="connsiteX38" fmla="*/ 2054 w 4292"/>
                  <a:gd name="connsiteY38" fmla="*/ 201 h 1039"/>
                  <a:gd name="connsiteX39" fmla="*/ 2009 w 4292"/>
                  <a:gd name="connsiteY39" fmla="*/ 164 h 1039"/>
                  <a:gd name="connsiteX40" fmla="*/ 1962 w 4292"/>
                  <a:gd name="connsiteY40" fmla="*/ 135 h 1039"/>
                  <a:gd name="connsiteX41" fmla="*/ 1910 w 4292"/>
                  <a:gd name="connsiteY41" fmla="*/ 112 h 1039"/>
                  <a:gd name="connsiteX42" fmla="*/ 1854 w 4292"/>
                  <a:gd name="connsiteY42" fmla="*/ 96 h 1039"/>
                  <a:gd name="connsiteX43" fmla="*/ 1796 w 4292"/>
                  <a:gd name="connsiteY43" fmla="*/ 87 h 1039"/>
                  <a:gd name="connsiteX44" fmla="*/ 1732 w 4292"/>
                  <a:gd name="connsiteY44" fmla="*/ 89 h 1039"/>
                  <a:gd name="connsiteX45" fmla="*/ 1664 w 4292"/>
                  <a:gd name="connsiteY45" fmla="*/ 100 h 1039"/>
                  <a:gd name="connsiteX46" fmla="*/ 1602 w 4292"/>
                  <a:gd name="connsiteY46" fmla="*/ 118 h 1039"/>
                  <a:gd name="connsiteX47" fmla="*/ 1545 w 4292"/>
                  <a:gd name="connsiteY47" fmla="*/ 143 h 1039"/>
                  <a:gd name="connsiteX48" fmla="*/ 1491 w 4292"/>
                  <a:gd name="connsiteY48" fmla="*/ 177 h 1039"/>
                  <a:gd name="connsiteX49" fmla="*/ 1439 w 4292"/>
                  <a:gd name="connsiteY49" fmla="*/ 214 h 1039"/>
                  <a:gd name="connsiteX50" fmla="*/ 1394 w 4292"/>
                  <a:gd name="connsiteY50" fmla="*/ 257 h 1039"/>
                  <a:gd name="connsiteX51" fmla="*/ 1348 w 4292"/>
                  <a:gd name="connsiteY51" fmla="*/ 303 h 1039"/>
                  <a:gd name="connsiteX52" fmla="*/ 1307 w 4292"/>
                  <a:gd name="connsiteY52" fmla="*/ 355 h 1039"/>
                  <a:gd name="connsiteX53" fmla="*/ 1268 w 4292"/>
                  <a:gd name="connsiteY53" fmla="*/ 409 h 1039"/>
                  <a:gd name="connsiteX54" fmla="*/ 1231 w 4292"/>
                  <a:gd name="connsiteY54" fmla="*/ 463 h 1039"/>
                  <a:gd name="connsiteX55" fmla="*/ 1194 w 4292"/>
                  <a:gd name="connsiteY55" fmla="*/ 519 h 1039"/>
                  <a:gd name="connsiteX56" fmla="*/ 1156 w 4292"/>
                  <a:gd name="connsiteY56" fmla="*/ 577 h 1039"/>
                  <a:gd name="connsiteX57" fmla="*/ 1121 w 4292"/>
                  <a:gd name="connsiteY57" fmla="*/ 633 h 1039"/>
                  <a:gd name="connsiteX58" fmla="*/ 1047 w 4292"/>
                  <a:gd name="connsiteY58" fmla="*/ 745 h 1039"/>
                  <a:gd name="connsiteX59" fmla="*/ 1008 w 4292"/>
                  <a:gd name="connsiteY59" fmla="*/ 797 h 1039"/>
                  <a:gd name="connsiteX60" fmla="*/ 966 w 4292"/>
                  <a:gd name="connsiteY60" fmla="*/ 846 h 1039"/>
                  <a:gd name="connsiteX61" fmla="*/ 923 w 4292"/>
                  <a:gd name="connsiteY61" fmla="*/ 892 h 1039"/>
                  <a:gd name="connsiteX62" fmla="*/ 876 w 4292"/>
                  <a:gd name="connsiteY62" fmla="*/ 933 h 1039"/>
                  <a:gd name="connsiteX63" fmla="*/ 826 w 4292"/>
                  <a:gd name="connsiteY63" fmla="*/ 969 h 1039"/>
                  <a:gd name="connsiteX64" fmla="*/ 772 w 4292"/>
                  <a:gd name="connsiteY64" fmla="*/ 998 h 1039"/>
                  <a:gd name="connsiteX65" fmla="*/ 717 w 4292"/>
                  <a:gd name="connsiteY65" fmla="*/ 1021 h 1039"/>
                  <a:gd name="connsiteX66" fmla="*/ 653 w 4292"/>
                  <a:gd name="connsiteY66" fmla="*/ 1033 h 1039"/>
                  <a:gd name="connsiteX67" fmla="*/ 587 w 4292"/>
                  <a:gd name="connsiteY67" fmla="*/ 1039 h 1039"/>
                  <a:gd name="connsiteX68" fmla="*/ 580 w 4292"/>
                  <a:gd name="connsiteY68" fmla="*/ 1039 h 1039"/>
                  <a:gd name="connsiteX69" fmla="*/ 512 w 4292"/>
                  <a:gd name="connsiteY69" fmla="*/ 1035 h 1039"/>
                  <a:gd name="connsiteX70" fmla="*/ 450 w 4292"/>
                  <a:gd name="connsiteY70" fmla="*/ 1023 h 1039"/>
                  <a:gd name="connsiteX71" fmla="*/ 392 w 4292"/>
                  <a:gd name="connsiteY71" fmla="*/ 1004 h 1039"/>
                  <a:gd name="connsiteX72" fmla="*/ 341 w 4292"/>
                  <a:gd name="connsiteY72" fmla="*/ 979 h 1039"/>
                  <a:gd name="connsiteX73" fmla="*/ 293 w 4292"/>
                  <a:gd name="connsiteY73" fmla="*/ 948 h 1039"/>
                  <a:gd name="connsiteX74" fmla="*/ 248 w 4292"/>
                  <a:gd name="connsiteY74" fmla="*/ 911 h 1039"/>
                  <a:gd name="connsiteX75" fmla="*/ 207 w 4292"/>
                  <a:gd name="connsiteY75" fmla="*/ 869 h 1039"/>
                  <a:gd name="connsiteX76" fmla="*/ 169 w 4292"/>
                  <a:gd name="connsiteY76" fmla="*/ 824 h 1039"/>
                  <a:gd name="connsiteX77" fmla="*/ 132 w 4292"/>
                  <a:gd name="connsiteY77" fmla="*/ 776 h 1039"/>
                  <a:gd name="connsiteX78" fmla="*/ 99 w 4292"/>
                  <a:gd name="connsiteY78" fmla="*/ 724 h 1039"/>
                  <a:gd name="connsiteX79" fmla="*/ 64 w 4292"/>
                  <a:gd name="connsiteY79" fmla="*/ 670 h 1039"/>
                  <a:gd name="connsiteX80" fmla="*/ 33 w 4292"/>
                  <a:gd name="connsiteY80" fmla="*/ 614 h 1039"/>
                  <a:gd name="connsiteX81" fmla="*/ 0 w 4292"/>
                  <a:gd name="connsiteY81" fmla="*/ 556 h 1039"/>
                  <a:gd name="connsiteX82" fmla="*/ 77 w 4292"/>
                  <a:gd name="connsiteY82" fmla="*/ 512 h 1039"/>
                  <a:gd name="connsiteX83" fmla="*/ 110 w 4292"/>
                  <a:gd name="connsiteY83" fmla="*/ 571 h 1039"/>
                  <a:gd name="connsiteX84" fmla="*/ 143 w 4292"/>
                  <a:gd name="connsiteY84" fmla="*/ 627 h 1039"/>
                  <a:gd name="connsiteX85" fmla="*/ 176 w 4292"/>
                  <a:gd name="connsiteY85" fmla="*/ 680 h 1039"/>
                  <a:gd name="connsiteX86" fmla="*/ 209 w 4292"/>
                  <a:gd name="connsiteY86" fmla="*/ 732 h 1039"/>
                  <a:gd name="connsiteX87" fmla="*/ 244 w 4292"/>
                  <a:gd name="connsiteY87" fmla="*/ 778 h 1039"/>
                  <a:gd name="connsiteX88" fmla="*/ 281 w 4292"/>
                  <a:gd name="connsiteY88" fmla="*/ 821 h 1039"/>
                  <a:gd name="connsiteX89" fmla="*/ 322 w 4292"/>
                  <a:gd name="connsiteY89" fmla="*/ 859 h 1039"/>
                  <a:gd name="connsiteX90" fmla="*/ 366 w 4292"/>
                  <a:gd name="connsiteY90" fmla="*/ 890 h 1039"/>
                  <a:gd name="connsiteX91" fmla="*/ 413 w 4292"/>
                  <a:gd name="connsiteY91" fmla="*/ 917 h 1039"/>
                  <a:gd name="connsiteX92" fmla="*/ 463 w 4292"/>
                  <a:gd name="connsiteY92" fmla="*/ 936 h 1039"/>
                  <a:gd name="connsiteX93" fmla="*/ 518 w 4292"/>
                  <a:gd name="connsiteY93" fmla="*/ 948 h 1039"/>
                  <a:gd name="connsiteX94" fmla="*/ 580 w 4292"/>
                  <a:gd name="connsiteY94" fmla="*/ 952 h 1039"/>
                  <a:gd name="connsiteX95" fmla="*/ 587 w 4292"/>
                  <a:gd name="connsiteY95" fmla="*/ 952 h 1039"/>
                  <a:gd name="connsiteX96" fmla="*/ 646 w 4292"/>
                  <a:gd name="connsiteY96" fmla="*/ 946 h 1039"/>
                  <a:gd name="connsiteX97" fmla="*/ 702 w 4292"/>
                  <a:gd name="connsiteY97" fmla="*/ 931 h 1039"/>
                  <a:gd name="connsiteX98" fmla="*/ 756 w 4292"/>
                  <a:gd name="connsiteY98" fmla="*/ 909 h 1039"/>
                  <a:gd name="connsiteX99" fmla="*/ 803 w 4292"/>
                  <a:gd name="connsiteY99" fmla="*/ 880 h 1039"/>
                  <a:gd name="connsiteX100" fmla="*/ 849 w 4292"/>
                  <a:gd name="connsiteY100" fmla="*/ 842 h 1039"/>
                  <a:gd name="connsiteX101" fmla="*/ 892 w 4292"/>
                  <a:gd name="connsiteY101" fmla="*/ 799 h 1039"/>
                  <a:gd name="connsiteX102" fmla="*/ 931 w 4292"/>
                  <a:gd name="connsiteY102" fmla="*/ 751 h 1039"/>
                  <a:gd name="connsiteX103" fmla="*/ 971 w 4292"/>
                  <a:gd name="connsiteY103" fmla="*/ 699 h 1039"/>
                  <a:gd name="connsiteX104" fmla="*/ 1010 w 4292"/>
                  <a:gd name="connsiteY104" fmla="*/ 645 h 1039"/>
                  <a:gd name="connsiteX105" fmla="*/ 1121 w 4292"/>
                  <a:gd name="connsiteY105" fmla="*/ 471 h 1039"/>
                  <a:gd name="connsiteX106" fmla="*/ 1161 w 4292"/>
                  <a:gd name="connsiteY106" fmla="*/ 411 h 1039"/>
                  <a:gd name="connsiteX107" fmla="*/ 1202 w 4292"/>
                  <a:gd name="connsiteY107" fmla="*/ 353 h 1039"/>
                  <a:gd name="connsiteX108" fmla="*/ 1245 w 4292"/>
                  <a:gd name="connsiteY108" fmla="*/ 295 h 1039"/>
                  <a:gd name="connsiteX109" fmla="*/ 1291 w 4292"/>
                  <a:gd name="connsiteY109" fmla="*/ 241 h 1039"/>
                  <a:gd name="connsiteX110" fmla="*/ 1338 w 4292"/>
                  <a:gd name="connsiteY110" fmla="*/ 189 h 1039"/>
                  <a:gd name="connsiteX111" fmla="*/ 1392 w 4292"/>
                  <a:gd name="connsiteY111" fmla="*/ 141 h 1039"/>
                  <a:gd name="connsiteX112" fmla="*/ 1447 w 4292"/>
                  <a:gd name="connsiteY112" fmla="*/ 100 h 1039"/>
                  <a:gd name="connsiteX113" fmla="*/ 1509 w 4292"/>
                  <a:gd name="connsiteY113" fmla="*/ 65 h 1039"/>
                  <a:gd name="connsiteX114" fmla="*/ 1575 w 4292"/>
                  <a:gd name="connsiteY114" fmla="*/ 36 h 1039"/>
                  <a:gd name="connsiteX115" fmla="*/ 1648 w 4292"/>
                  <a:gd name="connsiteY115" fmla="*/ 15 h 1039"/>
                  <a:gd name="connsiteX116" fmla="*/ 1726 w 4292"/>
                  <a:gd name="connsiteY116" fmla="*/ 2 h 1039"/>
                  <a:gd name="connsiteX117" fmla="*/ 1796 w 4292"/>
                  <a:gd name="connsiteY117" fmla="*/ 0 h 1039"/>
                  <a:gd name="connsiteX118" fmla="*/ 1862 w 4292"/>
                  <a:gd name="connsiteY118" fmla="*/ 9 h 1039"/>
                  <a:gd name="connsiteX119" fmla="*/ 1922 w 4292"/>
                  <a:gd name="connsiteY119" fmla="*/ 23 h 1039"/>
                  <a:gd name="connsiteX120" fmla="*/ 1980 w 4292"/>
                  <a:gd name="connsiteY120" fmla="*/ 46 h 1039"/>
                  <a:gd name="connsiteX121" fmla="*/ 2034 w 4292"/>
                  <a:gd name="connsiteY121" fmla="*/ 77 h 1039"/>
                  <a:gd name="connsiteX122" fmla="*/ 2083 w 4292"/>
                  <a:gd name="connsiteY122" fmla="*/ 112 h 1039"/>
                  <a:gd name="connsiteX123" fmla="*/ 2129 w 4292"/>
                  <a:gd name="connsiteY123" fmla="*/ 154 h 1039"/>
                  <a:gd name="connsiteX124" fmla="*/ 2174 w 4292"/>
                  <a:gd name="connsiteY124" fmla="*/ 199 h 1039"/>
                  <a:gd name="connsiteX125" fmla="*/ 2216 w 4292"/>
                  <a:gd name="connsiteY125" fmla="*/ 247 h 1039"/>
                  <a:gd name="connsiteX126" fmla="*/ 2255 w 4292"/>
                  <a:gd name="connsiteY126" fmla="*/ 299 h 1039"/>
                  <a:gd name="connsiteX127" fmla="*/ 2292 w 4292"/>
                  <a:gd name="connsiteY127" fmla="*/ 353 h 1039"/>
                  <a:gd name="connsiteX128" fmla="*/ 2327 w 4292"/>
                  <a:gd name="connsiteY128" fmla="*/ 409 h 1039"/>
                  <a:gd name="connsiteX129" fmla="*/ 2362 w 4292"/>
                  <a:gd name="connsiteY129" fmla="*/ 463 h 1039"/>
                  <a:gd name="connsiteX130" fmla="*/ 2395 w 4292"/>
                  <a:gd name="connsiteY130" fmla="*/ 519 h 1039"/>
                  <a:gd name="connsiteX131" fmla="*/ 2432 w 4292"/>
                  <a:gd name="connsiteY131" fmla="*/ 581 h 1039"/>
                  <a:gd name="connsiteX132" fmla="*/ 2469 w 4292"/>
                  <a:gd name="connsiteY132" fmla="*/ 639 h 1039"/>
                  <a:gd name="connsiteX133" fmla="*/ 2509 w 4292"/>
                  <a:gd name="connsiteY133" fmla="*/ 697 h 1039"/>
                  <a:gd name="connsiteX134" fmla="*/ 2546 w 4292"/>
                  <a:gd name="connsiteY134" fmla="*/ 751 h 1039"/>
                  <a:gd name="connsiteX135" fmla="*/ 2587 w 4292"/>
                  <a:gd name="connsiteY135" fmla="*/ 801 h 1039"/>
                  <a:gd name="connsiteX136" fmla="*/ 2628 w 4292"/>
                  <a:gd name="connsiteY136" fmla="*/ 844 h 1039"/>
                  <a:gd name="connsiteX137" fmla="*/ 2672 w 4292"/>
                  <a:gd name="connsiteY137" fmla="*/ 882 h 1039"/>
                  <a:gd name="connsiteX138" fmla="*/ 2717 w 4292"/>
                  <a:gd name="connsiteY138" fmla="*/ 913 h 1039"/>
                  <a:gd name="connsiteX139" fmla="*/ 2767 w 4292"/>
                  <a:gd name="connsiteY139" fmla="*/ 936 h 1039"/>
                  <a:gd name="connsiteX140" fmla="*/ 2820 w 4292"/>
                  <a:gd name="connsiteY140" fmla="*/ 948 h 1039"/>
                  <a:gd name="connsiteX141" fmla="*/ 2876 w 4292"/>
                  <a:gd name="connsiteY141" fmla="*/ 952 h 1039"/>
                  <a:gd name="connsiteX142" fmla="*/ 2932 w 4292"/>
                  <a:gd name="connsiteY142" fmla="*/ 946 h 1039"/>
                  <a:gd name="connsiteX143" fmla="*/ 2982 w 4292"/>
                  <a:gd name="connsiteY143" fmla="*/ 931 h 1039"/>
                  <a:gd name="connsiteX144" fmla="*/ 3029 w 4292"/>
                  <a:gd name="connsiteY144" fmla="*/ 911 h 1039"/>
                  <a:gd name="connsiteX145" fmla="*/ 3072 w 4292"/>
                  <a:gd name="connsiteY145" fmla="*/ 880 h 1039"/>
                  <a:gd name="connsiteX146" fmla="*/ 3112 w 4292"/>
                  <a:gd name="connsiteY146" fmla="*/ 844 h 1039"/>
                  <a:gd name="connsiteX147" fmla="*/ 3149 w 4292"/>
                  <a:gd name="connsiteY147" fmla="*/ 803 h 1039"/>
                  <a:gd name="connsiteX0" fmla="*/ 3149 w 4292"/>
                  <a:gd name="connsiteY0" fmla="*/ 803 h 1039"/>
                  <a:gd name="connsiteX1" fmla="*/ 4142 w 4292"/>
                  <a:gd name="connsiteY1" fmla="*/ 131 h 1039"/>
                  <a:gd name="connsiteX2" fmla="*/ 4049 w 4292"/>
                  <a:gd name="connsiteY2" fmla="*/ 94 h 1039"/>
                  <a:gd name="connsiteX3" fmla="*/ 4014 w 4292"/>
                  <a:gd name="connsiteY3" fmla="*/ 85 h 1039"/>
                  <a:gd name="connsiteX4" fmla="*/ 3958 w 4292"/>
                  <a:gd name="connsiteY4" fmla="*/ 83 h 1039"/>
                  <a:gd name="connsiteX5" fmla="*/ 3830 w 4292"/>
                  <a:gd name="connsiteY5" fmla="*/ 102 h 1039"/>
                  <a:gd name="connsiteX6" fmla="*/ 3774 w 4292"/>
                  <a:gd name="connsiteY6" fmla="*/ 123 h 1039"/>
                  <a:gd name="connsiteX7" fmla="*/ 3675 w 4292"/>
                  <a:gd name="connsiteY7" fmla="*/ 183 h 1039"/>
                  <a:gd name="connsiteX8" fmla="*/ 3553 w 4292"/>
                  <a:gd name="connsiteY8" fmla="*/ 309 h 1039"/>
                  <a:gd name="connsiteX9" fmla="*/ 3330 w 4292"/>
                  <a:gd name="connsiteY9" fmla="*/ 687 h 1039"/>
                  <a:gd name="connsiteX10" fmla="*/ 3297 w 4292"/>
                  <a:gd name="connsiteY10" fmla="*/ 743 h 1039"/>
                  <a:gd name="connsiteX11" fmla="*/ 3262 w 4292"/>
                  <a:gd name="connsiteY11" fmla="*/ 795 h 1039"/>
                  <a:gd name="connsiteX12" fmla="*/ 3227 w 4292"/>
                  <a:gd name="connsiteY12" fmla="*/ 844 h 1039"/>
                  <a:gd name="connsiteX13" fmla="*/ 3188 w 4292"/>
                  <a:gd name="connsiteY13" fmla="*/ 890 h 1039"/>
                  <a:gd name="connsiteX14" fmla="*/ 3147 w 4292"/>
                  <a:gd name="connsiteY14" fmla="*/ 931 h 1039"/>
                  <a:gd name="connsiteX15" fmla="*/ 3101 w 4292"/>
                  <a:gd name="connsiteY15" fmla="*/ 967 h 1039"/>
                  <a:gd name="connsiteX16" fmla="*/ 3052 w 4292"/>
                  <a:gd name="connsiteY16" fmla="*/ 996 h 1039"/>
                  <a:gd name="connsiteX17" fmla="*/ 3000 w 4292"/>
                  <a:gd name="connsiteY17" fmla="*/ 1018 h 1039"/>
                  <a:gd name="connsiteX18" fmla="*/ 2942 w 4292"/>
                  <a:gd name="connsiteY18" fmla="*/ 1033 h 1039"/>
                  <a:gd name="connsiteX19" fmla="*/ 2878 w 4292"/>
                  <a:gd name="connsiteY19" fmla="*/ 1039 h 1039"/>
                  <a:gd name="connsiteX20" fmla="*/ 2870 w 4292"/>
                  <a:gd name="connsiteY20" fmla="*/ 1039 h 1039"/>
                  <a:gd name="connsiteX21" fmla="*/ 2808 w 4292"/>
                  <a:gd name="connsiteY21" fmla="*/ 1035 h 1039"/>
                  <a:gd name="connsiteX22" fmla="*/ 2748 w 4292"/>
                  <a:gd name="connsiteY22" fmla="*/ 1021 h 1039"/>
                  <a:gd name="connsiteX23" fmla="*/ 2695 w 4292"/>
                  <a:gd name="connsiteY23" fmla="*/ 998 h 1039"/>
                  <a:gd name="connsiteX24" fmla="*/ 2643 w 4292"/>
                  <a:gd name="connsiteY24" fmla="*/ 969 h 1039"/>
                  <a:gd name="connsiteX25" fmla="*/ 2595 w 4292"/>
                  <a:gd name="connsiteY25" fmla="*/ 931 h 1039"/>
                  <a:gd name="connsiteX26" fmla="*/ 2552 w 4292"/>
                  <a:gd name="connsiteY26" fmla="*/ 890 h 1039"/>
                  <a:gd name="connsiteX27" fmla="*/ 2509 w 4292"/>
                  <a:gd name="connsiteY27" fmla="*/ 842 h 1039"/>
                  <a:gd name="connsiteX28" fmla="*/ 2469 w 4292"/>
                  <a:gd name="connsiteY28" fmla="*/ 792 h 1039"/>
                  <a:gd name="connsiteX29" fmla="*/ 2430 w 4292"/>
                  <a:gd name="connsiteY29" fmla="*/ 736 h 1039"/>
                  <a:gd name="connsiteX30" fmla="*/ 2393 w 4292"/>
                  <a:gd name="connsiteY30" fmla="*/ 680 h 1039"/>
                  <a:gd name="connsiteX31" fmla="*/ 2288 w 4292"/>
                  <a:gd name="connsiteY31" fmla="*/ 506 h 1039"/>
                  <a:gd name="connsiteX32" fmla="*/ 2251 w 4292"/>
                  <a:gd name="connsiteY32" fmla="*/ 448 h 1039"/>
                  <a:gd name="connsiteX33" fmla="*/ 2213 w 4292"/>
                  <a:gd name="connsiteY33" fmla="*/ 392 h 1039"/>
                  <a:gd name="connsiteX34" fmla="*/ 2176 w 4292"/>
                  <a:gd name="connsiteY34" fmla="*/ 338 h 1039"/>
                  <a:gd name="connsiteX35" fmla="*/ 2137 w 4292"/>
                  <a:gd name="connsiteY35" fmla="*/ 289 h 1039"/>
                  <a:gd name="connsiteX36" fmla="*/ 2096 w 4292"/>
                  <a:gd name="connsiteY36" fmla="*/ 243 h 1039"/>
                  <a:gd name="connsiteX37" fmla="*/ 2054 w 4292"/>
                  <a:gd name="connsiteY37" fmla="*/ 201 h 1039"/>
                  <a:gd name="connsiteX38" fmla="*/ 2009 w 4292"/>
                  <a:gd name="connsiteY38" fmla="*/ 164 h 1039"/>
                  <a:gd name="connsiteX39" fmla="*/ 1962 w 4292"/>
                  <a:gd name="connsiteY39" fmla="*/ 135 h 1039"/>
                  <a:gd name="connsiteX40" fmla="*/ 1910 w 4292"/>
                  <a:gd name="connsiteY40" fmla="*/ 112 h 1039"/>
                  <a:gd name="connsiteX41" fmla="*/ 1854 w 4292"/>
                  <a:gd name="connsiteY41" fmla="*/ 96 h 1039"/>
                  <a:gd name="connsiteX42" fmla="*/ 1796 w 4292"/>
                  <a:gd name="connsiteY42" fmla="*/ 87 h 1039"/>
                  <a:gd name="connsiteX43" fmla="*/ 1732 w 4292"/>
                  <a:gd name="connsiteY43" fmla="*/ 89 h 1039"/>
                  <a:gd name="connsiteX44" fmla="*/ 1664 w 4292"/>
                  <a:gd name="connsiteY44" fmla="*/ 100 h 1039"/>
                  <a:gd name="connsiteX45" fmla="*/ 1602 w 4292"/>
                  <a:gd name="connsiteY45" fmla="*/ 118 h 1039"/>
                  <a:gd name="connsiteX46" fmla="*/ 1545 w 4292"/>
                  <a:gd name="connsiteY46" fmla="*/ 143 h 1039"/>
                  <a:gd name="connsiteX47" fmla="*/ 1491 w 4292"/>
                  <a:gd name="connsiteY47" fmla="*/ 177 h 1039"/>
                  <a:gd name="connsiteX48" fmla="*/ 1439 w 4292"/>
                  <a:gd name="connsiteY48" fmla="*/ 214 h 1039"/>
                  <a:gd name="connsiteX49" fmla="*/ 1394 w 4292"/>
                  <a:gd name="connsiteY49" fmla="*/ 257 h 1039"/>
                  <a:gd name="connsiteX50" fmla="*/ 1348 w 4292"/>
                  <a:gd name="connsiteY50" fmla="*/ 303 h 1039"/>
                  <a:gd name="connsiteX51" fmla="*/ 1307 w 4292"/>
                  <a:gd name="connsiteY51" fmla="*/ 355 h 1039"/>
                  <a:gd name="connsiteX52" fmla="*/ 1268 w 4292"/>
                  <a:gd name="connsiteY52" fmla="*/ 409 h 1039"/>
                  <a:gd name="connsiteX53" fmla="*/ 1231 w 4292"/>
                  <a:gd name="connsiteY53" fmla="*/ 463 h 1039"/>
                  <a:gd name="connsiteX54" fmla="*/ 1194 w 4292"/>
                  <a:gd name="connsiteY54" fmla="*/ 519 h 1039"/>
                  <a:gd name="connsiteX55" fmla="*/ 1156 w 4292"/>
                  <a:gd name="connsiteY55" fmla="*/ 577 h 1039"/>
                  <a:gd name="connsiteX56" fmla="*/ 1121 w 4292"/>
                  <a:gd name="connsiteY56" fmla="*/ 633 h 1039"/>
                  <a:gd name="connsiteX57" fmla="*/ 1047 w 4292"/>
                  <a:gd name="connsiteY57" fmla="*/ 745 h 1039"/>
                  <a:gd name="connsiteX58" fmla="*/ 1008 w 4292"/>
                  <a:gd name="connsiteY58" fmla="*/ 797 h 1039"/>
                  <a:gd name="connsiteX59" fmla="*/ 966 w 4292"/>
                  <a:gd name="connsiteY59" fmla="*/ 846 h 1039"/>
                  <a:gd name="connsiteX60" fmla="*/ 923 w 4292"/>
                  <a:gd name="connsiteY60" fmla="*/ 892 h 1039"/>
                  <a:gd name="connsiteX61" fmla="*/ 876 w 4292"/>
                  <a:gd name="connsiteY61" fmla="*/ 933 h 1039"/>
                  <a:gd name="connsiteX62" fmla="*/ 826 w 4292"/>
                  <a:gd name="connsiteY62" fmla="*/ 969 h 1039"/>
                  <a:gd name="connsiteX63" fmla="*/ 772 w 4292"/>
                  <a:gd name="connsiteY63" fmla="*/ 998 h 1039"/>
                  <a:gd name="connsiteX64" fmla="*/ 717 w 4292"/>
                  <a:gd name="connsiteY64" fmla="*/ 1021 h 1039"/>
                  <a:gd name="connsiteX65" fmla="*/ 653 w 4292"/>
                  <a:gd name="connsiteY65" fmla="*/ 1033 h 1039"/>
                  <a:gd name="connsiteX66" fmla="*/ 587 w 4292"/>
                  <a:gd name="connsiteY66" fmla="*/ 1039 h 1039"/>
                  <a:gd name="connsiteX67" fmla="*/ 580 w 4292"/>
                  <a:gd name="connsiteY67" fmla="*/ 1039 h 1039"/>
                  <a:gd name="connsiteX68" fmla="*/ 512 w 4292"/>
                  <a:gd name="connsiteY68" fmla="*/ 1035 h 1039"/>
                  <a:gd name="connsiteX69" fmla="*/ 450 w 4292"/>
                  <a:gd name="connsiteY69" fmla="*/ 1023 h 1039"/>
                  <a:gd name="connsiteX70" fmla="*/ 392 w 4292"/>
                  <a:gd name="connsiteY70" fmla="*/ 1004 h 1039"/>
                  <a:gd name="connsiteX71" fmla="*/ 341 w 4292"/>
                  <a:gd name="connsiteY71" fmla="*/ 979 h 1039"/>
                  <a:gd name="connsiteX72" fmla="*/ 293 w 4292"/>
                  <a:gd name="connsiteY72" fmla="*/ 948 h 1039"/>
                  <a:gd name="connsiteX73" fmla="*/ 248 w 4292"/>
                  <a:gd name="connsiteY73" fmla="*/ 911 h 1039"/>
                  <a:gd name="connsiteX74" fmla="*/ 207 w 4292"/>
                  <a:gd name="connsiteY74" fmla="*/ 869 h 1039"/>
                  <a:gd name="connsiteX75" fmla="*/ 169 w 4292"/>
                  <a:gd name="connsiteY75" fmla="*/ 824 h 1039"/>
                  <a:gd name="connsiteX76" fmla="*/ 132 w 4292"/>
                  <a:gd name="connsiteY76" fmla="*/ 776 h 1039"/>
                  <a:gd name="connsiteX77" fmla="*/ 99 w 4292"/>
                  <a:gd name="connsiteY77" fmla="*/ 724 h 1039"/>
                  <a:gd name="connsiteX78" fmla="*/ 64 w 4292"/>
                  <a:gd name="connsiteY78" fmla="*/ 670 h 1039"/>
                  <a:gd name="connsiteX79" fmla="*/ 33 w 4292"/>
                  <a:gd name="connsiteY79" fmla="*/ 614 h 1039"/>
                  <a:gd name="connsiteX80" fmla="*/ 0 w 4292"/>
                  <a:gd name="connsiteY80" fmla="*/ 556 h 1039"/>
                  <a:gd name="connsiteX81" fmla="*/ 77 w 4292"/>
                  <a:gd name="connsiteY81" fmla="*/ 512 h 1039"/>
                  <a:gd name="connsiteX82" fmla="*/ 110 w 4292"/>
                  <a:gd name="connsiteY82" fmla="*/ 571 h 1039"/>
                  <a:gd name="connsiteX83" fmla="*/ 143 w 4292"/>
                  <a:gd name="connsiteY83" fmla="*/ 627 h 1039"/>
                  <a:gd name="connsiteX84" fmla="*/ 176 w 4292"/>
                  <a:gd name="connsiteY84" fmla="*/ 680 h 1039"/>
                  <a:gd name="connsiteX85" fmla="*/ 209 w 4292"/>
                  <a:gd name="connsiteY85" fmla="*/ 732 h 1039"/>
                  <a:gd name="connsiteX86" fmla="*/ 244 w 4292"/>
                  <a:gd name="connsiteY86" fmla="*/ 778 h 1039"/>
                  <a:gd name="connsiteX87" fmla="*/ 281 w 4292"/>
                  <a:gd name="connsiteY87" fmla="*/ 821 h 1039"/>
                  <a:gd name="connsiteX88" fmla="*/ 322 w 4292"/>
                  <a:gd name="connsiteY88" fmla="*/ 859 h 1039"/>
                  <a:gd name="connsiteX89" fmla="*/ 366 w 4292"/>
                  <a:gd name="connsiteY89" fmla="*/ 890 h 1039"/>
                  <a:gd name="connsiteX90" fmla="*/ 413 w 4292"/>
                  <a:gd name="connsiteY90" fmla="*/ 917 h 1039"/>
                  <a:gd name="connsiteX91" fmla="*/ 463 w 4292"/>
                  <a:gd name="connsiteY91" fmla="*/ 936 h 1039"/>
                  <a:gd name="connsiteX92" fmla="*/ 518 w 4292"/>
                  <a:gd name="connsiteY92" fmla="*/ 948 h 1039"/>
                  <a:gd name="connsiteX93" fmla="*/ 580 w 4292"/>
                  <a:gd name="connsiteY93" fmla="*/ 952 h 1039"/>
                  <a:gd name="connsiteX94" fmla="*/ 587 w 4292"/>
                  <a:gd name="connsiteY94" fmla="*/ 952 h 1039"/>
                  <a:gd name="connsiteX95" fmla="*/ 646 w 4292"/>
                  <a:gd name="connsiteY95" fmla="*/ 946 h 1039"/>
                  <a:gd name="connsiteX96" fmla="*/ 702 w 4292"/>
                  <a:gd name="connsiteY96" fmla="*/ 931 h 1039"/>
                  <a:gd name="connsiteX97" fmla="*/ 756 w 4292"/>
                  <a:gd name="connsiteY97" fmla="*/ 909 h 1039"/>
                  <a:gd name="connsiteX98" fmla="*/ 803 w 4292"/>
                  <a:gd name="connsiteY98" fmla="*/ 880 h 1039"/>
                  <a:gd name="connsiteX99" fmla="*/ 849 w 4292"/>
                  <a:gd name="connsiteY99" fmla="*/ 842 h 1039"/>
                  <a:gd name="connsiteX100" fmla="*/ 892 w 4292"/>
                  <a:gd name="connsiteY100" fmla="*/ 799 h 1039"/>
                  <a:gd name="connsiteX101" fmla="*/ 931 w 4292"/>
                  <a:gd name="connsiteY101" fmla="*/ 751 h 1039"/>
                  <a:gd name="connsiteX102" fmla="*/ 971 w 4292"/>
                  <a:gd name="connsiteY102" fmla="*/ 699 h 1039"/>
                  <a:gd name="connsiteX103" fmla="*/ 1010 w 4292"/>
                  <a:gd name="connsiteY103" fmla="*/ 645 h 1039"/>
                  <a:gd name="connsiteX104" fmla="*/ 1121 w 4292"/>
                  <a:gd name="connsiteY104" fmla="*/ 471 h 1039"/>
                  <a:gd name="connsiteX105" fmla="*/ 1161 w 4292"/>
                  <a:gd name="connsiteY105" fmla="*/ 411 h 1039"/>
                  <a:gd name="connsiteX106" fmla="*/ 1202 w 4292"/>
                  <a:gd name="connsiteY106" fmla="*/ 353 h 1039"/>
                  <a:gd name="connsiteX107" fmla="*/ 1245 w 4292"/>
                  <a:gd name="connsiteY107" fmla="*/ 295 h 1039"/>
                  <a:gd name="connsiteX108" fmla="*/ 1291 w 4292"/>
                  <a:gd name="connsiteY108" fmla="*/ 241 h 1039"/>
                  <a:gd name="connsiteX109" fmla="*/ 1338 w 4292"/>
                  <a:gd name="connsiteY109" fmla="*/ 189 h 1039"/>
                  <a:gd name="connsiteX110" fmla="*/ 1392 w 4292"/>
                  <a:gd name="connsiteY110" fmla="*/ 141 h 1039"/>
                  <a:gd name="connsiteX111" fmla="*/ 1447 w 4292"/>
                  <a:gd name="connsiteY111" fmla="*/ 100 h 1039"/>
                  <a:gd name="connsiteX112" fmla="*/ 1509 w 4292"/>
                  <a:gd name="connsiteY112" fmla="*/ 65 h 1039"/>
                  <a:gd name="connsiteX113" fmla="*/ 1575 w 4292"/>
                  <a:gd name="connsiteY113" fmla="*/ 36 h 1039"/>
                  <a:gd name="connsiteX114" fmla="*/ 1648 w 4292"/>
                  <a:gd name="connsiteY114" fmla="*/ 15 h 1039"/>
                  <a:gd name="connsiteX115" fmla="*/ 1726 w 4292"/>
                  <a:gd name="connsiteY115" fmla="*/ 2 h 1039"/>
                  <a:gd name="connsiteX116" fmla="*/ 1796 w 4292"/>
                  <a:gd name="connsiteY116" fmla="*/ 0 h 1039"/>
                  <a:gd name="connsiteX117" fmla="*/ 1862 w 4292"/>
                  <a:gd name="connsiteY117" fmla="*/ 9 h 1039"/>
                  <a:gd name="connsiteX118" fmla="*/ 1922 w 4292"/>
                  <a:gd name="connsiteY118" fmla="*/ 23 h 1039"/>
                  <a:gd name="connsiteX119" fmla="*/ 1980 w 4292"/>
                  <a:gd name="connsiteY119" fmla="*/ 46 h 1039"/>
                  <a:gd name="connsiteX120" fmla="*/ 2034 w 4292"/>
                  <a:gd name="connsiteY120" fmla="*/ 77 h 1039"/>
                  <a:gd name="connsiteX121" fmla="*/ 2083 w 4292"/>
                  <a:gd name="connsiteY121" fmla="*/ 112 h 1039"/>
                  <a:gd name="connsiteX122" fmla="*/ 2129 w 4292"/>
                  <a:gd name="connsiteY122" fmla="*/ 154 h 1039"/>
                  <a:gd name="connsiteX123" fmla="*/ 2174 w 4292"/>
                  <a:gd name="connsiteY123" fmla="*/ 199 h 1039"/>
                  <a:gd name="connsiteX124" fmla="*/ 2216 w 4292"/>
                  <a:gd name="connsiteY124" fmla="*/ 247 h 1039"/>
                  <a:gd name="connsiteX125" fmla="*/ 2255 w 4292"/>
                  <a:gd name="connsiteY125" fmla="*/ 299 h 1039"/>
                  <a:gd name="connsiteX126" fmla="*/ 2292 w 4292"/>
                  <a:gd name="connsiteY126" fmla="*/ 353 h 1039"/>
                  <a:gd name="connsiteX127" fmla="*/ 2327 w 4292"/>
                  <a:gd name="connsiteY127" fmla="*/ 409 h 1039"/>
                  <a:gd name="connsiteX128" fmla="*/ 2362 w 4292"/>
                  <a:gd name="connsiteY128" fmla="*/ 463 h 1039"/>
                  <a:gd name="connsiteX129" fmla="*/ 2395 w 4292"/>
                  <a:gd name="connsiteY129" fmla="*/ 519 h 1039"/>
                  <a:gd name="connsiteX130" fmla="*/ 2432 w 4292"/>
                  <a:gd name="connsiteY130" fmla="*/ 581 h 1039"/>
                  <a:gd name="connsiteX131" fmla="*/ 2469 w 4292"/>
                  <a:gd name="connsiteY131" fmla="*/ 639 h 1039"/>
                  <a:gd name="connsiteX132" fmla="*/ 2509 w 4292"/>
                  <a:gd name="connsiteY132" fmla="*/ 697 h 1039"/>
                  <a:gd name="connsiteX133" fmla="*/ 2546 w 4292"/>
                  <a:gd name="connsiteY133" fmla="*/ 751 h 1039"/>
                  <a:gd name="connsiteX134" fmla="*/ 2587 w 4292"/>
                  <a:gd name="connsiteY134" fmla="*/ 801 h 1039"/>
                  <a:gd name="connsiteX135" fmla="*/ 2628 w 4292"/>
                  <a:gd name="connsiteY135" fmla="*/ 844 h 1039"/>
                  <a:gd name="connsiteX136" fmla="*/ 2672 w 4292"/>
                  <a:gd name="connsiteY136" fmla="*/ 882 h 1039"/>
                  <a:gd name="connsiteX137" fmla="*/ 2717 w 4292"/>
                  <a:gd name="connsiteY137" fmla="*/ 913 h 1039"/>
                  <a:gd name="connsiteX138" fmla="*/ 2767 w 4292"/>
                  <a:gd name="connsiteY138" fmla="*/ 936 h 1039"/>
                  <a:gd name="connsiteX139" fmla="*/ 2820 w 4292"/>
                  <a:gd name="connsiteY139" fmla="*/ 948 h 1039"/>
                  <a:gd name="connsiteX140" fmla="*/ 2876 w 4292"/>
                  <a:gd name="connsiteY140" fmla="*/ 952 h 1039"/>
                  <a:gd name="connsiteX141" fmla="*/ 2932 w 4292"/>
                  <a:gd name="connsiteY141" fmla="*/ 946 h 1039"/>
                  <a:gd name="connsiteX142" fmla="*/ 2982 w 4292"/>
                  <a:gd name="connsiteY142" fmla="*/ 931 h 1039"/>
                  <a:gd name="connsiteX143" fmla="*/ 3029 w 4292"/>
                  <a:gd name="connsiteY143" fmla="*/ 911 h 1039"/>
                  <a:gd name="connsiteX144" fmla="*/ 3072 w 4292"/>
                  <a:gd name="connsiteY144" fmla="*/ 880 h 1039"/>
                  <a:gd name="connsiteX145" fmla="*/ 3112 w 4292"/>
                  <a:gd name="connsiteY145" fmla="*/ 844 h 1039"/>
                  <a:gd name="connsiteX146" fmla="*/ 3149 w 4292"/>
                  <a:gd name="connsiteY146" fmla="*/ 803 h 1039"/>
                  <a:gd name="connsiteX0" fmla="*/ 3149 w 4292"/>
                  <a:gd name="connsiteY0" fmla="*/ 803 h 1039"/>
                  <a:gd name="connsiteX1" fmla="*/ 4142 w 4292"/>
                  <a:gd name="connsiteY1" fmla="*/ 131 h 1039"/>
                  <a:gd name="connsiteX2" fmla="*/ 4049 w 4292"/>
                  <a:gd name="connsiteY2" fmla="*/ 94 h 1039"/>
                  <a:gd name="connsiteX3" fmla="*/ 4014 w 4292"/>
                  <a:gd name="connsiteY3" fmla="*/ 85 h 1039"/>
                  <a:gd name="connsiteX4" fmla="*/ 3958 w 4292"/>
                  <a:gd name="connsiteY4" fmla="*/ 83 h 1039"/>
                  <a:gd name="connsiteX5" fmla="*/ 3830 w 4292"/>
                  <a:gd name="connsiteY5" fmla="*/ 102 h 1039"/>
                  <a:gd name="connsiteX6" fmla="*/ 3774 w 4292"/>
                  <a:gd name="connsiteY6" fmla="*/ 123 h 1039"/>
                  <a:gd name="connsiteX7" fmla="*/ 3675 w 4292"/>
                  <a:gd name="connsiteY7" fmla="*/ 183 h 1039"/>
                  <a:gd name="connsiteX8" fmla="*/ 3553 w 4292"/>
                  <a:gd name="connsiteY8" fmla="*/ 309 h 1039"/>
                  <a:gd name="connsiteX9" fmla="*/ 3297 w 4292"/>
                  <a:gd name="connsiteY9" fmla="*/ 743 h 1039"/>
                  <a:gd name="connsiteX10" fmla="*/ 3262 w 4292"/>
                  <a:gd name="connsiteY10" fmla="*/ 795 h 1039"/>
                  <a:gd name="connsiteX11" fmla="*/ 3227 w 4292"/>
                  <a:gd name="connsiteY11" fmla="*/ 844 h 1039"/>
                  <a:gd name="connsiteX12" fmla="*/ 3188 w 4292"/>
                  <a:gd name="connsiteY12" fmla="*/ 890 h 1039"/>
                  <a:gd name="connsiteX13" fmla="*/ 3147 w 4292"/>
                  <a:gd name="connsiteY13" fmla="*/ 931 h 1039"/>
                  <a:gd name="connsiteX14" fmla="*/ 3101 w 4292"/>
                  <a:gd name="connsiteY14" fmla="*/ 967 h 1039"/>
                  <a:gd name="connsiteX15" fmla="*/ 3052 w 4292"/>
                  <a:gd name="connsiteY15" fmla="*/ 996 h 1039"/>
                  <a:gd name="connsiteX16" fmla="*/ 3000 w 4292"/>
                  <a:gd name="connsiteY16" fmla="*/ 1018 h 1039"/>
                  <a:gd name="connsiteX17" fmla="*/ 2942 w 4292"/>
                  <a:gd name="connsiteY17" fmla="*/ 1033 h 1039"/>
                  <a:gd name="connsiteX18" fmla="*/ 2878 w 4292"/>
                  <a:gd name="connsiteY18" fmla="*/ 1039 h 1039"/>
                  <a:gd name="connsiteX19" fmla="*/ 2870 w 4292"/>
                  <a:gd name="connsiteY19" fmla="*/ 1039 h 1039"/>
                  <a:gd name="connsiteX20" fmla="*/ 2808 w 4292"/>
                  <a:gd name="connsiteY20" fmla="*/ 1035 h 1039"/>
                  <a:gd name="connsiteX21" fmla="*/ 2748 w 4292"/>
                  <a:gd name="connsiteY21" fmla="*/ 1021 h 1039"/>
                  <a:gd name="connsiteX22" fmla="*/ 2695 w 4292"/>
                  <a:gd name="connsiteY22" fmla="*/ 998 h 1039"/>
                  <a:gd name="connsiteX23" fmla="*/ 2643 w 4292"/>
                  <a:gd name="connsiteY23" fmla="*/ 969 h 1039"/>
                  <a:gd name="connsiteX24" fmla="*/ 2595 w 4292"/>
                  <a:gd name="connsiteY24" fmla="*/ 931 h 1039"/>
                  <a:gd name="connsiteX25" fmla="*/ 2552 w 4292"/>
                  <a:gd name="connsiteY25" fmla="*/ 890 h 1039"/>
                  <a:gd name="connsiteX26" fmla="*/ 2509 w 4292"/>
                  <a:gd name="connsiteY26" fmla="*/ 842 h 1039"/>
                  <a:gd name="connsiteX27" fmla="*/ 2469 w 4292"/>
                  <a:gd name="connsiteY27" fmla="*/ 792 h 1039"/>
                  <a:gd name="connsiteX28" fmla="*/ 2430 w 4292"/>
                  <a:gd name="connsiteY28" fmla="*/ 736 h 1039"/>
                  <a:gd name="connsiteX29" fmla="*/ 2393 w 4292"/>
                  <a:gd name="connsiteY29" fmla="*/ 680 h 1039"/>
                  <a:gd name="connsiteX30" fmla="*/ 2288 w 4292"/>
                  <a:gd name="connsiteY30" fmla="*/ 506 h 1039"/>
                  <a:gd name="connsiteX31" fmla="*/ 2251 w 4292"/>
                  <a:gd name="connsiteY31" fmla="*/ 448 h 1039"/>
                  <a:gd name="connsiteX32" fmla="*/ 2213 w 4292"/>
                  <a:gd name="connsiteY32" fmla="*/ 392 h 1039"/>
                  <a:gd name="connsiteX33" fmla="*/ 2176 w 4292"/>
                  <a:gd name="connsiteY33" fmla="*/ 338 h 1039"/>
                  <a:gd name="connsiteX34" fmla="*/ 2137 w 4292"/>
                  <a:gd name="connsiteY34" fmla="*/ 289 h 1039"/>
                  <a:gd name="connsiteX35" fmla="*/ 2096 w 4292"/>
                  <a:gd name="connsiteY35" fmla="*/ 243 h 1039"/>
                  <a:gd name="connsiteX36" fmla="*/ 2054 w 4292"/>
                  <a:gd name="connsiteY36" fmla="*/ 201 h 1039"/>
                  <a:gd name="connsiteX37" fmla="*/ 2009 w 4292"/>
                  <a:gd name="connsiteY37" fmla="*/ 164 h 1039"/>
                  <a:gd name="connsiteX38" fmla="*/ 1962 w 4292"/>
                  <a:gd name="connsiteY38" fmla="*/ 135 h 1039"/>
                  <a:gd name="connsiteX39" fmla="*/ 1910 w 4292"/>
                  <a:gd name="connsiteY39" fmla="*/ 112 h 1039"/>
                  <a:gd name="connsiteX40" fmla="*/ 1854 w 4292"/>
                  <a:gd name="connsiteY40" fmla="*/ 96 h 1039"/>
                  <a:gd name="connsiteX41" fmla="*/ 1796 w 4292"/>
                  <a:gd name="connsiteY41" fmla="*/ 87 h 1039"/>
                  <a:gd name="connsiteX42" fmla="*/ 1732 w 4292"/>
                  <a:gd name="connsiteY42" fmla="*/ 89 h 1039"/>
                  <a:gd name="connsiteX43" fmla="*/ 1664 w 4292"/>
                  <a:gd name="connsiteY43" fmla="*/ 100 h 1039"/>
                  <a:gd name="connsiteX44" fmla="*/ 1602 w 4292"/>
                  <a:gd name="connsiteY44" fmla="*/ 118 h 1039"/>
                  <a:gd name="connsiteX45" fmla="*/ 1545 w 4292"/>
                  <a:gd name="connsiteY45" fmla="*/ 143 h 1039"/>
                  <a:gd name="connsiteX46" fmla="*/ 1491 w 4292"/>
                  <a:gd name="connsiteY46" fmla="*/ 177 h 1039"/>
                  <a:gd name="connsiteX47" fmla="*/ 1439 w 4292"/>
                  <a:gd name="connsiteY47" fmla="*/ 214 h 1039"/>
                  <a:gd name="connsiteX48" fmla="*/ 1394 w 4292"/>
                  <a:gd name="connsiteY48" fmla="*/ 257 h 1039"/>
                  <a:gd name="connsiteX49" fmla="*/ 1348 w 4292"/>
                  <a:gd name="connsiteY49" fmla="*/ 303 h 1039"/>
                  <a:gd name="connsiteX50" fmla="*/ 1307 w 4292"/>
                  <a:gd name="connsiteY50" fmla="*/ 355 h 1039"/>
                  <a:gd name="connsiteX51" fmla="*/ 1268 w 4292"/>
                  <a:gd name="connsiteY51" fmla="*/ 409 h 1039"/>
                  <a:gd name="connsiteX52" fmla="*/ 1231 w 4292"/>
                  <a:gd name="connsiteY52" fmla="*/ 463 h 1039"/>
                  <a:gd name="connsiteX53" fmla="*/ 1194 w 4292"/>
                  <a:gd name="connsiteY53" fmla="*/ 519 h 1039"/>
                  <a:gd name="connsiteX54" fmla="*/ 1156 w 4292"/>
                  <a:gd name="connsiteY54" fmla="*/ 577 h 1039"/>
                  <a:gd name="connsiteX55" fmla="*/ 1121 w 4292"/>
                  <a:gd name="connsiteY55" fmla="*/ 633 h 1039"/>
                  <a:gd name="connsiteX56" fmla="*/ 1047 w 4292"/>
                  <a:gd name="connsiteY56" fmla="*/ 745 h 1039"/>
                  <a:gd name="connsiteX57" fmla="*/ 1008 w 4292"/>
                  <a:gd name="connsiteY57" fmla="*/ 797 h 1039"/>
                  <a:gd name="connsiteX58" fmla="*/ 966 w 4292"/>
                  <a:gd name="connsiteY58" fmla="*/ 846 h 1039"/>
                  <a:gd name="connsiteX59" fmla="*/ 923 w 4292"/>
                  <a:gd name="connsiteY59" fmla="*/ 892 h 1039"/>
                  <a:gd name="connsiteX60" fmla="*/ 876 w 4292"/>
                  <a:gd name="connsiteY60" fmla="*/ 933 h 1039"/>
                  <a:gd name="connsiteX61" fmla="*/ 826 w 4292"/>
                  <a:gd name="connsiteY61" fmla="*/ 969 h 1039"/>
                  <a:gd name="connsiteX62" fmla="*/ 772 w 4292"/>
                  <a:gd name="connsiteY62" fmla="*/ 998 h 1039"/>
                  <a:gd name="connsiteX63" fmla="*/ 717 w 4292"/>
                  <a:gd name="connsiteY63" fmla="*/ 1021 h 1039"/>
                  <a:gd name="connsiteX64" fmla="*/ 653 w 4292"/>
                  <a:gd name="connsiteY64" fmla="*/ 1033 h 1039"/>
                  <a:gd name="connsiteX65" fmla="*/ 587 w 4292"/>
                  <a:gd name="connsiteY65" fmla="*/ 1039 h 1039"/>
                  <a:gd name="connsiteX66" fmla="*/ 580 w 4292"/>
                  <a:gd name="connsiteY66" fmla="*/ 1039 h 1039"/>
                  <a:gd name="connsiteX67" fmla="*/ 512 w 4292"/>
                  <a:gd name="connsiteY67" fmla="*/ 1035 h 1039"/>
                  <a:gd name="connsiteX68" fmla="*/ 450 w 4292"/>
                  <a:gd name="connsiteY68" fmla="*/ 1023 h 1039"/>
                  <a:gd name="connsiteX69" fmla="*/ 392 w 4292"/>
                  <a:gd name="connsiteY69" fmla="*/ 1004 h 1039"/>
                  <a:gd name="connsiteX70" fmla="*/ 341 w 4292"/>
                  <a:gd name="connsiteY70" fmla="*/ 979 h 1039"/>
                  <a:gd name="connsiteX71" fmla="*/ 293 w 4292"/>
                  <a:gd name="connsiteY71" fmla="*/ 948 h 1039"/>
                  <a:gd name="connsiteX72" fmla="*/ 248 w 4292"/>
                  <a:gd name="connsiteY72" fmla="*/ 911 h 1039"/>
                  <a:gd name="connsiteX73" fmla="*/ 207 w 4292"/>
                  <a:gd name="connsiteY73" fmla="*/ 869 h 1039"/>
                  <a:gd name="connsiteX74" fmla="*/ 169 w 4292"/>
                  <a:gd name="connsiteY74" fmla="*/ 824 h 1039"/>
                  <a:gd name="connsiteX75" fmla="*/ 132 w 4292"/>
                  <a:gd name="connsiteY75" fmla="*/ 776 h 1039"/>
                  <a:gd name="connsiteX76" fmla="*/ 99 w 4292"/>
                  <a:gd name="connsiteY76" fmla="*/ 724 h 1039"/>
                  <a:gd name="connsiteX77" fmla="*/ 64 w 4292"/>
                  <a:gd name="connsiteY77" fmla="*/ 670 h 1039"/>
                  <a:gd name="connsiteX78" fmla="*/ 33 w 4292"/>
                  <a:gd name="connsiteY78" fmla="*/ 614 h 1039"/>
                  <a:gd name="connsiteX79" fmla="*/ 0 w 4292"/>
                  <a:gd name="connsiteY79" fmla="*/ 556 h 1039"/>
                  <a:gd name="connsiteX80" fmla="*/ 77 w 4292"/>
                  <a:gd name="connsiteY80" fmla="*/ 512 h 1039"/>
                  <a:gd name="connsiteX81" fmla="*/ 110 w 4292"/>
                  <a:gd name="connsiteY81" fmla="*/ 571 h 1039"/>
                  <a:gd name="connsiteX82" fmla="*/ 143 w 4292"/>
                  <a:gd name="connsiteY82" fmla="*/ 627 h 1039"/>
                  <a:gd name="connsiteX83" fmla="*/ 176 w 4292"/>
                  <a:gd name="connsiteY83" fmla="*/ 680 h 1039"/>
                  <a:gd name="connsiteX84" fmla="*/ 209 w 4292"/>
                  <a:gd name="connsiteY84" fmla="*/ 732 h 1039"/>
                  <a:gd name="connsiteX85" fmla="*/ 244 w 4292"/>
                  <a:gd name="connsiteY85" fmla="*/ 778 h 1039"/>
                  <a:gd name="connsiteX86" fmla="*/ 281 w 4292"/>
                  <a:gd name="connsiteY86" fmla="*/ 821 h 1039"/>
                  <a:gd name="connsiteX87" fmla="*/ 322 w 4292"/>
                  <a:gd name="connsiteY87" fmla="*/ 859 h 1039"/>
                  <a:gd name="connsiteX88" fmla="*/ 366 w 4292"/>
                  <a:gd name="connsiteY88" fmla="*/ 890 h 1039"/>
                  <a:gd name="connsiteX89" fmla="*/ 413 w 4292"/>
                  <a:gd name="connsiteY89" fmla="*/ 917 h 1039"/>
                  <a:gd name="connsiteX90" fmla="*/ 463 w 4292"/>
                  <a:gd name="connsiteY90" fmla="*/ 936 h 1039"/>
                  <a:gd name="connsiteX91" fmla="*/ 518 w 4292"/>
                  <a:gd name="connsiteY91" fmla="*/ 948 h 1039"/>
                  <a:gd name="connsiteX92" fmla="*/ 580 w 4292"/>
                  <a:gd name="connsiteY92" fmla="*/ 952 h 1039"/>
                  <a:gd name="connsiteX93" fmla="*/ 587 w 4292"/>
                  <a:gd name="connsiteY93" fmla="*/ 952 h 1039"/>
                  <a:gd name="connsiteX94" fmla="*/ 646 w 4292"/>
                  <a:gd name="connsiteY94" fmla="*/ 946 h 1039"/>
                  <a:gd name="connsiteX95" fmla="*/ 702 w 4292"/>
                  <a:gd name="connsiteY95" fmla="*/ 931 h 1039"/>
                  <a:gd name="connsiteX96" fmla="*/ 756 w 4292"/>
                  <a:gd name="connsiteY96" fmla="*/ 909 h 1039"/>
                  <a:gd name="connsiteX97" fmla="*/ 803 w 4292"/>
                  <a:gd name="connsiteY97" fmla="*/ 880 h 1039"/>
                  <a:gd name="connsiteX98" fmla="*/ 849 w 4292"/>
                  <a:gd name="connsiteY98" fmla="*/ 842 h 1039"/>
                  <a:gd name="connsiteX99" fmla="*/ 892 w 4292"/>
                  <a:gd name="connsiteY99" fmla="*/ 799 h 1039"/>
                  <a:gd name="connsiteX100" fmla="*/ 931 w 4292"/>
                  <a:gd name="connsiteY100" fmla="*/ 751 h 1039"/>
                  <a:gd name="connsiteX101" fmla="*/ 971 w 4292"/>
                  <a:gd name="connsiteY101" fmla="*/ 699 h 1039"/>
                  <a:gd name="connsiteX102" fmla="*/ 1010 w 4292"/>
                  <a:gd name="connsiteY102" fmla="*/ 645 h 1039"/>
                  <a:gd name="connsiteX103" fmla="*/ 1121 w 4292"/>
                  <a:gd name="connsiteY103" fmla="*/ 471 h 1039"/>
                  <a:gd name="connsiteX104" fmla="*/ 1161 w 4292"/>
                  <a:gd name="connsiteY104" fmla="*/ 411 h 1039"/>
                  <a:gd name="connsiteX105" fmla="*/ 1202 w 4292"/>
                  <a:gd name="connsiteY105" fmla="*/ 353 h 1039"/>
                  <a:gd name="connsiteX106" fmla="*/ 1245 w 4292"/>
                  <a:gd name="connsiteY106" fmla="*/ 295 h 1039"/>
                  <a:gd name="connsiteX107" fmla="*/ 1291 w 4292"/>
                  <a:gd name="connsiteY107" fmla="*/ 241 h 1039"/>
                  <a:gd name="connsiteX108" fmla="*/ 1338 w 4292"/>
                  <a:gd name="connsiteY108" fmla="*/ 189 h 1039"/>
                  <a:gd name="connsiteX109" fmla="*/ 1392 w 4292"/>
                  <a:gd name="connsiteY109" fmla="*/ 141 h 1039"/>
                  <a:gd name="connsiteX110" fmla="*/ 1447 w 4292"/>
                  <a:gd name="connsiteY110" fmla="*/ 100 h 1039"/>
                  <a:gd name="connsiteX111" fmla="*/ 1509 w 4292"/>
                  <a:gd name="connsiteY111" fmla="*/ 65 h 1039"/>
                  <a:gd name="connsiteX112" fmla="*/ 1575 w 4292"/>
                  <a:gd name="connsiteY112" fmla="*/ 36 h 1039"/>
                  <a:gd name="connsiteX113" fmla="*/ 1648 w 4292"/>
                  <a:gd name="connsiteY113" fmla="*/ 15 h 1039"/>
                  <a:gd name="connsiteX114" fmla="*/ 1726 w 4292"/>
                  <a:gd name="connsiteY114" fmla="*/ 2 h 1039"/>
                  <a:gd name="connsiteX115" fmla="*/ 1796 w 4292"/>
                  <a:gd name="connsiteY115" fmla="*/ 0 h 1039"/>
                  <a:gd name="connsiteX116" fmla="*/ 1862 w 4292"/>
                  <a:gd name="connsiteY116" fmla="*/ 9 h 1039"/>
                  <a:gd name="connsiteX117" fmla="*/ 1922 w 4292"/>
                  <a:gd name="connsiteY117" fmla="*/ 23 h 1039"/>
                  <a:gd name="connsiteX118" fmla="*/ 1980 w 4292"/>
                  <a:gd name="connsiteY118" fmla="*/ 46 h 1039"/>
                  <a:gd name="connsiteX119" fmla="*/ 2034 w 4292"/>
                  <a:gd name="connsiteY119" fmla="*/ 77 h 1039"/>
                  <a:gd name="connsiteX120" fmla="*/ 2083 w 4292"/>
                  <a:gd name="connsiteY120" fmla="*/ 112 h 1039"/>
                  <a:gd name="connsiteX121" fmla="*/ 2129 w 4292"/>
                  <a:gd name="connsiteY121" fmla="*/ 154 h 1039"/>
                  <a:gd name="connsiteX122" fmla="*/ 2174 w 4292"/>
                  <a:gd name="connsiteY122" fmla="*/ 199 h 1039"/>
                  <a:gd name="connsiteX123" fmla="*/ 2216 w 4292"/>
                  <a:gd name="connsiteY123" fmla="*/ 247 h 1039"/>
                  <a:gd name="connsiteX124" fmla="*/ 2255 w 4292"/>
                  <a:gd name="connsiteY124" fmla="*/ 299 h 1039"/>
                  <a:gd name="connsiteX125" fmla="*/ 2292 w 4292"/>
                  <a:gd name="connsiteY125" fmla="*/ 353 h 1039"/>
                  <a:gd name="connsiteX126" fmla="*/ 2327 w 4292"/>
                  <a:gd name="connsiteY126" fmla="*/ 409 h 1039"/>
                  <a:gd name="connsiteX127" fmla="*/ 2362 w 4292"/>
                  <a:gd name="connsiteY127" fmla="*/ 463 h 1039"/>
                  <a:gd name="connsiteX128" fmla="*/ 2395 w 4292"/>
                  <a:gd name="connsiteY128" fmla="*/ 519 h 1039"/>
                  <a:gd name="connsiteX129" fmla="*/ 2432 w 4292"/>
                  <a:gd name="connsiteY129" fmla="*/ 581 h 1039"/>
                  <a:gd name="connsiteX130" fmla="*/ 2469 w 4292"/>
                  <a:gd name="connsiteY130" fmla="*/ 639 h 1039"/>
                  <a:gd name="connsiteX131" fmla="*/ 2509 w 4292"/>
                  <a:gd name="connsiteY131" fmla="*/ 697 h 1039"/>
                  <a:gd name="connsiteX132" fmla="*/ 2546 w 4292"/>
                  <a:gd name="connsiteY132" fmla="*/ 751 h 1039"/>
                  <a:gd name="connsiteX133" fmla="*/ 2587 w 4292"/>
                  <a:gd name="connsiteY133" fmla="*/ 801 h 1039"/>
                  <a:gd name="connsiteX134" fmla="*/ 2628 w 4292"/>
                  <a:gd name="connsiteY134" fmla="*/ 844 h 1039"/>
                  <a:gd name="connsiteX135" fmla="*/ 2672 w 4292"/>
                  <a:gd name="connsiteY135" fmla="*/ 882 h 1039"/>
                  <a:gd name="connsiteX136" fmla="*/ 2717 w 4292"/>
                  <a:gd name="connsiteY136" fmla="*/ 913 h 1039"/>
                  <a:gd name="connsiteX137" fmla="*/ 2767 w 4292"/>
                  <a:gd name="connsiteY137" fmla="*/ 936 h 1039"/>
                  <a:gd name="connsiteX138" fmla="*/ 2820 w 4292"/>
                  <a:gd name="connsiteY138" fmla="*/ 948 h 1039"/>
                  <a:gd name="connsiteX139" fmla="*/ 2876 w 4292"/>
                  <a:gd name="connsiteY139" fmla="*/ 952 h 1039"/>
                  <a:gd name="connsiteX140" fmla="*/ 2932 w 4292"/>
                  <a:gd name="connsiteY140" fmla="*/ 946 h 1039"/>
                  <a:gd name="connsiteX141" fmla="*/ 2982 w 4292"/>
                  <a:gd name="connsiteY141" fmla="*/ 931 h 1039"/>
                  <a:gd name="connsiteX142" fmla="*/ 3029 w 4292"/>
                  <a:gd name="connsiteY142" fmla="*/ 911 h 1039"/>
                  <a:gd name="connsiteX143" fmla="*/ 3072 w 4292"/>
                  <a:gd name="connsiteY143" fmla="*/ 880 h 1039"/>
                  <a:gd name="connsiteX144" fmla="*/ 3112 w 4292"/>
                  <a:gd name="connsiteY144" fmla="*/ 844 h 1039"/>
                  <a:gd name="connsiteX145" fmla="*/ 3149 w 4292"/>
                  <a:gd name="connsiteY145" fmla="*/ 803 h 1039"/>
                  <a:gd name="connsiteX0" fmla="*/ 3149 w 4292"/>
                  <a:gd name="connsiteY0" fmla="*/ 803 h 1039"/>
                  <a:gd name="connsiteX1" fmla="*/ 4142 w 4292"/>
                  <a:gd name="connsiteY1" fmla="*/ 131 h 1039"/>
                  <a:gd name="connsiteX2" fmla="*/ 4049 w 4292"/>
                  <a:gd name="connsiteY2" fmla="*/ 94 h 1039"/>
                  <a:gd name="connsiteX3" fmla="*/ 4014 w 4292"/>
                  <a:gd name="connsiteY3" fmla="*/ 85 h 1039"/>
                  <a:gd name="connsiteX4" fmla="*/ 3958 w 4292"/>
                  <a:gd name="connsiteY4" fmla="*/ 83 h 1039"/>
                  <a:gd name="connsiteX5" fmla="*/ 3830 w 4292"/>
                  <a:gd name="connsiteY5" fmla="*/ 102 h 1039"/>
                  <a:gd name="connsiteX6" fmla="*/ 3774 w 4292"/>
                  <a:gd name="connsiteY6" fmla="*/ 123 h 1039"/>
                  <a:gd name="connsiteX7" fmla="*/ 3675 w 4292"/>
                  <a:gd name="connsiteY7" fmla="*/ 183 h 1039"/>
                  <a:gd name="connsiteX8" fmla="*/ 3553 w 4292"/>
                  <a:gd name="connsiteY8" fmla="*/ 309 h 1039"/>
                  <a:gd name="connsiteX9" fmla="*/ 3297 w 4292"/>
                  <a:gd name="connsiteY9" fmla="*/ 743 h 1039"/>
                  <a:gd name="connsiteX10" fmla="*/ 3227 w 4292"/>
                  <a:gd name="connsiteY10" fmla="*/ 844 h 1039"/>
                  <a:gd name="connsiteX11" fmla="*/ 3188 w 4292"/>
                  <a:gd name="connsiteY11" fmla="*/ 890 h 1039"/>
                  <a:gd name="connsiteX12" fmla="*/ 3147 w 4292"/>
                  <a:gd name="connsiteY12" fmla="*/ 931 h 1039"/>
                  <a:gd name="connsiteX13" fmla="*/ 3101 w 4292"/>
                  <a:gd name="connsiteY13" fmla="*/ 967 h 1039"/>
                  <a:gd name="connsiteX14" fmla="*/ 3052 w 4292"/>
                  <a:gd name="connsiteY14" fmla="*/ 996 h 1039"/>
                  <a:gd name="connsiteX15" fmla="*/ 3000 w 4292"/>
                  <a:gd name="connsiteY15" fmla="*/ 1018 h 1039"/>
                  <a:gd name="connsiteX16" fmla="*/ 2942 w 4292"/>
                  <a:gd name="connsiteY16" fmla="*/ 1033 h 1039"/>
                  <a:gd name="connsiteX17" fmla="*/ 2878 w 4292"/>
                  <a:gd name="connsiteY17" fmla="*/ 1039 h 1039"/>
                  <a:gd name="connsiteX18" fmla="*/ 2870 w 4292"/>
                  <a:gd name="connsiteY18" fmla="*/ 1039 h 1039"/>
                  <a:gd name="connsiteX19" fmla="*/ 2808 w 4292"/>
                  <a:gd name="connsiteY19" fmla="*/ 1035 h 1039"/>
                  <a:gd name="connsiteX20" fmla="*/ 2748 w 4292"/>
                  <a:gd name="connsiteY20" fmla="*/ 1021 h 1039"/>
                  <a:gd name="connsiteX21" fmla="*/ 2695 w 4292"/>
                  <a:gd name="connsiteY21" fmla="*/ 998 h 1039"/>
                  <a:gd name="connsiteX22" fmla="*/ 2643 w 4292"/>
                  <a:gd name="connsiteY22" fmla="*/ 969 h 1039"/>
                  <a:gd name="connsiteX23" fmla="*/ 2595 w 4292"/>
                  <a:gd name="connsiteY23" fmla="*/ 931 h 1039"/>
                  <a:gd name="connsiteX24" fmla="*/ 2552 w 4292"/>
                  <a:gd name="connsiteY24" fmla="*/ 890 h 1039"/>
                  <a:gd name="connsiteX25" fmla="*/ 2509 w 4292"/>
                  <a:gd name="connsiteY25" fmla="*/ 842 h 1039"/>
                  <a:gd name="connsiteX26" fmla="*/ 2469 w 4292"/>
                  <a:gd name="connsiteY26" fmla="*/ 792 h 1039"/>
                  <a:gd name="connsiteX27" fmla="*/ 2430 w 4292"/>
                  <a:gd name="connsiteY27" fmla="*/ 736 h 1039"/>
                  <a:gd name="connsiteX28" fmla="*/ 2393 w 4292"/>
                  <a:gd name="connsiteY28" fmla="*/ 680 h 1039"/>
                  <a:gd name="connsiteX29" fmla="*/ 2288 w 4292"/>
                  <a:gd name="connsiteY29" fmla="*/ 506 h 1039"/>
                  <a:gd name="connsiteX30" fmla="*/ 2251 w 4292"/>
                  <a:gd name="connsiteY30" fmla="*/ 448 h 1039"/>
                  <a:gd name="connsiteX31" fmla="*/ 2213 w 4292"/>
                  <a:gd name="connsiteY31" fmla="*/ 392 h 1039"/>
                  <a:gd name="connsiteX32" fmla="*/ 2176 w 4292"/>
                  <a:gd name="connsiteY32" fmla="*/ 338 h 1039"/>
                  <a:gd name="connsiteX33" fmla="*/ 2137 w 4292"/>
                  <a:gd name="connsiteY33" fmla="*/ 289 h 1039"/>
                  <a:gd name="connsiteX34" fmla="*/ 2096 w 4292"/>
                  <a:gd name="connsiteY34" fmla="*/ 243 h 1039"/>
                  <a:gd name="connsiteX35" fmla="*/ 2054 w 4292"/>
                  <a:gd name="connsiteY35" fmla="*/ 201 h 1039"/>
                  <a:gd name="connsiteX36" fmla="*/ 2009 w 4292"/>
                  <a:gd name="connsiteY36" fmla="*/ 164 h 1039"/>
                  <a:gd name="connsiteX37" fmla="*/ 1962 w 4292"/>
                  <a:gd name="connsiteY37" fmla="*/ 135 h 1039"/>
                  <a:gd name="connsiteX38" fmla="*/ 1910 w 4292"/>
                  <a:gd name="connsiteY38" fmla="*/ 112 h 1039"/>
                  <a:gd name="connsiteX39" fmla="*/ 1854 w 4292"/>
                  <a:gd name="connsiteY39" fmla="*/ 96 h 1039"/>
                  <a:gd name="connsiteX40" fmla="*/ 1796 w 4292"/>
                  <a:gd name="connsiteY40" fmla="*/ 87 h 1039"/>
                  <a:gd name="connsiteX41" fmla="*/ 1732 w 4292"/>
                  <a:gd name="connsiteY41" fmla="*/ 89 h 1039"/>
                  <a:gd name="connsiteX42" fmla="*/ 1664 w 4292"/>
                  <a:gd name="connsiteY42" fmla="*/ 100 h 1039"/>
                  <a:gd name="connsiteX43" fmla="*/ 1602 w 4292"/>
                  <a:gd name="connsiteY43" fmla="*/ 118 h 1039"/>
                  <a:gd name="connsiteX44" fmla="*/ 1545 w 4292"/>
                  <a:gd name="connsiteY44" fmla="*/ 143 h 1039"/>
                  <a:gd name="connsiteX45" fmla="*/ 1491 w 4292"/>
                  <a:gd name="connsiteY45" fmla="*/ 177 h 1039"/>
                  <a:gd name="connsiteX46" fmla="*/ 1439 w 4292"/>
                  <a:gd name="connsiteY46" fmla="*/ 214 h 1039"/>
                  <a:gd name="connsiteX47" fmla="*/ 1394 w 4292"/>
                  <a:gd name="connsiteY47" fmla="*/ 257 h 1039"/>
                  <a:gd name="connsiteX48" fmla="*/ 1348 w 4292"/>
                  <a:gd name="connsiteY48" fmla="*/ 303 h 1039"/>
                  <a:gd name="connsiteX49" fmla="*/ 1307 w 4292"/>
                  <a:gd name="connsiteY49" fmla="*/ 355 h 1039"/>
                  <a:gd name="connsiteX50" fmla="*/ 1268 w 4292"/>
                  <a:gd name="connsiteY50" fmla="*/ 409 h 1039"/>
                  <a:gd name="connsiteX51" fmla="*/ 1231 w 4292"/>
                  <a:gd name="connsiteY51" fmla="*/ 463 h 1039"/>
                  <a:gd name="connsiteX52" fmla="*/ 1194 w 4292"/>
                  <a:gd name="connsiteY52" fmla="*/ 519 h 1039"/>
                  <a:gd name="connsiteX53" fmla="*/ 1156 w 4292"/>
                  <a:gd name="connsiteY53" fmla="*/ 577 h 1039"/>
                  <a:gd name="connsiteX54" fmla="*/ 1121 w 4292"/>
                  <a:gd name="connsiteY54" fmla="*/ 633 h 1039"/>
                  <a:gd name="connsiteX55" fmla="*/ 1047 w 4292"/>
                  <a:gd name="connsiteY55" fmla="*/ 745 h 1039"/>
                  <a:gd name="connsiteX56" fmla="*/ 1008 w 4292"/>
                  <a:gd name="connsiteY56" fmla="*/ 797 h 1039"/>
                  <a:gd name="connsiteX57" fmla="*/ 966 w 4292"/>
                  <a:gd name="connsiteY57" fmla="*/ 846 h 1039"/>
                  <a:gd name="connsiteX58" fmla="*/ 923 w 4292"/>
                  <a:gd name="connsiteY58" fmla="*/ 892 h 1039"/>
                  <a:gd name="connsiteX59" fmla="*/ 876 w 4292"/>
                  <a:gd name="connsiteY59" fmla="*/ 933 h 1039"/>
                  <a:gd name="connsiteX60" fmla="*/ 826 w 4292"/>
                  <a:gd name="connsiteY60" fmla="*/ 969 h 1039"/>
                  <a:gd name="connsiteX61" fmla="*/ 772 w 4292"/>
                  <a:gd name="connsiteY61" fmla="*/ 998 h 1039"/>
                  <a:gd name="connsiteX62" fmla="*/ 717 w 4292"/>
                  <a:gd name="connsiteY62" fmla="*/ 1021 h 1039"/>
                  <a:gd name="connsiteX63" fmla="*/ 653 w 4292"/>
                  <a:gd name="connsiteY63" fmla="*/ 1033 h 1039"/>
                  <a:gd name="connsiteX64" fmla="*/ 587 w 4292"/>
                  <a:gd name="connsiteY64" fmla="*/ 1039 h 1039"/>
                  <a:gd name="connsiteX65" fmla="*/ 580 w 4292"/>
                  <a:gd name="connsiteY65" fmla="*/ 1039 h 1039"/>
                  <a:gd name="connsiteX66" fmla="*/ 512 w 4292"/>
                  <a:gd name="connsiteY66" fmla="*/ 1035 h 1039"/>
                  <a:gd name="connsiteX67" fmla="*/ 450 w 4292"/>
                  <a:gd name="connsiteY67" fmla="*/ 1023 h 1039"/>
                  <a:gd name="connsiteX68" fmla="*/ 392 w 4292"/>
                  <a:gd name="connsiteY68" fmla="*/ 1004 h 1039"/>
                  <a:gd name="connsiteX69" fmla="*/ 341 w 4292"/>
                  <a:gd name="connsiteY69" fmla="*/ 979 h 1039"/>
                  <a:gd name="connsiteX70" fmla="*/ 293 w 4292"/>
                  <a:gd name="connsiteY70" fmla="*/ 948 h 1039"/>
                  <a:gd name="connsiteX71" fmla="*/ 248 w 4292"/>
                  <a:gd name="connsiteY71" fmla="*/ 911 h 1039"/>
                  <a:gd name="connsiteX72" fmla="*/ 207 w 4292"/>
                  <a:gd name="connsiteY72" fmla="*/ 869 h 1039"/>
                  <a:gd name="connsiteX73" fmla="*/ 169 w 4292"/>
                  <a:gd name="connsiteY73" fmla="*/ 824 h 1039"/>
                  <a:gd name="connsiteX74" fmla="*/ 132 w 4292"/>
                  <a:gd name="connsiteY74" fmla="*/ 776 h 1039"/>
                  <a:gd name="connsiteX75" fmla="*/ 99 w 4292"/>
                  <a:gd name="connsiteY75" fmla="*/ 724 h 1039"/>
                  <a:gd name="connsiteX76" fmla="*/ 64 w 4292"/>
                  <a:gd name="connsiteY76" fmla="*/ 670 h 1039"/>
                  <a:gd name="connsiteX77" fmla="*/ 33 w 4292"/>
                  <a:gd name="connsiteY77" fmla="*/ 614 h 1039"/>
                  <a:gd name="connsiteX78" fmla="*/ 0 w 4292"/>
                  <a:gd name="connsiteY78" fmla="*/ 556 h 1039"/>
                  <a:gd name="connsiteX79" fmla="*/ 77 w 4292"/>
                  <a:gd name="connsiteY79" fmla="*/ 512 h 1039"/>
                  <a:gd name="connsiteX80" fmla="*/ 110 w 4292"/>
                  <a:gd name="connsiteY80" fmla="*/ 571 h 1039"/>
                  <a:gd name="connsiteX81" fmla="*/ 143 w 4292"/>
                  <a:gd name="connsiteY81" fmla="*/ 627 h 1039"/>
                  <a:gd name="connsiteX82" fmla="*/ 176 w 4292"/>
                  <a:gd name="connsiteY82" fmla="*/ 680 h 1039"/>
                  <a:gd name="connsiteX83" fmla="*/ 209 w 4292"/>
                  <a:gd name="connsiteY83" fmla="*/ 732 h 1039"/>
                  <a:gd name="connsiteX84" fmla="*/ 244 w 4292"/>
                  <a:gd name="connsiteY84" fmla="*/ 778 h 1039"/>
                  <a:gd name="connsiteX85" fmla="*/ 281 w 4292"/>
                  <a:gd name="connsiteY85" fmla="*/ 821 h 1039"/>
                  <a:gd name="connsiteX86" fmla="*/ 322 w 4292"/>
                  <a:gd name="connsiteY86" fmla="*/ 859 h 1039"/>
                  <a:gd name="connsiteX87" fmla="*/ 366 w 4292"/>
                  <a:gd name="connsiteY87" fmla="*/ 890 h 1039"/>
                  <a:gd name="connsiteX88" fmla="*/ 413 w 4292"/>
                  <a:gd name="connsiteY88" fmla="*/ 917 h 1039"/>
                  <a:gd name="connsiteX89" fmla="*/ 463 w 4292"/>
                  <a:gd name="connsiteY89" fmla="*/ 936 h 1039"/>
                  <a:gd name="connsiteX90" fmla="*/ 518 w 4292"/>
                  <a:gd name="connsiteY90" fmla="*/ 948 h 1039"/>
                  <a:gd name="connsiteX91" fmla="*/ 580 w 4292"/>
                  <a:gd name="connsiteY91" fmla="*/ 952 h 1039"/>
                  <a:gd name="connsiteX92" fmla="*/ 587 w 4292"/>
                  <a:gd name="connsiteY92" fmla="*/ 952 h 1039"/>
                  <a:gd name="connsiteX93" fmla="*/ 646 w 4292"/>
                  <a:gd name="connsiteY93" fmla="*/ 946 h 1039"/>
                  <a:gd name="connsiteX94" fmla="*/ 702 w 4292"/>
                  <a:gd name="connsiteY94" fmla="*/ 931 h 1039"/>
                  <a:gd name="connsiteX95" fmla="*/ 756 w 4292"/>
                  <a:gd name="connsiteY95" fmla="*/ 909 h 1039"/>
                  <a:gd name="connsiteX96" fmla="*/ 803 w 4292"/>
                  <a:gd name="connsiteY96" fmla="*/ 880 h 1039"/>
                  <a:gd name="connsiteX97" fmla="*/ 849 w 4292"/>
                  <a:gd name="connsiteY97" fmla="*/ 842 h 1039"/>
                  <a:gd name="connsiteX98" fmla="*/ 892 w 4292"/>
                  <a:gd name="connsiteY98" fmla="*/ 799 h 1039"/>
                  <a:gd name="connsiteX99" fmla="*/ 931 w 4292"/>
                  <a:gd name="connsiteY99" fmla="*/ 751 h 1039"/>
                  <a:gd name="connsiteX100" fmla="*/ 971 w 4292"/>
                  <a:gd name="connsiteY100" fmla="*/ 699 h 1039"/>
                  <a:gd name="connsiteX101" fmla="*/ 1010 w 4292"/>
                  <a:gd name="connsiteY101" fmla="*/ 645 h 1039"/>
                  <a:gd name="connsiteX102" fmla="*/ 1121 w 4292"/>
                  <a:gd name="connsiteY102" fmla="*/ 471 h 1039"/>
                  <a:gd name="connsiteX103" fmla="*/ 1161 w 4292"/>
                  <a:gd name="connsiteY103" fmla="*/ 411 h 1039"/>
                  <a:gd name="connsiteX104" fmla="*/ 1202 w 4292"/>
                  <a:gd name="connsiteY104" fmla="*/ 353 h 1039"/>
                  <a:gd name="connsiteX105" fmla="*/ 1245 w 4292"/>
                  <a:gd name="connsiteY105" fmla="*/ 295 h 1039"/>
                  <a:gd name="connsiteX106" fmla="*/ 1291 w 4292"/>
                  <a:gd name="connsiteY106" fmla="*/ 241 h 1039"/>
                  <a:gd name="connsiteX107" fmla="*/ 1338 w 4292"/>
                  <a:gd name="connsiteY107" fmla="*/ 189 h 1039"/>
                  <a:gd name="connsiteX108" fmla="*/ 1392 w 4292"/>
                  <a:gd name="connsiteY108" fmla="*/ 141 h 1039"/>
                  <a:gd name="connsiteX109" fmla="*/ 1447 w 4292"/>
                  <a:gd name="connsiteY109" fmla="*/ 100 h 1039"/>
                  <a:gd name="connsiteX110" fmla="*/ 1509 w 4292"/>
                  <a:gd name="connsiteY110" fmla="*/ 65 h 1039"/>
                  <a:gd name="connsiteX111" fmla="*/ 1575 w 4292"/>
                  <a:gd name="connsiteY111" fmla="*/ 36 h 1039"/>
                  <a:gd name="connsiteX112" fmla="*/ 1648 w 4292"/>
                  <a:gd name="connsiteY112" fmla="*/ 15 h 1039"/>
                  <a:gd name="connsiteX113" fmla="*/ 1726 w 4292"/>
                  <a:gd name="connsiteY113" fmla="*/ 2 h 1039"/>
                  <a:gd name="connsiteX114" fmla="*/ 1796 w 4292"/>
                  <a:gd name="connsiteY114" fmla="*/ 0 h 1039"/>
                  <a:gd name="connsiteX115" fmla="*/ 1862 w 4292"/>
                  <a:gd name="connsiteY115" fmla="*/ 9 h 1039"/>
                  <a:gd name="connsiteX116" fmla="*/ 1922 w 4292"/>
                  <a:gd name="connsiteY116" fmla="*/ 23 h 1039"/>
                  <a:gd name="connsiteX117" fmla="*/ 1980 w 4292"/>
                  <a:gd name="connsiteY117" fmla="*/ 46 h 1039"/>
                  <a:gd name="connsiteX118" fmla="*/ 2034 w 4292"/>
                  <a:gd name="connsiteY118" fmla="*/ 77 h 1039"/>
                  <a:gd name="connsiteX119" fmla="*/ 2083 w 4292"/>
                  <a:gd name="connsiteY119" fmla="*/ 112 h 1039"/>
                  <a:gd name="connsiteX120" fmla="*/ 2129 w 4292"/>
                  <a:gd name="connsiteY120" fmla="*/ 154 h 1039"/>
                  <a:gd name="connsiteX121" fmla="*/ 2174 w 4292"/>
                  <a:gd name="connsiteY121" fmla="*/ 199 h 1039"/>
                  <a:gd name="connsiteX122" fmla="*/ 2216 w 4292"/>
                  <a:gd name="connsiteY122" fmla="*/ 247 h 1039"/>
                  <a:gd name="connsiteX123" fmla="*/ 2255 w 4292"/>
                  <a:gd name="connsiteY123" fmla="*/ 299 h 1039"/>
                  <a:gd name="connsiteX124" fmla="*/ 2292 w 4292"/>
                  <a:gd name="connsiteY124" fmla="*/ 353 h 1039"/>
                  <a:gd name="connsiteX125" fmla="*/ 2327 w 4292"/>
                  <a:gd name="connsiteY125" fmla="*/ 409 h 1039"/>
                  <a:gd name="connsiteX126" fmla="*/ 2362 w 4292"/>
                  <a:gd name="connsiteY126" fmla="*/ 463 h 1039"/>
                  <a:gd name="connsiteX127" fmla="*/ 2395 w 4292"/>
                  <a:gd name="connsiteY127" fmla="*/ 519 h 1039"/>
                  <a:gd name="connsiteX128" fmla="*/ 2432 w 4292"/>
                  <a:gd name="connsiteY128" fmla="*/ 581 h 1039"/>
                  <a:gd name="connsiteX129" fmla="*/ 2469 w 4292"/>
                  <a:gd name="connsiteY129" fmla="*/ 639 h 1039"/>
                  <a:gd name="connsiteX130" fmla="*/ 2509 w 4292"/>
                  <a:gd name="connsiteY130" fmla="*/ 697 h 1039"/>
                  <a:gd name="connsiteX131" fmla="*/ 2546 w 4292"/>
                  <a:gd name="connsiteY131" fmla="*/ 751 h 1039"/>
                  <a:gd name="connsiteX132" fmla="*/ 2587 w 4292"/>
                  <a:gd name="connsiteY132" fmla="*/ 801 h 1039"/>
                  <a:gd name="connsiteX133" fmla="*/ 2628 w 4292"/>
                  <a:gd name="connsiteY133" fmla="*/ 844 h 1039"/>
                  <a:gd name="connsiteX134" fmla="*/ 2672 w 4292"/>
                  <a:gd name="connsiteY134" fmla="*/ 882 h 1039"/>
                  <a:gd name="connsiteX135" fmla="*/ 2717 w 4292"/>
                  <a:gd name="connsiteY135" fmla="*/ 913 h 1039"/>
                  <a:gd name="connsiteX136" fmla="*/ 2767 w 4292"/>
                  <a:gd name="connsiteY136" fmla="*/ 936 h 1039"/>
                  <a:gd name="connsiteX137" fmla="*/ 2820 w 4292"/>
                  <a:gd name="connsiteY137" fmla="*/ 948 h 1039"/>
                  <a:gd name="connsiteX138" fmla="*/ 2876 w 4292"/>
                  <a:gd name="connsiteY138" fmla="*/ 952 h 1039"/>
                  <a:gd name="connsiteX139" fmla="*/ 2932 w 4292"/>
                  <a:gd name="connsiteY139" fmla="*/ 946 h 1039"/>
                  <a:gd name="connsiteX140" fmla="*/ 2982 w 4292"/>
                  <a:gd name="connsiteY140" fmla="*/ 931 h 1039"/>
                  <a:gd name="connsiteX141" fmla="*/ 3029 w 4292"/>
                  <a:gd name="connsiteY141" fmla="*/ 911 h 1039"/>
                  <a:gd name="connsiteX142" fmla="*/ 3072 w 4292"/>
                  <a:gd name="connsiteY142" fmla="*/ 880 h 1039"/>
                  <a:gd name="connsiteX143" fmla="*/ 3112 w 4292"/>
                  <a:gd name="connsiteY143" fmla="*/ 844 h 1039"/>
                  <a:gd name="connsiteX144" fmla="*/ 3149 w 4292"/>
                  <a:gd name="connsiteY144" fmla="*/ 803 h 1039"/>
                  <a:gd name="connsiteX0" fmla="*/ 3149 w 4292"/>
                  <a:gd name="connsiteY0" fmla="*/ 803 h 1039"/>
                  <a:gd name="connsiteX1" fmla="*/ 4142 w 4292"/>
                  <a:gd name="connsiteY1" fmla="*/ 131 h 1039"/>
                  <a:gd name="connsiteX2" fmla="*/ 4049 w 4292"/>
                  <a:gd name="connsiteY2" fmla="*/ 94 h 1039"/>
                  <a:gd name="connsiteX3" fmla="*/ 4014 w 4292"/>
                  <a:gd name="connsiteY3" fmla="*/ 85 h 1039"/>
                  <a:gd name="connsiteX4" fmla="*/ 3958 w 4292"/>
                  <a:gd name="connsiteY4" fmla="*/ 83 h 1039"/>
                  <a:gd name="connsiteX5" fmla="*/ 3830 w 4292"/>
                  <a:gd name="connsiteY5" fmla="*/ 102 h 1039"/>
                  <a:gd name="connsiteX6" fmla="*/ 3774 w 4292"/>
                  <a:gd name="connsiteY6" fmla="*/ 123 h 1039"/>
                  <a:gd name="connsiteX7" fmla="*/ 3675 w 4292"/>
                  <a:gd name="connsiteY7" fmla="*/ 183 h 1039"/>
                  <a:gd name="connsiteX8" fmla="*/ 3553 w 4292"/>
                  <a:gd name="connsiteY8" fmla="*/ 309 h 1039"/>
                  <a:gd name="connsiteX9" fmla="*/ 3297 w 4292"/>
                  <a:gd name="connsiteY9" fmla="*/ 743 h 1039"/>
                  <a:gd name="connsiteX10" fmla="*/ 3227 w 4292"/>
                  <a:gd name="connsiteY10" fmla="*/ 844 h 1039"/>
                  <a:gd name="connsiteX11" fmla="*/ 3147 w 4292"/>
                  <a:gd name="connsiteY11" fmla="*/ 931 h 1039"/>
                  <a:gd name="connsiteX12" fmla="*/ 3101 w 4292"/>
                  <a:gd name="connsiteY12" fmla="*/ 967 h 1039"/>
                  <a:gd name="connsiteX13" fmla="*/ 3052 w 4292"/>
                  <a:gd name="connsiteY13" fmla="*/ 996 h 1039"/>
                  <a:gd name="connsiteX14" fmla="*/ 3000 w 4292"/>
                  <a:gd name="connsiteY14" fmla="*/ 1018 h 1039"/>
                  <a:gd name="connsiteX15" fmla="*/ 2942 w 4292"/>
                  <a:gd name="connsiteY15" fmla="*/ 1033 h 1039"/>
                  <a:gd name="connsiteX16" fmla="*/ 2878 w 4292"/>
                  <a:gd name="connsiteY16" fmla="*/ 1039 h 1039"/>
                  <a:gd name="connsiteX17" fmla="*/ 2870 w 4292"/>
                  <a:gd name="connsiteY17" fmla="*/ 1039 h 1039"/>
                  <a:gd name="connsiteX18" fmla="*/ 2808 w 4292"/>
                  <a:gd name="connsiteY18" fmla="*/ 1035 h 1039"/>
                  <a:gd name="connsiteX19" fmla="*/ 2748 w 4292"/>
                  <a:gd name="connsiteY19" fmla="*/ 1021 h 1039"/>
                  <a:gd name="connsiteX20" fmla="*/ 2695 w 4292"/>
                  <a:gd name="connsiteY20" fmla="*/ 998 h 1039"/>
                  <a:gd name="connsiteX21" fmla="*/ 2643 w 4292"/>
                  <a:gd name="connsiteY21" fmla="*/ 969 h 1039"/>
                  <a:gd name="connsiteX22" fmla="*/ 2595 w 4292"/>
                  <a:gd name="connsiteY22" fmla="*/ 931 h 1039"/>
                  <a:gd name="connsiteX23" fmla="*/ 2552 w 4292"/>
                  <a:gd name="connsiteY23" fmla="*/ 890 h 1039"/>
                  <a:gd name="connsiteX24" fmla="*/ 2509 w 4292"/>
                  <a:gd name="connsiteY24" fmla="*/ 842 h 1039"/>
                  <a:gd name="connsiteX25" fmla="*/ 2469 w 4292"/>
                  <a:gd name="connsiteY25" fmla="*/ 792 h 1039"/>
                  <a:gd name="connsiteX26" fmla="*/ 2430 w 4292"/>
                  <a:gd name="connsiteY26" fmla="*/ 736 h 1039"/>
                  <a:gd name="connsiteX27" fmla="*/ 2393 w 4292"/>
                  <a:gd name="connsiteY27" fmla="*/ 680 h 1039"/>
                  <a:gd name="connsiteX28" fmla="*/ 2288 w 4292"/>
                  <a:gd name="connsiteY28" fmla="*/ 506 h 1039"/>
                  <a:gd name="connsiteX29" fmla="*/ 2251 w 4292"/>
                  <a:gd name="connsiteY29" fmla="*/ 448 h 1039"/>
                  <a:gd name="connsiteX30" fmla="*/ 2213 w 4292"/>
                  <a:gd name="connsiteY30" fmla="*/ 392 h 1039"/>
                  <a:gd name="connsiteX31" fmla="*/ 2176 w 4292"/>
                  <a:gd name="connsiteY31" fmla="*/ 338 h 1039"/>
                  <a:gd name="connsiteX32" fmla="*/ 2137 w 4292"/>
                  <a:gd name="connsiteY32" fmla="*/ 289 h 1039"/>
                  <a:gd name="connsiteX33" fmla="*/ 2096 w 4292"/>
                  <a:gd name="connsiteY33" fmla="*/ 243 h 1039"/>
                  <a:gd name="connsiteX34" fmla="*/ 2054 w 4292"/>
                  <a:gd name="connsiteY34" fmla="*/ 201 h 1039"/>
                  <a:gd name="connsiteX35" fmla="*/ 2009 w 4292"/>
                  <a:gd name="connsiteY35" fmla="*/ 164 h 1039"/>
                  <a:gd name="connsiteX36" fmla="*/ 1962 w 4292"/>
                  <a:gd name="connsiteY36" fmla="*/ 135 h 1039"/>
                  <a:gd name="connsiteX37" fmla="*/ 1910 w 4292"/>
                  <a:gd name="connsiteY37" fmla="*/ 112 h 1039"/>
                  <a:gd name="connsiteX38" fmla="*/ 1854 w 4292"/>
                  <a:gd name="connsiteY38" fmla="*/ 96 h 1039"/>
                  <a:gd name="connsiteX39" fmla="*/ 1796 w 4292"/>
                  <a:gd name="connsiteY39" fmla="*/ 87 h 1039"/>
                  <a:gd name="connsiteX40" fmla="*/ 1732 w 4292"/>
                  <a:gd name="connsiteY40" fmla="*/ 89 h 1039"/>
                  <a:gd name="connsiteX41" fmla="*/ 1664 w 4292"/>
                  <a:gd name="connsiteY41" fmla="*/ 100 h 1039"/>
                  <a:gd name="connsiteX42" fmla="*/ 1602 w 4292"/>
                  <a:gd name="connsiteY42" fmla="*/ 118 h 1039"/>
                  <a:gd name="connsiteX43" fmla="*/ 1545 w 4292"/>
                  <a:gd name="connsiteY43" fmla="*/ 143 h 1039"/>
                  <a:gd name="connsiteX44" fmla="*/ 1491 w 4292"/>
                  <a:gd name="connsiteY44" fmla="*/ 177 h 1039"/>
                  <a:gd name="connsiteX45" fmla="*/ 1439 w 4292"/>
                  <a:gd name="connsiteY45" fmla="*/ 214 h 1039"/>
                  <a:gd name="connsiteX46" fmla="*/ 1394 w 4292"/>
                  <a:gd name="connsiteY46" fmla="*/ 257 h 1039"/>
                  <a:gd name="connsiteX47" fmla="*/ 1348 w 4292"/>
                  <a:gd name="connsiteY47" fmla="*/ 303 h 1039"/>
                  <a:gd name="connsiteX48" fmla="*/ 1307 w 4292"/>
                  <a:gd name="connsiteY48" fmla="*/ 355 h 1039"/>
                  <a:gd name="connsiteX49" fmla="*/ 1268 w 4292"/>
                  <a:gd name="connsiteY49" fmla="*/ 409 h 1039"/>
                  <a:gd name="connsiteX50" fmla="*/ 1231 w 4292"/>
                  <a:gd name="connsiteY50" fmla="*/ 463 h 1039"/>
                  <a:gd name="connsiteX51" fmla="*/ 1194 w 4292"/>
                  <a:gd name="connsiteY51" fmla="*/ 519 h 1039"/>
                  <a:gd name="connsiteX52" fmla="*/ 1156 w 4292"/>
                  <a:gd name="connsiteY52" fmla="*/ 577 h 1039"/>
                  <a:gd name="connsiteX53" fmla="*/ 1121 w 4292"/>
                  <a:gd name="connsiteY53" fmla="*/ 633 h 1039"/>
                  <a:gd name="connsiteX54" fmla="*/ 1047 w 4292"/>
                  <a:gd name="connsiteY54" fmla="*/ 745 h 1039"/>
                  <a:gd name="connsiteX55" fmla="*/ 1008 w 4292"/>
                  <a:gd name="connsiteY55" fmla="*/ 797 h 1039"/>
                  <a:gd name="connsiteX56" fmla="*/ 966 w 4292"/>
                  <a:gd name="connsiteY56" fmla="*/ 846 h 1039"/>
                  <a:gd name="connsiteX57" fmla="*/ 923 w 4292"/>
                  <a:gd name="connsiteY57" fmla="*/ 892 h 1039"/>
                  <a:gd name="connsiteX58" fmla="*/ 876 w 4292"/>
                  <a:gd name="connsiteY58" fmla="*/ 933 h 1039"/>
                  <a:gd name="connsiteX59" fmla="*/ 826 w 4292"/>
                  <a:gd name="connsiteY59" fmla="*/ 969 h 1039"/>
                  <a:gd name="connsiteX60" fmla="*/ 772 w 4292"/>
                  <a:gd name="connsiteY60" fmla="*/ 998 h 1039"/>
                  <a:gd name="connsiteX61" fmla="*/ 717 w 4292"/>
                  <a:gd name="connsiteY61" fmla="*/ 1021 h 1039"/>
                  <a:gd name="connsiteX62" fmla="*/ 653 w 4292"/>
                  <a:gd name="connsiteY62" fmla="*/ 1033 h 1039"/>
                  <a:gd name="connsiteX63" fmla="*/ 587 w 4292"/>
                  <a:gd name="connsiteY63" fmla="*/ 1039 h 1039"/>
                  <a:gd name="connsiteX64" fmla="*/ 580 w 4292"/>
                  <a:gd name="connsiteY64" fmla="*/ 1039 h 1039"/>
                  <a:gd name="connsiteX65" fmla="*/ 512 w 4292"/>
                  <a:gd name="connsiteY65" fmla="*/ 1035 h 1039"/>
                  <a:gd name="connsiteX66" fmla="*/ 450 w 4292"/>
                  <a:gd name="connsiteY66" fmla="*/ 1023 h 1039"/>
                  <a:gd name="connsiteX67" fmla="*/ 392 w 4292"/>
                  <a:gd name="connsiteY67" fmla="*/ 1004 h 1039"/>
                  <a:gd name="connsiteX68" fmla="*/ 341 w 4292"/>
                  <a:gd name="connsiteY68" fmla="*/ 979 h 1039"/>
                  <a:gd name="connsiteX69" fmla="*/ 293 w 4292"/>
                  <a:gd name="connsiteY69" fmla="*/ 948 h 1039"/>
                  <a:gd name="connsiteX70" fmla="*/ 248 w 4292"/>
                  <a:gd name="connsiteY70" fmla="*/ 911 h 1039"/>
                  <a:gd name="connsiteX71" fmla="*/ 207 w 4292"/>
                  <a:gd name="connsiteY71" fmla="*/ 869 h 1039"/>
                  <a:gd name="connsiteX72" fmla="*/ 169 w 4292"/>
                  <a:gd name="connsiteY72" fmla="*/ 824 h 1039"/>
                  <a:gd name="connsiteX73" fmla="*/ 132 w 4292"/>
                  <a:gd name="connsiteY73" fmla="*/ 776 h 1039"/>
                  <a:gd name="connsiteX74" fmla="*/ 99 w 4292"/>
                  <a:gd name="connsiteY74" fmla="*/ 724 h 1039"/>
                  <a:gd name="connsiteX75" fmla="*/ 64 w 4292"/>
                  <a:gd name="connsiteY75" fmla="*/ 670 h 1039"/>
                  <a:gd name="connsiteX76" fmla="*/ 33 w 4292"/>
                  <a:gd name="connsiteY76" fmla="*/ 614 h 1039"/>
                  <a:gd name="connsiteX77" fmla="*/ 0 w 4292"/>
                  <a:gd name="connsiteY77" fmla="*/ 556 h 1039"/>
                  <a:gd name="connsiteX78" fmla="*/ 77 w 4292"/>
                  <a:gd name="connsiteY78" fmla="*/ 512 h 1039"/>
                  <a:gd name="connsiteX79" fmla="*/ 110 w 4292"/>
                  <a:gd name="connsiteY79" fmla="*/ 571 h 1039"/>
                  <a:gd name="connsiteX80" fmla="*/ 143 w 4292"/>
                  <a:gd name="connsiteY80" fmla="*/ 627 h 1039"/>
                  <a:gd name="connsiteX81" fmla="*/ 176 w 4292"/>
                  <a:gd name="connsiteY81" fmla="*/ 680 h 1039"/>
                  <a:gd name="connsiteX82" fmla="*/ 209 w 4292"/>
                  <a:gd name="connsiteY82" fmla="*/ 732 h 1039"/>
                  <a:gd name="connsiteX83" fmla="*/ 244 w 4292"/>
                  <a:gd name="connsiteY83" fmla="*/ 778 h 1039"/>
                  <a:gd name="connsiteX84" fmla="*/ 281 w 4292"/>
                  <a:gd name="connsiteY84" fmla="*/ 821 h 1039"/>
                  <a:gd name="connsiteX85" fmla="*/ 322 w 4292"/>
                  <a:gd name="connsiteY85" fmla="*/ 859 h 1039"/>
                  <a:gd name="connsiteX86" fmla="*/ 366 w 4292"/>
                  <a:gd name="connsiteY86" fmla="*/ 890 h 1039"/>
                  <a:gd name="connsiteX87" fmla="*/ 413 w 4292"/>
                  <a:gd name="connsiteY87" fmla="*/ 917 h 1039"/>
                  <a:gd name="connsiteX88" fmla="*/ 463 w 4292"/>
                  <a:gd name="connsiteY88" fmla="*/ 936 h 1039"/>
                  <a:gd name="connsiteX89" fmla="*/ 518 w 4292"/>
                  <a:gd name="connsiteY89" fmla="*/ 948 h 1039"/>
                  <a:gd name="connsiteX90" fmla="*/ 580 w 4292"/>
                  <a:gd name="connsiteY90" fmla="*/ 952 h 1039"/>
                  <a:gd name="connsiteX91" fmla="*/ 587 w 4292"/>
                  <a:gd name="connsiteY91" fmla="*/ 952 h 1039"/>
                  <a:gd name="connsiteX92" fmla="*/ 646 w 4292"/>
                  <a:gd name="connsiteY92" fmla="*/ 946 h 1039"/>
                  <a:gd name="connsiteX93" fmla="*/ 702 w 4292"/>
                  <a:gd name="connsiteY93" fmla="*/ 931 h 1039"/>
                  <a:gd name="connsiteX94" fmla="*/ 756 w 4292"/>
                  <a:gd name="connsiteY94" fmla="*/ 909 h 1039"/>
                  <a:gd name="connsiteX95" fmla="*/ 803 w 4292"/>
                  <a:gd name="connsiteY95" fmla="*/ 880 h 1039"/>
                  <a:gd name="connsiteX96" fmla="*/ 849 w 4292"/>
                  <a:gd name="connsiteY96" fmla="*/ 842 h 1039"/>
                  <a:gd name="connsiteX97" fmla="*/ 892 w 4292"/>
                  <a:gd name="connsiteY97" fmla="*/ 799 h 1039"/>
                  <a:gd name="connsiteX98" fmla="*/ 931 w 4292"/>
                  <a:gd name="connsiteY98" fmla="*/ 751 h 1039"/>
                  <a:gd name="connsiteX99" fmla="*/ 971 w 4292"/>
                  <a:gd name="connsiteY99" fmla="*/ 699 h 1039"/>
                  <a:gd name="connsiteX100" fmla="*/ 1010 w 4292"/>
                  <a:gd name="connsiteY100" fmla="*/ 645 h 1039"/>
                  <a:gd name="connsiteX101" fmla="*/ 1121 w 4292"/>
                  <a:gd name="connsiteY101" fmla="*/ 471 h 1039"/>
                  <a:gd name="connsiteX102" fmla="*/ 1161 w 4292"/>
                  <a:gd name="connsiteY102" fmla="*/ 411 h 1039"/>
                  <a:gd name="connsiteX103" fmla="*/ 1202 w 4292"/>
                  <a:gd name="connsiteY103" fmla="*/ 353 h 1039"/>
                  <a:gd name="connsiteX104" fmla="*/ 1245 w 4292"/>
                  <a:gd name="connsiteY104" fmla="*/ 295 h 1039"/>
                  <a:gd name="connsiteX105" fmla="*/ 1291 w 4292"/>
                  <a:gd name="connsiteY105" fmla="*/ 241 h 1039"/>
                  <a:gd name="connsiteX106" fmla="*/ 1338 w 4292"/>
                  <a:gd name="connsiteY106" fmla="*/ 189 h 1039"/>
                  <a:gd name="connsiteX107" fmla="*/ 1392 w 4292"/>
                  <a:gd name="connsiteY107" fmla="*/ 141 h 1039"/>
                  <a:gd name="connsiteX108" fmla="*/ 1447 w 4292"/>
                  <a:gd name="connsiteY108" fmla="*/ 100 h 1039"/>
                  <a:gd name="connsiteX109" fmla="*/ 1509 w 4292"/>
                  <a:gd name="connsiteY109" fmla="*/ 65 h 1039"/>
                  <a:gd name="connsiteX110" fmla="*/ 1575 w 4292"/>
                  <a:gd name="connsiteY110" fmla="*/ 36 h 1039"/>
                  <a:gd name="connsiteX111" fmla="*/ 1648 w 4292"/>
                  <a:gd name="connsiteY111" fmla="*/ 15 h 1039"/>
                  <a:gd name="connsiteX112" fmla="*/ 1726 w 4292"/>
                  <a:gd name="connsiteY112" fmla="*/ 2 h 1039"/>
                  <a:gd name="connsiteX113" fmla="*/ 1796 w 4292"/>
                  <a:gd name="connsiteY113" fmla="*/ 0 h 1039"/>
                  <a:gd name="connsiteX114" fmla="*/ 1862 w 4292"/>
                  <a:gd name="connsiteY114" fmla="*/ 9 h 1039"/>
                  <a:gd name="connsiteX115" fmla="*/ 1922 w 4292"/>
                  <a:gd name="connsiteY115" fmla="*/ 23 h 1039"/>
                  <a:gd name="connsiteX116" fmla="*/ 1980 w 4292"/>
                  <a:gd name="connsiteY116" fmla="*/ 46 h 1039"/>
                  <a:gd name="connsiteX117" fmla="*/ 2034 w 4292"/>
                  <a:gd name="connsiteY117" fmla="*/ 77 h 1039"/>
                  <a:gd name="connsiteX118" fmla="*/ 2083 w 4292"/>
                  <a:gd name="connsiteY118" fmla="*/ 112 h 1039"/>
                  <a:gd name="connsiteX119" fmla="*/ 2129 w 4292"/>
                  <a:gd name="connsiteY119" fmla="*/ 154 h 1039"/>
                  <a:gd name="connsiteX120" fmla="*/ 2174 w 4292"/>
                  <a:gd name="connsiteY120" fmla="*/ 199 h 1039"/>
                  <a:gd name="connsiteX121" fmla="*/ 2216 w 4292"/>
                  <a:gd name="connsiteY121" fmla="*/ 247 h 1039"/>
                  <a:gd name="connsiteX122" fmla="*/ 2255 w 4292"/>
                  <a:gd name="connsiteY122" fmla="*/ 299 h 1039"/>
                  <a:gd name="connsiteX123" fmla="*/ 2292 w 4292"/>
                  <a:gd name="connsiteY123" fmla="*/ 353 h 1039"/>
                  <a:gd name="connsiteX124" fmla="*/ 2327 w 4292"/>
                  <a:gd name="connsiteY124" fmla="*/ 409 h 1039"/>
                  <a:gd name="connsiteX125" fmla="*/ 2362 w 4292"/>
                  <a:gd name="connsiteY125" fmla="*/ 463 h 1039"/>
                  <a:gd name="connsiteX126" fmla="*/ 2395 w 4292"/>
                  <a:gd name="connsiteY126" fmla="*/ 519 h 1039"/>
                  <a:gd name="connsiteX127" fmla="*/ 2432 w 4292"/>
                  <a:gd name="connsiteY127" fmla="*/ 581 h 1039"/>
                  <a:gd name="connsiteX128" fmla="*/ 2469 w 4292"/>
                  <a:gd name="connsiteY128" fmla="*/ 639 h 1039"/>
                  <a:gd name="connsiteX129" fmla="*/ 2509 w 4292"/>
                  <a:gd name="connsiteY129" fmla="*/ 697 h 1039"/>
                  <a:gd name="connsiteX130" fmla="*/ 2546 w 4292"/>
                  <a:gd name="connsiteY130" fmla="*/ 751 h 1039"/>
                  <a:gd name="connsiteX131" fmla="*/ 2587 w 4292"/>
                  <a:gd name="connsiteY131" fmla="*/ 801 h 1039"/>
                  <a:gd name="connsiteX132" fmla="*/ 2628 w 4292"/>
                  <a:gd name="connsiteY132" fmla="*/ 844 h 1039"/>
                  <a:gd name="connsiteX133" fmla="*/ 2672 w 4292"/>
                  <a:gd name="connsiteY133" fmla="*/ 882 h 1039"/>
                  <a:gd name="connsiteX134" fmla="*/ 2717 w 4292"/>
                  <a:gd name="connsiteY134" fmla="*/ 913 h 1039"/>
                  <a:gd name="connsiteX135" fmla="*/ 2767 w 4292"/>
                  <a:gd name="connsiteY135" fmla="*/ 936 h 1039"/>
                  <a:gd name="connsiteX136" fmla="*/ 2820 w 4292"/>
                  <a:gd name="connsiteY136" fmla="*/ 948 h 1039"/>
                  <a:gd name="connsiteX137" fmla="*/ 2876 w 4292"/>
                  <a:gd name="connsiteY137" fmla="*/ 952 h 1039"/>
                  <a:gd name="connsiteX138" fmla="*/ 2932 w 4292"/>
                  <a:gd name="connsiteY138" fmla="*/ 946 h 1039"/>
                  <a:gd name="connsiteX139" fmla="*/ 2982 w 4292"/>
                  <a:gd name="connsiteY139" fmla="*/ 931 h 1039"/>
                  <a:gd name="connsiteX140" fmla="*/ 3029 w 4292"/>
                  <a:gd name="connsiteY140" fmla="*/ 911 h 1039"/>
                  <a:gd name="connsiteX141" fmla="*/ 3072 w 4292"/>
                  <a:gd name="connsiteY141" fmla="*/ 880 h 1039"/>
                  <a:gd name="connsiteX142" fmla="*/ 3112 w 4292"/>
                  <a:gd name="connsiteY142" fmla="*/ 844 h 1039"/>
                  <a:gd name="connsiteX143" fmla="*/ 3149 w 4292"/>
                  <a:gd name="connsiteY143" fmla="*/ 803 h 1039"/>
                  <a:gd name="connsiteX0" fmla="*/ 3149 w 4292"/>
                  <a:gd name="connsiteY0" fmla="*/ 803 h 1039"/>
                  <a:gd name="connsiteX1" fmla="*/ 4142 w 4292"/>
                  <a:gd name="connsiteY1" fmla="*/ 131 h 1039"/>
                  <a:gd name="connsiteX2" fmla="*/ 4049 w 4292"/>
                  <a:gd name="connsiteY2" fmla="*/ 94 h 1039"/>
                  <a:gd name="connsiteX3" fmla="*/ 4014 w 4292"/>
                  <a:gd name="connsiteY3" fmla="*/ 85 h 1039"/>
                  <a:gd name="connsiteX4" fmla="*/ 3958 w 4292"/>
                  <a:gd name="connsiteY4" fmla="*/ 83 h 1039"/>
                  <a:gd name="connsiteX5" fmla="*/ 3830 w 4292"/>
                  <a:gd name="connsiteY5" fmla="*/ 102 h 1039"/>
                  <a:gd name="connsiteX6" fmla="*/ 3774 w 4292"/>
                  <a:gd name="connsiteY6" fmla="*/ 123 h 1039"/>
                  <a:gd name="connsiteX7" fmla="*/ 3675 w 4292"/>
                  <a:gd name="connsiteY7" fmla="*/ 183 h 1039"/>
                  <a:gd name="connsiteX8" fmla="*/ 3553 w 4292"/>
                  <a:gd name="connsiteY8" fmla="*/ 309 h 1039"/>
                  <a:gd name="connsiteX9" fmla="*/ 3227 w 4292"/>
                  <a:gd name="connsiteY9" fmla="*/ 844 h 1039"/>
                  <a:gd name="connsiteX10" fmla="*/ 3147 w 4292"/>
                  <a:gd name="connsiteY10" fmla="*/ 931 h 1039"/>
                  <a:gd name="connsiteX11" fmla="*/ 3101 w 4292"/>
                  <a:gd name="connsiteY11" fmla="*/ 967 h 1039"/>
                  <a:gd name="connsiteX12" fmla="*/ 3052 w 4292"/>
                  <a:gd name="connsiteY12" fmla="*/ 996 h 1039"/>
                  <a:gd name="connsiteX13" fmla="*/ 3000 w 4292"/>
                  <a:gd name="connsiteY13" fmla="*/ 1018 h 1039"/>
                  <a:gd name="connsiteX14" fmla="*/ 2942 w 4292"/>
                  <a:gd name="connsiteY14" fmla="*/ 1033 h 1039"/>
                  <a:gd name="connsiteX15" fmla="*/ 2878 w 4292"/>
                  <a:gd name="connsiteY15" fmla="*/ 1039 h 1039"/>
                  <a:gd name="connsiteX16" fmla="*/ 2870 w 4292"/>
                  <a:gd name="connsiteY16" fmla="*/ 1039 h 1039"/>
                  <a:gd name="connsiteX17" fmla="*/ 2808 w 4292"/>
                  <a:gd name="connsiteY17" fmla="*/ 1035 h 1039"/>
                  <a:gd name="connsiteX18" fmla="*/ 2748 w 4292"/>
                  <a:gd name="connsiteY18" fmla="*/ 1021 h 1039"/>
                  <a:gd name="connsiteX19" fmla="*/ 2695 w 4292"/>
                  <a:gd name="connsiteY19" fmla="*/ 998 h 1039"/>
                  <a:gd name="connsiteX20" fmla="*/ 2643 w 4292"/>
                  <a:gd name="connsiteY20" fmla="*/ 969 h 1039"/>
                  <a:gd name="connsiteX21" fmla="*/ 2595 w 4292"/>
                  <a:gd name="connsiteY21" fmla="*/ 931 h 1039"/>
                  <a:gd name="connsiteX22" fmla="*/ 2552 w 4292"/>
                  <a:gd name="connsiteY22" fmla="*/ 890 h 1039"/>
                  <a:gd name="connsiteX23" fmla="*/ 2509 w 4292"/>
                  <a:gd name="connsiteY23" fmla="*/ 842 h 1039"/>
                  <a:gd name="connsiteX24" fmla="*/ 2469 w 4292"/>
                  <a:gd name="connsiteY24" fmla="*/ 792 h 1039"/>
                  <a:gd name="connsiteX25" fmla="*/ 2430 w 4292"/>
                  <a:gd name="connsiteY25" fmla="*/ 736 h 1039"/>
                  <a:gd name="connsiteX26" fmla="*/ 2393 w 4292"/>
                  <a:gd name="connsiteY26" fmla="*/ 680 h 1039"/>
                  <a:gd name="connsiteX27" fmla="*/ 2288 w 4292"/>
                  <a:gd name="connsiteY27" fmla="*/ 506 h 1039"/>
                  <a:gd name="connsiteX28" fmla="*/ 2251 w 4292"/>
                  <a:gd name="connsiteY28" fmla="*/ 448 h 1039"/>
                  <a:gd name="connsiteX29" fmla="*/ 2213 w 4292"/>
                  <a:gd name="connsiteY29" fmla="*/ 392 h 1039"/>
                  <a:gd name="connsiteX30" fmla="*/ 2176 w 4292"/>
                  <a:gd name="connsiteY30" fmla="*/ 338 h 1039"/>
                  <a:gd name="connsiteX31" fmla="*/ 2137 w 4292"/>
                  <a:gd name="connsiteY31" fmla="*/ 289 h 1039"/>
                  <a:gd name="connsiteX32" fmla="*/ 2096 w 4292"/>
                  <a:gd name="connsiteY32" fmla="*/ 243 h 1039"/>
                  <a:gd name="connsiteX33" fmla="*/ 2054 w 4292"/>
                  <a:gd name="connsiteY33" fmla="*/ 201 h 1039"/>
                  <a:gd name="connsiteX34" fmla="*/ 2009 w 4292"/>
                  <a:gd name="connsiteY34" fmla="*/ 164 h 1039"/>
                  <a:gd name="connsiteX35" fmla="*/ 1962 w 4292"/>
                  <a:gd name="connsiteY35" fmla="*/ 135 h 1039"/>
                  <a:gd name="connsiteX36" fmla="*/ 1910 w 4292"/>
                  <a:gd name="connsiteY36" fmla="*/ 112 h 1039"/>
                  <a:gd name="connsiteX37" fmla="*/ 1854 w 4292"/>
                  <a:gd name="connsiteY37" fmla="*/ 96 h 1039"/>
                  <a:gd name="connsiteX38" fmla="*/ 1796 w 4292"/>
                  <a:gd name="connsiteY38" fmla="*/ 87 h 1039"/>
                  <a:gd name="connsiteX39" fmla="*/ 1732 w 4292"/>
                  <a:gd name="connsiteY39" fmla="*/ 89 h 1039"/>
                  <a:gd name="connsiteX40" fmla="*/ 1664 w 4292"/>
                  <a:gd name="connsiteY40" fmla="*/ 100 h 1039"/>
                  <a:gd name="connsiteX41" fmla="*/ 1602 w 4292"/>
                  <a:gd name="connsiteY41" fmla="*/ 118 h 1039"/>
                  <a:gd name="connsiteX42" fmla="*/ 1545 w 4292"/>
                  <a:gd name="connsiteY42" fmla="*/ 143 h 1039"/>
                  <a:gd name="connsiteX43" fmla="*/ 1491 w 4292"/>
                  <a:gd name="connsiteY43" fmla="*/ 177 h 1039"/>
                  <a:gd name="connsiteX44" fmla="*/ 1439 w 4292"/>
                  <a:gd name="connsiteY44" fmla="*/ 214 h 1039"/>
                  <a:gd name="connsiteX45" fmla="*/ 1394 w 4292"/>
                  <a:gd name="connsiteY45" fmla="*/ 257 h 1039"/>
                  <a:gd name="connsiteX46" fmla="*/ 1348 w 4292"/>
                  <a:gd name="connsiteY46" fmla="*/ 303 h 1039"/>
                  <a:gd name="connsiteX47" fmla="*/ 1307 w 4292"/>
                  <a:gd name="connsiteY47" fmla="*/ 355 h 1039"/>
                  <a:gd name="connsiteX48" fmla="*/ 1268 w 4292"/>
                  <a:gd name="connsiteY48" fmla="*/ 409 h 1039"/>
                  <a:gd name="connsiteX49" fmla="*/ 1231 w 4292"/>
                  <a:gd name="connsiteY49" fmla="*/ 463 h 1039"/>
                  <a:gd name="connsiteX50" fmla="*/ 1194 w 4292"/>
                  <a:gd name="connsiteY50" fmla="*/ 519 h 1039"/>
                  <a:gd name="connsiteX51" fmla="*/ 1156 w 4292"/>
                  <a:gd name="connsiteY51" fmla="*/ 577 h 1039"/>
                  <a:gd name="connsiteX52" fmla="*/ 1121 w 4292"/>
                  <a:gd name="connsiteY52" fmla="*/ 633 h 1039"/>
                  <a:gd name="connsiteX53" fmla="*/ 1047 w 4292"/>
                  <a:gd name="connsiteY53" fmla="*/ 745 h 1039"/>
                  <a:gd name="connsiteX54" fmla="*/ 1008 w 4292"/>
                  <a:gd name="connsiteY54" fmla="*/ 797 h 1039"/>
                  <a:gd name="connsiteX55" fmla="*/ 966 w 4292"/>
                  <a:gd name="connsiteY55" fmla="*/ 846 h 1039"/>
                  <a:gd name="connsiteX56" fmla="*/ 923 w 4292"/>
                  <a:gd name="connsiteY56" fmla="*/ 892 h 1039"/>
                  <a:gd name="connsiteX57" fmla="*/ 876 w 4292"/>
                  <a:gd name="connsiteY57" fmla="*/ 933 h 1039"/>
                  <a:gd name="connsiteX58" fmla="*/ 826 w 4292"/>
                  <a:gd name="connsiteY58" fmla="*/ 969 h 1039"/>
                  <a:gd name="connsiteX59" fmla="*/ 772 w 4292"/>
                  <a:gd name="connsiteY59" fmla="*/ 998 h 1039"/>
                  <a:gd name="connsiteX60" fmla="*/ 717 w 4292"/>
                  <a:gd name="connsiteY60" fmla="*/ 1021 h 1039"/>
                  <a:gd name="connsiteX61" fmla="*/ 653 w 4292"/>
                  <a:gd name="connsiteY61" fmla="*/ 1033 h 1039"/>
                  <a:gd name="connsiteX62" fmla="*/ 587 w 4292"/>
                  <a:gd name="connsiteY62" fmla="*/ 1039 h 1039"/>
                  <a:gd name="connsiteX63" fmla="*/ 580 w 4292"/>
                  <a:gd name="connsiteY63" fmla="*/ 1039 h 1039"/>
                  <a:gd name="connsiteX64" fmla="*/ 512 w 4292"/>
                  <a:gd name="connsiteY64" fmla="*/ 1035 h 1039"/>
                  <a:gd name="connsiteX65" fmla="*/ 450 w 4292"/>
                  <a:gd name="connsiteY65" fmla="*/ 1023 h 1039"/>
                  <a:gd name="connsiteX66" fmla="*/ 392 w 4292"/>
                  <a:gd name="connsiteY66" fmla="*/ 1004 h 1039"/>
                  <a:gd name="connsiteX67" fmla="*/ 341 w 4292"/>
                  <a:gd name="connsiteY67" fmla="*/ 979 h 1039"/>
                  <a:gd name="connsiteX68" fmla="*/ 293 w 4292"/>
                  <a:gd name="connsiteY68" fmla="*/ 948 h 1039"/>
                  <a:gd name="connsiteX69" fmla="*/ 248 w 4292"/>
                  <a:gd name="connsiteY69" fmla="*/ 911 h 1039"/>
                  <a:gd name="connsiteX70" fmla="*/ 207 w 4292"/>
                  <a:gd name="connsiteY70" fmla="*/ 869 h 1039"/>
                  <a:gd name="connsiteX71" fmla="*/ 169 w 4292"/>
                  <a:gd name="connsiteY71" fmla="*/ 824 h 1039"/>
                  <a:gd name="connsiteX72" fmla="*/ 132 w 4292"/>
                  <a:gd name="connsiteY72" fmla="*/ 776 h 1039"/>
                  <a:gd name="connsiteX73" fmla="*/ 99 w 4292"/>
                  <a:gd name="connsiteY73" fmla="*/ 724 h 1039"/>
                  <a:gd name="connsiteX74" fmla="*/ 64 w 4292"/>
                  <a:gd name="connsiteY74" fmla="*/ 670 h 1039"/>
                  <a:gd name="connsiteX75" fmla="*/ 33 w 4292"/>
                  <a:gd name="connsiteY75" fmla="*/ 614 h 1039"/>
                  <a:gd name="connsiteX76" fmla="*/ 0 w 4292"/>
                  <a:gd name="connsiteY76" fmla="*/ 556 h 1039"/>
                  <a:gd name="connsiteX77" fmla="*/ 77 w 4292"/>
                  <a:gd name="connsiteY77" fmla="*/ 512 h 1039"/>
                  <a:gd name="connsiteX78" fmla="*/ 110 w 4292"/>
                  <a:gd name="connsiteY78" fmla="*/ 571 h 1039"/>
                  <a:gd name="connsiteX79" fmla="*/ 143 w 4292"/>
                  <a:gd name="connsiteY79" fmla="*/ 627 h 1039"/>
                  <a:gd name="connsiteX80" fmla="*/ 176 w 4292"/>
                  <a:gd name="connsiteY80" fmla="*/ 680 h 1039"/>
                  <a:gd name="connsiteX81" fmla="*/ 209 w 4292"/>
                  <a:gd name="connsiteY81" fmla="*/ 732 h 1039"/>
                  <a:gd name="connsiteX82" fmla="*/ 244 w 4292"/>
                  <a:gd name="connsiteY82" fmla="*/ 778 h 1039"/>
                  <a:gd name="connsiteX83" fmla="*/ 281 w 4292"/>
                  <a:gd name="connsiteY83" fmla="*/ 821 h 1039"/>
                  <a:gd name="connsiteX84" fmla="*/ 322 w 4292"/>
                  <a:gd name="connsiteY84" fmla="*/ 859 h 1039"/>
                  <a:gd name="connsiteX85" fmla="*/ 366 w 4292"/>
                  <a:gd name="connsiteY85" fmla="*/ 890 h 1039"/>
                  <a:gd name="connsiteX86" fmla="*/ 413 w 4292"/>
                  <a:gd name="connsiteY86" fmla="*/ 917 h 1039"/>
                  <a:gd name="connsiteX87" fmla="*/ 463 w 4292"/>
                  <a:gd name="connsiteY87" fmla="*/ 936 h 1039"/>
                  <a:gd name="connsiteX88" fmla="*/ 518 w 4292"/>
                  <a:gd name="connsiteY88" fmla="*/ 948 h 1039"/>
                  <a:gd name="connsiteX89" fmla="*/ 580 w 4292"/>
                  <a:gd name="connsiteY89" fmla="*/ 952 h 1039"/>
                  <a:gd name="connsiteX90" fmla="*/ 587 w 4292"/>
                  <a:gd name="connsiteY90" fmla="*/ 952 h 1039"/>
                  <a:gd name="connsiteX91" fmla="*/ 646 w 4292"/>
                  <a:gd name="connsiteY91" fmla="*/ 946 h 1039"/>
                  <a:gd name="connsiteX92" fmla="*/ 702 w 4292"/>
                  <a:gd name="connsiteY92" fmla="*/ 931 h 1039"/>
                  <a:gd name="connsiteX93" fmla="*/ 756 w 4292"/>
                  <a:gd name="connsiteY93" fmla="*/ 909 h 1039"/>
                  <a:gd name="connsiteX94" fmla="*/ 803 w 4292"/>
                  <a:gd name="connsiteY94" fmla="*/ 880 h 1039"/>
                  <a:gd name="connsiteX95" fmla="*/ 849 w 4292"/>
                  <a:gd name="connsiteY95" fmla="*/ 842 h 1039"/>
                  <a:gd name="connsiteX96" fmla="*/ 892 w 4292"/>
                  <a:gd name="connsiteY96" fmla="*/ 799 h 1039"/>
                  <a:gd name="connsiteX97" fmla="*/ 931 w 4292"/>
                  <a:gd name="connsiteY97" fmla="*/ 751 h 1039"/>
                  <a:gd name="connsiteX98" fmla="*/ 971 w 4292"/>
                  <a:gd name="connsiteY98" fmla="*/ 699 h 1039"/>
                  <a:gd name="connsiteX99" fmla="*/ 1010 w 4292"/>
                  <a:gd name="connsiteY99" fmla="*/ 645 h 1039"/>
                  <a:gd name="connsiteX100" fmla="*/ 1121 w 4292"/>
                  <a:gd name="connsiteY100" fmla="*/ 471 h 1039"/>
                  <a:gd name="connsiteX101" fmla="*/ 1161 w 4292"/>
                  <a:gd name="connsiteY101" fmla="*/ 411 h 1039"/>
                  <a:gd name="connsiteX102" fmla="*/ 1202 w 4292"/>
                  <a:gd name="connsiteY102" fmla="*/ 353 h 1039"/>
                  <a:gd name="connsiteX103" fmla="*/ 1245 w 4292"/>
                  <a:gd name="connsiteY103" fmla="*/ 295 h 1039"/>
                  <a:gd name="connsiteX104" fmla="*/ 1291 w 4292"/>
                  <a:gd name="connsiteY104" fmla="*/ 241 h 1039"/>
                  <a:gd name="connsiteX105" fmla="*/ 1338 w 4292"/>
                  <a:gd name="connsiteY105" fmla="*/ 189 h 1039"/>
                  <a:gd name="connsiteX106" fmla="*/ 1392 w 4292"/>
                  <a:gd name="connsiteY106" fmla="*/ 141 h 1039"/>
                  <a:gd name="connsiteX107" fmla="*/ 1447 w 4292"/>
                  <a:gd name="connsiteY107" fmla="*/ 100 h 1039"/>
                  <a:gd name="connsiteX108" fmla="*/ 1509 w 4292"/>
                  <a:gd name="connsiteY108" fmla="*/ 65 h 1039"/>
                  <a:gd name="connsiteX109" fmla="*/ 1575 w 4292"/>
                  <a:gd name="connsiteY109" fmla="*/ 36 h 1039"/>
                  <a:gd name="connsiteX110" fmla="*/ 1648 w 4292"/>
                  <a:gd name="connsiteY110" fmla="*/ 15 h 1039"/>
                  <a:gd name="connsiteX111" fmla="*/ 1726 w 4292"/>
                  <a:gd name="connsiteY111" fmla="*/ 2 h 1039"/>
                  <a:gd name="connsiteX112" fmla="*/ 1796 w 4292"/>
                  <a:gd name="connsiteY112" fmla="*/ 0 h 1039"/>
                  <a:gd name="connsiteX113" fmla="*/ 1862 w 4292"/>
                  <a:gd name="connsiteY113" fmla="*/ 9 h 1039"/>
                  <a:gd name="connsiteX114" fmla="*/ 1922 w 4292"/>
                  <a:gd name="connsiteY114" fmla="*/ 23 h 1039"/>
                  <a:gd name="connsiteX115" fmla="*/ 1980 w 4292"/>
                  <a:gd name="connsiteY115" fmla="*/ 46 h 1039"/>
                  <a:gd name="connsiteX116" fmla="*/ 2034 w 4292"/>
                  <a:gd name="connsiteY116" fmla="*/ 77 h 1039"/>
                  <a:gd name="connsiteX117" fmla="*/ 2083 w 4292"/>
                  <a:gd name="connsiteY117" fmla="*/ 112 h 1039"/>
                  <a:gd name="connsiteX118" fmla="*/ 2129 w 4292"/>
                  <a:gd name="connsiteY118" fmla="*/ 154 h 1039"/>
                  <a:gd name="connsiteX119" fmla="*/ 2174 w 4292"/>
                  <a:gd name="connsiteY119" fmla="*/ 199 h 1039"/>
                  <a:gd name="connsiteX120" fmla="*/ 2216 w 4292"/>
                  <a:gd name="connsiteY120" fmla="*/ 247 h 1039"/>
                  <a:gd name="connsiteX121" fmla="*/ 2255 w 4292"/>
                  <a:gd name="connsiteY121" fmla="*/ 299 h 1039"/>
                  <a:gd name="connsiteX122" fmla="*/ 2292 w 4292"/>
                  <a:gd name="connsiteY122" fmla="*/ 353 h 1039"/>
                  <a:gd name="connsiteX123" fmla="*/ 2327 w 4292"/>
                  <a:gd name="connsiteY123" fmla="*/ 409 h 1039"/>
                  <a:gd name="connsiteX124" fmla="*/ 2362 w 4292"/>
                  <a:gd name="connsiteY124" fmla="*/ 463 h 1039"/>
                  <a:gd name="connsiteX125" fmla="*/ 2395 w 4292"/>
                  <a:gd name="connsiteY125" fmla="*/ 519 h 1039"/>
                  <a:gd name="connsiteX126" fmla="*/ 2432 w 4292"/>
                  <a:gd name="connsiteY126" fmla="*/ 581 h 1039"/>
                  <a:gd name="connsiteX127" fmla="*/ 2469 w 4292"/>
                  <a:gd name="connsiteY127" fmla="*/ 639 h 1039"/>
                  <a:gd name="connsiteX128" fmla="*/ 2509 w 4292"/>
                  <a:gd name="connsiteY128" fmla="*/ 697 h 1039"/>
                  <a:gd name="connsiteX129" fmla="*/ 2546 w 4292"/>
                  <a:gd name="connsiteY129" fmla="*/ 751 h 1039"/>
                  <a:gd name="connsiteX130" fmla="*/ 2587 w 4292"/>
                  <a:gd name="connsiteY130" fmla="*/ 801 h 1039"/>
                  <a:gd name="connsiteX131" fmla="*/ 2628 w 4292"/>
                  <a:gd name="connsiteY131" fmla="*/ 844 h 1039"/>
                  <a:gd name="connsiteX132" fmla="*/ 2672 w 4292"/>
                  <a:gd name="connsiteY132" fmla="*/ 882 h 1039"/>
                  <a:gd name="connsiteX133" fmla="*/ 2717 w 4292"/>
                  <a:gd name="connsiteY133" fmla="*/ 913 h 1039"/>
                  <a:gd name="connsiteX134" fmla="*/ 2767 w 4292"/>
                  <a:gd name="connsiteY134" fmla="*/ 936 h 1039"/>
                  <a:gd name="connsiteX135" fmla="*/ 2820 w 4292"/>
                  <a:gd name="connsiteY135" fmla="*/ 948 h 1039"/>
                  <a:gd name="connsiteX136" fmla="*/ 2876 w 4292"/>
                  <a:gd name="connsiteY136" fmla="*/ 952 h 1039"/>
                  <a:gd name="connsiteX137" fmla="*/ 2932 w 4292"/>
                  <a:gd name="connsiteY137" fmla="*/ 946 h 1039"/>
                  <a:gd name="connsiteX138" fmla="*/ 2982 w 4292"/>
                  <a:gd name="connsiteY138" fmla="*/ 931 h 1039"/>
                  <a:gd name="connsiteX139" fmla="*/ 3029 w 4292"/>
                  <a:gd name="connsiteY139" fmla="*/ 911 h 1039"/>
                  <a:gd name="connsiteX140" fmla="*/ 3072 w 4292"/>
                  <a:gd name="connsiteY140" fmla="*/ 880 h 1039"/>
                  <a:gd name="connsiteX141" fmla="*/ 3112 w 4292"/>
                  <a:gd name="connsiteY141" fmla="*/ 844 h 1039"/>
                  <a:gd name="connsiteX142" fmla="*/ 3149 w 4292"/>
                  <a:gd name="connsiteY142" fmla="*/ 803 h 1039"/>
                  <a:gd name="connsiteX0" fmla="*/ 3149 w 4292"/>
                  <a:gd name="connsiteY0" fmla="*/ 803 h 1039"/>
                  <a:gd name="connsiteX1" fmla="*/ 4142 w 4292"/>
                  <a:gd name="connsiteY1" fmla="*/ 131 h 1039"/>
                  <a:gd name="connsiteX2" fmla="*/ 4049 w 4292"/>
                  <a:gd name="connsiteY2" fmla="*/ 94 h 1039"/>
                  <a:gd name="connsiteX3" fmla="*/ 4014 w 4292"/>
                  <a:gd name="connsiteY3" fmla="*/ 85 h 1039"/>
                  <a:gd name="connsiteX4" fmla="*/ 3958 w 4292"/>
                  <a:gd name="connsiteY4" fmla="*/ 83 h 1039"/>
                  <a:gd name="connsiteX5" fmla="*/ 3830 w 4292"/>
                  <a:gd name="connsiteY5" fmla="*/ 102 h 1039"/>
                  <a:gd name="connsiteX6" fmla="*/ 3774 w 4292"/>
                  <a:gd name="connsiteY6" fmla="*/ 123 h 1039"/>
                  <a:gd name="connsiteX7" fmla="*/ 3675 w 4292"/>
                  <a:gd name="connsiteY7" fmla="*/ 183 h 1039"/>
                  <a:gd name="connsiteX8" fmla="*/ 3553 w 4292"/>
                  <a:gd name="connsiteY8" fmla="*/ 309 h 1039"/>
                  <a:gd name="connsiteX9" fmla="*/ 3147 w 4292"/>
                  <a:gd name="connsiteY9" fmla="*/ 931 h 1039"/>
                  <a:gd name="connsiteX10" fmla="*/ 3101 w 4292"/>
                  <a:gd name="connsiteY10" fmla="*/ 967 h 1039"/>
                  <a:gd name="connsiteX11" fmla="*/ 3052 w 4292"/>
                  <a:gd name="connsiteY11" fmla="*/ 996 h 1039"/>
                  <a:gd name="connsiteX12" fmla="*/ 3000 w 4292"/>
                  <a:gd name="connsiteY12" fmla="*/ 1018 h 1039"/>
                  <a:gd name="connsiteX13" fmla="*/ 2942 w 4292"/>
                  <a:gd name="connsiteY13" fmla="*/ 1033 h 1039"/>
                  <a:gd name="connsiteX14" fmla="*/ 2878 w 4292"/>
                  <a:gd name="connsiteY14" fmla="*/ 1039 h 1039"/>
                  <a:gd name="connsiteX15" fmla="*/ 2870 w 4292"/>
                  <a:gd name="connsiteY15" fmla="*/ 1039 h 1039"/>
                  <a:gd name="connsiteX16" fmla="*/ 2808 w 4292"/>
                  <a:gd name="connsiteY16" fmla="*/ 1035 h 1039"/>
                  <a:gd name="connsiteX17" fmla="*/ 2748 w 4292"/>
                  <a:gd name="connsiteY17" fmla="*/ 1021 h 1039"/>
                  <a:gd name="connsiteX18" fmla="*/ 2695 w 4292"/>
                  <a:gd name="connsiteY18" fmla="*/ 998 h 1039"/>
                  <a:gd name="connsiteX19" fmla="*/ 2643 w 4292"/>
                  <a:gd name="connsiteY19" fmla="*/ 969 h 1039"/>
                  <a:gd name="connsiteX20" fmla="*/ 2595 w 4292"/>
                  <a:gd name="connsiteY20" fmla="*/ 931 h 1039"/>
                  <a:gd name="connsiteX21" fmla="*/ 2552 w 4292"/>
                  <a:gd name="connsiteY21" fmla="*/ 890 h 1039"/>
                  <a:gd name="connsiteX22" fmla="*/ 2509 w 4292"/>
                  <a:gd name="connsiteY22" fmla="*/ 842 h 1039"/>
                  <a:gd name="connsiteX23" fmla="*/ 2469 w 4292"/>
                  <a:gd name="connsiteY23" fmla="*/ 792 h 1039"/>
                  <a:gd name="connsiteX24" fmla="*/ 2430 w 4292"/>
                  <a:gd name="connsiteY24" fmla="*/ 736 h 1039"/>
                  <a:gd name="connsiteX25" fmla="*/ 2393 w 4292"/>
                  <a:gd name="connsiteY25" fmla="*/ 680 h 1039"/>
                  <a:gd name="connsiteX26" fmla="*/ 2288 w 4292"/>
                  <a:gd name="connsiteY26" fmla="*/ 506 h 1039"/>
                  <a:gd name="connsiteX27" fmla="*/ 2251 w 4292"/>
                  <a:gd name="connsiteY27" fmla="*/ 448 h 1039"/>
                  <a:gd name="connsiteX28" fmla="*/ 2213 w 4292"/>
                  <a:gd name="connsiteY28" fmla="*/ 392 h 1039"/>
                  <a:gd name="connsiteX29" fmla="*/ 2176 w 4292"/>
                  <a:gd name="connsiteY29" fmla="*/ 338 h 1039"/>
                  <a:gd name="connsiteX30" fmla="*/ 2137 w 4292"/>
                  <a:gd name="connsiteY30" fmla="*/ 289 h 1039"/>
                  <a:gd name="connsiteX31" fmla="*/ 2096 w 4292"/>
                  <a:gd name="connsiteY31" fmla="*/ 243 h 1039"/>
                  <a:gd name="connsiteX32" fmla="*/ 2054 w 4292"/>
                  <a:gd name="connsiteY32" fmla="*/ 201 h 1039"/>
                  <a:gd name="connsiteX33" fmla="*/ 2009 w 4292"/>
                  <a:gd name="connsiteY33" fmla="*/ 164 h 1039"/>
                  <a:gd name="connsiteX34" fmla="*/ 1962 w 4292"/>
                  <a:gd name="connsiteY34" fmla="*/ 135 h 1039"/>
                  <a:gd name="connsiteX35" fmla="*/ 1910 w 4292"/>
                  <a:gd name="connsiteY35" fmla="*/ 112 h 1039"/>
                  <a:gd name="connsiteX36" fmla="*/ 1854 w 4292"/>
                  <a:gd name="connsiteY36" fmla="*/ 96 h 1039"/>
                  <a:gd name="connsiteX37" fmla="*/ 1796 w 4292"/>
                  <a:gd name="connsiteY37" fmla="*/ 87 h 1039"/>
                  <a:gd name="connsiteX38" fmla="*/ 1732 w 4292"/>
                  <a:gd name="connsiteY38" fmla="*/ 89 h 1039"/>
                  <a:gd name="connsiteX39" fmla="*/ 1664 w 4292"/>
                  <a:gd name="connsiteY39" fmla="*/ 100 h 1039"/>
                  <a:gd name="connsiteX40" fmla="*/ 1602 w 4292"/>
                  <a:gd name="connsiteY40" fmla="*/ 118 h 1039"/>
                  <a:gd name="connsiteX41" fmla="*/ 1545 w 4292"/>
                  <a:gd name="connsiteY41" fmla="*/ 143 h 1039"/>
                  <a:gd name="connsiteX42" fmla="*/ 1491 w 4292"/>
                  <a:gd name="connsiteY42" fmla="*/ 177 h 1039"/>
                  <a:gd name="connsiteX43" fmla="*/ 1439 w 4292"/>
                  <a:gd name="connsiteY43" fmla="*/ 214 h 1039"/>
                  <a:gd name="connsiteX44" fmla="*/ 1394 w 4292"/>
                  <a:gd name="connsiteY44" fmla="*/ 257 h 1039"/>
                  <a:gd name="connsiteX45" fmla="*/ 1348 w 4292"/>
                  <a:gd name="connsiteY45" fmla="*/ 303 h 1039"/>
                  <a:gd name="connsiteX46" fmla="*/ 1307 w 4292"/>
                  <a:gd name="connsiteY46" fmla="*/ 355 h 1039"/>
                  <a:gd name="connsiteX47" fmla="*/ 1268 w 4292"/>
                  <a:gd name="connsiteY47" fmla="*/ 409 h 1039"/>
                  <a:gd name="connsiteX48" fmla="*/ 1231 w 4292"/>
                  <a:gd name="connsiteY48" fmla="*/ 463 h 1039"/>
                  <a:gd name="connsiteX49" fmla="*/ 1194 w 4292"/>
                  <a:gd name="connsiteY49" fmla="*/ 519 h 1039"/>
                  <a:gd name="connsiteX50" fmla="*/ 1156 w 4292"/>
                  <a:gd name="connsiteY50" fmla="*/ 577 h 1039"/>
                  <a:gd name="connsiteX51" fmla="*/ 1121 w 4292"/>
                  <a:gd name="connsiteY51" fmla="*/ 633 h 1039"/>
                  <a:gd name="connsiteX52" fmla="*/ 1047 w 4292"/>
                  <a:gd name="connsiteY52" fmla="*/ 745 h 1039"/>
                  <a:gd name="connsiteX53" fmla="*/ 1008 w 4292"/>
                  <a:gd name="connsiteY53" fmla="*/ 797 h 1039"/>
                  <a:gd name="connsiteX54" fmla="*/ 966 w 4292"/>
                  <a:gd name="connsiteY54" fmla="*/ 846 h 1039"/>
                  <a:gd name="connsiteX55" fmla="*/ 923 w 4292"/>
                  <a:gd name="connsiteY55" fmla="*/ 892 h 1039"/>
                  <a:gd name="connsiteX56" fmla="*/ 876 w 4292"/>
                  <a:gd name="connsiteY56" fmla="*/ 933 h 1039"/>
                  <a:gd name="connsiteX57" fmla="*/ 826 w 4292"/>
                  <a:gd name="connsiteY57" fmla="*/ 969 h 1039"/>
                  <a:gd name="connsiteX58" fmla="*/ 772 w 4292"/>
                  <a:gd name="connsiteY58" fmla="*/ 998 h 1039"/>
                  <a:gd name="connsiteX59" fmla="*/ 717 w 4292"/>
                  <a:gd name="connsiteY59" fmla="*/ 1021 h 1039"/>
                  <a:gd name="connsiteX60" fmla="*/ 653 w 4292"/>
                  <a:gd name="connsiteY60" fmla="*/ 1033 h 1039"/>
                  <a:gd name="connsiteX61" fmla="*/ 587 w 4292"/>
                  <a:gd name="connsiteY61" fmla="*/ 1039 h 1039"/>
                  <a:gd name="connsiteX62" fmla="*/ 580 w 4292"/>
                  <a:gd name="connsiteY62" fmla="*/ 1039 h 1039"/>
                  <a:gd name="connsiteX63" fmla="*/ 512 w 4292"/>
                  <a:gd name="connsiteY63" fmla="*/ 1035 h 1039"/>
                  <a:gd name="connsiteX64" fmla="*/ 450 w 4292"/>
                  <a:gd name="connsiteY64" fmla="*/ 1023 h 1039"/>
                  <a:gd name="connsiteX65" fmla="*/ 392 w 4292"/>
                  <a:gd name="connsiteY65" fmla="*/ 1004 h 1039"/>
                  <a:gd name="connsiteX66" fmla="*/ 341 w 4292"/>
                  <a:gd name="connsiteY66" fmla="*/ 979 h 1039"/>
                  <a:gd name="connsiteX67" fmla="*/ 293 w 4292"/>
                  <a:gd name="connsiteY67" fmla="*/ 948 h 1039"/>
                  <a:gd name="connsiteX68" fmla="*/ 248 w 4292"/>
                  <a:gd name="connsiteY68" fmla="*/ 911 h 1039"/>
                  <a:gd name="connsiteX69" fmla="*/ 207 w 4292"/>
                  <a:gd name="connsiteY69" fmla="*/ 869 h 1039"/>
                  <a:gd name="connsiteX70" fmla="*/ 169 w 4292"/>
                  <a:gd name="connsiteY70" fmla="*/ 824 h 1039"/>
                  <a:gd name="connsiteX71" fmla="*/ 132 w 4292"/>
                  <a:gd name="connsiteY71" fmla="*/ 776 h 1039"/>
                  <a:gd name="connsiteX72" fmla="*/ 99 w 4292"/>
                  <a:gd name="connsiteY72" fmla="*/ 724 h 1039"/>
                  <a:gd name="connsiteX73" fmla="*/ 64 w 4292"/>
                  <a:gd name="connsiteY73" fmla="*/ 670 h 1039"/>
                  <a:gd name="connsiteX74" fmla="*/ 33 w 4292"/>
                  <a:gd name="connsiteY74" fmla="*/ 614 h 1039"/>
                  <a:gd name="connsiteX75" fmla="*/ 0 w 4292"/>
                  <a:gd name="connsiteY75" fmla="*/ 556 h 1039"/>
                  <a:gd name="connsiteX76" fmla="*/ 77 w 4292"/>
                  <a:gd name="connsiteY76" fmla="*/ 512 h 1039"/>
                  <a:gd name="connsiteX77" fmla="*/ 110 w 4292"/>
                  <a:gd name="connsiteY77" fmla="*/ 571 h 1039"/>
                  <a:gd name="connsiteX78" fmla="*/ 143 w 4292"/>
                  <a:gd name="connsiteY78" fmla="*/ 627 h 1039"/>
                  <a:gd name="connsiteX79" fmla="*/ 176 w 4292"/>
                  <a:gd name="connsiteY79" fmla="*/ 680 h 1039"/>
                  <a:gd name="connsiteX80" fmla="*/ 209 w 4292"/>
                  <a:gd name="connsiteY80" fmla="*/ 732 h 1039"/>
                  <a:gd name="connsiteX81" fmla="*/ 244 w 4292"/>
                  <a:gd name="connsiteY81" fmla="*/ 778 h 1039"/>
                  <a:gd name="connsiteX82" fmla="*/ 281 w 4292"/>
                  <a:gd name="connsiteY82" fmla="*/ 821 h 1039"/>
                  <a:gd name="connsiteX83" fmla="*/ 322 w 4292"/>
                  <a:gd name="connsiteY83" fmla="*/ 859 h 1039"/>
                  <a:gd name="connsiteX84" fmla="*/ 366 w 4292"/>
                  <a:gd name="connsiteY84" fmla="*/ 890 h 1039"/>
                  <a:gd name="connsiteX85" fmla="*/ 413 w 4292"/>
                  <a:gd name="connsiteY85" fmla="*/ 917 h 1039"/>
                  <a:gd name="connsiteX86" fmla="*/ 463 w 4292"/>
                  <a:gd name="connsiteY86" fmla="*/ 936 h 1039"/>
                  <a:gd name="connsiteX87" fmla="*/ 518 w 4292"/>
                  <a:gd name="connsiteY87" fmla="*/ 948 h 1039"/>
                  <a:gd name="connsiteX88" fmla="*/ 580 w 4292"/>
                  <a:gd name="connsiteY88" fmla="*/ 952 h 1039"/>
                  <a:gd name="connsiteX89" fmla="*/ 587 w 4292"/>
                  <a:gd name="connsiteY89" fmla="*/ 952 h 1039"/>
                  <a:gd name="connsiteX90" fmla="*/ 646 w 4292"/>
                  <a:gd name="connsiteY90" fmla="*/ 946 h 1039"/>
                  <a:gd name="connsiteX91" fmla="*/ 702 w 4292"/>
                  <a:gd name="connsiteY91" fmla="*/ 931 h 1039"/>
                  <a:gd name="connsiteX92" fmla="*/ 756 w 4292"/>
                  <a:gd name="connsiteY92" fmla="*/ 909 h 1039"/>
                  <a:gd name="connsiteX93" fmla="*/ 803 w 4292"/>
                  <a:gd name="connsiteY93" fmla="*/ 880 h 1039"/>
                  <a:gd name="connsiteX94" fmla="*/ 849 w 4292"/>
                  <a:gd name="connsiteY94" fmla="*/ 842 h 1039"/>
                  <a:gd name="connsiteX95" fmla="*/ 892 w 4292"/>
                  <a:gd name="connsiteY95" fmla="*/ 799 h 1039"/>
                  <a:gd name="connsiteX96" fmla="*/ 931 w 4292"/>
                  <a:gd name="connsiteY96" fmla="*/ 751 h 1039"/>
                  <a:gd name="connsiteX97" fmla="*/ 971 w 4292"/>
                  <a:gd name="connsiteY97" fmla="*/ 699 h 1039"/>
                  <a:gd name="connsiteX98" fmla="*/ 1010 w 4292"/>
                  <a:gd name="connsiteY98" fmla="*/ 645 h 1039"/>
                  <a:gd name="connsiteX99" fmla="*/ 1121 w 4292"/>
                  <a:gd name="connsiteY99" fmla="*/ 471 h 1039"/>
                  <a:gd name="connsiteX100" fmla="*/ 1161 w 4292"/>
                  <a:gd name="connsiteY100" fmla="*/ 411 h 1039"/>
                  <a:gd name="connsiteX101" fmla="*/ 1202 w 4292"/>
                  <a:gd name="connsiteY101" fmla="*/ 353 h 1039"/>
                  <a:gd name="connsiteX102" fmla="*/ 1245 w 4292"/>
                  <a:gd name="connsiteY102" fmla="*/ 295 h 1039"/>
                  <a:gd name="connsiteX103" fmla="*/ 1291 w 4292"/>
                  <a:gd name="connsiteY103" fmla="*/ 241 h 1039"/>
                  <a:gd name="connsiteX104" fmla="*/ 1338 w 4292"/>
                  <a:gd name="connsiteY104" fmla="*/ 189 h 1039"/>
                  <a:gd name="connsiteX105" fmla="*/ 1392 w 4292"/>
                  <a:gd name="connsiteY105" fmla="*/ 141 h 1039"/>
                  <a:gd name="connsiteX106" fmla="*/ 1447 w 4292"/>
                  <a:gd name="connsiteY106" fmla="*/ 100 h 1039"/>
                  <a:gd name="connsiteX107" fmla="*/ 1509 w 4292"/>
                  <a:gd name="connsiteY107" fmla="*/ 65 h 1039"/>
                  <a:gd name="connsiteX108" fmla="*/ 1575 w 4292"/>
                  <a:gd name="connsiteY108" fmla="*/ 36 h 1039"/>
                  <a:gd name="connsiteX109" fmla="*/ 1648 w 4292"/>
                  <a:gd name="connsiteY109" fmla="*/ 15 h 1039"/>
                  <a:gd name="connsiteX110" fmla="*/ 1726 w 4292"/>
                  <a:gd name="connsiteY110" fmla="*/ 2 h 1039"/>
                  <a:gd name="connsiteX111" fmla="*/ 1796 w 4292"/>
                  <a:gd name="connsiteY111" fmla="*/ 0 h 1039"/>
                  <a:gd name="connsiteX112" fmla="*/ 1862 w 4292"/>
                  <a:gd name="connsiteY112" fmla="*/ 9 h 1039"/>
                  <a:gd name="connsiteX113" fmla="*/ 1922 w 4292"/>
                  <a:gd name="connsiteY113" fmla="*/ 23 h 1039"/>
                  <a:gd name="connsiteX114" fmla="*/ 1980 w 4292"/>
                  <a:gd name="connsiteY114" fmla="*/ 46 h 1039"/>
                  <a:gd name="connsiteX115" fmla="*/ 2034 w 4292"/>
                  <a:gd name="connsiteY115" fmla="*/ 77 h 1039"/>
                  <a:gd name="connsiteX116" fmla="*/ 2083 w 4292"/>
                  <a:gd name="connsiteY116" fmla="*/ 112 h 1039"/>
                  <a:gd name="connsiteX117" fmla="*/ 2129 w 4292"/>
                  <a:gd name="connsiteY117" fmla="*/ 154 h 1039"/>
                  <a:gd name="connsiteX118" fmla="*/ 2174 w 4292"/>
                  <a:gd name="connsiteY118" fmla="*/ 199 h 1039"/>
                  <a:gd name="connsiteX119" fmla="*/ 2216 w 4292"/>
                  <a:gd name="connsiteY119" fmla="*/ 247 h 1039"/>
                  <a:gd name="connsiteX120" fmla="*/ 2255 w 4292"/>
                  <a:gd name="connsiteY120" fmla="*/ 299 h 1039"/>
                  <a:gd name="connsiteX121" fmla="*/ 2292 w 4292"/>
                  <a:gd name="connsiteY121" fmla="*/ 353 h 1039"/>
                  <a:gd name="connsiteX122" fmla="*/ 2327 w 4292"/>
                  <a:gd name="connsiteY122" fmla="*/ 409 h 1039"/>
                  <a:gd name="connsiteX123" fmla="*/ 2362 w 4292"/>
                  <a:gd name="connsiteY123" fmla="*/ 463 h 1039"/>
                  <a:gd name="connsiteX124" fmla="*/ 2395 w 4292"/>
                  <a:gd name="connsiteY124" fmla="*/ 519 h 1039"/>
                  <a:gd name="connsiteX125" fmla="*/ 2432 w 4292"/>
                  <a:gd name="connsiteY125" fmla="*/ 581 h 1039"/>
                  <a:gd name="connsiteX126" fmla="*/ 2469 w 4292"/>
                  <a:gd name="connsiteY126" fmla="*/ 639 h 1039"/>
                  <a:gd name="connsiteX127" fmla="*/ 2509 w 4292"/>
                  <a:gd name="connsiteY127" fmla="*/ 697 h 1039"/>
                  <a:gd name="connsiteX128" fmla="*/ 2546 w 4292"/>
                  <a:gd name="connsiteY128" fmla="*/ 751 h 1039"/>
                  <a:gd name="connsiteX129" fmla="*/ 2587 w 4292"/>
                  <a:gd name="connsiteY129" fmla="*/ 801 h 1039"/>
                  <a:gd name="connsiteX130" fmla="*/ 2628 w 4292"/>
                  <a:gd name="connsiteY130" fmla="*/ 844 h 1039"/>
                  <a:gd name="connsiteX131" fmla="*/ 2672 w 4292"/>
                  <a:gd name="connsiteY131" fmla="*/ 882 h 1039"/>
                  <a:gd name="connsiteX132" fmla="*/ 2717 w 4292"/>
                  <a:gd name="connsiteY132" fmla="*/ 913 h 1039"/>
                  <a:gd name="connsiteX133" fmla="*/ 2767 w 4292"/>
                  <a:gd name="connsiteY133" fmla="*/ 936 h 1039"/>
                  <a:gd name="connsiteX134" fmla="*/ 2820 w 4292"/>
                  <a:gd name="connsiteY134" fmla="*/ 948 h 1039"/>
                  <a:gd name="connsiteX135" fmla="*/ 2876 w 4292"/>
                  <a:gd name="connsiteY135" fmla="*/ 952 h 1039"/>
                  <a:gd name="connsiteX136" fmla="*/ 2932 w 4292"/>
                  <a:gd name="connsiteY136" fmla="*/ 946 h 1039"/>
                  <a:gd name="connsiteX137" fmla="*/ 2982 w 4292"/>
                  <a:gd name="connsiteY137" fmla="*/ 931 h 1039"/>
                  <a:gd name="connsiteX138" fmla="*/ 3029 w 4292"/>
                  <a:gd name="connsiteY138" fmla="*/ 911 h 1039"/>
                  <a:gd name="connsiteX139" fmla="*/ 3072 w 4292"/>
                  <a:gd name="connsiteY139" fmla="*/ 880 h 1039"/>
                  <a:gd name="connsiteX140" fmla="*/ 3112 w 4292"/>
                  <a:gd name="connsiteY140" fmla="*/ 844 h 1039"/>
                  <a:gd name="connsiteX141" fmla="*/ 3149 w 4292"/>
                  <a:gd name="connsiteY141" fmla="*/ 803 h 1039"/>
                  <a:gd name="connsiteX0" fmla="*/ 3112 w 4292"/>
                  <a:gd name="connsiteY0" fmla="*/ 844 h 1039"/>
                  <a:gd name="connsiteX1" fmla="*/ 4142 w 4292"/>
                  <a:gd name="connsiteY1" fmla="*/ 131 h 1039"/>
                  <a:gd name="connsiteX2" fmla="*/ 4049 w 4292"/>
                  <a:gd name="connsiteY2" fmla="*/ 94 h 1039"/>
                  <a:gd name="connsiteX3" fmla="*/ 4014 w 4292"/>
                  <a:gd name="connsiteY3" fmla="*/ 85 h 1039"/>
                  <a:gd name="connsiteX4" fmla="*/ 3958 w 4292"/>
                  <a:gd name="connsiteY4" fmla="*/ 83 h 1039"/>
                  <a:gd name="connsiteX5" fmla="*/ 3830 w 4292"/>
                  <a:gd name="connsiteY5" fmla="*/ 102 h 1039"/>
                  <a:gd name="connsiteX6" fmla="*/ 3774 w 4292"/>
                  <a:gd name="connsiteY6" fmla="*/ 123 h 1039"/>
                  <a:gd name="connsiteX7" fmla="*/ 3675 w 4292"/>
                  <a:gd name="connsiteY7" fmla="*/ 183 h 1039"/>
                  <a:gd name="connsiteX8" fmla="*/ 3553 w 4292"/>
                  <a:gd name="connsiteY8" fmla="*/ 309 h 1039"/>
                  <a:gd name="connsiteX9" fmla="*/ 3147 w 4292"/>
                  <a:gd name="connsiteY9" fmla="*/ 931 h 1039"/>
                  <a:gd name="connsiteX10" fmla="*/ 3101 w 4292"/>
                  <a:gd name="connsiteY10" fmla="*/ 967 h 1039"/>
                  <a:gd name="connsiteX11" fmla="*/ 3052 w 4292"/>
                  <a:gd name="connsiteY11" fmla="*/ 996 h 1039"/>
                  <a:gd name="connsiteX12" fmla="*/ 3000 w 4292"/>
                  <a:gd name="connsiteY12" fmla="*/ 1018 h 1039"/>
                  <a:gd name="connsiteX13" fmla="*/ 2942 w 4292"/>
                  <a:gd name="connsiteY13" fmla="*/ 1033 h 1039"/>
                  <a:gd name="connsiteX14" fmla="*/ 2878 w 4292"/>
                  <a:gd name="connsiteY14" fmla="*/ 1039 h 1039"/>
                  <a:gd name="connsiteX15" fmla="*/ 2870 w 4292"/>
                  <a:gd name="connsiteY15" fmla="*/ 1039 h 1039"/>
                  <a:gd name="connsiteX16" fmla="*/ 2808 w 4292"/>
                  <a:gd name="connsiteY16" fmla="*/ 1035 h 1039"/>
                  <a:gd name="connsiteX17" fmla="*/ 2748 w 4292"/>
                  <a:gd name="connsiteY17" fmla="*/ 1021 h 1039"/>
                  <a:gd name="connsiteX18" fmla="*/ 2695 w 4292"/>
                  <a:gd name="connsiteY18" fmla="*/ 998 h 1039"/>
                  <a:gd name="connsiteX19" fmla="*/ 2643 w 4292"/>
                  <a:gd name="connsiteY19" fmla="*/ 969 h 1039"/>
                  <a:gd name="connsiteX20" fmla="*/ 2595 w 4292"/>
                  <a:gd name="connsiteY20" fmla="*/ 931 h 1039"/>
                  <a:gd name="connsiteX21" fmla="*/ 2552 w 4292"/>
                  <a:gd name="connsiteY21" fmla="*/ 890 h 1039"/>
                  <a:gd name="connsiteX22" fmla="*/ 2509 w 4292"/>
                  <a:gd name="connsiteY22" fmla="*/ 842 h 1039"/>
                  <a:gd name="connsiteX23" fmla="*/ 2469 w 4292"/>
                  <a:gd name="connsiteY23" fmla="*/ 792 h 1039"/>
                  <a:gd name="connsiteX24" fmla="*/ 2430 w 4292"/>
                  <a:gd name="connsiteY24" fmla="*/ 736 h 1039"/>
                  <a:gd name="connsiteX25" fmla="*/ 2393 w 4292"/>
                  <a:gd name="connsiteY25" fmla="*/ 680 h 1039"/>
                  <a:gd name="connsiteX26" fmla="*/ 2288 w 4292"/>
                  <a:gd name="connsiteY26" fmla="*/ 506 h 1039"/>
                  <a:gd name="connsiteX27" fmla="*/ 2251 w 4292"/>
                  <a:gd name="connsiteY27" fmla="*/ 448 h 1039"/>
                  <a:gd name="connsiteX28" fmla="*/ 2213 w 4292"/>
                  <a:gd name="connsiteY28" fmla="*/ 392 h 1039"/>
                  <a:gd name="connsiteX29" fmla="*/ 2176 w 4292"/>
                  <a:gd name="connsiteY29" fmla="*/ 338 h 1039"/>
                  <a:gd name="connsiteX30" fmla="*/ 2137 w 4292"/>
                  <a:gd name="connsiteY30" fmla="*/ 289 h 1039"/>
                  <a:gd name="connsiteX31" fmla="*/ 2096 w 4292"/>
                  <a:gd name="connsiteY31" fmla="*/ 243 h 1039"/>
                  <a:gd name="connsiteX32" fmla="*/ 2054 w 4292"/>
                  <a:gd name="connsiteY32" fmla="*/ 201 h 1039"/>
                  <a:gd name="connsiteX33" fmla="*/ 2009 w 4292"/>
                  <a:gd name="connsiteY33" fmla="*/ 164 h 1039"/>
                  <a:gd name="connsiteX34" fmla="*/ 1962 w 4292"/>
                  <a:gd name="connsiteY34" fmla="*/ 135 h 1039"/>
                  <a:gd name="connsiteX35" fmla="*/ 1910 w 4292"/>
                  <a:gd name="connsiteY35" fmla="*/ 112 h 1039"/>
                  <a:gd name="connsiteX36" fmla="*/ 1854 w 4292"/>
                  <a:gd name="connsiteY36" fmla="*/ 96 h 1039"/>
                  <a:gd name="connsiteX37" fmla="*/ 1796 w 4292"/>
                  <a:gd name="connsiteY37" fmla="*/ 87 h 1039"/>
                  <a:gd name="connsiteX38" fmla="*/ 1732 w 4292"/>
                  <a:gd name="connsiteY38" fmla="*/ 89 h 1039"/>
                  <a:gd name="connsiteX39" fmla="*/ 1664 w 4292"/>
                  <a:gd name="connsiteY39" fmla="*/ 100 h 1039"/>
                  <a:gd name="connsiteX40" fmla="*/ 1602 w 4292"/>
                  <a:gd name="connsiteY40" fmla="*/ 118 h 1039"/>
                  <a:gd name="connsiteX41" fmla="*/ 1545 w 4292"/>
                  <a:gd name="connsiteY41" fmla="*/ 143 h 1039"/>
                  <a:gd name="connsiteX42" fmla="*/ 1491 w 4292"/>
                  <a:gd name="connsiteY42" fmla="*/ 177 h 1039"/>
                  <a:gd name="connsiteX43" fmla="*/ 1439 w 4292"/>
                  <a:gd name="connsiteY43" fmla="*/ 214 h 1039"/>
                  <a:gd name="connsiteX44" fmla="*/ 1394 w 4292"/>
                  <a:gd name="connsiteY44" fmla="*/ 257 h 1039"/>
                  <a:gd name="connsiteX45" fmla="*/ 1348 w 4292"/>
                  <a:gd name="connsiteY45" fmla="*/ 303 h 1039"/>
                  <a:gd name="connsiteX46" fmla="*/ 1307 w 4292"/>
                  <a:gd name="connsiteY46" fmla="*/ 355 h 1039"/>
                  <a:gd name="connsiteX47" fmla="*/ 1268 w 4292"/>
                  <a:gd name="connsiteY47" fmla="*/ 409 h 1039"/>
                  <a:gd name="connsiteX48" fmla="*/ 1231 w 4292"/>
                  <a:gd name="connsiteY48" fmla="*/ 463 h 1039"/>
                  <a:gd name="connsiteX49" fmla="*/ 1194 w 4292"/>
                  <a:gd name="connsiteY49" fmla="*/ 519 h 1039"/>
                  <a:gd name="connsiteX50" fmla="*/ 1156 w 4292"/>
                  <a:gd name="connsiteY50" fmla="*/ 577 h 1039"/>
                  <a:gd name="connsiteX51" fmla="*/ 1121 w 4292"/>
                  <a:gd name="connsiteY51" fmla="*/ 633 h 1039"/>
                  <a:gd name="connsiteX52" fmla="*/ 1047 w 4292"/>
                  <a:gd name="connsiteY52" fmla="*/ 745 h 1039"/>
                  <a:gd name="connsiteX53" fmla="*/ 1008 w 4292"/>
                  <a:gd name="connsiteY53" fmla="*/ 797 h 1039"/>
                  <a:gd name="connsiteX54" fmla="*/ 966 w 4292"/>
                  <a:gd name="connsiteY54" fmla="*/ 846 h 1039"/>
                  <a:gd name="connsiteX55" fmla="*/ 923 w 4292"/>
                  <a:gd name="connsiteY55" fmla="*/ 892 h 1039"/>
                  <a:gd name="connsiteX56" fmla="*/ 876 w 4292"/>
                  <a:gd name="connsiteY56" fmla="*/ 933 h 1039"/>
                  <a:gd name="connsiteX57" fmla="*/ 826 w 4292"/>
                  <a:gd name="connsiteY57" fmla="*/ 969 h 1039"/>
                  <a:gd name="connsiteX58" fmla="*/ 772 w 4292"/>
                  <a:gd name="connsiteY58" fmla="*/ 998 h 1039"/>
                  <a:gd name="connsiteX59" fmla="*/ 717 w 4292"/>
                  <a:gd name="connsiteY59" fmla="*/ 1021 h 1039"/>
                  <a:gd name="connsiteX60" fmla="*/ 653 w 4292"/>
                  <a:gd name="connsiteY60" fmla="*/ 1033 h 1039"/>
                  <a:gd name="connsiteX61" fmla="*/ 587 w 4292"/>
                  <a:gd name="connsiteY61" fmla="*/ 1039 h 1039"/>
                  <a:gd name="connsiteX62" fmla="*/ 580 w 4292"/>
                  <a:gd name="connsiteY62" fmla="*/ 1039 h 1039"/>
                  <a:gd name="connsiteX63" fmla="*/ 512 w 4292"/>
                  <a:gd name="connsiteY63" fmla="*/ 1035 h 1039"/>
                  <a:gd name="connsiteX64" fmla="*/ 450 w 4292"/>
                  <a:gd name="connsiteY64" fmla="*/ 1023 h 1039"/>
                  <a:gd name="connsiteX65" fmla="*/ 392 w 4292"/>
                  <a:gd name="connsiteY65" fmla="*/ 1004 h 1039"/>
                  <a:gd name="connsiteX66" fmla="*/ 341 w 4292"/>
                  <a:gd name="connsiteY66" fmla="*/ 979 h 1039"/>
                  <a:gd name="connsiteX67" fmla="*/ 293 w 4292"/>
                  <a:gd name="connsiteY67" fmla="*/ 948 h 1039"/>
                  <a:gd name="connsiteX68" fmla="*/ 248 w 4292"/>
                  <a:gd name="connsiteY68" fmla="*/ 911 h 1039"/>
                  <a:gd name="connsiteX69" fmla="*/ 207 w 4292"/>
                  <a:gd name="connsiteY69" fmla="*/ 869 h 1039"/>
                  <a:gd name="connsiteX70" fmla="*/ 169 w 4292"/>
                  <a:gd name="connsiteY70" fmla="*/ 824 h 1039"/>
                  <a:gd name="connsiteX71" fmla="*/ 132 w 4292"/>
                  <a:gd name="connsiteY71" fmla="*/ 776 h 1039"/>
                  <a:gd name="connsiteX72" fmla="*/ 99 w 4292"/>
                  <a:gd name="connsiteY72" fmla="*/ 724 h 1039"/>
                  <a:gd name="connsiteX73" fmla="*/ 64 w 4292"/>
                  <a:gd name="connsiteY73" fmla="*/ 670 h 1039"/>
                  <a:gd name="connsiteX74" fmla="*/ 33 w 4292"/>
                  <a:gd name="connsiteY74" fmla="*/ 614 h 1039"/>
                  <a:gd name="connsiteX75" fmla="*/ 0 w 4292"/>
                  <a:gd name="connsiteY75" fmla="*/ 556 h 1039"/>
                  <a:gd name="connsiteX76" fmla="*/ 77 w 4292"/>
                  <a:gd name="connsiteY76" fmla="*/ 512 h 1039"/>
                  <a:gd name="connsiteX77" fmla="*/ 110 w 4292"/>
                  <a:gd name="connsiteY77" fmla="*/ 571 h 1039"/>
                  <a:gd name="connsiteX78" fmla="*/ 143 w 4292"/>
                  <a:gd name="connsiteY78" fmla="*/ 627 h 1039"/>
                  <a:gd name="connsiteX79" fmla="*/ 176 w 4292"/>
                  <a:gd name="connsiteY79" fmla="*/ 680 h 1039"/>
                  <a:gd name="connsiteX80" fmla="*/ 209 w 4292"/>
                  <a:gd name="connsiteY80" fmla="*/ 732 h 1039"/>
                  <a:gd name="connsiteX81" fmla="*/ 244 w 4292"/>
                  <a:gd name="connsiteY81" fmla="*/ 778 h 1039"/>
                  <a:gd name="connsiteX82" fmla="*/ 281 w 4292"/>
                  <a:gd name="connsiteY82" fmla="*/ 821 h 1039"/>
                  <a:gd name="connsiteX83" fmla="*/ 322 w 4292"/>
                  <a:gd name="connsiteY83" fmla="*/ 859 h 1039"/>
                  <a:gd name="connsiteX84" fmla="*/ 366 w 4292"/>
                  <a:gd name="connsiteY84" fmla="*/ 890 h 1039"/>
                  <a:gd name="connsiteX85" fmla="*/ 413 w 4292"/>
                  <a:gd name="connsiteY85" fmla="*/ 917 h 1039"/>
                  <a:gd name="connsiteX86" fmla="*/ 463 w 4292"/>
                  <a:gd name="connsiteY86" fmla="*/ 936 h 1039"/>
                  <a:gd name="connsiteX87" fmla="*/ 518 w 4292"/>
                  <a:gd name="connsiteY87" fmla="*/ 948 h 1039"/>
                  <a:gd name="connsiteX88" fmla="*/ 580 w 4292"/>
                  <a:gd name="connsiteY88" fmla="*/ 952 h 1039"/>
                  <a:gd name="connsiteX89" fmla="*/ 587 w 4292"/>
                  <a:gd name="connsiteY89" fmla="*/ 952 h 1039"/>
                  <a:gd name="connsiteX90" fmla="*/ 646 w 4292"/>
                  <a:gd name="connsiteY90" fmla="*/ 946 h 1039"/>
                  <a:gd name="connsiteX91" fmla="*/ 702 w 4292"/>
                  <a:gd name="connsiteY91" fmla="*/ 931 h 1039"/>
                  <a:gd name="connsiteX92" fmla="*/ 756 w 4292"/>
                  <a:gd name="connsiteY92" fmla="*/ 909 h 1039"/>
                  <a:gd name="connsiteX93" fmla="*/ 803 w 4292"/>
                  <a:gd name="connsiteY93" fmla="*/ 880 h 1039"/>
                  <a:gd name="connsiteX94" fmla="*/ 849 w 4292"/>
                  <a:gd name="connsiteY94" fmla="*/ 842 h 1039"/>
                  <a:gd name="connsiteX95" fmla="*/ 892 w 4292"/>
                  <a:gd name="connsiteY95" fmla="*/ 799 h 1039"/>
                  <a:gd name="connsiteX96" fmla="*/ 931 w 4292"/>
                  <a:gd name="connsiteY96" fmla="*/ 751 h 1039"/>
                  <a:gd name="connsiteX97" fmla="*/ 971 w 4292"/>
                  <a:gd name="connsiteY97" fmla="*/ 699 h 1039"/>
                  <a:gd name="connsiteX98" fmla="*/ 1010 w 4292"/>
                  <a:gd name="connsiteY98" fmla="*/ 645 h 1039"/>
                  <a:gd name="connsiteX99" fmla="*/ 1121 w 4292"/>
                  <a:gd name="connsiteY99" fmla="*/ 471 h 1039"/>
                  <a:gd name="connsiteX100" fmla="*/ 1161 w 4292"/>
                  <a:gd name="connsiteY100" fmla="*/ 411 h 1039"/>
                  <a:gd name="connsiteX101" fmla="*/ 1202 w 4292"/>
                  <a:gd name="connsiteY101" fmla="*/ 353 h 1039"/>
                  <a:gd name="connsiteX102" fmla="*/ 1245 w 4292"/>
                  <a:gd name="connsiteY102" fmla="*/ 295 h 1039"/>
                  <a:gd name="connsiteX103" fmla="*/ 1291 w 4292"/>
                  <a:gd name="connsiteY103" fmla="*/ 241 h 1039"/>
                  <a:gd name="connsiteX104" fmla="*/ 1338 w 4292"/>
                  <a:gd name="connsiteY104" fmla="*/ 189 h 1039"/>
                  <a:gd name="connsiteX105" fmla="*/ 1392 w 4292"/>
                  <a:gd name="connsiteY105" fmla="*/ 141 h 1039"/>
                  <a:gd name="connsiteX106" fmla="*/ 1447 w 4292"/>
                  <a:gd name="connsiteY106" fmla="*/ 100 h 1039"/>
                  <a:gd name="connsiteX107" fmla="*/ 1509 w 4292"/>
                  <a:gd name="connsiteY107" fmla="*/ 65 h 1039"/>
                  <a:gd name="connsiteX108" fmla="*/ 1575 w 4292"/>
                  <a:gd name="connsiteY108" fmla="*/ 36 h 1039"/>
                  <a:gd name="connsiteX109" fmla="*/ 1648 w 4292"/>
                  <a:gd name="connsiteY109" fmla="*/ 15 h 1039"/>
                  <a:gd name="connsiteX110" fmla="*/ 1726 w 4292"/>
                  <a:gd name="connsiteY110" fmla="*/ 2 h 1039"/>
                  <a:gd name="connsiteX111" fmla="*/ 1796 w 4292"/>
                  <a:gd name="connsiteY111" fmla="*/ 0 h 1039"/>
                  <a:gd name="connsiteX112" fmla="*/ 1862 w 4292"/>
                  <a:gd name="connsiteY112" fmla="*/ 9 h 1039"/>
                  <a:gd name="connsiteX113" fmla="*/ 1922 w 4292"/>
                  <a:gd name="connsiteY113" fmla="*/ 23 h 1039"/>
                  <a:gd name="connsiteX114" fmla="*/ 1980 w 4292"/>
                  <a:gd name="connsiteY114" fmla="*/ 46 h 1039"/>
                  <a:gd name="connsiteX115" fmla="*/ 2034 w 4292"/>
                  <a:gd name="connsiteY115" fmla="*/ 77 h 1039"/>
                  <a:gd name="connsiteX116" fmla="*/ 2083 w 4292"/>
                  <a:gd name="connsiteY116" fmla="*/ 112 h 1039"/>
                  <a:gd name="connsiteX117" fmla="*/ 2129 w 4292"/>
                  <a:gd name="connsiteY117" fmla="*/ 154 h 1039"/>
                  <a:gd name="connsiteX118" fmla="*/ 2174 w 4292"/>
                  <a:gd name="connsiteY118" fmla="*/ 199 h 1039"/>
                  <a:gd name="connsiteX119" fmla="*/ 2216 w 4292"/>
                  <a:gd name="connsiteY119" fmla="*/ 247 h 1039"/>
                  <a:gd name="connsiteX120" fmla="*/ 2255 w 4292"/>
                  <a:gd name="connsiteY120" fmla="*/ 299 h 1039"/>
                  <a:gd name="connsiteX121" fmla="*/ 2292 w 4292"/>
                  <a:gd name="connsiteY121" fmla="*/ 353 h 1039"/>
                  <a:gd name="connsiteX122" fmla="*/ 2327 w 4292"/>
                  <a:gd name="connsiteY122" fmla="*/ 409 h 1039"/>
                  <a:gd name="connsiteX123" fmla="*/ 2362 w 4292"/>
                  <a:gd name="connsiteY123" fmla="*/ 463 h 1039"/>
                  <a:gd name="connsiteX124" fmla="*/ 2395 w 4292"/>
                  <a:gd name="connsiteY124" fmla="*/ 519 h 1039"/>
                  <a:gd name="connsiteX125" fmla="*/ 2432 w 4292"/>
                  <a:gd name="connsiteY125" fmla="*/ 581 h 1039"/>
                  <a:gd name="connsiteX126" fmla="*/ 2469 w 4292"/>
                  <a:gd name="connsiteY126" fmla="*/ 639 h 1039"/>
                  <a:gd name="connsiteX127" fmla="*/ 2509 w 4292"/>
                  <a:gd name="connsiteY127" fmla="*/ 697 h 1039"/>
                  <a:gd name="connsiteX128" fmla="*/ 2546 w 4292"/>
                  <a:gd name="connsiteY128" fmla="*/ 751 h 1039"/>
                  <a:gd name="connsiteX129" fmla="*/ 2587 w 4292"/>
                  <a:gd name="connsiteY129" fmla="*/ 801 h 1039"/>
                  <a:gd name="connsiteX130" fmla="*/ 2628 w 4292"/>
                  <a:gd name="connsiteY130" fmla="*/ 844 h 1039"/>
                  <a:gd name="connsiteX131" fmla="*/ 2672 w 4292"/>
                  <a:gd name="connsiteY131" fmla="*/ 882 h 1039"/>
                  <a:gd name="connsiteX132" fmla="*/ 2717 w 4292"/>
                  <a:gd name="connsiteY132" fmla="*/ 913 h 1039"/>
                  <a:gd name="connsiteX133" fmla="*/ 2767 w 4292"/>
                  <a:gd name="connsiteY133" fmla="*/ 936 h 1039"/>
                  <a:gd name="connsiteX134" fmla="*/ 2820 w 4292"/>
                  <a:gd name="connsiteY134" fmla="*/ 948 h 1039"/>
                  <a:gd name="connsiteX135" fmla="*/ 2876 w 4292"/>
                  <a:gd name="connsiteY135" fmla="*/ 952 h 1039"/>
                  <a:gd name="connsiteX136" fmla="*/ 2932 w 4292"/>
                  <a:gd name="connsiteY136" fmla="*/ 946 h 1039"/>
                  <a:gd name="connsiteX137" fmla="*/ 2982 w 4292"/>
                  <a:gd name="connsiteY137" fmla="*/ 931 h 1039"/>
                  <a:gd name="connsiteX138" fmla="*/ 3029 w 4292"/>
                  <a:gd name="connsiteY138" fmla="*/ 911 h 1039"/>
                  <a:gd name="connsiteX139" fmla="*/ 3072 w 4292"/>
                  <a:gd name="connsiteY139" fmla="*/ 880 h 1039"/>
                  <a:gd name="connsiteX140" fmla="*/ 3112 w 4292"/>
                  <a:gd name="connsiteY140" fmla="*/ 844 h 1039"/>
                  <a:gd name="connsiteX0" fmla="*/ 3112 w 4292"/>
                  <a:gd name="connsiteY0" fmla="*/ 844 h 1039"/>
                  <a:gd name="connsiteX1" fmla="*/ 4142 w 4292"/>
                  <a:gd name="connsiteY1" fmla="*/ 131 h 1039"/>
                  <a:gd name="connsiteX2" fmla="*/ 4049 w 4292"/>
                  <a:gd name="connsiteY2" fmla="*/ 94 h 1039"/>
                  <a:gd name="connsiteX3" fmla="*/ 4014 w 4292"/>
                  <a:gd name="connsiteY3" fmla="*/ 85 h 1039"/>
                  <a:gd name="connsiteX4" fmla="*/ 3958 w 4292"/>
                  <a:gd name="connsiteY4" fmla="*/ 83 h 1039"/>
                  <a:gd name="connsiteX5" fmla="*/ 3830 w 4292"/>
                  <a:gd name="connsiteY5" fmla="*/ 102 h 1039"/>
                  <a:gd name="connsiteX6" fmla="*/ 3774 w 4292"/>
                  <a:gd name="connsiteY6" fmla="*/ 123 h 1039"/>
                  <a:gd name="connsiteX7" fmla="*/ 3675 w 4292"/>
                  <a:gd name="connsiteY7" fmla="*/ 183 h 1039"/>
                  <a:gd name="connsiteX8" fmla="*/ 3147 w 4292"/>
                  <a:gd name="connsiteY8" fmla="*/ 931 h 1039"/>
                  <a:gd name="connsiteX9" fmla="*/ 3101 w 4292"/>
                  <a:gd name="connsiteY9" fmla="*/ 967 h 1039"/>
                  <a:gd name="connsiteX10" fmla="*/ 3052 w 4292"/>
                  <a:gd name="connsiteY10" fmla="*/ 996 h 1039"/>
                  <a:gd name="connsiteX11" fmla="*/ 3000 w 4292"/>
                  <a:gd name="connsiteY11" fmla="*/ 1018 h 1039"/>
                  <a:gd name="connsiteX12" fmla="*/ 2942 w 4292"/>
                  <a:gd name="connsiteY12" fmla="*/ 1033 h 1039"/>
                  <a:gd name="connsiteX13" fmla="*/ 2878 w 4292"/>
                  <a:gd name="connsiteY13" fmla="*/ 1039 h 1039"/>
                  <a:gd name="connsiteX14" fmla="*/ 2870 w 4292"/>
                  <a:gd name="connsiteY14" fmla="*/ 1039 h 1039"/>
                  <a:gd name="connsiteX15" fmla="*/ 2808 w 4292"/>
                  <a:gd name="connsiteY15" fmla="*/ 1035 h 1039"/>
                  <a:gd name="connsiteX16" fmla="*/ 2748 w 4292"/>
                  <a:gd name="connsiteY16" fmla="*/ 1021 h 1039"/>
                  <a:gd name="connsiteX17" fmla="*/ 2695 w 4292"/>
                  <a:gd name="connsiteY17" fmla="*/ 998 h 1039"/>
                  <a:gd name="connsiteX18" fmla="*/ 2643 w 4292"/>
                  <a:gd name="connsiteY18" fmla="*/ 969 h 1039"/>
                  <a:gd name="connsiteX19" fmla="*/ 2595 w 4292"/>
                  <a:gd name="connsiteY19" fmla="*/ 931 h 1039"/>
                  <a:gd name="connsiteX20" fmla="*/ 2552 w 4292"/>
                  <a:gd name="connsiteY20" fmla="*/ 890 h 1039"/>
                  <a:gd name="connsiteX21" fmla="*/ 2509 w 4292"/>
                  <a:gd name="connsiteY21" fmla="*/ 842 h 1039"/>
                  <a:gd name="connsiteX22" fmla="*/ 2469 w 4292"/>
                  <a:gd name="connsiteY22" fmla="*/ 792 h 1039"/>
                  <a:gd name="connsiteX23" fmla="*/ 2430 w 4292"/>
                  <a:gd name="connsiteY23" fmla="*/ 736 h 1039"/>
                  <a:gd name="connsiteX24" fmla="*/ 2393 w 4292"/>
                  <a:gd name="connsiteY24" fmla="*/ 680 h 1039"/>
                  <a:gd name="connsiteX25" fmla="*/ 2288 w 4292"/>
                  <a:gd name="connsiteY25" fmla="*/ 506 h 1039"/>
                  <a:gd name="connsiteX26" fmla="*/ 2251 w 4292"/>
                  <a:gd name="connsiteY26" fmla="*/ 448 h 1039"/>
                  <a:gd name="connsiteX27" fmla="*/ 2213 w 4292"/>
                  <a:gd name="connsiteY27" fmla="*/ 392 h 1039"/>
                  <a:gd name="connsiteX28" fmla="*/ 2176 w 4292"/>
                  <a:gd name="connsiteY28" fmla="*/ 338 h 1039"/>
                  <a:gd name="connsiteX29" fmla="*/ 2137 w 4292"/>
                  <a:gd name="connsiteY29" fmla="*/ 289 h 1039"/>
                  <a:gd name="connsiteX30" fmla="*/ 2096 w 4292"/>
                  <a:gd name="connsiteY30" fmla="*/ 243 h 1039"/>
                  <a:gd name="connsiteX31" fmla="*/ 2054 w 4292"/>
                  <a:gd name="connsiteY31" fmla="*/ 201 h 1039"/>
                  <a:gd name="connsiteX32" fmla="*/ 2009 w 4292"/>
                  <a:gd name="connsiteY32" fmla="*/ 164 h 1039"/>
                  <a:gd name="connsiteX33" fmla="*/ 1962 w 4292"/>
                  <a:gd name="connsiteY33" fmla="*/ 135 h 1039"/>
                  <a:gd name="connsiteX34" fmla="*/ 1910 w 4292"/>
                  <a:gd name="connsiteY34" fmla="*/ 112 h 1039"/>
                  <a:gd name="connsiteX35" fmla="*/ 1854 w 4292"/>
                  <a:gd name="connsiteY35" fmla="*/ 96 h 1039"/>
                  <a:gd name="connsiteX36" fmla="*/ 1796 w 4292"/>
                  <a:gd name="connsiteY36" fmla="*/ 87 h 1039"/>
                  <a:gd name="connsiteX37" fmla="*/ 1732 w 4292"/>
                  <a:gd name="connsiteY37" fmla="*/ 89 h 1039"/>
                  <a:gd name="connsiteX38" fmla="*/ 1664 w 4292"/>
                  <a:gd name="connsiteY38" fmla="*/ 100 h 1039"/>
                  <a:gd name="connsiteX39" fmla="*/ 1602 w 4292"/>
                  <a:gd name="connsiteY39" fmla="*/ 118 h 1039"/>
                  <a:gd name="connsiteX40" fmla="*/ 1545 w 4292"/>
                  <a:gd name="connsiteY40" fmla="*/ 143 h 1039"/>
                  <a:gd name="connsiteX41" fmla="*/ 1491 w 4292"/>
                  <a:gd name="connsiteY41" fmla="*/ 177 h 1039"/>
                  <a:gd name="connsiteX42" fmla="*/ 1439 w 4292"/>
                  <a:gd name="connsiteY42" fmla="*/ 214 h 1039"/>
                  <a:gd name="connsiteX43" fmla="*/ 1394 w 4292"/>
                  <a:gd name="connsiteY43" fmla="*/ 257 h 1039"/>
                  <a:gd name="connsiteX44" fmla="*/ 1348 w 4292"/>
                  <a:gd name="connsiteY44" fmla="*/ 303 h 1039"/>
                  <a:gd name="connsiteX45" fmla="*/ 1307 w 4292"/>
                  <a:gd name="connsiteY45" fmla="*/ 355 h 1039"/>
                  <a:gd name="connsiteX46" fmla="*/ 1268 w 4292"/>
                  <a:gd name="connsiteY46" fmla="*/ 409 h 1039"/>
                  <a:gd name="connsiteX47" fmla="*/ 1231 w 4292"/>
                  <a:gd name="connsiteY47" fmla="*/ 463 h 1039"/>
                  <a:gd name="connsiteX48" fmla="*/ 1194 w 4292"/>
                  <a:gd name="connsiteY48" fmla="*/ 519 h 1039"/>
                  <a:gd name="connsiteX49" fmla="*/ 1156 w 4292"/>
                  <a:gd name="connsiteY49" fmla="*/ 577 h 1039"/>
                  <a:gd name="connsiteX50" fmla="*/ 1121 w 4292"/>
                  <a:gd name="connsiteY50" fmla="*/ 633 h 1039"/>
                  <a:gd name="connsiteX51" fmla="*/ 1047 w 4292"/>
                  <a:gd name="connsiteY51" fmla="*/ 745 h 1039"/>
                  <a:gd name="connsiteX52" fmla="*/ 1008 w 4292"/>
                  <a:gd name="connsiteY52" fmla="*/ 797 h 1039"/>
                  <a:gd name="connsiteX53" fmla="*/ 966 w 4292"/>
                  <a:gd name="connsiteY53" fmla="*/ 846 h 1039"/>
                  <a:gd name="connsiteX54" fmla="*/ 923 w 4292"/>
                  <a:gd name="connsiteY54" fmla="*/ 892 h 1039"/>
                  <a:gd name="connsiteX55" fmla="*/ 876 w 4292"/>
                  <a:gd name="connsiteY55" fmla="*/ 933 h 1039"/>
                  <a:gd name="connsiteX56" fmla="*/ 826 w 4292"/>
                  <a:gd name="connsiteY56" fmla="*/ 969 h 1039"/>
                  <a:gd name="connsiteX57" fmla="*/ 772 w 4292"/>
                  <a:gd name="connsiteY57" fmla="*/ 998 h 1039"/>
                  <a:gd name="connsiteX58" fmla="*/ 717 w 4292"/>
                  <a:gd name="connsiteY58" fmla="*/ 1021 h 1039"/>
                  <a:gd name="connsiteX59" fmla="*/ 653 w 4292"/>
                  <a:gd name="connsiteY59" fmla="*/ 1033 h 1039"/>
                  <a:gd name="connsiteX60" fmla="*/ 587 w 4292"/>
                  <a:gd name="connsiteY60" fmla="*/ 1039 h 1039"/>
                  <a:gd name="connsiteX61" fmla="*/ 580 w 4292"/>
                  <a:gd name="connsiteY61" fmla="*/ 1039 h 1039"/>
                  <a:gd name="connsiteX62" fmla="*/ 512 w 4292"/>
                  <a:gd name="connsiteY62" fmla="*/ 1035 h 1039"/>
                  <a:gd name="connsiteX63" fmla="*/ 450 w 4292"/>
                  <a:gd name="connsiteY63" fmla="*/ 1023 h 1039"/>
                  <a:gd name="connsiteX64" fmla="*/ 392 w 4292"/>
                  <a:gd name="connsiteY64" fmla="*/ 1004 h 1039"/>
                  <a:gd name="connsiteX65" fmla="*/ 341 w 4292"/>
                  <a:gd name="connsiteY65" fmla="*/ 979 h 1039"/>
                  <a:gd name="connsiteX66" fmla="*/ 293 w 4292"/>
                  <a:gd name="connsiteY66" fmla="*/ 948 h 1039"/>
                  <a:gd name="connsiteX67" fmla="*/ 248 w 4292"/>
                  <a:gd name="connsiteY67" fmla="*/ 911 h 1039"/>
                  <a:gd name="connsiteX68" fmla="*/ 207 w 4292"/>
                  <a:gd name="connsiteY68" fmla="*/ 869 h 1039"/>
                  <a:gd name="connsiteX69" fmla="*/ 169 w 4292"/>
                  <a:gd name="connsiteY69" fmla="*/ 824 h 1039"/>
                  <a:gd name="connsiteX70" fmla="*/ 132 w 4292"/>
                  <a:gd name="connsiteY70" fmla="*/ 776 h 1039"/>
                  <a:gd name="connsiteX71" fmla="*/ 99 w 4292"/>
                  <a:gd name="connsiteY71" fmla="*/ 724 h 1039"/>
                  <a:gd name="connsiteX72" fmla="*/ 64 w 4292"/>
                  <a:gd name="connsiteY72" fmla="*/ 670 h 1039"/>
                  <a:gd name="connsiteX73" fmla="*/ 33 w 4292"/>
                  <a:gd name="connsiteY73" fmla="*/ 614 h 1039"/>
                  <a:gd name="connsiteX74" fmla="*/ 0 w 4292"/>
                  <a:gd name="connsiteY74" fmla="*/ 556 h 1039"/>
                  <a:gd name="connsiteX75" fmla="*/ 77 w 4292"/>
                  <a:gd name="connsiteY75" fmla="*/ 512 h 1039"/>
                  <a:gd name="connsiteX76" fmla="*/ 110 w 4292"/>
                  <a:gd name="connsiteY76" fmla="*/ 571 h 1039"/>
                  <a:gd name="connsiteX77" fmla="*/ 143 w 4292"/>
                  <a:gd name="connsiteY77" fmla="*/ 627 h 1039"/>
                  <a:gd name="connsiteX78" fmla="*/ 176 w 4292"/>
                  <a:gd name="connsiteY78" fmla="*/ 680 h 1039"/>
                  <a:gd name="connsiteX79" fmla="*/ 209 w 4292"/>
                  <a:gd name="connsiteY79" fmla="*/ 732 h 1039"/>
                  <a:gd name="connsiteX80" fmla="*/ 244 w 4292"/>
                  <a:gd name="connsiteY80" fmla="*/ 778 h 1039"/>
                  <a:gd name="connsiteX81" fmla="*/ 281 w 4292"/>
                  <a:gd name="connsiteY81" fmla="*/ 821 h 1039"/>
                  <a:gd name="connsiteX82" fmla="*/ 322 w 4292"/>
                  <a:gd name="connsiteY82" fmla="*/ 859 h 1039"/>
                  <a:gd name="connsiteX83" fmla="*/ 366 w 4292"/>
                  <a:gd name="connsiteY83" fmla="*/ 890 h 1039"/>
                  <a:gd name="connsiteX84" fmla="*/ 413 w 4292"/>
                  <a:gd name="connsiteY84" fmla="*/ 917 h 1039"/>
                  <a:gd name="connsiteX85" fmla="*/ 463 w 4292"/>
                  <a:gd name="connsiteY85" fmla="*/ 936 h 1039"/>
                  <a:gd name="connsiteX86" fmla="*/ 518 w 4292"/>
                  <a:gd name="connsiteY86" fmla="*/ 948 h 1039"/>
                  <a:gd name="connsiteX87" fmla="*/ 580 w 4292"/>
                  <a:gd name="connsiteY87" fmla="*/ 952 h 1039"/>
                  <a:gd name="connsiteX88" fmla="*/ 587 w 4292"/>
                  <a:gd name="connsiteY88" fmla="*/ 952 h 1039"/>
                  <a:gd name="connsiteX89" fmla="*/ 646 w 4292"/>
                  <a:gd name="connsiteY89" fmla="*/ 946 h 1039"/>
                  <a:gd name="connsiteX90" fmla="*/ 702 w 4292"/>
                  <a:gd name="connsiteY90" fmla="*/ 931 h 1039"/>
                  <a:gd name="connsiteX91" fmla="*/ 756 w 4292"/>
                  <a:gd name="connsiteY91" fmla="*/ 909 h 1039"/>
                  <a:gd name="connsiteX92" fmla="*/ 803 w 4292"/>
                  <a:gd name="connsiteY92" fmla="*/ 880 h 1039"/>
                  <a:gd name="connsiteX93" fmla="*/ 849 w 4292"/>
                  <a:gd name="connsiteY93" fmla="*/ 842 h 1039"/>
                  <a:gd name="connsiteX94" fmla="*/ 892 w 4292"/>
                  <a:gd name="connsiteY94" fmla="*/ 799 h 1039"/>
                  <a:gd name="connsiteX95" fmla="*/ 931 w 4292"/>
                  <a:gd name="connsiteY95" fmla="*/ 751 h 1039"/>
                  <a:gd name="connsiteX96" fmla="*/ 971 w 4292"/>
                  <a:gd name="connsiteY96" fmla="*/ 699 h 1039"/>
                  <a:gd name="connsiteX97" fmla="*/ 1010 w 4292"/>
                  <a:gd name="connsiteY97" fmla="*/ 645 h 1039"/>
                  <a:gd name="connsiteX98" fmla="*/ 1121 w 4292"/>
                  <a:gd name="connsiteY98" fmla="*/ 471 h 1039"/>
                  <a:gd name="connsiteX99" fmla="*/ 1161 w 4292"/>
                  <a:gd name="connsiteY99" fmla="*/ 411 h 1039"/>
                  <a:gd name="connsiteX100" fmla="*/ 1202 w 4292"/>
                  <a:gd name="connsiteY100" fmla="*/ 353 h 1039"/>
                  <a:gd name="connsiteX101" fmla="*/ 1245 w 4292"/>
                  <a:gd name="connsiteY101" fmla="*/ 295 h 1039"/>
                  <a:gd name="connsiteX102" fmla="*/ 1291 w 4292"/>
                  <a:gd name="connsiteY102" fmla="*/ 241 h 1039"/>
                  <a:gd name="connsiteX103" fmla="*/ 1338 w 4292"/>
                  <a:gd name="connsiteY103" fmla="*/ 189 h 1039"/>
                  <a:gd name="connsiteX104" fmla="*/ 1392 w 4292"/>
                  <a:gd name="connsiteY104" fmla="*/ 141 h 1039"/>
                  <a:gd name="connsiteX105" fmla="*/ 1447 w 4292"/>
                  <a:gd name="connsiteY105" fmla="*/ 100 h 1039"/>
                  <a:gd name="connsiteX106" fmla="*/ 1509 w 4292"/>
                  <a:gd name="connsiteY106" fmla="*/ 65 h 1039"/>
                  <a:gd name="connsiteX107" fmla="*/ 1575 w 4292"/>
                  <a:gd name="connsiteY107" fmla="*/ 36 h 1039"/>
                  <a:gd name="connsiteX108" fmla="*/ 1648 w 4292"/>
                  <a:gd name="connsiteY108" fmla="*/ 15 h 1039"/>
                  <a:gd name="connsiteX109" fmla="*/ 1726 w 4292"/>
                  <a:gd name="connsiteY109" fmla="*/ 2 h 1039"/>
                  <a:gd name="connsiteX110" fmla="*/ 1796 w 4292"/>
                  <a:gd name="connsiteY110" fmla="*/ 0 h 1039"/>
                  <a:gd name="connsiteX111" fmla="*/ 1862 w 4292"/>
                  <a:gd name="connsiteY111" fmla="*/ 9 h 1039"/>
                  <a:gd name="connsiteX112" fmla="*/ 1922 w 4292"/>
                  <a:gd name="connsiteY112" fmla="*/ 23 h 1039"/>
                  <a:gd name="connsiteX113" fmla="*/ 1980 w 4292"/>
                  <a:gd name="connsiteY113" fmla="*/ 46 h 1039"/>
                  <a:gd name="connsiteX114" fmla="*/ 2034 w 4292"/>
                  <a:gd name="connsiteY114" fmla="*/ 77 h 1039"/>
                  <a:gd name="connsiteX115" fmla="*/ 2083 w 4292"/>
                  <a:gd name="connsiteY115" fmla="*/ 112 h 1039"/>
                  <a:gd name="connsiteX116" fmla="*/ 2129 w 4292"/>
                  <a:gd name="connsiteY116" fmla="*/ 154 h 1039"/>
                  <a:gd name="connsiteX117" fmla="*/ 2174 w 4292"/>
                  <a:gd name="connsiteY117" fmla="*/ 199 h 1039"/>
                  <a:gd name="connsiteX118" fmla="*/ 2216 w 4292"/>
                  <a:gd name="connsiteY118" fmla="*/ 247 h 1039"/>
                  <a:gd name="connsiteX119" fmla="*/ 2255 w 4292"/>
                  <a:gd name="connsiteY119" fmla="*/ 299 h 1039"/>
                  <a:gd name="connsiteX120" fmla="*/ 2292 w 4292"/>
                  <a:gd name="connsiteY120" fmla="*/ 353 h 1039"/>
                  <a:gd name="connsiteX121" fmla="*/ 2327 w 4292"/>
                  <a:gd name="connsiteY121" fmla="*/ 409 h 1039"/>
                  <a:gd name="connsiteX122" fmla="*/ 2362 w 4292"/>
                  <a:gd name="connsiteY122" fmla="*/ 463 h 1039"/>
                  <a:gd name="connsiteX123" fmla="*/ 2395 w 4292"/>
                  <a:gd name="connsiteY123" fmla="*/ 519 h 1039"/>
                  <a:gd name="connsiteX124" fmla="*/ 2432 w 4292"/>
                  <a:gd name="connsiteY124" fmla="*/ 581 h 1039"/>
                  <a:gd name="connsiteX125" fmla="*/ 2469 w 4292"/>
                  <a:gd name="connsiteY125" fmla="*/ 639 h 1039"/>
                  <a:gd name="connsiteX126" fmla="*/ 2509 w 4292"/>
                  <a:gd name="connsiteY126" fmla="*/ 697 h 1039"/>
                  <a:gd name="connsiteX127" fmla="*/ 2546 w 4292"/>
                  <a:gd name="connsiteY127" fmla="*/ 751 h 1039"/>
                  <a:gd name="connsiteX128" fmla="*/ 2587 w 4292"/>
                  <a:gd name="connsiteY128" fmla="*/ 801 h 1039"/>
                  <a:gd name="connsiteX129" fmla="*/ 2628 w 4292"/>
                  <a:gd name="connsiteY129" fmla="*/ 844 h 1039"/>
                  <a:gd name="connsiteX130" fmla="*/ 2672 w 4292"/>
                  <a:gd name="connsiteY130" fmla="*/ 882 h 1039"/>
                  <a:gd name="connsiteX131" fmla="*/ 2717 w 4292"/>
                  <a:gd name="connsiteY131" fmla="*/ 913 h 1039"/>
                  <a:gd name="connsiteX132" fmla="*/ 2767 w 4292"/>
                  <a:gd name="connsiteY132" fmla="*/ 936 h 1039"/>
                  <a:gd name="connsiteX133" fmla="*/ 2820 w 4292"/>
                  <a:gd name="connsiteY133" fmla="*/ 948 h 1039"/>
                  <a:gd name="connsiteX134" fmla="*/ 2876 w 4292"/>
                  <a:gd name="connsiteY134" fmla="*/ 952 h 1039"/>
                  <a:gd name="connsiteX135" fmla="*/ 2932 w 4292"/>
                  <a:gd name="connsiteY135" fmla="*/ 946 h 1039"/>
                  <a:gd name="connsiteX136" fmla="*/ 2982 w 4292"/>
                  <a:gd name="connsiteY136" fmla="*/ 931 h 1039"/>
                  <a:gd name="connsiteX137" fmla="*/ 3029 w 4292"/>
                  <a:gd name="connsiteY137" fmla="*/ 911 h 1039"/>
                  <a:gd name="connsiteX138" fmla="*/ 3072 w 4292"/>
                  <a:gd name="connsiteY138" fmla="*/ 880 h 1039"/>
                  <a:gd name="connsiteX139" fmla="*/ 3112 w 4292"/>
                  <a:gd name="connsiteY139" fmla="*/ 844 h 1039"/>
                  <a:gd name="connsiteX0" fmla="*/ 3112 w 4292"/>
                  <a:gd name="connsiteY0" fmla="*/ 844 h 1039"/>
                  <a:gd name="connsiteX1" fmla="*/ 4142 w 4292"/>
                  <a:gd name="connsiteY1" fmla="*/ 131 h 1039"/>
                  <a:gd name="connsiteX2" fmla="*/ 4049 w 4292"/>
                  <a:gd name="connsiteY2" fmla="*/ 94 h 1039"/>
                  <a:gd name="connsiteX3" fmla="*/ 4014 w 4292"/>
                  <a:gd name="connsiteY3" fmla="*/ 85 h 1039"/>
                  <a:gd name="connsiteX4" fmla="*/ 3958 w 4292"/>
                  <a:gd name="connsiteY4" fmla="*/ 83 h 1039"/>
                  <a:gd name="connsiteX5" fmla="*/ 3830 w 4292"/>
                  <a:gd name="connsiteY5" fmla="*/ 102 h 1039"/>
                  <a:gd name="connsiteX6" fmla="*/ 3774 w 4292"/>
                  <a:gd name="connsiteY6" fmla="*/ 123 h 1039"/>
                  <a:gd name="connsiteX7" fmla="*/ 3147 w 4292"/>
                  <a:gd name="connsiteY7" fmla="*/ 931 h 1039"/>
                  <a:gd name="connsiteX8" fmla="*/ 3101 w 4292"/>
                  <a:gd name="connsiteY8" fmla="*/ 967 h 1039"/>
                  <a:gd name="connsiteX9" fmla="*/ 3052 w 4292"/>
                  <a:gd name="connsiteY9" fmla="*/ 996 h 1039"/>
                  <a:gd name="connsiteX10" fmla="*/ 3000 w 4292"/>
                  <a:gd name="connsiteY10" fmla="*/ 1018 h 1039"/>
                  <a:gd name="connsiteX11" fmla="*/ 2942 w 4292"/>
                  <a:gd name="connsiteY11" fmla="*/ 1033 h 1039"/>
                  <a:gd name="connsiteX12" fmla="*/ 2878 w 4292"/>
                  <a:gd name="connsiteY12" fmla="*/ 1039 h 1039"/>
                  <a:gd name="connsiteX13" fmla="*/ 2870 w 4292"/>
                  <a:gd name="connsiteY13" fmla="*/ 1039 h 1039"/>
                  <a:gd name="connsiteX14" fmla="*/ 2808 w 4292"/>
                  <a:gd name="connsiteY14" fmla="*/ 1035 h 1039"/>
                  <a:gd name="connsiteX15" fmla="*/ 2748 w 4292"/>
                  <a:gd name="connsiteY15" fmla="*/ 1021 h 1039"/>
                  <a:gd name="connsiteX16" fmla="*/ 2695 w 4292"/>
                  <a:gd name="connsiteY16" fmla="*/ 998 h 1039"/>
                  <a:gd name="connsiteX17" fmla="*/ 2643 w 4292"/>
                  <a:gd name="connsiteY17" fmla="*/ 969 h 1039"/>
                  <a:gd name="connsiteX18" fmla="*/ 2595 w 4292"/>
                  <a:gd name="connsiteY18" fmla="*/ 931 h 1039"/>
                  <a:gd name="connsiteX19" fmla="*/ 2552 w 4292"/>
                  <a:gd name="connsiteY19" fmla="*/ 890 h 1039"/>
                  <a:gd name="connsiteX20" fmla="*/ 2509 w 4292"/>
                  <a:gd name="connsiteY20" fmla="*/ 842 h 1039"/>
                  <a:gd name="connsiteX21" fmla="*/ 2469 w 4292"/>
                  <a:gd name="connsiteY21" fmla="*/ 792 h 1039"/>
                  <a:gd name="connsiteX22" fmla="*/ 2430 w 4292"/>
                  <a:gd name="connsiteY22" fmla="*/ 736 h 1039"/>
                  <a:gd name="connsiteX23" fmla="*/ 2393 w 4292"/>
                  <a:gd name="connsiteY23" fmla="*/ 680 h 1039"/>
                  <a:gd name="connsiteX24" fmla="*/ 2288 w 4292"/>
                  <a:gd name="connsiteY24" fmla="*/ 506 h 1039"/>
                  <a:gd name="connsiteX25" fmla="*/ 2251 w 4292"/>
                  <a:gd name="connsiteY25" fmla="*/ 448 h 1039"/>
                  <a:gd name="connsiteX26" fmla="*/ 2213 w 4292"/>
                  <a:gd name="connsiteY26" fmla="*/ 392 h 1039"/>
                  <a:gd name="connsiteX27" fmla="*/ 2176 w 4292"/>
                  <a:gd name="connsiteY27" fmla="*/ 338 h 1039"/>
                  <a:gd name="connsiteX28" fmla="*/ 2137 w 4292"/>
                  <a:gd name="connsiteY28" fmla="*/ 289 h 1039"/>
                  <a:gd name="connsiteX29" fmla="*/ 2096 w 4292"/>
                  <a:gd name="connsiteY29" fmla="*/ 243 h 1039"/>
                  <a:gd name="connsiteX30" fmla="*/ 2054 w 4292"/>
                  <a:gd name="connsiteY30" fmla="*/ 201 h 1039"/>
                  <a:gd name="connsiteX31" fmla="*/ 2009 w 4292"/>
                  <a:gd name="connsiteY31" fmla="*/ 164 h 1039"/>
                  <a:gd name="connsiteX32" fmla="*/ 1962 w 4292"/>
                  <a:gd name="connsiteY32" fmla="*/ 135 h 1039"/>
                  <a:gd name="connsiteX33" fmla="*/ 1910 w 4292"/>
                  <a:gd name="connsiteY33" fmla="*/ 112 h 1039"/>
                  <a:gd name="connsiteX34" fmla="*/ 1854 w 4292"/>
                  <a:gd name="connsiteY34" fmla="*/ 96 h 1039"/>
                  <a:gd name="connsiteX35" fmla="*/ 1796 w 4292"/>
                  <a:gd name="connsiteY35" fmla="*/ 87 h 1039"/>
                  <a:gd name="connsiteX36" fmla="*/ 1732 w 4292"/>
                  <a:gd name="connsiteY36" fmla="*/ 89 h 1039"/>
                  <a:gd name="connsiteX37" fmla="*/ 1664 w 4292"/>
                  <a:gd name="connsiteY37" fmla="*/ 100 h 1039"/>
                  <a:gd name="connsiteX38" fmla="*/ 1602 w 4292"/>
                  <a:gd name="connsiteY38" fmla="*/ 118 h 1039"/>
                  <a:gd name="connsiteX39" fmla="*/ 1545 w 4292"/>
                  <a:gd name="connsiteY39" fmla="*/ 143 h 1039"/>
                  <a:gd name="connsiteX40" fmla="*/ 1491 w 4292"/>
                  <a:gd name="connsiteY40" fmla="*/ 177 h 1039"/>
                  <a:gd name="connsiteX41" fmla="*/ 1439 w 4292"/>
                  <a:gd name="connsiteY41" fmla="*/ 214 h 1039"/>
                  <a:gd name="connsiteX42" fmla="*/ 1394 w 4292"/>
                  <a:gd name="connsiteY42" fmla="*/ 257 h 1039"/>
                  <a:gd name="connsiteX43" fmla="*/ 1348 w 4292"/>
                  <a:gd name="connsiteY43" fmla="*/ 303 h 1039"/>
                  <a:gd name="connsiteX44" fmla="*/ 1307 w 4292"/>
                  <a:gd name="connsiteY44" fmla="*/ 355 h 1039"/>
                  <a:gd name="connsiteX45" fmla="*/ 1268 w 4292"/>
                  <a:gd name="connsiteY45" fmla="*/ 409 h 1039"/>
                  <a:gd name="connsiteX46" fmla="*/ 1231 w 4292"/>
                  <a:gd name="connsiteY46" fmla="*/ 463 h 1039"/>
                  <a:gd name="connsiteX47" fmla="*/ 1194 w 4292"/>
                  <a:gd name="connsiteY47" fmla="*/ 519 h 1039"/>
                  <a:gd name="connsiteX48" fmla="*/ 1156 w 4292"/>
                  <a:gd name="connsiteY48" fmla="*/ 577 h 1039"/>
                  <a:gd name="connsiteX49" fmla="*/ 1121 w 4292"/>
                  <a:gd name="connsiteY49" fmla="*/ 633 h 1039"/>
                  <a:gd name="connsiteX50" fmla="*/ 1047 w 4292"/>
                  <a:gd name="connsiteY50" fmla="*/ 745 h 1039"/>
                  <a:gd name="connsiteX51" fmla="*/ 1008 w 4292"/>
                  <a:gd name="connsiteY51" fmla="*/ 797 h 1039"/>
                  <a:gd name="connsiteX52" fmla="*/ 966 w 4292"/>
                  <a:gd name="connsiteY52" fmla="*/ 846 h 1039"/>
                  <a:gd name="connsiteX53" fmla="*/ 923 w 4292"/>
                  <a:gd name="connsiteY53" fmla="*/ 892 h 1039"/>
                  <a:gd name="connsiteX54" fmla="*/ 876 w 4292"/>
                  <a:gd name="connsiteY54" fmla="*/ 933 h 1039"/>
                  <a:gd name="connsiteX55" fmla="*/ 826 w 4292"/>
                  <a:gd name="connsiteY55" fmla="*/ 969 h 1039"/>
                  <a:gd name="connsiteX56" fmla="*/ 772 w 4292"/>
                  <a:gd name="connsiteY56" fmla="*/ 998 h 1039"/>
                  <a:gd name="connsiteX57" fmla="*/ 717 w 4292"/>
                  <a:gd name="connsiteY57" fmla="*/ 1021 h 1039"/>
                  <a:gd name="connsiteX58" fmla="*/ 653 w 4292"/>
                  <a:gd name="connsiteY58" fmla="*/ 1033 h 1039"/>
                  <a:gd name="connsiteX59" fmla="*/ 587 w 4292"/>
                  <a:gd name="connsiteY59" fmla="*/ 1039 h 1039"/>
                  <a:gd name="connsiteX60" fmla="*/ 580 w 4292"/>
                  <a:gd name="connsiteY60" fmla="*/ 1039 h 1039"/>
                  <a:gd name="connsiteX61" fmla="*/ 512 w 4292"/>
                  <a:gd name="connsiteY61" fmla="*/ 1035 h 1039"/>
                  <a:gd name="connsiteX62" fmla="*/ 450 w 4292"/>
                  <a:gd name="connsiteY62" fmla="*/ 1023 h 1039"/>
                  <a:gd name="connsiteX63" fmla="*/ 392 w 4292"/>
                  <a:gd name="connsiteY63" fmla="*/ 1004 h 1039"/>
                  <a:gd name="connsiteX64" fmla="*/ 341 w 4292"/>
                  <a:gd name="connsiteY64" fmla="*/ 979 h 1039"/>
                  <a:gd name="connsiteX65" fmla="*/ 293 w 4292"/>
                  <a:gd name="connsiteY65" fmla="*/ 948 h 1039"/>
                  <a:gd name="connsiteX66" fmla="*/ 248 w 4292"/>
                  <a:gd name="connsiteY66" fmla="*/ 911 h 1039"/>
                  <a:gd name="connsiteX67" fmla="*/ 207 w 4292"/>
                  <a:gd name="connsiteY67" fmla="*/ 869 h 1039"/>
                  <a:gd name="connsiteX68" fmla="*/ 169 w 4292"/>
                  <a:gd name="connsiteY68" fmla="*/ 824 h 1039"/>
                  <a:gd name="connsiteX69" fmla="*/ 132 w 4292"/>
                  <a:gd name="connsiteY69" fmla="*/ 776 h 1039"/>
                  <a:gd name="connsiteX70" fmla="*/ 99 w 4292"/>
                  <a:gd name="connsiteY70" fmla="*/ 724 h 1039"/>
                  <a:gd name="connsiteX71" fmla="*/ 64 w 4292"/>
                  <a:gd name="connsiteY71" fmla="*/ 670 h 1039"/>
                  <a:gd name="connsiteX72" fmla="*/ 33 w 4292"/>
                  <a:gd name="connsiteY72" fmla="*/ 614 h 1039"/>
                  <a:gd name="connsiteX73" fmla="*/ 0 w 4292"/>
                  <a:gd name="connsiteY73" fmla="*/ 556 h 1039"/>
                  <a:gd name="connsiteX74" fmla="*/ 77 w 4292"/>
                  <a:gd name="connsiteY74" fmla="*/ 512 h 1039"/>
                  <a:gd name="connsiteX75" fmla="*/ 110 w 4292"/>
                  <a:gd name="connsiteY75" fmla="*/ 571 h 1039"/>
                  <a:gd name="connsiteX76" fmla="*/ 143 w 4292"/>
                  <a:gd name="connsiteY76" fmla="*/ 627 h 1039"/>
                  <a:gd name="connsiteX77" fmla="*/ 176 w 4292"/>
                  <a:gd name="connsiteY77" fmla="*/ 680 h 1039"/>
                  <a:gd name="connsiteX78" fmla="*/ 209 w 4292"/>
                  <a:gd name="connsiteY78" fmla="*/ 732 h 1039"/>
                  <a:gd name="connsiteX79" fmla="*/ 244 w 4292"/>
                  <a:gd name="connsiteY79" fmla="*/ 778 h 1039"/>
                  <a:gd name="connsiteX80" fmla="*/ 281 w 4292"/>
                  <a:gd name="connsiteY80" fmla="*/ 821 h 1039"/>
                  <a:gd name="connsiteX81" fmla="*/ 322 w 4292"/>
                  <a:gd name="connsiteY81" fmla="*/ 859 h 1039"/>
                  <a:gd name="connsiteX82" fmla="*/ 366 w 4292"/>
                  <a:gd name="connsiteY82" fmla="*/ 890 h 1039"/>
                  <a:gd name="connsiteX83" fmla="*/ 413 w 4292"/>
                  <a:gd name="connsiteY83" fmla="*/ 917 h 1039"/>
                  <a:gd name="connsiteX84" fmla="*/ 463 w 4292"/>
                  <a:gd name="connsiteY84" fmla="*/ 936 h 1039"/>
                  <a:gd name="connsiteX85" fmla="*/ 518 w 4292"/>
                  <a:gd name="connsiteY85" fmla="*/ 948 h 1039"/>
                  <a:gd name="connsiteX86" fmla="*/ 580 w 4292"/>
                  <a:gd name="connsiteY86" fmla="*/ 952 h 1039"/>
                  <a:gd name="connsiteX87" fmla="*/ 587 w 4292"/>
                  <a:gd name="connsiteY87" fmla="*/ 952 h 1039"/>
                  <a:gd name="connsiteX88" fmla="*/ 646 w 4292"/>
                  <a:gd name="connsiteY88" fmla="*/ 946 h 1039"/>
                  <a:gd name="connsiteX89" fmla="*/ 702 w 4292"/>
                  <a:gd name="connsiteY89" fmla="*/ 931 h 1039"/>
                  <a:gd name="connsiteX90" fmla="*/ 756 w 4292"/>
                  <a:gd name="connsiteY90" fmla="*/ 909 h 1039"/>
                  <a:gd name="connsiteX91" fmla="*/ 803 w 4292"/>
                  <a:gd name="connsiteY91" fmla="*/ 880 h 1039"/>
                  <a:gd name="connsiteX92" fmla="*/ 849 w 4292"/>
                  <a:gd name="connsiteY92" fmla="*/ 842 h 1039"/>
                  <a:gd name="connsiteX93" fmla="*/ 892 w 4292"/>
                  <a:gd name="connsiteY93" fmla="*/ 799 h 1039"/>
                  <a:gd name="connsiteX94" fmla="*/ 931 w 4292"/>
                  <a:gd name="connsiteY94" fmla="*/ 751 h 1039"/>
                  <a:gd name="connsiteX95" fmla="*/ 971 w 4292"/>
                  <a:gd name="connsiteY95" fmla="*/ 699 h 1039"/>
                  <a:gd name="connsiteX96" fmla="*/ 1010 w 4292"/>
                  <a:gd name="connsiteY96" fmla="*/ 645 h 1039"/>
                  <a:gd name="connsiteX97" fmla="*/ 1121 w 4292"/>
                  <a:gd name="connsiteY97" fmla="*/ 471 h 1039"/>
                  <a:gd name="connsiteX98" fmla="*/ 1161 w 4292"/>
                  <a:gd name="connsiteY98" fmla="*/ 411 h 1039"/>
                  <a:gd name="connsiteX99" fmla="*/ 1202 w 4292"/>
                  <a:gd name="connsiteY99" fmla="*/ 353 h 1039"/>
                  <a:gd name="connsiteX100" fmla="*/ 1245 w 4292"/>
                  <a:gd name="connsiteY100" fmla="*/ 295 h 1039"/>
                  <a:gd name="connsiteX101" fmla="*/ 1291 w 4292"/>
                  <a:gd name="connsiteY101" fmla="*/ 241 h 1039"/>
                  <a:gd name="connsiteX102" fmla="*/ 1338 w 4292"/>
                  <a:gd name="connsiteY102" fmla="*/ 189 h 1039"/>
                  <a:gd name="connsiteX103" fmla="*/ 1392 w 4292"/>
                  <a:gd name="connsiteY103" fmla="*/ 141 h 1039"/>
                  <a:gd name="connsiteX104" fmla="*/ 1447 w 4292"/>
                  <a:gd name="connsiteY104" fmla="*/ 100 h 1039"/>
                  <a:gd name="connsiteX105" fmla="*/ 1509 w 4292"/>
                  <a:gd name="connsiteY105" fmla="*/ 65 h 1039"/>
                  <a:gd name="connsiteX106" fmla="*/ 1575 w 4292"/>
                  <a:gd name="connsiteY106" fmla="*/ 36 h 1039"/>
                  <a:gd name="connsiteX107" fmla="*/ 1648 w 4292"/>
                  <a:gd name="connsiteY107" fmla="*/ 15 h 1039"/>
                  <a:gd name="connsiteX108" fmla="*/ 1726 w 4292"/>
                  <a:gd name="connsiteY108" fmla="*/ 2 h 1039"/>
                  <a:gd name="connsiteX109" fmla="*/ 1796 w 4292"/>
                  <a:gd name="connsiteY109" fmla="*/ 0 h 1039"/>
                  <a:gd name="connsiteX110" fmla="*/ 1862 w 4292"/>
                  <a:gd name="connsiteY110" fmla="*/ 9 h 1039"/>
                  <a:gd name="connsiteX111" fmla="*/ 1922 w 4292"/>
                  <a:gd name="connsiteY111" fmla="*/ 23 h 1039"/>
                  <a:gd name="connsiteX112" fmla="*/ 1980 w 4292"/>
                  <a:gd name="connsiteY112" fmla="*/ 46 h 1039"/>
                  <a:gd name="connsiteX113" fmla="*/ 2034 w 4292"/>
                  <a:gd name="connsiteY113" fmla="*/ 77 h 1039"/>
                  <a:gd name="connsiteX114" fmla="*/ 2083 w 4292"/>
                  <a:gd name="connsiteY114" fmla="*/ 112 h 1039"/>
                  <a:gd name="connsiteX115" fmla="*/ 2129 w 4292"/>
                  <a:gd name="connsiteY115" fmla="*/ 154 h 1039"/>
                  <a:gd name="connsiteX116" fmla="*/ 2174 w 4292"/>
                  <a:gd name="connsiteY116" fmla="*/ 199 h 1039"/>
                  <a:gd name="connsiteX117" fmla="*/ 2216 w 4292"/>
                  <a:gd name="connsiteY117" fmla="*/ 247 h 1039"/>
                  <a:gd name="connsiteX118" fmla="*/ 2255 w 4292"/>
                  <a:gd name="connsiteY118" fmla="*/ 299 h 1039"/>
                  <a:gd name="connsiteX119" fmla="*/ 2292 w 4292"/>
                  <a:gd name="connsiteY119" fmla="*/ 353 h 1039"/>
                  <a:gd name="connsiteX120" fmla="*/ 2327 w 4292"/>
                  <a:gd name="connsiteY120" fmla="*/ 409 h 1039"/>
                  <a:gd name="connsiteX121" fmla="*/ 2362 w 4292"/>
                  <a:gd name="connsiteY121" fmla="*/ 463 h 1039"/>
                  <a:gd name="connsiteX122" fmla="*/ 2395 w 4292"/>
                  <a:gd name="connsiteY122" fmla="*/ 519 h 1039"/>
                  <a:gd name="connsiteX123" fmla="*/ 2432 w 4292"/>
                  <a:gd name="connsiteY123" fmla="*/ 581 h 1039"/>
                  <a:gd name="connsiteX124" fmla="*/ 2469 w 4292"/>
                  <a:gd name="connsiteY124" fmla="*/ 639 h 1039"/>
                  <a:gd name="connsiteX125" fmla="*/ 2509 w 4292"/>
                  <a:gd name="connsiteY125" fmla="*/ 697 h 1039"/>
                  <a:gd name="connsiteX126" fmla="*/ 2546 w 4292"/>
                  <a:gd name="connsiteY126" fmla="*/ 751 h 1039"/>
                  <a:gd name="connsiteX127" fmla="*/ 2587 w 4292"/>
                  <a:gd name="connsiteY127" fmla="*/ 801 h 1039"/>
                  <a:gd name="connsiteX128" fmla="*/ 2628 w 4292"/>
                  <a:gd name="connsiteY128" fmla="*/ 844 h 1039"/>
                  <a:gd name="connsiteX129" fmla="*/ 2672 w 4292"/>
                  <a:gd name="connsiteY129" fmla="*/ 882 h 1039"/>
                  <a:gd name="connsiteX130" fmla="*/ 2717 w 4292"/>
                  <a:gd name="connsiteY130" fmla="*/ 913 h 1039"/>
                  <a:gd name="connsiteX131" fmla="*/ 2767 w 4292"/>
                  <a:gd name="connsiteY131" fmla="*/ 936 h 1039"/>
                  <a:gd name="connsiteX132" fmla="*/ 2820 w 4292"/>
                  <a:gd name="connsiteY132" fmla="*/ 948 h 1039"/>
                  <a:gd name="connsiteX133" fmla="*/ 2876 w 4292"/>
                  <a:gd name="connsiteY133" fmla="*/ 952 h 1039"/>
                  <a:gd name="connsiteX134" fmla="*/ 2932 w 4292"/>
                  <a:gd name="connsiteY134" fmla="*/ 946 h 1039"/>
                  <a:gd name="connsiteX135" fmla="*/ 2982 w 4292"/>
                  <a:gd name="connsiteY135" fmla="*/ 931 h 1039"/>
                  <a:gd name="connsiteX136" fmla="*/ 3029 w 4292"/>
                  <a:gd name="connsiteY136" fmla="*/ 911 h 1039"/>
                  <a:gd name="connsiteX137" fmla="*/ 3072 w 4292"/>
                  <a:gd name="connsiteY137" fmla="*/ 880 h 1039"/>
                  <a:gd name="connsiteX138" fmla="*/ 3112 w 4292"/>
                  <a:gd name="connsiteY138" fmla="*/ 844 h 1039"/>
                  <a:gd name="connsiteX0" fmla="*/ 3112 w 4292"/>
                  <a:gd name="connsiteY0" fmla="*/ 844 h 1039"/>
                  <a:gd name="connsiteX1" fmla="*/ 4142 w 4292"/>
                  <a:gd name="connsiteY1" fmla="*/ 131 h 1039"/>
                  <a:gd name="connsiteX2" fmla="*/ 4049 w 4292"/>
                  <a:gd name="connsiteY2" fmla="*/ 94 h 1039"/>
                  <a:gd name="connsiteX3" fmla="*/ 4014 w 4292"/>
                  <a:gd name="connsiteY3" fmla="*/ 85 h 1039"/>
                  <a:gd name="connsiteX4" fmla="*/ 3958 w 4292"/>
                  <a:gd name="connsiteY4" fmla="*/ 83 h 1039"/>
                  <a:gd name="connsiteX5" fmla="*/ 3830 w 4292"/>
                  <a:gd name="connsiteY5" fmla="*/ 102 h 1039"/>
                  <a:gd name="connsiteX6" fmla="*/ 3147 w 4292"/>
                  <a:gd name="connsiteY6" fmla="*/ 931 h 1039"/>
                  <a:gd name="connsiteX7" fmla="*/ 3101 w 4292"/>
                  <a:gd name="connsiteY7" fmla="*/ 967 h 1039"/>
                  <a:gd name="connsiteX8" fmla="*/ 3052 w 4292"/>
                  <a:gd name="connsiteY8" fmla="*/ 996 h 1039"/>
                  <a:gd name="connsiteX9" fmla="*/ 3000 w 4292"/>
                  <a:gd name="connsiteY9" fmla="*/ 1018 h 1039"/>
                  <a:gd name="connsiteX10" fmla="*/ 2942 w 4292"/>
                  <a:gd name="connsiteY10" fmla="*/ 1033 h 1039"/>
                  <a:gd name="connsiteX11" fmla="*/ 2878 w 4292"/>
                  <a:gd name="connsiteY11" fmla="*/ 1039 h 1039"/>
                  <a:gd name="connsiteX12" fmla="*/ 2870 w 4292"/>
                  <a:gd name="connsiteY12" fmla="*/ 1039 h 1039"/>
                  <a:gd name="connsiteX13" fmla="*/ 2808 w 4292"/>
                  <a:gd name="connsiteY13" fmla="*/ 1035 h 1039"/>
                  <a:gd name="connsiteX14" fmla="*/ 2748 w 4292"/>
                  <a:gd name="connsiteY14" fmla="*/ 1021 h 1039"/>
                  <a:gd name="connsiteX15" fmla="*/ 2695 w 4292"/>
                  <a:gd name="connsiteY15" fmla="*/ 998 h 1039"/>
                  <a:gd name="connsiteX16" fmla="*/ 2643 w 4292"/>
                  <a:gd name="connsiteY16" fmla="*/ 969 h 1039"/>
                  <a:gd name="connsiteX17" fmla="*/ 2595 w 4292"/>
                  <a:gd name="connsiteY17" fmla="*/ 931 h 1039"/>
                  <a:gd name="connsiteX18" fmla="*/ 2552 w 4292"/>
                  <a:gd name="connsiteY18" fmla="*/ 890 h 1039"/>
                  <a:gd name="connsiteX19" fmla="*/ 2509 w 4292"/>
                  <a:gd name="connsiteY19" fmla="*/ 842 h 1039"/>
                  <a:gd name="connsiteX20" fmla="*/ 2469 w 4292"/>
                  <a:gd name="connsiteY20" fmla="*/ 792 h 1039"/>
                  <a:gd name="connsiteX21" fmla="*/ 2430 w 4292"/>
                  <a:gd name="connsiteY21" fmla="*/ 736 h 1039"/>
                  <a:gd name="connsiteX22" fmla="*/ 2393 w 4292"/>
                  <a:gd name="connsiteY22" fmla="*/ 680 h 1039"/>
                  <a:gd name="connsiteX23" fmla="*/ 2288 w 4292"/>
                  <a:gd name="connsiteY23" fmla="*/ 506 h 1039"/>
                  <a:gd name="connsiteX24" fmla="*/ 2251 w 4292"/>
                  <a:gd name="connsiteY24" fmla="*/ 448 h 1039"/>
                  <a:gd name="connsiteX25" fmla="*/ 2213 w 4292"/>
                  <a:gd name="connsiteY25" fmla="*/ 392 h 1039"/>
                  <a:gd name="connsiteX26" fmla="*/ 2176 w 4292"/>
                  <a:gd name="connsiteY26" fmla="*/ 338 h 1039"/>
                  <a:gd name="connsiteX27" fmla="*/ 2137 w 4292"/>
                  <a:gd name="connsiteY27" fmla="*/ 289 h 1039"/>
                  <a:gd name="connsiteX28" fmla="*/ 2096 w 4292"/>
                  <a:gd name="connsiteY28" fmla="*/ 243 h 1039"/>
                  <a:gd name="connsiteX29" fmla="*/ 2054 w 4292"/>
                  <a:gd name="connsiteY29" fmla="*/ 201 h 1039"/>
                  <a:gd name="connsiteX30" fmla="*/ 2009 w 4292"/>
                  <a:gd name="connsiteY30" fmla="*/ 164 h 1039"/>
                  <a:gd name="connsiteX31" fmla="*/ 1962 w 4292"/>
                  <a:gd name="connsiteY31" fmla="*/ 135 h 1039"/>
                  <a:gd name="connsiteX32" fmla="*/ 1910 w 4292"/>
                  <a:gd name="connsiteY32" fmla="*/ 112 h 1039"/>
                  <a:gd name="connsiteX33" fmla="*/ 1854 w 4292"/>
                  <a:gd name="connsiteY33" fmla="*/ 96 h 1039"/>
                  <a:gd name="connsiteX34" fmla="*/ 1796 w 4292"/>
                  <a:gd name="connsiteY34" fmla="*/ 87 h 1039"/>
                  <a:gd name="connsiteX35" fmla="*/ 1732 w 4292"/>
                  <a:gd name="connsiteY35" fmla="*/ 89 h 1039"/>
                  <a:gd name="connsiteX36" fmla="*/ 1664 w 4292"/>
                  <a:gd name="connsiteY36" fmla="*/ 100 h 1039"/>
                  <a:gd name="connsiteX37" fmla="*/ 1602 w 4292"/>
                  <a:gd name="connsiteY37" fmla="*/ 118 h 1039"/>
                  <a:gd name="connsiteX38" fmla="*/ 1545 w 4292"/>
                  <a:gd name="connsiteY38" fmla="*/ 143 h 1039"/>
                  <a:gd name="connsiteX39" fmla="*/ 1491 w 4292"/>
                  <a:gd name="connsiteY39" fmla="*/ 177 h 1039"/>
                  <a:gd name="connsiteX40" fmla="*/ 1439 w 4292"/>
                  <a:gd name="connsiteY40" fmla="*/ 214 h 1039"/>
                  <a:gd name="connsiteX41" fmla="*/ 1394 w 4292"/>
                  <a:gd name="connsiteY41" fmla="*/ 257 h 1039"/>
                  <a:gd name="connsiteX42" fmla="*/ 1348 w 4292"/>
                  <a:gd name="connsiteY42" fmla="*/ 303 h 1039"/>
                  <a:gd name="connsiteX43" fmla="*/ 1307 w 4292"/>
                  <a:gd name="connsiteY43" fmla="*/ 355 h 1039"/>
                  <a:gd name="connsiteX44" fmla="*/ 1268 w 4292"/>
                  <a:gd name="connsiteY44" fmla="*/ 409 h 1039"/>
                  <a:gd name="connsiteX45" fmla="*/ 1231 w 4292"/>
                  <a:gd name="connsiteY45" fmla="*/ 463 h 1039"/>
                  <a:gd name="connsiteX46" fmla="*/ 1194 w 4292"/>
                  <a:gd name="connsiteY46" fmla="*/ 519 h 1039"/>
                  <a:gd name="connsiteX47" fmla="*/ 1156 w 4292"/>
                  <a:gd name="connsiteY47" fmla="*/ 577 h 1039"/>
                  <a:gd name="connsiteX48" fmla="*/ 1121 w 4292"/>
                  <a:gd name="connsiteY48" fmla="*/ 633 h 1039"/>
                  <a:gd name="connsiteX49" fmla="*/ 1047 w 4292"/>
                  <a:gd name="connsiteY49" fmla="*/ 745 h 1039"/>
                  <a:gd name="connsiteX50" fmla="*/ 1008 w 4292"/>
                  <a:gd name="connsiteY50" fmla="*/ 797 h 1039"/>
                  <a:gd name="connsiteX51" fmla="*/ 966 w 4292"/>
                  <a:gd name="connsiteY51" fmla="*/ 846 h 1039"/>
                  <a:gd name="connsiteX52" fmla="*/ 923 w 4292"/>
                  <a:gd name="connsiteY52" fmla="*/ 892 h 1039"/>
                  <a:gd name="connsiteX53" fmla="*/ 876 w 4292"/>
                  <a:gd name="connsiteY53" fmla="*/ 933 h 1039"/>
                  <a:gd name="connsiteX54" fmla="*/ 826 w 4292"/>
                  <a:gd name="connsiteY54" fmla="*/ 969 h 1039"/>
                  <a:gd name="connsiteX55" fmla="*/ 772 w 4292"/>
                  <a:gd name="connsiteY55" fmla="*/ 998 h 1039"/>
                  <a:gd name="connsiteX56" fmla="*/ 717 w 4292"/>
                  <a:gd name="connsiteY56" fmla="*/ 1021 h 1039"/>
                  <a:gd name="connsiteX57" fmla="*/ 653 w 4292"/>
                  <a:gd name="connsiteY57" fmla="*/ 1033 h 1039"/>
                  <a:gd name="connsiteX58" fmla="*/ 587 w 4292"/>
                  <a:gd name="connsiteY58" fmla="*/ 1039 h 1039"/>
                  <a:gd name="connsiteX59" fmla="*/ 580 w 4292"/>
                  <a:gd name="connsiteY59" fmla="*/ 1039 h 1039"/>
                  <a:gd name="connsiteX60" fmla="*/ 512 w 4292"/>
                  <a:gd name="connsiteY60" fmla="*/ 1035 h 1039"/>
                  <a:gd name="connsiteX61" fmla="*/ 450 w 4292"/>
                  <a:gd name="connsiteY61" fmla="*/ 1023 h 1039"/>
                  <a:gd name="connsiteX62" fmla="*/ 392 w 4292"/>
                  <a:gd name="connsiteY62" fmla="*/ 1004 h 1039"/>
                  <a:gd name="connsiteX63" fmla="*/ 341 w 4292"/>
                  <a:gd name="connsiteY63" fmla="*/ 979 h 1039"/>
                  <a:gd name="connsiteX64" fmla="*/ 293 w 4292"/>
                  <a:gd name="connsiteY64" fmla="*/ 948 h 1039"/>
                  <a:gd name="connsiteX65" fmla="*/ 248 w 4292"/>
                  <a:gd name="connsiteY65" fmla="*/ 911 h 1039"/>
                  <a:gd name="connsiteX66" fmla="*/ 207 w 4292"/>
                  <a:gd name="connsiteY66" fmla="*/ 869 h 1039"/>
                  <a:gd name="connsiteX67" fmla="*/ 169 w 4292"/>
                  <a:gd name="connsiteY67" fmla="*/ 824 h 1039"/>
                  <a:gd name="connsiteX68" fmla="*/ 132 w 4292"/>
                  <a:gd name="connsiteY68" fmla="*/ 776 h 1039"/>
                  <a:gd name="connsiteX69" fmla="*/ 99 w 4292"/>
                  <a:gd name="connsiteY69" fmla="*/ 724 h 1039"/>
                  <a:gd name="connsiteX70" fmla="*/ 64 w 4292"/>
                  <a:gd name="connsiteY70" fmla="*/ 670 h 1039"/>
                  <a:gd name="connsiteX71" fmla="*/ 33 w 4292"/>
                  <a:gd name="connsiteY71" fmla="*/ 614 h 1039"/>
                  <a:gd name="connsiteX72" fmla="*/ 0 w 4292"/>
                  <a:gd name="connsiteY72" fmla="*/ 556 h 1039"/>
                  <a:gd name="connsiteX73" fmla="*/ 77 w 4292"/>
                  <a:gd name="connsiteY73" fmla="*/ 512 h 1039"/>
                  <a:gd name="connsiteX74" fmla="*/ 110 w 4292"/>
                  <a:gd name="connsiteY74" fmla="*/ 571 h 1039"/>
                  <a:gd name="connsiteX75" fmla="*/ 143 w 4292"/>
                  <a:gd name="connsiteY75" fmla="*/ 627 h 1039"/>
                  <a:gd name="connsiteX76" fmla="*/ 176 w 4292"/>
                  <a:gd name="connsiteY76" fmla="*/ 680 h 1039"/>
                  <a:gd name="connsiteX77" fmla="*/ 209 w 4292"/>
                  <a:gd name="connsiteY77" fmla="*/ 732 h 1039"/>
                  <a:gd name="connsiteX78" fmla="*/ 244 w 4292"/>
                  <a:gd name="connsiteY78" fmla="*/ 778 h 1039"/>
                  <a:gd name="connsiteX79" fmla="*/ 281 w 4292"/>
                  <a:gd name="connsiteY79" fmla="*/ 821 h 1039"/>
                  <a:gd name="connsiteX80" fmla="*/ 322 w 4292"/>
                  <a:gd name="connsiteY80" fmla="*/ 859 h 1039"/>
                  <a:gd name="connsiteX81" fmla="*/ 366 w 4292"/>
                  <a:gd name="connsiteY81" fmla="*/ 890 h 1039"/>
                  <a:gd name="connsiteX82" fmla="*/ 413 w 4292"/>
                  <a:gd name="connsiteY82" fmla="*/ 917 h 1039"/>
                  <a:gd name="connsiteX83" fmla="*/ 463 w 4292"/>
                  <a:gd name="connsiteY83" fmla="*/ 936 h 1039"/>
                  <a:gd name="connsiteX84" fmla="*/ 518 w 4292"/>
                  <a:gd name="connsiteY84" fmla="*/ 948 h 1039"/>
                  <a:gd name="connsiteX85" fmla="*/ 580 w 4292"/>
                  <a:gd name="connsiteY85" fmla="*/ 952 h 1039"/>
                  <a:gd name="connsiteX86" fmla="*/ 587 w 4292"/>
                  <a:gd name="connsiteY86" fmla="*/ 952 h 1039"/>
                  <a:gd name="connsiteX87" fmla="*/ 646 w 4292"/>
                  <a:gd name="connsiteY87" fmla="*/ 946 h 1039"/>
                  <a:gd name="connsiteX88" fmla="*/ 702 w 4292"/>
                  <a:gd name="connsiteY88" fmla="*/ 931 h 1039"/>
                  <a:gd name="connsiteX89" fmla="*/ 756 w 4292"/>
                  <a:gd name="connsiteY89" fmla="*/ 909 h 1039"/>
                  <a:gd name="connsiteX90" fmla="*/ 803 w 4292"/>
                  <a:gd name="connsiteY90" fmla="*/ 880 h 1039"/>
                  <a:gd name="connsiteX91" fmla="*/ 849 w 4292"/>
                  <a:gd name="connsiteY91" fmla="*/ 842 h 1039"/>
                  <a:gd name="connsiteX92" fmla="*/ 892 w 4292"/>
                  <a:gd name="connsiteY92" fmla="*/ 799 h 1039"/>
                  <a:gd name="connsiteX93" fmla="*/ 931 w 4292"/>
                  <a:gd name="connsiteY93" fmla="*/ 751 h 1039"/>
                  <a:gd name="connsiteX94" fmla="*/ 971 w 4292"/>
                  <a:gd name="connsiteY94" fmla="*/ 699 h 1039"/>
                  <a:gd name="connsiteX95" fmla="*/ 1010 w 4292"/>
                  <a:gd name="connsiteY95" fmla="*/ 645 h 1039"/>
                  <a:gd name="connsiteX96" fmla="*/ 1121 w 4292"/>
                  <a:gd name="connsiteY96" fmla="*/ 471 h 1039"/>
                  <a:gd name="connsiteX97" fmla="*/ 1161 w 4292"/>
                  <a:gd name="connsiteY97" fmla="*/ 411 h 1039"/>
                  <a:gd name="connsiteX98" fmla="*/ 1202 w 4292"/>
                  <a:gd name="connsiteY98" fmla="*/ 353 h 1039"/>
                  <a:gd name="connsiteX99" fmla="*/ 1245 w 4292"/>
                  <a:gd name="connsiteY99" fmla="*/ 295 h 1039"/>
                  <a:gd name="connsiteX100" fmla="*/ 1291 w 4292"/>
                  <a:gd name="connsiteY100" fmla="*/ 241 h 1039"/>
                  <a:gd name="connsiteX101" fmla="*/ 1338 w 4292"/>
                  <a:gd name="connsiteY101" fmla="*/ 189 h 1039"/>
                  <a:gd name="connsiteX102" fmla="*/ 1392 w 4292"/>
                  <a:gd name="connsiteY102" fmla="*/ 141 h 1039"/>
                  <a:gd name="connsiteX103" fmla="*/ 1447 w 4292"/>
                  <a:gd name="connsiteY103" fmla="*/ 100 h 1039"/>
                  <a:gd name="connsiteX104" fmla="*/ 1509 w 4292"/>
                  <a:gd name="connsiteY104" fmla="*/ 65 h 1039"/>
                  <a:gd name="connsiteX105" fmla="*/ 1575 w 4292"/>
                  <a:gd name="connsiteY105" fmla="*/ 36 h 1039"/>
                  <a:gd name="connsiteX106" fmla="*/ 1648 w 4292"/>
                  <a:gd name="connsiteY106" fmla="*/ 15 h 1039"/>
                  <a:gd name="connsiteX107" fmla="*/ 1726 w 4292"/>
                  <a:gd name="connsiteY107" fmla="*/ 2 h 1039"/>
                  <a:gd name="connsiteX108" fmla="*/ 1796 w 4292"/>
                  <a:gd name="connsiteY108" fmla="*/ 0 h 1039"/>
                  <a:gd name="connsiteX109" fmla="*/ 1862 w 4292"/>
                  <a:gd name="connsiteY109" fmla="*/ 9 h 1039"/>
                  <a:gd name="connsiteX110" fmla="*/ 1922 w 4292"/>
                  <a:gd name="connsiteY110" fmla="*/ 23 h 1039"/>
                  <a:gd name="connsiteX111" fmla="*/ 1980 w 4292"/>
                  <a:gd name="connsiteY111" fmla="*/ 46 h 1039"/>
                  <a:gd name="connsiteX112" fmla="*/ 2034 w 4292"/>
                  <a:gd name="connsiteY112" fmla="*/ 77 h 1039"/>
                  <a:gd name="connsiteX113" fmla="*/ 2083 w 4292"/>
                  <a:gd name="connsiteY113" fmla="*/ 112 h 1039"/>
                  <a:gd name="connsiteX114" fmla="*/ 2129 w 4292"/>
                  <a:gd name="connsiteY114" fmla="*/ 154 h 1039"/>
                  <a:gd name="connsiteX115" fmla="*/ 2174 w 4292"/>
                  <a:gd name="connsiteY115" fmla="*/ 199 h 1039"/>
                  <a:gd name="connsiteX116" fmla="*/ 2216 w 4292"/>
                  <a:gd name="connsiteY116" fmla="*/ 247 h 1039"/>
                  <a:gd name="connsiteX117" fmla="*/ 2255 w 4292"/>
                  <a:gd name="connsiteY117" fmla="*/ 299 h 1039"/>
                  <a:gd name="connsiteX118" fmla="*/ 2292 w 4292"/>
                  <a:gd name="connsiteY118" fmla="*/ 353 h 1039"/>
                  <a:gd name="connsiteX119" fmla="*/ 2327 w 4292"/>
                  <a:gd name="connsiteY119" fmla="*/ 409 h 1039"/>
                  <a:gd name="connsiteX120" fmla="*/ 2362 w 4292"/>
                  <a:gd name="connsiteY120" fmla="*/ 463 h 1039"/>
                  <a:gd name="connsiteX121" fmla="*/ 2395 w 4292"/>
                  <a:gd name="connsiteY121" fmla="*/ 519 h 1039"/>
                  <a:gd name="connsiteX122" fmla="*/ 2432 w 4292"/>
                  <a:gd name="connsiteY122" fmla="*/ 581 h 1039"/>
                  <a:gd name="connsiteX123" fmla="*/ 2469 w 4292"/>
                  <a:gd name="connsiteY123" fmla="*/ 639 h 1039"/>
                  <a:gd name="connsiteX124" fmla="*/ 2509 w 4292"/>
                  <a:gd name="connsiteY124" fmla="*/ 697 h 1039"/>
                  <a:gd name="connsiteX125" fmla="*/ 2546 w 4292"/>
                  <a:gd name="connsiteY125" fmla="*/ 751 h 1039"/>
                  <a:gd name="connsiteX126" fmla="*/ 2587 w 4292"/>
                  <a:gd name="connsiteY126" fmla="*/ 801 h 1039"/>
                  <a:gd name="connsiteX127" fmla="*/ 2628 w 4292"/>
                  <a:gd name="connsiteY127" fmla="*/ 844 h 1039"/>
                  <a:gd name="connsiteX128" fmla="*/ 2672 w 4292"/>
                  <a:gd name="connsiteY128" fmla="*/ 882 h 1039"/>
                  <a:gd name="connsiteX129" fmla="*/ 2717 w 4292"/>
                  <a:gd name="connsiteY129" fmla="*/ 913 h 1039"/>
                  <a:gd name="connsiteX130" fmla="*/ 2767 w 4292"/>
                  <a:gd name="connsiteY130" fmla="*/ 936 h 1039"/>
                  <a:gd name="connsiteX131" fmla="*/ 2820 w 4292"/>
                  <a:gd name="connsiteY131" fmla="*/ 948 h 1039"/>
                  <a:gd name="connsiteX132" fmla="*/ 2876 w 4292"/>
                  <a:gd name="connsiteY132" fmla="*/ 952 h 1039"/>
                  <a:gd name="connsiteX133" fmla="*/ 2932 w 4292"/>
                  <a:gd name="connsiteY133" fmla="*/ 946 h 1039"/>
                  <a:gd name="connsiteX134" fmla="*/ 2982 w 4292"/>
                  <a:gd name="connsiteY134" fmla="*/ 931 h 1039"/>
                  <a:gd name="connsiteX135" fmla="*/ 3029 w 4292"/>
                  <a:gd name="connsiteY135" fmla="*/ 911 h 1039"/>
                  <a:gd name="connsiteX136" fmla="*/ 3072 w 4292"/>
                  <a:gd name="connsiteY136" fmla="*/ 880 h 1039"/>
                  <a:gd name="connsiteX137" fmla="*/ 3112 w 4292"/>
                  <a:gd name="connsiteY137" fmla="*/ 844 h 1039"/>
                  <a:gd name="connsiteX0" fmla="*/ 3112 w 4292"/>
                  <a:gd name="connsiteY0" fmla="*/ 883 h 1078"/>
                  <a:gd name="connsiteX1" fmla="*/ 4142 w 4292"/>
                  <a:gd name="connsiteY1" fmla="*/ 170 h 1078"/>
                  <a:gd name="connsiteX2" fmla="*/ 4049 w 4292"/>
                  <a:gd name="connsiteY2" fmla="*/ 133 h 1078"/>
                  <a:gd name="connsiteX3" fmla="*/ 4014 w 4292"/>
                  <a:gd name="connsiteY3" fmla="*/ 124 h 1078"/>
                  <a:gd name="connsiteX4" fmla="*/ 3830 w 4292"/>
                  <a:gd name="connsiteY4" fmla="*/ 141 h 1078"/>
                  <a:gd name="connsiteX5" fmla="*/ 3147 w 4292"/>
                  <a:gd name="connsiteY5" fmla="*/ 970 h 1078"/>
                  <a:gd name="connsiteX6" fmla="*/ 3101 w 4292"/>
                  <a:gd name="connsiteY6" fmla="*/ 1006 h 1078"/>
                  <a:gd name="connsiteX7" fmla="*/ 3052 w 4292"/>
                  <a:gd name="connsiteY7" fmla="*/ 1035 h 1078"/>
                  <a:gd name="connsiteX8" fmla="*/ 3000 w 4292"/>
                  <a:gd name="connsiteY8" fmla="*/ 1057 h 1078"/>
                  <a:gd name="connsiteX9" fmla="*/ 2942 w 4292"/>
                  <a:gd name="connsiteY9" fmla="*/ 1072 h 1078"/>
                  <a:gd name="connsiteX10" fmla="*/ 2878 w 4292"/>
                  <a:gd name="connsiteY10" fmla="*/ 1078 h 1078"/>
                  <a:gd name="connsiteX11" fmla="*/ 2870 w 4292"/>
                  <a:gd name="connsiteY11" fmla="*/ 1078 h 1078"/>
                  <a:gd name="connsiteX12" fmla="*/ 2808 w 4292"/>
                  <a:gd name="connsiteY12" fmla="*/ 1074 h 1078"/>
                  <a:gd name="connsiteX13" fmla="*/ 2748 w 4292"/>
                  <a:gd name="connsiteY13" fmla="*/ 1060 h 1078"/>
                  <a:gd name="connsiteX14" fmla="*/ 2695 w 4292"/>
                  <a:gd name="connsiteY14" fmla="*/ 1037 h 1078"/>
                  <a:gd name="connsiteX15" fmla="*/ 2643 w 4292"/>
                  <a:gd name="connsiteY15" fmla="*/ 1008 h 1078"/>
                  <a:gd name="connsiteX16" fmla="*/ 2595 w 4292"/>
                  <a:gd name="connsiteY16" fmla="*/ 970 h 1078"/>
                  <a:gd name="connsiteX17" fmla="*/ 2552 w 4292"/>
                  <a:gd name="connsiteY17" fmla="*/ 929 h 1078"/>
                  <a:gd name="connsiteX18" fmla="*/ 2509 w 4292"/>
                  <a:gd name="connsiteY18" fmla="*/ 881 h 1078"/>
                  <a:gd name="connsiteX19" fmla="*/ 2469 w 4292"/>
                  <a:gd name="connsiteY19" fmla="*/ 831 h 1078"/>
                  <a:gd name="connsiteX20" fmla="*/ 2430 w 4292"/>
                  <a:gd name="connsiteY20" fmla="*/ 775 h 1078"/>
                  <a:gd name="connsiteX21" fmla="*/ 2393 w 4292"/>
                  <a:gd name="connsiteY21" fmla="*/ 719 h 1078"/>
                  <a:gd name="connsiteX22" fmla="*/ 2288 w 4292"/>
                  <a:gd name="connsiteY22" fmla="*/ 545 h 1078"/>
                  <a:gd name="connsiteX23" fmla="*/ 2251 w 4292"/>
                  <a:gd name="connsiteY23" fmla="*/ 487 h 1078"/>
                  <a:gd name="connsiteX24" fmla="*/ 2213 w 4292"/>
                  <a:gd name="connsiteY24" fmla="*/ 431 h 1078"/>
                  <a:gd name="connsiteX25" fmla="*/ 2176 w 4292"/>
                  <a:gd name="connsiteY25" fmla="*/ 377 h 1078"/>
                  <a:gd name="connsiteX26" fmla="*/ 2137 w 4292"/>
                  <a:gd name="connsiteY26" fmla="*/ 328 h 1078"/>
                  <a:gd name="connsiteX27" fmla="*/ 2096 w 4292"/>
                  <a:gd name="connsiteY27" fmla="*/ 282 h 1078"/>
                  <a:gd name="connsiteX28" fmla="*/ 2054 w 4292"/>
                  <a:gd name="connsiteY28" fmla="*/ 240 h 1078"/>
                  <a:gd name="connsiteX29" fmla="*/ 2009 w 4292"/>
                  <a:gd name="connsiteY29" fmla="*/ 203 h 1078"/>
                  <a:gd name="connsiteX30" fmla="*/ 1962 w 4292"/>
                  <a:gd name="connsiteY30" fmla="*/ 174 h 1078"/>
                  <a:gd name="connsiteX31" fmla="*/ 1910 w 4292"/>
                  <a:gd name="connsiteY31" fmla="*/ 151 h 1078"/>
                  <a:gd name="connsiteX32" fmla="*/ 1854 w 4292"/>
                  <a:gd name="connsiteY32" fmla="*/ 135 h 1078"/>
                  <a:gd name="connsiteX33" fmla="*/ 1796 w 4292"/>
                  <a:gd name="connsiteY33" fmla="*/ 126 h 1078"/>
                  <a:gd name="connsiteX34" fmla="*/ 1732 w 4292"/>
                  <a:gd name="connsiteY34" fmla="*/ 128 h 1078"/>
                  <a:gd name="connsiteX35" fmla="*/ 1664 w 4292"/>
                  <a:gd name="connsiteY35" fmla="*/ 139 h 1078"/>
                  <a:gd name="connsiteX36" fmla="*/ 1602 w 4292"/>
                  <a:gd name="connsiteY36" fmla="*/ 157 h 1078"/>
                  <a:gd name="connsiteX37" fmla="*/ 1545 w 4292"/>
                  <a:gd name="connsiteY37" fmla="*/ 182 h 1078"/>
                  <a:gd name="connsiteX38" fmla="*/ 1491 w 4292"/>
                  <a:gd name="connsiteY38" fmla="*/ 216 h 1078"/>
                  <a:gd name="connsiteX39" fmla="*/ 1439 w 4292"/>
                  <a:gd name="connsiteY39" fmla="*/ 253 h 1078"/>
                  <a:gd name="connsiteX40" fmla="*/ 1394 w 4292"/>
                  <a:gd name="connsiteY40" fmla="*/ 296 h 1078"/>
                  <a:gd name="connsiteX41" fmla="*/ 1348 w 4292"/>
                  <a:gd name="connsiteY41" fmla="*/ 342 h 1078"/>
                  <a:gd name="connsiteX42" fmla="*/ 1307 w 4292"/>
                  <a:gd name="connsiteY42" fmla="*/ 394 h 1078"/>
                  <a:gd name="connsiteX43" fmla="*/ 1268 w 4292"/>
                  <a:gd name="connsiteY43" fmla="*/ 448 h 1078"/>
                  <a:gd name="connsiteX44" fmla="*/ 1231 w 4292"/>
                  <a:gd name="connsiteY44" fmla="*/ 502 h 1078"/>
                  <a:gd name="connsiteX45" fmla="*/ 1194 w 4292"/>
                  <a:gd name="connsiteY45" fmla="*/ 558 h 1078"/>
                  <a:gd name="connsiteX46" fmla="*/ 1156 w 4292"/>
                  <a:gd name="connsiteY46" fmla="*/ 616 h 1078"/>
                  <a:gd name="connsiteX47" fmla="*/ 1121 w 4292"/>
                  <a:gd name="connsiteY47" fmla="*/ 672 h 1078"/>
                  <a:gd name="connsiteX48" fmla="*/ 1047 w 4292"/>
                  <a:gd name="connsiteY48" fmla="*/ 784 h 1078"/>
                  <a:gd name="connsiteX49" fmla="*/ 1008 w 4292"/>
                  <a:gd name="connsiteY49" fmla="*/ 836 h 1078"/>
                  <a:gd name="connsiteX50" fmla="*/ 966 w 4292"/>
                  <a:gd name="connsiteY50" fmla="*/ 885 h 1078"/>
                  <a:gd name="connsiteX51" fmla="*/ 923 w 4292"/>
                  <a:gd name="connsiteY51" fmla="*/ 931 h 1078"/>
                  <a:gd name="connsiteX52" fmla="*/ 876 w 4292"/>
                  <a:gd name="connsiteY52" fmla="*/ 972 h 1078"/>
                  <a:gd name="connsiteX53" fmla="*/ 826 w 4292"/>
                  <a:gd name="connsiteY53" fmla="*/ 1008 h 1078"/>
                  <a:gd name="connsiteX54" fmla="*/ 772 w 4292"/>
                  <a:gd name="connsiteY54" fmla="*/ 1037 h 1078"/>
                  <a:gd name="connsiteX55" fmla="*/ 717 w 4292"/>
                  <a:gd name="connsiteY55" fmla="*/ 1060 h 1078"/>
                  <a:gd name="connsiteX56" fmla="*/ 653 w 4292"/>
                  <a:gd name="connsiteY56" fmla="*/ 1072 h 1078"/>
                  <a:gd name="connsiteX57" fmla="*/ 587 w 4292"/>
                  <a:gd name="connsiteY57" fmla="*/ 1078 h 1078"/>
                  <a:gd name="connsiteX58" fmla="*/ 580 w 4292"/>
                  <a:gd name="connsiteY58" fmla="*/ 1078 h 1078"/>
                  <a:gd name="connsiteX59" fmla="*/ 512 w 4292"/>
                  <a:gd name="connsiteY59" fmla="*/ 1074 h 1078"/>
                  <a:gd name="connsiteX60" fmla="*/ 450 w 4292"/>
                  <a:gd name="connsiteY60" fmla="*/ 1062 h 1078"/>
                  <a:gd name="connsiteX61" fmla="*/ 392 w 4292"/>
                  <a:gd name="connsiteY61" fmla="*/ 1043 h 1078"/>
                  <a:gd name="connsiteX62" fmla="*/ 341 w 4292"/>
                  <a:gd name="connsiteY62" fmla="*/ 1018 h 1078"/>
                  <a:gd name="connsiteX63" fmla="*/ 293 w 4292"/>
                  <a:gd name="connsiteY63" fmla="*/ 987 h 1078"/>
                  <a:gd name="connsiteX64" fmla="*/ 248 w 4292"/>
                  <a:gd name="connsiteY64" fmla="*/ 950 h 1078"/>
                  <a:gd name="connsiteX65" fmla="*/ 207 w 4292"/>
                  <a:gd name="connsiteY65" fmla="*/ 908 h 1078"/>
                  <a:gd name="connsiteX66" fmla="*/ 169 w 4292"/>
                  <a:gd name="connsiteY66" fmla="*/ 863 h 1078"/>
                  <a:gd name="connsiteX67" fmla="*/ 132 w 4292"/>
                  <a:gd name="connsiteY67" fmla="*/ 815 h 1078"/>
                  <a:gd name="connsiteX68" fmla="*/ 99 w 4292"/>
                  <a:gd name="connsiteY68" fmla="*/ 763 h 1078"/>
                  <a:gd name="connsiteX69" fmla="*/ 64 w 4292"/>
                  <a:gd name="connsiteY69" fmla="*/ 709 h 1078"/>
                  <a:gd name="connsiteX70" fmla="*/ 33 w 4292"/>
                  <a:gd name="connsiteY70" fmla="*/ 653 h 1078"/>
                  <a:gd name="connsiteX71" fmla="*/ 0 w 4292"/>
                  <a:gd name="connsiteY71" fmla="*/ 595 h 1078"/>
                  <a:gd name="connsiteX72" fmla="*/ 77 w 4292"/>
                  <a:gd name="connsiteY72" fmla="*/ 551 h 1078"/>
                  <a:gd name="connsiteX73" fmla="*/ 110 w 4292"/>
                  <a:gd name="connsiteY73" fmla="*/ 610 h 1078"/>
                  <a:gd name="connsiteX74" fmla="*/ 143 w 4292"/>
                  <a:gd name="connsiteY74" fmla="*/ 666 h 1078"/>
                  <a:gd name="connsiteX75" fmla="*/ 176 w 4292"/>
                  <a:gd name="connsiteY75" fmla="*/ 719 h 1078"/>
                  <a:gd name="connsiteX76" fmla="*/ 209 w 4292"/>
                  <a:gd name="connsiteY76" fmla="*/ 771 h 1078"/>
                  <a:gd name="connsiteX77" fmla="*/ 244 w 4292"/>
                  <a:gd name="connsiteY77" fmla="*/ 817 h 1078"/>
                  <a:gd name="connsiteX78" fmla="*/ 281 w 4292"/>
                  <a:gd name="connsiteY78" fmla="*/ 860 h 1078"/>
                  <a:gd name="connsiteX79" fmla="*/ 322 w 4292"/>
                  <a:gd name="connsiteY79" fmla="*/ 898 h 1078"/>
                  <a:gd name="connsiteX80" fmla="*/ 366 w 4292"/>
                  <a:gd name="connsiteY80" fmla="*/ 929 h 1078"/>
                  <a:gd name="connsiteX81" fmla="*/ 413 w 4292"/>
                  <a:gd name="connsiteY81" fmla="*/ 956 h 1078"/>
                  <a:gd name="connsiteX82" fmla="*/ 463 w 4292"/>
                  <a:gd name="connsiteY82" fmla="*/ 975 h 1078"/>
                  <a:gd name="connsiteX83" fmla="*/ 518 w 4292"/>
                  <a:gd name="connsiteY83" fmla="*/ 987 h 1078"/>
                  <a:gd name="connsiteX84" fmla="*/ 580 w 4292"/>
                  <a:gd name="connsiteY84" fmla="*/ 991 h 1078"/>
                  <a:gd name="connsiteX85" fmla="*/ 587 w 4292"/>
                  <a:gd name="connsiteY85" fmla="*/ 991 h 1078"/>
                  <a:gd name="connsiteX86" fmla="*/ 646 w 4292"/>
                  <a:gd name="connsiteY86" fmla="*/ 985 h 1078"/>
                  <a:gd name="connsiteX87" fmla="*/ 702 w 4292"/>
                  <a:gd name="connsiteY87" fmla="*/ 970 h 1078"/>
                  <a:gd name="connsiteX88" fmla="*/ 756 w 4292"/>
                  <a:gd name="connsiteY88" fmla="*/ 948 h 1078"/>
                  <a:gd name="connsiteX89" fmla="*/ 803 w 4292"/>
                  <a:gd name="connsiteY89" fmla="*/ 919 h 1078"/>
                  <a:gd name="connsiteX90" fmla="*/ 849 w 4292"/>
                  <a:gd name="connsiteY90" fmla="*/ 881 h 1078"/>
                  <a:gd name="connsiteX91" fmla="*/ 892 w 4292"/>
                  <a:gd name="connsiteY91" fmla="*/ 838 h 1078"/>
                  <a:gd name="connsiteX92" fmla="*/ 931 w 4292"/>
                  <a:gd name="connsiteY92" fmla="*/ 790 h 1078"/>
                  <a:gd name="connsiteX93" fmla="*/ 971 w 4292"/>
                  <a:gd name="connsiteY93" fmla="*/ 738 h 1078"/>
                  <a:gd name="connsiteX94" fmla="*/ 1010 w 4292"/>
                  <a:gd name="connsiteY94" fmla="*/ 684 h 1078"/>
                  <a:gd name="connsiteX95" fmla="*/ 1121 w 4292"/>
                  <a:gd name="connsiteY95" fmla="*/ 510 h 1078"/>
                  <a:gd name="connsiteX96" fmla="*/ 1161 w 4292"/>
                  <a:gd name="connsiteY96" fmla="*/ 450 h 1078"/>
                  <a:gd name="connsiteX97" fmla="*/ 1202 w 4292"/>
                  <a:gd name="connsiteY97" fmla="*/ 392 h 1078"/>
                  <a:gd name="connsiteX98" fmla="*/ 1245 w 4292"/>
                  <a:gd name="connsiteY98" fmla="*/ 334 h 1078"/>
                  <a:gd name="connsiteX99" fmla="*/ 1291 w 4292"/>
                  <a:gd name="connsiteY99" fmla="*/ 280 h 1078"/>
                  <a:gd name="connsiteX100" fmla="*/ 1338 w 4292"/>
                  <a:gd name="connsiteY100" fmla="*/ 228 h 1078"/>
                  <a:gd name="connsiteX101" fmla="*/ 1392 w 4292"/>
                  <a:gd name="connsiteY101" fmla="*/ 180 h 1078"/>
                  <a:gd name="connsiteX102" fmla="*/ 1447 w 4292"/>
                  <a:gd name="connsiteY102" fmla="*/ 139 h 1078"/>
                  <a:gd name="connsiteX103" fmla="*/ 1509 w 4292"/>
                  <a:gd name="connsiteY103" fmla="*/ 104 h 1078"/>
                  <a:gd name="connsiteX104" fmla="*/ 1575 w 4292"/>
                  <a:gd name="connsiteY104" fmla="*/ 75 h 1078"/>
                  <a:gd name="connsiteX105" fmla="*/ 1648 w 4292"/>
                  <a:gd name="connsiteY105" fmla="*/ 54 h 1078"/>
                  <a:gd name="connsiteX106" fmla="*/ 1726 w 4292"/>
                  <a:gd name="connsiteY106" fmla="*/ 41 h 1078"/>
                  <a:gd name="connsiteX107" fmla="*/ 1796 w 4292"/>
                  <a:gd name="connsiteY107" fmla="*/ 39 h 1078"/>
                  <a:gd name="connsiteX108" fmla="*/ 1862 w 4292"/>
                  <a:gd name="connsiteY108" fmla="*/ 48 h 1078"/>
                  <a:gd name="connsiteX109" fmla="*/ 1922 w 4292"/>
                  <a:gd name="connsiteY109" fmla="*/ 62 h 1078"/>
                  <a:gd name="connsiteX110" fmla="*/ 1980 w 4292"/>
                  <a:gd name="connsiteY110" fmla="*/ 85 h 1078"/>
                  <a:gd name="connsiteX111" fmla="*/ 2034 w 4292"/>
                  <a:gd name="connsiteY111" fmla="*/ 116 h 1078"/>
                  <a:gd name="connsiteX112" fmla="*/ 2083 w 4292"/>
                  <a:gd name="connsiteY112" fmla="*/ 151 h 1078"/>
                  <a:gd name="connsiteX113" fmla="*/ 2129 w 4292"/>
                  <a:gd name="connsiteY113" fmla="*/ 193 h 1078"/>
                  <a:gd name="connsiteX114" fmla="*/ 2174 w 4292"/>
                  <a:gd name="connsiteY114" fmla="*/ 238 h 1078"/>
                  <a:gd name="connsiteX115" fmla="*/ 2216 w 4292"/>
                  <a:gd name="connsiteY115" fmla="*/ 286 h 1078"/>
                  <a:gd name="connsiteX116" fmla="*/ 2255 w 4292"/>
                  <a:gd name="connsiteY116" fmla="*/ 338 h 1078"/>
                  <a:gd name="connsiteX117" fmla="*/ 2292 w 4292"/>
                  <a:gd name="connsiteY117" fmla="*/ 392 h 1078"/>
                  <a:gd name="connsiteX118" fmla="*/ 2327 w 4292"/>
                  <a:gd name="connsiteY118" fmla="*/ 448 h 1078"/>
                  <a:gd name="connsiteX119" fmla="*/ 2362 w 4292"/>
                  <a:gd name="connsiteY119" fmla="*/ 502 h 1078"/>
                  <a:gd name="connsiteX120" fmla="*/ 2395 w 4292"/>
                  <a:gd name="connsiteY120" fmla="*/ 558 h 1078"/>
                  <a:gd name="connsiteX121" fmla="*/ 2432 w 4292"/>
                  <a:gd name="connsiteY121" fmla="*/ 620 h 1078"/>
                  <a:gd name="connsiteX122" fmla="*/ 2469 w 4292"/>
                  <a:gd name="connsiteY122" fmla="*/ 678 h 1078"/>
                  <a:gd name="connsiteX123" fmla="*/ 2509 w 4292"/>
                  <a:gd name="connsiteY123" fmla="*/ 736 h 1078"/>
                  <a:gd name="connsiteX124" fmla="*/ 2546 w 4292"/>
                  <a:gd name="connsiteY124" fmla="*/ 790 h 1078"/>
                  <a:gd name="connsiteX125" fmla="*/ 2587 w 4292"/>
                  <a:gd name="connsiteY125" fmla="*/ 840 h 1078"/>
                  <a:gd name="connsiteX126" fmla="*/ 2628 w 4292"/>
                  <a:gd name="connsiteY126" fmla="*/ 883 h 1078"/>
                  <a:gd name="connsiteX127" fmla="*/ 2672 w 4292"/>
                  <a:gd name="connsiteY127" fmla="*/ 921 h 1078"/>
                  <a:gd name="connsiteX128" fmla="*/ 2717 w 4292"/>
                  <a:gd name="connsiteY128" fmla="*/ 952 h 1078"/>
                  <a:gd name="connsiteX129" fmla="*/ 2767 w 4292"/>
                  <a:gd name="connsiteY129" fmla="*/ 975 h 1078"/>
                  <a:gd name="connsiteX130" fmla="*/ 2820 w 4292"/>
                  <a:gd name="connsiteY130" fmla="*/ 987 h 1078"/>
                  <a:gd name="connsiteX131" fmla="*/ 2876 w 4292"/>
                  <a:gd name="connsiteY131" fmla="*/ 991 h 1078"/>
                  <a:gd name="connsiteX132" fmla="*/ 2932 w 4292"/>
                  <a:gd name="connsiteY132" fmla="*/ 985 h 1078"/>
                  <a:gd name="connsiteX133" fmla="*/ 2982 w 4292"/>
                  <a:gd name="connsiteY133" fmla="*/ 970 h 1078"/>
                  <a:gd name="connsiteX134" fmla="*/ 3029 w 4292"/>
                  <a:gd name="connsiteY134" fmla="*/ 950 h 1078"/>
                  <a:gd name="connsiteX135" fmla="*/ 3072 w 4292"/>
                  <a:gd name="connsiteY135" fmla="*/ 919 h 1078"/>
                  <a:gd name="connsiteX136" fmla="*/ 3112 w 4292"/>
                  <a:gd name="connsiteY136" fmla="*/ 883 h 1078"/>
                  <a:gd name="connsiteX0" fmla="*/ 3112 w 4292"/>
                  <a:gd name="connsiteY0" fmla="*/ 883 h 1078"/>
                  <a:gd name="connsiteX1" fmla="*/ 4142 w 4292"/>
                  <a:gd name="connsiteY1" fmla="*/ 170 h 1078"/>
                  <a:gd name="connsiteX2" fmla="*/ 4014 w 4292"/>
                  <a:gd name="connsiteY2" fmla="*/ 124 h 1078"/>
                  <a:gd name="connsiteX3" fmla="*/ 3830 w 4292"/>
                  <a:gd name="connsiteY3" fmla="*/ 141 h 1078"/>
                  <a:gd name="connsiteX4" fmla="*/ 3147 w 4292"/>
                  <a:gd name="connsiteY4" fmla="*/ 970 h 1078"/>
                  <a:gd name="connsiteX5" fmla="*/ 3101 w 4292"/>
                  <a:gd name="connsiteY5" fmla="*/ 1006 h 1078"/>
                  <a:gd name="connsiteX6" fmla="*/ 3052 w 4292"/>
                  <a:gd name="connsiteY6" fmla="*/ 1035 h 1078"/>
                  <a:gd name="connsiteX7" fmla="*/ 3000 w 4292"/>
                  <a:gd name="connsiteY7" fmla="*/ 1057 h 1078"/>
                  <a:gd name="connsiteX8" fmla="*/ 2942 w 4292"/>
                  <a:gd name="connsiteY8" fmla="*/ 1072 h 1078"/>
                  <a:gd name="connsiteX9" fmla="*/ 2878 w 4292"/>
                  <a:gd name="connsiteY9" fmla="*/ 1078 h 1078"/>
                  <a:gd name="connsiteX10" fmla="*/ 2870 w 4292"/>
                  <a:gd name="connsiteY10" fmla="*/ 1078 h 1078"/>
                  <a:gd name="connsiteX11" fmla="*/ 2808 w 4292"/>
                  <a:gd name="connsiteY11" fmla="*/ 1074 h 1078"/>
                  <a:gd name="connsiteX12" fmla="*/ 2748 w 4292"/>
                  <a:gd name="connsiteY12" fmla="*/ 1060 h 1078"/>
                  <a:gd name="connsiteX13" fmla="*/ 2695 w 4292"/>
                  <a:gd name="connsiteY13" fmla="*/ 1037 h 1078"/>
                  <a:gd name="connsiteX14" fmla="*/ 2643 w 4292"/>
                  <a:gd name="connsiteY14" fmla="*/ 1008 h 1078"/>
                  <a:gd name="connsiteX15" fmla="*/ 2595 w 4292"/>
                  <a:gd name="connsiteY15" fmla="*/ 970 h 1078"/>
                  <a:gd name="connsiteX16" fmla="*/ 2552 w 4292"/>
                  <a:gd name="connsiteY16" fmla="*/ 929 h 1078"/>
                  <a:gd name="connsiteX17" fmla="*/ 2509 w 4292"/>
                  <a:gd name="connsiteY17" fmla="*/ 881 h 1078"/>
                  <a:gd name="connsiteX18" fmla="*/ 2469 w 4292"/>
                  <a:gd name="connsiteY18" fmla="*/ 831 h 1078"/>
                  <a:gd name="connsiteX19" fmla="*/ 2430 w 4292"/>
                  <a:gd name="connsiteY19" fmla="*/ 775 h 1078"/>
                  <a:gd name="connsiteX20" fmla="*/ 2393 w 4292"/>
                  <a:gd name="connsiteY20" fmla="*/ 719 h 1078"/>
                  <a:gd name="connsiteX21" fmla="*/ 2288 w 4292"/>
                  <a:gd name="connsiteY21" fmla="*/ 545 h 1078"/>
                  <a:gd name="connsiteX22" fmla="*/ 2251 w 4292"/>
                  <a:gd name="connsiteY22" fmla="*/ 487 h 1078"/>
                  <a:gd name="connsiteX23" fmla="*/ 2213 w 4292"/>
                  <a:gd name="connsiteY23" fmla="*/ 431 h 1078"/>
                  <a:gd name="connsiteX24" fmla="*/ 2176 w 4292"/>
                  <a:gd name="connsiteY24" fmla="*/ 377 h 1078"/>
                  <a:gd name="connsiteX25" fmla="*/ 2137 w 4292"/>
                  <a:gd name="connsiteY25" fmla="*/ 328 h 1078"/>
                  <a:gd name="connsiteX26" fmla="*/ 2096 w 4292"/>
                  <a:gd name="connsiteY26" fmla="*/ 282 h 1078"/>
                  <a:gd name="connsiteX27" fmla="*/ 2054 w 4292"/>
                  <a:gd name="connsiteY27" fmla="*/ 240 h 1078"/>
                  <a:gd name="connsiteX28" fmla="*/ 2009 w 4292"/>
                  <a:gd name="connsiteY28" fmla="*/ 203 h 1078"/>
                  <a:gd name="connsiteX29" fmla="*/ 1962 w 4292"/>
                  <a:gd name="connsiteY29" fmla="*/ 174 h 1078"/>
                  <a:gd name="connsiteX30" fmla="*/ 1910 w 4292"/>
                  <a:gd name="connsiteY30" fmla="*/ 151 h 1078"/>
                  <a:gd name="connsiteX31" fmla="*/ 1854 w 4292"/>
                  <a:gd name="connsiteY31" fmla="*/ 135 h 1078"/>
                  <a:gd name="connsiteX32" fmla="*/ 1796 w 4292"/>
                  <a:gd name="connsiteY32" fmla="*/ 126 h 1078"/>
                  <a:gd name="connsiteX33" fmla="*/ 1732 w 4292"/>
                  <a:gd name="connsiteY33" fmla="*/ 128 h 1078"/>
                  <a:gd name="connsiteX34" fmla="*/ 1664 w 4292"/>
                  <a:gd name="connsiteY34" fmla="*/ 139 h 1078"/>
                  <a:gd name="connsiteX35" fmla="*/ 1602 w 4292"/>
                  <a:gd name="connsiteY35" fmla="*/ 157 h 1078"/>
                  <a:gd name="connsiteX36" fmla="*/ 1545 w 4292"/>
                  <a:gd name="connsiteY36" fmla="*/ 182 h 1078"/>
                  <a:gd name="connsiteX37" fmla="*/ 1491 w 4292"/>
                  <a:gd name="connsiteY37" fmla="*/ 216 h 1078"/>
                  <a:gd name="connsiteX38" fmla="*/ 1439 w 4292"/>
                  <a:gd name="connsiteY38" fmla="*/ 253 h 1078"/>
                  <a:gd name="connsiteX39" fmla="*/ 1394 w 4292"/>
                  <a:gd name="connsiteY39" fmla="*/ 296 h 1078"/>
                  <a:gd name="connsiteX40" fmla="*/ 1348 w 4292"/>
                  <a:gd name="connsiteY40" fmla="*/ 342 h 1078"/>
                  <a:gd name="connsiteX41" fmla="*/ 1307 w 4292"/>
                  <a:gd name="connsiteY41" fmla="*/ 394 h 1078"/>
                  <a:gd name="connsiteX42" fmla="*/ 1268 w 4292"/>
                  <a:gd name="connsiteY42" fmla="*/ 448 h 1078"/>
                  <a:gd name="connsiteX43" fmla="*/ 1231 w 4292"/>
                  <a:gd name="connsiteY43" fmla="*/ 502 h 1078"/>
                  <a:gd name="connsiteX44" fmla="*/ 1194 w 4292"/>
                  <a:gd name="connsiteY44" fmla="*/ 558 h 1078"/>
                  <a:gd name="connsiteX45" fmla="*/ 1156 w 4292"/>
                  <a:gd name="connsiteY45" fmla="*/ 616 h 1078"/>
                  <a:gd name="connsiteX46" fmla="*/ 1121 w 4292"/>
                  <a:gd name="connsiteY46" fmla="*/ 672 h 1078"/>
                  <a:gd name="connsiteX47" fmla="*/ 1047 w 4292"/>
                  <a:gd name="connsiteY47" fmla="*/ 784 h 1078"/>
                  <a:gd name="connsiteX48" fmla="*/ 1008 w 4292"/>
                  <a:gd name="connsiteY48" fmla="*/ 836 h 1078"/>
                  <a:gd name="connsiteX49" fmla="*/ 966 w 4292"/>
                  <a:gd name="connsiteY49" fmla="*/ 885 h 1078"/>
                  <a:gd name="connsiteX50" fmla="*/ 923 w 4292"/>
                  <a:gd name="connsiteY50" fmla="*/ 931 h 1078"/>
                  <a:gd name="connsiteX51" fmla="*/ 876 w 4292"/>
                  <a:gd name="connsiteY51" fmla="*/ 972 h 1078"/>
                  <a:gd name="connsiteX52" fmla="*/ 826 w 4292"/>
                  <a:gd name="connsiteY52" fmla="*/ 1008 h 1078"/>
                  <a:gd name="connsiteX53" fmla="*/ 772 w 4292"/>
                  <a:gd name="connsiteY53" fmla="*/ 1037 h 1078"/>
                  <a:gd name="connsiteX54" fmla="*/ 717 w 4292"/>
                  <a:gd name="connsiteY54" fmla="*/ 1060 h 1078"/>
                  <a:gd name="connsiteX55" fmla="*/ 653 w 4292"/>
                  <a:gd name="connsiteY55" fmla="*/ 1072 h 1078"/>
                  <a:gd name="connsiteX56" fmla="*/ 587 w 4292"/>
                  <a:gd name="connsiteY56" fmla="*/ 1078 h 1078"/>
                  <a:gd name="connsiteX57" fmla="*/ 580 w 4292"/>
                  <a:gd name="connsiteY57" fmla="*/ 1078 h 1078"/>
                  <a:gd name="connsiteX58" fmla="*/ 512 w 4292"/>
                  <a:gd name="connsiteY58" fmla="*/ 1074 h 1078"/>
                  <a:gd name="connsiteX59" fmla="*/ 450 w 4292"/>
                  <a:gd name="connsiteY59" fmla="*/ 1062 h 1078"/>
                  <a:gd name="connsiteX60" fmla="*/ 392 w 4292"/>
                  <a:gd name="connsiteY60" fmla="*/ 1043 h 1078"/>
                  <a:gd name="connsiteX61" fmla="*/ 341 w 4292"/>
                  <a:gd name="connsiteY61" fmla="*/ 1018 h 1078"/>
                  <a:gd name="connsiteX62" fmla="*/ 293 w 4292"/>
                  <a:gd name="connsiteY62" fmla="*/ 987 h 1078"/>
                  <a:gd name="connsiteX63" fmla="*/ 248 w 4292"/>
                  <a:gd name="connsiteY63" fmla="*/ 950 h 1078"/>
                  <a:gd name="connsiteX64" fmla="*/ 207 w 4292"/>
                  <a:gd name="connsiteY64" fmla="*/ 908 h 1078"/>
                  <a:gd name="connsiteX65" fmla="*/ 169 w 4292"/>
                  <a:gd name="connsiteY65" fmla="*/ 863 h 1078"/>
                  <a:gd name="connsiteX66" fmla="*/ 132 w 4292"/>
                  <a:gd name="connsiteY66" fmla="*/ 815 h 1078"/>
                  <a:gd name="connsiteX67" fmla="*/ 99 w 4292"/>
                  <a:gd name="connsiteY67" fmla="*/ 763 h 1078"/>
                  <a:gd name="connsiteX68" fmla="*/ 64 w 4292"/>
                  <a:gd name="connsiteY68" fmla="*/ 709 h 1078"/>
                  <a:gd name="connsiteX69" fmla="*/ 33 w 4292"/>
                  <a:gd name="connsiteY69" fmla="*/ 653 h 1078"/>
                  <a:gd name="connsiteX70" fmla="*/ 0 w 4292"/>
                  <a:gd name="connsiteY70" fmla="*/ 595 h 1078"/>
                  <a:gd name="connsiteX71" fmla="*/ 77 w 4292"/>
                  <a:gd name="connsiteY71" fmla="*/ 551 h 1078"/>
                  <a:gd name="connsiteX72" fmla="*/ 110 w 4292"/>
                  <a:gd name="connsiteY72" fmla="*/ 610 h 1078"/>
                  <a:gd name="connsiteX73" fmla="*/ 143 w 4292"/>
                  <a:gd name="connsiteY73" fmla="*/ 666 h 1078"/>
                  <a:gd name="connsiteX74" fmla="*/ 176 w 4292"/>
                  <a:gd name="connsiteY74" fmla="*/ 719 h 1078"/>
                  <a:gd name="connsiteX75" fmla="*/ 209 w 4292"/>
                  <a:gd name="connsiteY75" fmla="*/ 771 h 1078"/>
                  <a:gd name="connsiteX76" fmla="*/ 244 w 4292"/>
                  <a:gd name="connsiteY76" fmla="*/ 817 h 1078"/>
                  <a:gd name="connsiteX77" fmla="*/ 281 w 4292"/>
                  <a:gd name="connsiteY77" fmla="*/ 860 h 1078"/>
                  <a:gd name="connsiteX78" fmla="*/ 322 w 4292"/>
                  <a:gd name="connsiteY78" fmla="*/ 898 h 1078"/>
                  <a:gd name="connsiteX79" fmla="*/ 366 w 4292"/>
                  <a:gd name="connsiteY79" fmla="*/ 929 h 1078"/>
                  <a:gd name="connsiteX80" fmla="*/ 413 w 4292"/>
                  <a:gd name="connsiteY80" fmla="*/ 956 h 1078"/>
                  <a:gd name="connsiteX81" fmla="*/ 463 w 4292"/>
                  <a:gd name="connsiteY81" fmla="*/ 975 h 1078"/>
                  <a:gd name="connsiteX82" fmla="*/ 518 w 4292"/>
                  <a:gd name="connsiteY82" fmla="*/ 987 h 1078"/>
                  <a:gd name="connsiteX83" fmla="*/ 580 w 4292"/>
                  <a:gd name="connsiteY83" fmla="*/ 991 h 1078"/>
                  <a:gd name="connsiteX84" fmla="*/ 587 w 4292"/>
                  <a:gd name="connsiteY84" fmla="*/ 991 h 1078"/>
                  <a:gd name="connsiteX85" fmla="*/ 646 w 4292"/>
                  <a:gd name="connsiteY85" fmla="*/ 985 h 1078"/>
                  <a:gd name="connsiteX86" fmla="*/ 702 w 4292"/>
                  <a:gd name="connsiteY86" fmla="*/ 970 h 1078"/>
                  <a:gd name="connsiteX87" fmla="*/ 756 w 4292"/>
                  <a:gd name="connsiteY87" fmla="*/ 948 h 1078"/>
                  <a:gd name="connsiteX88" fmla="*/ 803 w 4292"/>
                  <a:gd name="connsiteY88" fmla="*/ 919 h 1078"/>
                  <a:gd name="connsiteX89" fmla="*/ 849 w 4292"/>
                  <a:gd name="connsiteY89" fmla="*/ 881 h 1078"/>
                  <a:gd name="connsiteX90" fmla="*/ 892 w 4292"/>
                  <a:gd name="connsiteY90" fmla="*/ 838 h 1078"/>
                  <a:gd name="connsiteX91" fmla="*/ 931 w 4292"/>
                  <a:gd name="connsiteY91" fmla="*/ 790 h 1078"/>
                  <a:gd name="connsiteX92" fmla="*/ 971 w 4292"/>
                  <a:gd name="connsiteY92" fmla="*/ 738 h 1078"/>
                  <a:gd name="connsiteX93" fmla="*/ 1010 w 4292"/>
                  <a:gd name="connsiteY93" fmla="*/ 684 h 1078"/>
                  <a:gd name="connsiteX94" fmla="*/ 1121 w 4292"/>
                  <a:gd name="connsiteY94" fmla="*/ 510 h 1078"/>
                  <a:gd name="connsiteX95" fmla="*/ 1161 w 4292"/>
                  <a:gd name="connsiteY95" fmla="*/ 450 h 1078"/>
                  <a:gd name="connsiteX96" fmla="*/ 1202 w 4292"/>
                  <a:gd name="connsiteY96" fmla="*/ 392 h 1078"/>
                  <a:gd name="connsiteX97" fmla="*/ 1245 w 4292"/>
                  <a:gd name="connsiteY97" fmla="*/ 334 h 1078"/>
                  <a:gd name="connsiteX98" fmla="*/ 1291 w 4292"/>
                  <a:gd name="connsiteY98" fmla="*/ 280 h 1078"/>
                  <a:gd name="connsiteX99" fmla="*/ 1338 w 4292"/>
                  <a:gd name="connsiteY99" fmla="*/ 228 h 1078"/>
                  <a:gd name="connsiteX100" fmla="*/ 1392 w 4292"/>
                  <a:gd name="connsiteY100" fmla="*/ 180 h 1078"/>
                  <a:gd name="connsiteX101" fmla="*/ 1447 w 4292"/>
                  <a:gd name="connsiteY101" fmla="*/ 139 h 1078"/>
                  <a:gd name="connsiteX102" fmla="*/ 1509 w 4292"/>
                  <a:gd name="connsiteY102" fmla="*/ 104 h 1078"/>
                  <a:gd name="connsiteX103" fmla="*/ 1575 w 4292"/>
                  <a:gd name="connsiteY103" fmla="*/ 75 h 1078"/>
                  <a:gd name="connsiteX104" fmla="*/ 1648 w 4292"/>
                  <a:gd name="connsiteY104" fmla="*/ 54 h 1078"/>
                  <a:gd name="connsiteX105" fmla="*/ 1726 w 4292"/>
                  <a:gd name="connsiteY105" fmla="*/ 41 h 1078"/>
                  <a:gd name="connsiteX106" fmla="*/ 1796 w 4292"/>
                  <a:gd name="connsiteY106" fmla="*/ 39 h 1078"/>
                  <a:gd name="connsiteX107" fmla="*/ 1862 w 4292"/>
                  <a:gd name="connsiteY107" fmla="*/ 48 h 1078"/>
                  <a:gd name="connsiteX108" fmla="*/ 1922 w 4292"/>
                  <a:gd name="connsiteY108" fmla="*/ 62 h 1078"/>
                  <a:gd name="connsiteX109" fmla="*/ 1980 w 4292"/>
                  <a:gd name="connsiteY109" fmla="*/ 85 h 1078"/>
                  <a:gd name="connsiteX110" fmla="*/ 2034 w 4292"/>
                  <a:gd name="connsiteY110" fmla="*/ 116 h 1078"/>
                  <a:gd name="connsiteX111" fmla="*/ 2083 w 4292"/>
                  <a:gd name="connsiteY111" fmla="*/ 151 h 1078"/>
                  <a:gd name="connsiteX112" fmla="*/ 2129 w 4292"/>
                  <a:gd name="connsiteY112" fmla="*/ 193 h 1078"/>
                  <a:gd name="connsiteX113" fmla="*/ 2174 w 4292"/>
                  <a:gd name="connsiteY113" fmla="*/ 238 h 1078"/>
                  <a:gd name="connsiteX114" fmla="*/ 2216 w 4292"/>
                  <a:gd name="connsiteY114" fmla="*/ 286 h 1078"/>
                  <a:gd name="connsiteX115" fmla="*/ 2255 w 4292"/>
                  <a:gd name="connsiteY115" fmla="*/ 338 h 1078"/>
                  <a:gd name="connsiteX116" fmla="*/ 2292 w 4292"/>
                  <a:gd name="connsiteY116" fmla="*/ 392 h 1078"/>
                  <a:gd name="connsiteX117" fmla="*/ 2327 w 4292"/>
                  <a:gd name="connsiteY117" fmla="*/ 448 h 1078"/>
                  <a:gd name="connsiteX118" fmla="*/ 2362 w 4292"/>
                  <a:gd name="connsiteY118" fmla="*/ 502 h 1078"/>
                  <a:gd name="connsiteX119" fmla="*/ 2395 w 4292"/>
                  <a:gd name="connsiteY119" fmla="*/ 558 h 1078"/>
                  <a:gd name="connsiteX120" fmla="*/ 2432 w 4292"/>
                  <a:gd name="connsiteY120" fmla="*/ 620 h 1078"/>
                  <a:gd name="connsiteX121" fmla="*/ 2469 w 4292"/>
                  <a:gd name="connsiteY121" fmla="*/ 678 h 1078"/>
                  <a:gd name="connsiteX122" fmla="*/ 2509 w 4292"/>
                  <a:gd name="connsiteY122" fmla="*/ 736 h 1078"/>
                  <a:gd name="connsiteX123" fmla="*/ 2546 w 4292"/>
                  <a:gd name="connsiteY123" fmla="*/ 790 h 1078"/>
                  <a:gd name="connsiteX124" fmla="*/ 2587 w 4292"/>
                  <a:gd name="connsiteY124" fmla="*/ 840 h 1078"/>
                  <a:gd name="connsiteX125" fmla="*/ 2628 w 4292"/>
                  <a:gd name="connsiteY125" fmla="*/ 883 h 1078"/>
                  <a:gd name="connsiteX126" fmla="*/ 2672 w 4292"/>
                  <a:gd name="connsiteY126" fmla="*/ 921 h 1078"/>
                  <a:gd name="connsiteX127" fmla="*/ 2717 w 4292"/>
                  <a:gd name="connsiteY127" fmla="*/ 952 h 1078"/>
                  <a:gd name="connsiteX128" fmla="*/ 2767 w 4292"/>
                  <a:gd name="connsiteY128" fmla="*/ 975 h 1078"/>
                  <a:gd name="connsiteX129" fmla="*/ 2820 w 4292"/>
                  <a:gd name="connsiteY129" fmla="*/ 987 h 1078"/>
                  <a:gd name="connsiteX130" fmla="*/ 2876 w 4292"/>
                  <a:gd name="connsiteY130" fmla="*/ 991 h 1078"/>
                  <a:gd name="connsiteX131" fmla="*/ 2932 w 4292"/>
                  <a:gd name="connsiteY131" fmla="*/ 985 h 1078"/>
                  <a:gd name="connsiteX132" fmla="*/ 2982 w 4292"/>
                  <a:gd name="connsiteY132" fmla="*/ 970 h 1078"/>
                  <a:gd name="connsiteX133" fmla="*/ 3029 w 4292"/>
                  <a:gd name="connsiteY133" fmla="*/ 950 h 1078"/>
                  <a:gd name="connsiteX134" fmla="*/ 3072 w 4292"/>
                  <a:gd name="connsiteY134" fmla="*/ 919 h 1078"/>
                  <a:gd name="connsiteX135" fmla="*/ 3112 w 4292"/>
                  <a:gd name="connsiteY135" fmla="*/ 883 h 1078"/>
                  <a:gd name="connsiteX0" fmla="*/ 3112 w 4014"/>
                  <a:gd name="connsiteY0" fmla="*/ 883 h 1078"/>
                  <a:gd name="connsiteX1" fmla="*/ 4014 w 4014"/>
                  <a:gd name="connsiteY1" fmla="*/ 124 h 1078"/>
                  <a:gd name="connsiteX2" fmla="*/ 3830 w 4014"/>
                  <a:gd name="connsiteY2" fmla="*/ 141 h 1078"/>
                  <a:gd name="connsiteX3" fmla="*/ 3147 w 4014"/>
                  <a:gd name="connsiteY3" fmla="*/ 970 h 1078"/>
                  <a:gd name="connsiteX4" fmla="*/ 3101 w 4014"/>
                  <a:gd name="connsiteY4" fmla="*/ 1006 h 1078"/>
                  <a:gd name="connsiteX5" fmla="*/ 3052 w 4014"/>
                  <a:gd name="connsiteY5" fmla="*/ 1035 h 1078"/>
                  <a:gd name="connsiteX6" fmla="*/ 3000 w 4014"/>
                  <a:gd name="connsiteY6" fmla="*/ 1057 h 1078"/>
                  <a:gd name="connsiteX7" fmla="*/ 2942 w 4014"/>
                  <a:gd name="connsiteY7" fmla="*/ 1072 h 1078"/>
                  <a:gd name="connsiteX8" fmla="*/ 2878 w 4014"/>
                  <a:gd name="connsiteY8" fmla="*/ 1078 h 1078"/>
                  <a:gd name="connsiteX9" fmla="*/ 2870 w 4014"/>
                  <a:gd name="connsiteY9" fmla="*/ 1078 h 1078"/>
                  <a:gd name="connsiteX10" fmla="*/ 2808 w 4014"/>
                  <a:gd name="connsiteY10" fmla="*/ 1074 h 1078"/>
                  <a:gd name="connsiteX11" fmla="*/ 2748 w 4014"/>
                  <a:gd name="connsiteY11" fmla="*/ 1060 h 1078"/>
                  <a:gd name="connsiteX12" fmla="*/ 2695 w 4014"/>
                  <a:gd name="connsiteY12" fmla="*/ 1037 h 1078"/>
                  <a:gd name="connsiteX13" fmla="*/ 2643 w 4014"/>
                  <a:gd name="connsiteY13" fmla="*/ 1008 h 1078"/>
                  <a:gd name="connsiteX14" fmla="*/ 2595 w 4014"/>
                  <a:gd name="connsiteY14" fmla="*/ 970 h 1078"/>
                  <a:gd name="connsiteX15" fmla="*/ 2552 w 4014"/>
                  <a:gd name="connsiteY15" fmla="*/ 929 h 1078"/>
                  <a:gd name="connsiteX16" fmla="*/ 2509 w 4014"/>
                  <a:gd name="connsiteY16" fmla="*/ 881 h 1078"/>
                  <a:gd name="connsiteX17" fmla="*/ 2469 w 4014"/>
                  <a:gd name="connsiteY17" fmla="*/ 831 h 1078"/>
                  <a:gd name="connsiteX18" fmla="*/ 2430 w 4014"/>
                  <a:gd name="connsiteY18" fmla="*/ 775 h 1078"/>
                  <a:gd name="connsiteX19" fmla="*/ 2393 w 4014"/>
                  <a:gd name="connsiteY19" fmla="*/ 719 h 1078"/>
                  <a:gd name="connsiteX20" fmla="*/ 2288 w 4014"/>
                  <a:gd name="connsiteY20" fmla="*/ 545 h 1078"/>
                  <a:gd name="connsiteX21" fmla="*/ 2251 w 4014"/>
                  <a:gd name="connsiteY21" fmla="*/ 487 h 1078"/>
                  <a:gd name="connsiteX22" fmla="*/ 2213 w 4014"/>
                  <a:gd name="connsiteY22" fmla="*/ 431 h 1078"/>
                  <a:gd name="connsiteX23" fmla="*/ 2176 w 4014"/>
                  <a:gd name="connsiteY23" fmla="*/ 377 h 1078"/>
                  <a:gd name="connsiteX24" fmla="*/ 2137 w 4014"/>
                  <a:gd name="connsiteY24" fmla="*/ 328 h 1078"/>
                  <a:gd name="connsiteX25" fmla="*/ 2096 w 4014"/>
                  <a:gd name="connsiteY25" fmla="*/ 282 h 1078"/>
                  <a:gd name="connsiteX26" fmla="*/ 2054 w 4014"/>
                  <a:gd name="connsiteY26" fmla="*/ 240 h 1078"/>
                  <a:gd name="connsiteX27" fmla="*/ 2009 w 4014"/>
                  <a:gd name="connsiteY27" fmla="*/ 203 h 1078"/>
                  <a:gd name="connsiteX28" fmla="*/ 1962 w 4014"/>
                  <a:gd name="connsiteY28" fmla="*/ 174 h 1078"/>
                  <a:gd name="connsiteX29" fmla="*/ 1910 w 4014"/>
                  <a:gd name="connsiteY29" fmla="*/ 151 h 1078"/>
                  <a:gd name="connsiteX30" fmla="*/ 1854 w 4014"/>
                  <a:gd name="connsiteY30" fmla="*/ 135 h 1078"/>
                  <a:gd name="connsiteX31" fmla="*/ 1796 w 4014"/>
                  <a:gd name="connsiteY31" fmla="*/ 126 h 1078"/>
                  <a:gd name="connsiteX32" fmla="*/ 1732 w 4014"/>
                  <a:gd name="connsiteY32" fmla="*/ 128 h 1078"/>
                  <a:gd name="connsiteX33" fmla="*/ 1664 w 4014"/>
                  <a:gd name="connsiteY33" fmla="*/ 139 h 1078"/>
                  <a:gd name="connsiteX34" fmla="*/ 1602 w 4014"/>
                  <a:gd name="connsiteY34" fmla="*/ 157 h 1078"/>
                  <a:gd name="connsiteX35" fmla="*/ 1545 w 4014"/>
                  <a:gd name="connsiteY35" fmla="*/ 182 h 1078"/>
                  <a:gd name="connsiteX36" fmla="*/ 1491 w 4014"/>
                  <a:gd name="connsiteY36" fmla="*/ 216 h 1078"/>
                  <a:gd name="connsiteX37" fmla="*/ 1439 w 4014"/>
                  <a:gd name="connsiteY37" fmla="*/ 253 h 1078"/>
                  <a:gd name="connsiteX38" fmla="*/ 1394 w 4014"/>
                  <a:gd name="connsiteY38" fmla="*/ 296 h 1078"/>
                  <a:gd name="connsiteX39" fmla="*/ 1348 w 4014"/>
                  <a:gd name="connsiteY39" fmla="*/ 342 h 1078"/>
                  <a:gd name="connsiteX40" fmla="*/ 1307 w 4014"/>
                  <a:gd name="connsiteY40" fmla="*/ 394 h 1078"/>
                  <a:gd name="connsiteX41" fmla="*/ 1268 w 4014"/>
                  <a:gd name="connsiteY41" fmla="*/ 448 h 1078"/>
                  <a:gd name="connsiteX42" fmla="*/ 1231 w 4014"/>
                  <a:gd name="connsiteY42" fmla="*/ 502 h 1078"/>
                  <a:gd name="connsiteX43" fmla="*/ 1194 w 4014"/>
                  <a:gd name="connsiteY43" fmla="*/ 558 h 1078"/>
                  <a:gd name="connsiteX44" fmla="*/ 1156 w 4014"/>
                  <a:gd name="connsiteY44" fmla="*/ 616 h 1078"/>
                  <a:gd name="connsiteX45" fmla="*/ 1121 w 4014"/>
                  <a:gd name="connsiteY45" fmla="*/ 672 h 1078"/>
                  <a:gd name="connsiteX46" fmla="*/ 1047 w 4014"/>
                  <a:gd name="connsiteY46" fmla="*/ 784 h 1078"/>
                  <a:gd name="connsiteX47" fmla="*/ 1008 w 4014"/>
                  <a:gd name="connsiteY47" fmla="*/ 836 h 1078"/>
                  <a:gd name="connsiteX48" fmla="*/ 966 w 4014"/>
                  <a:gd name="connsiteY48" fmla="*/ 885 h 1078"/>
                  <a:gd name="connsiteX49" fmla="*/ 923 w 4014"/>
                  <a:gd name="connsiteY49" fmla="*/ 931 h 1078"/>
                  <a:gd name="connsiteX50" fmla="*/ 876 w 4014"/>
                  <a:gd name="connsiteY50" fmla="*/ 972 h 1078"/>
                  <a:gd name="connsiteX51" fmla="*/ 826 w 4014"/>
                  <a:gd name="connsiteY51" fmla="*/ 1008 h 1078"/>
                  <a:gd name="connsiteX52" fmla="*/ 772 w 4014"/>
                  <a:gd name="connsiteY52" fmla="*/ 1037 h 1078"/>
                  <a:gd name="connsiteX53" fmla="*/ 717 w 4014"/>
                  <a:gd name="connsiteY53" fmla="*/ 1060 h 1078"/>
                  <a:gd name="connsiteX54" fmla="*/ 653 w 4014"/>
                  <a:gd name="connsiteY54" fmla="*/ 1072 h 1078"/>
                  <a:gd name="connsiteX55" fmla="*/ 587 w 4014"/>
                  <a:gd name="connsiteY55" fmla="*/ 1078 h 1078"/>
                  <a:gd name="connsiteX56" fmla="*/ 580 w 4014"/>
                  <a:gd name="connsiteY56" fmla="*/ 1078 h 1078"/>
                  <a:gd name="connsiteX57" fmla="*/ 512 w 4014"/>
                  <a:gd name="connsiteY57" fmla="*/ 1074 h 1078"/>
                  <a:gd name="connsiteX58" fmla="*/ 450 w 4014"/>
                  <a:gd name="connsiteY58" fmla="*/ 1062 h 1078"/>
                  <a:gd name="connsiteX59" fmla="*/ 392 w 4014"/>
                  <a:gd name="connsiteY59" fmla="*/ 1043 h 1078"/>
                  <a:gd name="connsiteX60" fmla="*/ 341 w 4014"/>
                  <a:gd name="connsiteY60" fmla="*/ 1018 h 1078"/>
                  <a:gd name="connsiteX61" fmla="*/ 293 w 4014"/>
                  <a:gd name="connsiteY61" fmla="*/ 987 h 1078"/>
                  <a:gd name="connsiteX62" fmla="*/ 248 w 4014"/>
                  <a:gd name="connsiteY62" fmla="*/ 950 h 1078"/>
                  <a:gd name="connsiteX63" fmla="*/ 207 w 4014"/>
                  <a:gd name="connsiteY63" fmla="*/ 908 h 1078"/>
                  <a:gd name="connsiteX64" fmla="*/ 169 w 4014"/>
                  <a:gd name="connsiteY64" fmla="*/ 863 h 1078"/>
                  <a:gd name="connsiteX65" fmla="*/ 132 w 4014"/>
                  <a:gd name="connsiteY65" fmla="*/ 815 h 1078"/>
                  <a:gd name="connsiteX66" fmla="*/ 99 w 4014"/>
                  <a:gd name="connsiteY66" fmla="*/ 763 h 1078"/>
                  <a:gd name="connsiteX67" fmla="*/ 64 w 4014"/>
                  <a:gd name="connsiteY67" fmla="*/ 709 h 1078"/>
                  <a:gd name="connsiteX68" fmla="*/ 33 w 4014"/>
                  <a:gd name="connsiteY68" fmla="*/ 653 h 1078"/>
                  <a:gd name="connsiteX69" fmla="*/ 0 w 4014"/>
                  <a:gd name="connsiteY69" fmla="*/ 595 h 1078"/>
                  <a:gd name="connsiteX70" fmla="*/ 77 w 4014"/>
                  <a:gd name="connsiteY70" fmla="*/ 551 h 1078"/>
                  <a:gd name="connsiteX71" fmla="*/ 110 w 4014"/>
                  <a:gd name="connsiteY71" fmla="*/ 610 h 1078"/>
                  <a:gd name="connsiteX72" fmla="*/ 143 w 4014"/>
                  <a:gd name="connsiteY72" fmla="*/ 666 h 1078"/>
                  <a:gd name="connsiteX73" fmla="*/ 176 w 4014"/>
                  <a:gd name="connsiteY73" fmla="*/ 719 h 1078"/>
                  <a:gd name="connsiteX74" fmla="*/ 209 w 4014"/>
                  <a:gd name="connsiteY74" fmla="*/ 771 h 1078"/>
                  <a:gd name="connsiteX75" fmla="*/ 244 w 4014"/>
                  <a:gd name="connsiteY75" fmla="*/ 817 h 1078"/>
                  <a:gd name="connsiteX76" fmla="*/ 281 w 4014"/>
                  <a:gd name="connsiteY76" fmla="*/ 860 h 1078"/>
                  <a:gd name="connsiteX77" fmla="*/ 322 w 4014"/>
                  <a:gd name="connsiteY77" fmla="*/ 898 h 1078"/>
                  <a:gd name="connsiteX78" fmla="*/ 366 w 4014"/>
                  <a:gd name="connsiteY78" fmla="*/ 929 h 1078"/>
                  <a:gd name="connsiteX79" fmla="*/ 413 w 4014"/>
                  <a:gd name="connsiteY79" fmla="*/ 956 h 1078"/>
                  <a:gd name="connsiteX80" fmla="*/ 463 w 4014"/>
                  <a:gd name="connsiteY80" fmla="*/ 975 h 1078"/>
                  <a:gd name="connsiteX81" fmla="*/ 518 w 4014"/>
                  <a:gd name="connsiteY81" fmla="*/ 987 h 1078"/>
                  <a:gd name="connsiteX82" fmla="*/ 580 w 4014"/>
                  <a:gd name="connsiteY82" fmla="*/ 991 h 1078"/>
                  <a:gd name="connsiteX83" fmla="*/ 587 w 4014"/>
                  <a:gd name="connsiteY83" fmla="*/ 991 h 1078"/>
                  <a:gd name="connsiteX84" fmla="*/ 646 w 4014"/>
                  <a:gd name="connsiteY84" fmla="*/ 985 h 1078"/>
                  <a:gd name="connsiteX85" fmla="*/ 702 w 4014"/>
                  <a:gd name="connsiteY85" fmla="*/ 970 h 1078"/>
                  <a:gd name="connsiteX86" fmla="*/ 756 w 4014"/>
                  <a:gd name="connsiteY86" fmla="*/ 948 h 1078"/>
                  <a:gd name="connsiteX87" fmla="*/ 803 w 4014"/>
                  <a:gd name="connsiteY87" fmla="*/ 919 h 1078"/>
                  <a:gd name="connsiteX88" fmla="*/ 849 w 4014"/>
                  <a:gd name="connsiteY88" fmla="*/ 881 h 1078"/>
                  <a:gd name="connsiteX89" fmla="*/ 892 w 4014"/>
                  <a:gd name="connsiteY89" fmla="*/ 838 h 1078"/>
                  <a:gd name="connsiteX90" fmla="*/ 931 w 4014"/>
                  <a:gd name="connsiteY90" fmla="*/ 790 h 1078"/>
                  <a:gd name="connsiteX91" fmla="*/ 971 w 4014"/>
                  <a:gd name="connsiteY91" fmla="*/ 738 h 1078"/>
                  <a:gd name="connsiteX92" fmla="*/ 1010 w 4014"/>
                  <a:gd name="connsiteY92" fmla="*/ 684 h 1078"/>
                  <a:gd name="connsiteX93" fmla="*/ 1121 w 4014"/>
                  <a:gd name="connsiteY93" fmla="*/ 510 h 1078"/>
                  <a:gd name="connsiteX94" fmla="*/ 1161 w 4014"/>
                  <a:gd name="connsiteY94" fmla="*/ 450 h 1078"/>
                  <a:gd name="connsiteX95" fmla="*/ 1202 w 4014"/>
                  <a:gd name="connsiteY95" fmla="*/ 392 h 1078"/>
                  <a:gd name="connsiteX96" fmla="*/ 1245 w 4014"/>
                  <a:gd name="connsiteY96" fmla="*/ 334 h 1078"/>
                  <a:gd name="connsiteX97" fmla="*/ 1291 w 4014"/>
                  <a:gd name="connsiteY97" fmla="*/ 280 h 1078"/>
                  <a:gd name="connsiteX98" fmla="*/ 1338 w 4014"/>
                  <a:gd name="connsiteY98" fmla="*/ 228 h 1078"/>
                  <a:gd name="connsiteX99" fmla="*/ 1392 w 4014"/>
                  <a:gd name="connsiteY99" fmla="*/ 180 h 1078"/>
                  <a:gd name="connsiteX100" fmla="*/ 1447 w 4014"/>
                  <a:gd name="connsiteY100" fmla="*/ 139 h 1078"/>
                  <a:gd name="connsiteX101" fmla="*/ 1509 w 4014"/>
                  <a:gd name="connsiteY101" fmla="*/ 104 h 1078"/>
                  <a:gd name="connsiteX102" fmla="*/ 1575 w 4014"/>
                  <a:gd name="connsiteY102" fmla="*/ 75 h 1078"/>
                  <a:gd name="connsiteX103" fmla="*/ 1648 w 4014"/>
                  <a:gd name="connsiteY103" fmla="*/ 54 h 1078"/>
                  <a:gd name="connsiteX104" fmla="*/ 1726 w 4014"/>
                  <a:gd name="connsiteY104" fmla="*/ 41 h 1078"/>
                  <a:gd name="connsiteX105" fmla="*/ 1796 w 4014"/>
                  <a:gd name="connsiteY105" fmla="*/ 39 h 1078"/>
                  <a:gd name="connsiteX106" fmla="*/ 1862 w 4014"/>
                  <a:gd name="connsiteY106" fmla="*/ 48 h 1078"/>
                  <a:gd name="connsiteX107" fmla="*/ 1922 w 4014"/>
                  <a:gd name="connsiteY107" fmla="*/ 62 h 1078"/>
                  <a:gd name="connsiteX108" fmla="*/ 1980 w 4014"/>
                  <a:gd name="connsiteY108" fmla="*/ 85 h 1078"/>
                  <a:gd name="connsiteX109" fmla="*/ 2034 w 4014"/>
                  <a:gd name="connsiteY109" fmla="*/ 116 h 1078"/>
                  <a:gd name="connsiteX110" fmla="*/ 2083 w 4014"/>
                  <a:gd name="connsiteY110" fmla="*/ 151 h 1078"/>
                  <a:gd name="connsiteX111" fmla="*/ 2129 w 4014"/>
                  <a:gd name="connsiteY111" fmla="*/ 193 h 1078"/>
                  <a:gd name="connsiteX112" fmla="*/ 2174 w 4014"/>
                  <a:gd name="connsiteY112" fmla="*/ 238 h 1078"/>
                  <a:gd name="connsiteX113" fmla="*/ 2216 w 4014"/>
                  <a:gd name="connsiteY113" fmla="*/ 286 h 1078"/>
                  <a:gd name="connsiteX114" fmla="*/ 2255 w 4014"/>
                  <a:gd name="connsiteY114" fmla="*/ 338 h 1078"/>
                  <a:gd name="connsiteX115" fmla="*/ 2292 w 4014"/>
                  <a:gd name="connsiteY115" fmla="*/ 392 h 1078"/>
                  <a:gd name="connsiteX116" fmla="*/ 2327 w 4014"/>
                  <a:gd name="connsiteY116" fmla="*/ 448 h 1078"/>
                  <a:gd name="connsiteX117" fmla="*/ 2362 w 4014"/>
                  <a:gd name="connsiteY117" fmla="*/ 502 h 1078"/>
                  <a:gd name="connsiteX118" fmla="*/ 2395 w 4014"/>
                  <a:gd name="connsiteY118" fmla="*/ 558 h 1078"/>
                  <a:gd name="connsiteX119" fmla="*/ 2432 w 4014"/>
                  <a:gd name="connsiteY119" fmla="*/ 620 h 1078"/>
                  <a:gd name="connsiteX120" fmla="*/ 2469 w 4014"/>
                  <a:gd name="connsiteY120" fmla="*/ 678 h 1078"/>
                  <a:gd name="connsiteX121" fmla="*/ 2509 w 4014"/>
                  <a:gd name="connsiteY121" fmla="*/ 736 h 1078"/>
                  <a:gd name="connsiteX122" fmla="*/ 2546 w 4014"/>
                  <a:gd name="connsiteY122" fmla="*/ 790 h 1078"/>
                  <a:gd name="connsiteX123" fmla="*/ 2587 w 4014"/>
                  <a:gd name="connsiteY123" fmla="*/ 840 h 1078"/>
                  <a:gd name="connsiteX124" fmla="*/ 2628 w 4014"/>
                  <a:gd name="connsiteY124" fmla="*/ 883 h 1078"/>
                  <a:gd name="connsiteX125" fmla="*/ 2672 w 4014"/>
                  <a:gd name="connsiteY125" fmla="*/ 921 h 1078"/>
                  <a:gd name="connsiteX126" fmla="*/ 2717 w 4014"/>
                  <a:gd name="connsiteY126" fmla="*/ 952 h 1078"/>
                  <a:gd name="connsiteX127" fmla="*/ 2767 w 4014"/>
                  <a:gd name="connsiteY127" fmla="*/ 975 h 1078"/>
                  <a:gd name="connsiteX128" fmla="*/ 2820 w 4014"/>
                  <a:gd name="connsiteY128" fmla="*/ 987 h 1078"/>
                  <a:gd name="connsiteX129" fmla="*/ 2876 w 4014"/>
                  <a:gd name="connsiteY129" fmla="*/ 991 h 1078"/>
                  <a:gd name="connsiteX130" fmla="*/ 2932 w 4014"/>
                  <a:gd name="connsiteY130" fmla="*/ 985 h 1078"/>
                  <a:gd name="connsiteX131" fmla="*/ 2982 w 4014"/>
                  <a:gd name="connsiteY131" fmla="*/ 970 h 1078"/>
                  <a:gd name="connsiteX132" fmla="*/ 3029 w 4014"/>
                  <a:gd name="connsiteY132" fmla="*/ 950 h 1078"/>
                  <a:gd name="connsiteX133" fmla="*/ 3072 w 4014"/>
                  <a:gd name="connsiteY133" fmla="*/ 919 h 1078"/>
                  <a:gd name="connsiteX134" fmla="*/ 3112 w 4014"/>
                  <a:gd name="connsiteY134" fmla="*/ 883 h 1078"/>
                  <a:gd name="connsiteX0" fmla="*/ 3112 w 3830"/>
                  <a:gd name="connsiteY0" fmla="*/ 844 h 1039"/>
                  <a:gd name="connsiteX1" fmla="*/ 3830 w 3830"/>
                  <a:gd name="connsiteY1" fmla="*/ 102 h 1039"/>
                  <a:gd name="connsiteX2" fmla="*/ 3147 w 3830"/>
                  <a:gd name="connsiteY2" fmla="*/ 931 h 1039"/>
                  <a:gd name="connsiteX3" fmla="*/ 3101 w 3830"/>
                  <a:gd name="connsiteY3" fmla="*/ 967 h 1039"/>
                  <a:gd name="connsiteX4" fmla="*/ 3052 w 3830"/>
                  <a:gd name="connsiteY4" fmla="*/ 996 h 1039"/>
                  <a:gd name="connsiteX5" fmla="*/ 3000 w 3830"/>
                  <a:gd name="connsiteY5" fmla="*/ 1018 h 1039"/>
                  <a:gd name="connsiteX6" fmla="*/ 2942 w 3830"/>
                  <a:gd name="connsiteY6" fmla="*/ 1033 h 1039"/>
                  <a:gd name="connsiteX7" fmla="*/ 2878 w 3830"/>
                  <a:gd name="connsiteY7" fmla="*/ 1039 h 1039"/>
                  <a:gd name="connsiteX8" fmla="*/ 2870 w 3830"/>
                  <a:gd name="connsiteY8" fmla="*/ 1039 h 1039"/>
                  <a:gd name="connsiteX9" fmla="*/ 2808 w 3830"/>
                  <a:gd name="connsiteY9" fmla="*/ 1035 h 1039"/>
                  <a:gd name="connsiteX10" fmla="*/ 2748 w 3830"/>
                  <a:gd name="connsiteY10" fmla="*/ 1021 h 1039"/>
                  <a:gd name="connsiteX11" fmla="*/ 2695 w 3830"/>
                  <a:gd name="connsiteY11" fmla="*/ 998 h 1039"/>
                  <a:gd name="connsiteX12" fmla="*/ 2643 w 3830"/>
                  <a:gd name="connsiteY12" fmla="*/ 969 h 1039"/>
                  <a:gd name="connsiteX13" fmla="*/ 2595 w 3830"/>
                  <a:gd name="connsiteY13" fmla="*/ 931 h 1039"/>
                  <a:gd name="connsiteX14" fmla="*/ 2552 w 3830"/>
                  <a:gd name="connsiteY14" fmla="*/ 890 h 1039"/>
                  <a:gd name="connsiteX15" fmla="*/ 2509 w 3830"/>
                  <a:gd name="connsiteY15" fmla="*/ 842 h 1039"/>
                  <a:gd name="connsiteX16" fmla="*/ 2469 w 3830"/>
                  <a:gd name="connsiteY16" fmla="*/ 792 h 1039"/>
                  <a:gd name="connsiteX17" fmla="*/ 2430 w 3830"/>
                  <a:gd name="connsiteY17" fmla="*/ 736 h 1039"/>
                  <a:gd name="connsiteX18" fmla="*/ 2393 w 3830"/>
                  <a:gd name="connsiteY18" fmla="*/ 680 h 1039"/>
                  <a:gd name="connsiteX19" fmla="*/ 2288 w 3830"/>
                  <a:gd name="connsiteY19" fmla="*/ 506 h 1039"/>
                  <a:gd name="connsiteX20" fmla="*/ 2251 w 3830"/>
                  <a:gd name="connsiteY20" fmla="*/ 448 h 1039"/>
                  <a:gd name="connsiteX21" fmla="*/ 2213 w 3830"/>
                  <a:gd name="connsiteY21" fmla="*/ 392 h 1039"/>
                  <a:gd name="connsiteX22" fmla="*/ 2176 w 3830"/>
                  <a:gd name="connsiteY22" fmla="*/ 338 h 1039"/>
                  <a:gd name="connsiteX23" fmla="*/ 2137 w 3830"/>
                  <a:gd name="connsiteY23" fmla="*/ 289 h 1039"/>
                  <a:gd name="connsiteX24" fmla="*/ 2096 w 3830"/>
                  <a:gd name="connsiteY24" fmla="*/ 243 h 1039"/>
                  <a:gd name="connsiteX25" fmla="*/ 2054 w 3830"/>
                  <a:gd name="connsiteY25" fmla="*/ 201 h 1039"/>
                  <a:gd name="connsiteX26" fmla="*/ 2009 w 3830"/>
                  <a:gd name="connsiteY26" fmla="*/ 164 h 1039"/>
                  <a:gd name="connsiteX27" fmla="*/ 1962 w 3830"/>
                  <a:gd name="connsiteY27" fmla="*/ 135 h 1039"/>
                  <a:gd name="connsiteX28" fmla="*/ 1910 w 3830"/>
                  <a:gd name="connsiteY28" fmla="*/ 112 h 1039"/>
                  <a:gd name="connsiteX29" fmla="*/ 1854 w 3830"/>
                  <a:gd name="connsiteY29" fmla="*/ 96 h 1039"/>
                  <a:gd name="connsiteX30" fmla="*/ 1796 w 3830"/>
                  <a:gd name="connsiteY30" fmla="*/ 87 h 1039"/>
                  <a:gd name="connsiteX31" fmla="*/ 1732 w 3830"/>
                  <a:gd name="connsiteY31" fmla="*/ 89 h 1039"/>
                  <a:gd name="connsiteX32" fmla="*/ 1664 w 3830"/>
                  <a:gd name="connsiteY32" fmla="*/ 100 h 1039"/>
                  <a:gd name="connsiteX33" fmla="*/ 1602 w 3830"/>
                  <a:gd name="connsiteY33" fmla="*/ 118 h 1039"/>
                  <a:gd name="connsiteX34" fmla="*/ 1545 w 3830"/>
                  <a:gd name="connsiteY34" fmla="*/ 143 h 1039"/>
                  <a:gd name="connsiteX35" fmla="*/ 1491 w 3830"/>
                  <a:gd name="connsiteY35" fmla="*/ 177 h 1039"/>
                  <a:gd name="connsiteX36" fmla="*/ 1439 w 3830"/>
                  <a:gd name="connsiteY36" fmla="*/ 214 h 1039"/>
                  <a:gd name="connsiteX37" fmla="*/ 1394 w 3830"/>
                  <a:gd name="connsiteY37" fmla="*/ 257 h 1039"/>
                  <a:gd name="connsiteX38" fmla="*/ 1348 w 3830"/>
                  <a:gd name="connsiteY38" fmla="*/ 303 h 1039"/>
                  <a:gd name="connsiteX39" fmla="*/ 1307 w 3830"/>
                  <a:gd name="connsiteY39" fmla="*/ 355 h 1039"/>
                  <a:gd name="connsiteX40" fmla="*/ 1268 w 3830"/>
                  <a:gd name="connsiteY40" fmla="*/ 409 h 1039"/>
                  <a:gd name="connsiteX41" fmla="*/ 1231 w 3830"/>
                  <a:gd name="connsiteY41" fmla="*/ 463 h 1039"/>
                  <a:gd name="connsiteX42" fmla="*/ 1194 w 3830"/>
                  <a:gd name="connsiteY42" fmla="*/ 519 h 1039"/>
                  <a:gd name="connsiteX43" fmla="*/ 1156 w 3830"/>
                  <a:gd name="connsiteY43" fmla="*/ 577 h 1039"/>
                  <a:gd name="connsiteX44" fmla="*/ 1121 w 3830"/>
                  <a:gd name="connsiteY44" fmla="*/ 633 h 1039"/>
                  <a:gd name="connsiteX45" fmla="*/ 1047 w 3830"/>
                  <a:gd name="connsiteY45" fmla="*/ 745 h 1039"/>
                  <a:gd name="connsiteX46" fmla="*/ 1008 w 3830"/>
                  <a:gd name="connsiteY46" fmla="*/ 797 h 1039"/>
                  <a:gd name="connsiteX47" fmla="*/ 966 w 3830"/>
                  <a:gd name="connsiteY47" fmla="*/ 846 h 1039"/>
                  <a:gd name="connsiteX48" fmla="*/ 923 w 3830"/>
                  <a:gd name="connsiteY48" fmla="*/ 892 h 1039"/>
                  <a:gd name="connsiteX49" fmla="*/ 876 w 3830"/>
                  <a:gd name="connsiteY49" fmla="*/ 933 h 1039"/>
                  <a:gd name="connsiteX50" fmla="*/ 826 w 3830"/>
                  <a:gd name="connsiteY50" fmla="*/ 969 h 1039"/>
                  <a:gd name="connsiteX51" fmla="*/ 772 w 3830"/>
                  <a:gd name="connsiteY51" fmla="*/ 998 h 1039"/>
                  <a:gd name="connsiteX52" fmla="*/ 717 w 3830"/>
                  <a:gd name="connsiteY52" fmla="*/ 1021 h 1039"/>
                  <a:gd name="connsiteX53" fmla="*/ 653 w 3830"/>
                  <a:gd name="connsiteY53" fmla="*/ 1033 h 1039"/>
                  <a:gd name="connsiteX54" fmla="*/ 587 w 3830"/>
                  <a:gd name="connsiteY54" fmla="*/ 1039 h 1039"/>
                  <a:gd name="connsiteX55" fmla="*/ 580 w 3830"/>
                  <a:gd name="connsiteY55" fmla="*/ 1039 h 1039"/>
                  <a:gd name="connsiteX56" fmla="*/ 512 w 3830"/>
                  <a:gd name="connsiteY56" fmla="*/ 1035 h 1039"/>
                  <a:gd name="connsiteX57" fmla="*/ 450 w 3830"/>
                  <a:gd name="connsiteY57" fmla="*/ 1023 h 1039"/>
                  <a:gd name="connsiteX58" fmla="*/ 392 w 3830"/>
                  <a:gd name="connsiteY58" fmla="*/ 1004 h 1039"/>
                  <a:gd name="connsiteX59" fmla="*/ 341 w 3830"/>
                  <a:gd name="connsiteY59" fmla="*/ 979 h 1039"/>
                  <a:gd name="connsiteX60" fmla="*/ 293 w 3830"/>
                  <a:gd name="connsiteY60" fmla="*/ 948 h 1039"/>
                  <a:gd name="connsiteX61" fmla="*/ 248 w 3830"/>
                  <a:gd name="connsiteY61" fmla="*/ 911 h 1039"/>
                  <a:gd name="connsiteX62" fmla="*/ 207 w 3830"/>
                  <a:gd name="connsiteY62" fmla="*/ 869 h 1039"/>
                  <a:gd name="connsiteX63" fmla="*/ 169 w 3830"/>
                  <a:gd name="connsiteY63" fmla="*/ 824 h 1039"/>
                  <a:gd name="connsiteX64" fmla="*/ 132 w 3830"/>
                  <a:gd name="connsiteY64" fmla="*/ 776 h 1039"/>
                  <a:gd name="connsiteX65" fmla="*/ 99 w 3830"/>
                  <a:gd name="connsiteY65" fmla="*/ 724 h 1039"/>
                  <a:gd name="connsiteX66" fmla="*/ 64 w 3830"/>
                  <a:gd name="connsiteY66" fmla="*/ 670 h 1039"/>
                  <a:gd name="connsiteX67" fmla="*/ 33 w 3830"/>
                  <a:gd name="connsiteY67" fmla="*/ 614 h 1039"/>
                  <a:gd name="connsiteX68" fmla="*/ 0 w 3830"/>
                  <a:gd name="connsiteY68" fmla="*/ 556 h 1039"/>
                  <a:gd name="connsiteX69" fmla="*/ 77 w 3830"/>
                  <a:gd name="connsiteY69" fmla="*/ 512 h 1039"/>
                  <a:gd name="connsiteX70" fmla="*/ 110 w 3830"/>
                  <a:gd name="connsiteY70" fmla="*/ 571 h 1039"/>
                  <a:gd name="connsiteX71" fmla="*/ 143 w 3830"/>
                  <a:gd name="connsiteY71" fmla="*/ 627 h 1039"/>
                  <a:gd name="connsiteX72" fmla="*/ 176 w 3830"/>
                  <a:gd name="connsiteY72" fmla="*/ 680 h 1039"/>
                  <a:gd name="connsiteX73" fmla="*/ 209 w 3830"/>
                  <a:gd name="connsiteY73" fmla="*/ 732 h 1039"/>
                  <a:gd name="connsiteX74" fmla="*/ 244 w 3830"/>
                  <a:gd name="connsiteY74" fmla="*/ 778 h 1039"/>
                  <a:gd name="connsiteX75" fmla="*/ 281 w 3830"/>
                  <a:gd name="connsiteY75" fmla="*/ 821 h 1039"/>
                  <a:gd name="connsiteX76" fmla="*/ 322 w 3830"/>
                  <a:gd name="connsiteY76" fmla="*/ 859 h 1039"/>
                  <a:gd name="connsiteX77" fmla="*/ 366 w 3830"/>
                  <a:gd name="connsiteY77" fmla="*/ 890 h 1039"/>
                  <a:gd name="connsiteX78" fmla="*/ 413 w 3830"/>
                  <a:gd name="connsiteY78" fmla="*/ 917 h 1039"/>
                  <a:gd name="connsiteX79" fmla="*/ 463 w 3830"/>
                  <a:gd name="connsiteY79" fmla="*/ 936 h 1039"/>
                  <a:gd name="connsiteX80" fmla="*/ 518 w 3830"/>
                  <a:gd name="connsiteY80" fmla="*/ 948 h 1039"/>
                  <a:gd name="connsiteX81" fmla="*/ 580 w 3830"/>
                  <a:gd name="connsiteY81" fmla="*/ 952 h 1039"/>
                  <a:gd name="connsiteX82" fmla="*/ 587 w 3830"/>
                  <a:gd name="connsiteY82" fmla="*/ 952 h 1039"/>
                  <a:gd name="connsiteX83" fmla="*/ 646 w 3830"/>
                  <a:gd name="connsiteY83" fmla="*/ 946 h 1039"/>
                  <a:gd name="connsiteX84" fmla="*/ 702 w 3830"/>
                  <a:gd name="connsiteY84" fmla="*/ 931 h 1039"/>
                  <a:gd name="connsiteX85" fmla="*/ 756 w 3830"/>
                  <a:gd name="connsiteY85" fmla="*/ 909 h 1039"/>
                  <a:gd name="connsiteX86" fmla="*/ 803 w 3830"/>
                  <a:gd name="connsiteY86" fmla="*/ 880 h 1039"/>
                  <a:gd name="connsiteX87" fmla="*/ 849 w 3830"/>
                  <a:gd name="connsiteY87" fmla="*/ 842 h 1039"/>
                  <a:gd name="connsiteX88" fmla="*/ 892 w 3830"/>
                  <a:gd name="connsiteY88" fmla="*/ 799 h 1039"/>
                  <a:gd name="connsiteX89" fmla="*/ 931 w 3830"/>
                  <a:gd name="connsiteY89" fmla="*/ 751 h 1039"/>
                  <a:gd name="connsiteX90" fmla="*/ 971 w 3830"/>
                  <a:gd name="connsiteY90" fmla="*/ 699 h 1039"/>
                  <a:gd name="connsiteX91" fmla="*/ 1010 w 3830"/>
                  <a:gd name="connsiteY91" fmla="*/ 645 h 1039"/>
                  <a:gd name="connsiteX92" fmla="*/ 1121 w 3830"/>
                  <a:gd name="connsiteY92" fmla="*/ 471 h 1039"/>
                  <a:gd name="connsiteX93" fmla="*/ 1161 w 3830"/>
                  <a:gd name="connsiteY93" fmla="*/ 411 h 1039"/>
                  <a:gd name="connsiteX94" fmla="*/ 1202 w 3830"/>
                  <a:gd name="connsiteY94" fmla="*/ 353 h 1039"/>
                  <a:gd name="connsiteX95" fmla="*/ 1245 w 3830"/>
                  <a:gd name="connsiteY95" fmla="*/ 295 h 1039"/>
                  <a:gd name="connsiteX96" fmla="*/ 1291 w 3830"/>
                  <a:gd name="connsiteY96" fmla="*/ 241 h 1039"/>
                  <a:gd name="connsiteX97" fmla="*/ 1338 w 3830"/>
                  <a:gd name="connsiteY97" fmla="*/ 189 h 1039"/>
                  <a:gd name="connsiteX98" fmla="*/ 1392 w 3830"/>
                  <a:gd name="connsiteY98" fmla="*/ 141 h 1039"/>
                  <a:gd name="connsiteX99" fmla="*/ 1447 w 3830"/>
                  <a:gd name="connsiteY99" fmla="*/ 100 h 1039"/>
                  <a:gd name="connsiteX100" fmla="*/ 1509 w 3830"/>
                  <a:gd name="connsiteY100" fmla="*/ 65 h 1039"/>
                  <a:gd name="connsiteX101" fmla="*/ 1575 w 3830"/>
                  <a:gd name="connsiteY101" fmla="*/ 36 h 1039"/>
                  <a:gd name="connsiteX102" fmla="*/ 1648 w 3830"/>
                  <a:gd name="connsiteY102" fmla="*/ 15 h 1039"/>
                  <a:gd name="connsiteX103" fmla="*/ 1726 w 3830"/>
                  <a:gd name="connsiteY103" fmla="*/ 2 h 1039"/>
                  <a:gd name="connsiteX104" fmla="*/ 1796 w 3830"/>
                  <a:gd name="connsiteY104" fmla="*/ 0 h 1039"/>
                  <a:gd name="connsiteX105" fmla="*/ 1862 w 3830"/>
                  <a:gd name="connsiteY105" fmla="*/ 9 h 1039"/>
                  <a:gd name="connsiteX106" fmla="*/ 1922 w 3830"/>
                  <a:gd name="connsiteY106" fmla="*/ 23 h 1039"/>
                  <a:gd name="connsiteX107" fmla="*/ 1980 w 3830"/>
                  <a:gd name="connsiteY107" fmla="*/ 46 h 1039"/>
                  <a:gd name="connsiteX108" fmla="*/ 2034 w 3830"/>
                  <a:gd name="connsiteY108" fmla="*/ 77 h 1039"/>
                  <a:gd name="connsiteX109" fmla="*/ 2083 w 3830"/>
                  <a:gd name="connsiteY109" fmla="*/ 112 h 1039"/>
                  <a:gd name="connsiteX110" fmla="*/ 2129 w 3830"/>
                  <a:gd name="connsiteY110" fmla="*/ 154 h 1039"/>
                  <a:gd name="connsiteX111" fmla="*/ 2174 w 3830"/>
                  <a:gd name="connsiteY111" fmla="*/ 199 h 1039"/>
                  <a:gd name="connsiteX112" fmla="*/ 2216 w 3830"/>
                  <a:gd name="connsiteY112" fmla="*/ 247 h 1039"/>
                  <a:gd name="connsiteX113" fmla="*/ 2255 w 3830"/>
                  <a:gd name="connsiteY113" fmla="*/ 299 h 1039"/>
                  <a:gd name="connsiteX114" fmla="*/ 2292 w 3830"/>
                  <a:gd name="connsiteY114" fmla="*/ 353 h 1039"/>
                  <a:gd name="connsiteX115" fmla="*/ 2327 w 3830"/>
                  <a:gd name="connsiteY115" fmla="*/ 409 h 1039"/>
                  <a:gd name="connsiteX116" fmla="*/ 2362 w 3830"/>
                  <a:gd name="connsiteY116" fmla="*/ 463 h 1039"/>
                  <a:gd name="connsiteX117" fmla="*/ 2395 w 3830"/>
                  <a:gd name="connsiteY117" fmla="*/ 519 h 1039"/>
                  <a:gd name="connsiteX118" fmla="*/ 2432 w 3830"/>
                  <a:gd name="connsiteY118" fmla="*/ 581 h 1039"/>
                  <a:gd name="connsiteX119" fmla="*/ 2469 w 3830"/>
                  <a:gd name="connsiteY119" fmla="*/ 639 h 1039"/>
                  <a:gd name="connsiteX120" fmla="*/ 2509 w 3830"/>
                  <a:gd name="connsiteY120" fmla="*/ 697 h 1039"/>
                  <a:gd name="connsiteX121" fmla="*/ 2546 w 3830"/>
                  <a:gd name="connsiteY121" fmla="*/ 751 h 1039"/>
                  <a:gd name="connsiteX122" fmla="*/ 2587 w 3830"/>
                  <a:gd name="connsiteY122" fmla="*/ 801 h 1039"/>
                  <a:gd name="connsiteX123" fmla="*/ 2628 w 3830"/>
                  <a:gd name="connsiteY123" fmla="*/ 844 h 1039"/>
                  <a:gd name="connsiteX124" fmla="*/ 2672 w 3830"/>
                  <a:gd name="connsiteY124" fmla="*/ 882 h 1039"/>
                  <a:gd name="connsiteX125" fmla="*/ 2717 w 3830"/>
                  <a:gd name="connsiteY125" fmla="*/ 913 h 1039"/>
                  <a:gd name="connsiteX126" fmla="*/ 2767 w 3830"/>
                  <a:gd name="connsiteY126" fmla="*/ 936 h 1039"/>
                  <a:gd name="connsiteX127" fmla="*/ 2820 w 3830"/>
                  <a:gd name="connsiteY127" fmla="*/ 948 h 1039"/>
                  <a:gd name="connsiteX128" fmla="*/ 2876 w 3830"/>
                  <a:gd name="connsiteY128" fmla="*/ 952 h 1039"/>
                  <a:gd name="connsiteX129" fmla="*/ 2932 w 3830"/>
                  <a:gd name="connsiteY129" fmla="*/ 946 h 1039"/>
                  <a:gd name="connsiteX130" fmla="*/ 2982 w 3830"/>
                  <a:gd name="connsiteY130" fmla="*/ 931 h 1039"/>
                  <a:gd name="connsiteX131" fmla="*/ 3029 w 3830"/>
                  <a:gd name="connsiteY131" fmla="*/ 911 h 1039"/>
                  <a:gd name="connsiteX132" fmla="*/ 3072 w 3830"/>
                  <a:gd name="connsiteY132" fmla="*/ 880 h 1039"/>
                  <a:gd name="connsiteX133" fmla="*/ 3112 w 3830"/>
                  <a:gd name="connsiteY133" fmla="*/ 844 h 1039"/>
                  <a:gd name="connsiteX0" fmla="*/ 3112 w 3149"/>
                  <a:gd name="connsiteY0" fmla="*/ 844 h 1039"/>
                  <a:gd name="connsiteX1" fmla="*/ 3147 w 3149"/>
                  <a:gd name="connsiteY1" fmla="*/ 931 h 1039"/>
                  <a:gd name="connsiteX2" fmla="*/ 3101 w 3149"/>
                  <a:gd name="connsiteY2" fmla="*/ 967 h 1039"/>
                  <a:gd name="connsiteX3" fmla="*/ 3052 w 3149"/>
                  <a:gd name="connsiteY3" fmla="*/ 996 h 1039"/>
                  <a:gd name="connsiteX4" fmla="*/ 3000 w 3149"/>
                  <a:gd name="connsiteY4" fmla="*/ 1018 h 1039"/>
                  <a:gd name="connsiteX5" fmla="*/ 2942 w 3149"/>
                  <a:gd name="connsiteY5" fmla="*/ 1033 h 1039"/>
                  <a:gd name="connsiteX6" fmla="*/ 2878 w 3149"/>
                  <a:gd name="connsiteY6" fmla="*/ 1039 h 1039"/>
                  <a:gd name="connsiteX7" fmla="*/ 2870 w 3149"/>
                  <a:gd name="connsiteY7" fmla="*/ 1039 h 1039"/>
                  <a:gd name="connsiteX8" fmla="*/ 2808 w 3149"/>
                  <a:gd name="connsiteY8" fmla="*/ 1035 h 1039"/>
                  <a:gd name="connsiteX9" fmla="*/ 2748 w 3149"/>
                  <a:gd name="connsiteY9" fmla="*/ 1021 h 1039"/>
                  <a:gd name="connsiteX10" fmla="*/ 2695 w 3149"/>
                  <a:gd name="connsiteY10" fmla="*/ 998 h 1039"/>
                  <a:gd name="connsiteX11" fmla="*/ 2643 w 3149"/>
                  <a:gd name="connsiteY11" fmla="*/ 969 h 1039"/>
                  <a:gd name="connsiteX12" fmla="*/ 2595 w 3149"/>
                  <a:gd name="connsiteY12" fmla="*/ 931 h 1039"/>
                  <a:gd name="connsiteX13" fmla="*/ 2552 w 3149"/>
                  <a:gd name="connsiteY13" fmla="*/ 890 h 1039"/>
                  <a:gd name="connsiteX14" fmla="*/ 2509 w 3149"/>
                  <a:gd name="connsiteY14" fmla="*/ 842 h 1039"/>
                  <a:gd name="connsiteX15" fmla="*/ 2469 w 3149"/>
                  <a:gd name="connsiteY15" fmla="*/ 792 h 1039"/>
                  <a:gd name="connsiteX16" fmla="*/ 2430 w 3149"/>
                  <a:gd name="connsiteY16" fmla="*/ 736 h 1039"/>
                  <a:gd name="connsiteX17" fmla="*/ 2393 w 3149"/>
                  <a:gd name="connsiteY17" fmla="*/ 680 h 1039"/>
                  <a:gd name="connsiteX18" fmla="*/ 2288 w 3149"/>
                  <a:gd name="connsiteY18" fmla="*/ 506 h 1039"/>
                  <a:gd name="connsiteX19" fmla="*/ 2251 w 3149"/>
                  <a:gd name="connsiteY19" fmla="*/ 448 h 1039"/>
                  <a:gd name="connsiteX20" fmla="*/ 2213 w 3149"/>
                  <a:gd name="connsiteY20" fmla="*/ 392 h 1039"/>
                  <a:gd name="connsiteX21" fmla="*/ 2176 w 3149"/>
                  <a:gd name="connsiteY21" fmla="*/ 338 h 1039"/>
                  <a:gd name="connsiteX22" fmla="*/ 2137 w 3149"/>
                  <a:gd name="connsiteY22" fmla="*/ 289 h 1039"/>
                  <a:gd name="connsiteX23" fmla="*/ 2096 w 3149"/>
                  <a:gd name="connsiteY23" fmla="*/ 243 h 1039"/>
                  <a:gd name="connsiteX24" fmla="*/ 2054 w 3149"/>
                  <a:gd name="connsiteY24" fmla="*/ 201 h 1039"/>
                  <a:gd name="connsiteX25" fmla="*/ 2009 w 3149"/>
                  <a:gd name="connsiteY25" fmla="*/ 164 h 1039"/>
                  <a:gd name="connsiteX26" fmla="*/ 1962 w 3149"/>
                  <a:gd name="connsiteY26" fmla="*/ 135 h 1039"/>
                  <a:gd name="connsiteX27" fmla="*/ 1910 w 3149"/>
                  <a:gd name="connsiteY27" fmla="*/ 112 h 1039"/>
                  <a:gd name="connsiteX28" fmla="*/ 1854 w 3149"/>
                  <a:gd name="connsiteY28" fmla="*/ 96 h 1039"/>
                  <a:gd name="connsiteX29" fmla="*/ 1796 w 3149"/>
                  <a:gd name="connsiteY29" fmla="*/ 87 h 1039"/>
                  <a:gd name="connsiteX30" fmla="*/ 1732 w 3149"/>
                  <a:gd name="connsiteY30" fmla="*/ 89 h 1039"/>
                  <a:gd name="connsiteX31" fmla="*/ 1664 w 3149"/>
                  <a:gd name="connsiteY31" fmla="*/ 100 h 1039"/>
                  <a:gd name="connsiteX32" fmla="*/ 1602 w 3149"/>
                  <a:gd name="connsiteY32" fmla="*/ 118 h 1039"/>
                  <a:gd name="connsiteX33" fmla="*/ 1545 w 3149"/>
                  <a:gd name="connsiteY33" fmla="*/ 143 h 1039"/>
                  <a:gd name="connsiteX34" fmla="*/ 1491 w 3149"/>
                  <a:gd name="connsiteY34" fmla="*/ 177 h 1039"/>
                  <a:gd name="connsiteX35" fmla="*/ 1439 w 3149"/>
                  <a:gd name="connsiteY35" fmla="*/ 214 h 1039"/>
                  <a:gd name="connsiteX36" fmla="*/ 1394 w 3149"/>
                  <a:gd name="connsiteY36" fmla="*/ 257 h 1039"/>
                  <a:gd name="connsiteX37" fmla="*/ 1348 w 3149"/>
                  <a:gd name="connsiteY37" fmla="*/ 303 h 1039"/>
                  <a:gd name="connsiteX38" fmla="*/ 1307 w 3149"/>
                  <a:gd name="connsiteY38" fmla="*/ 355 h 1039"/>
                  <a:gd name="connsiteX39" fmla="*/ 1268 w 3149"/>
                  <a:gd name="connsiteY39" fmla="*/ 409 h 1039"/>
                  <a:gd name="connsiteX40" fmla="*/ 1231 w 3149"/>
                  <a:gd name="connsiteY40" fmla="*/ 463 h 1039"/>
                  <a:gd name="connsiteX41" fmla="*/ 1194 w 3149"/>
                  <a:gd name="connsiteY41" fmla="*/ 519 h 1039"/>
                  <a:gd name="connsiteX42" fmla="*/ 1156 w 3149"/>
                  <a:gd name="connsiteY42" fmla="*/ 577 h 1039"/>
                  <a:gd name="connsiteX43" fmla="*/ 1121 w 3149"/>
                  <a:gd name="connsiteY43" fmla="*/ 633 h 1039"/>
                  <a:gd name="connsiteX44" fmla="*/ 1047 w 3149"/>
                  <a:gd name="connsiteY44" fmla="*/ 745 h 1039"/>
                  <a:gd name="connsiteX45" fmla="*/ 1008 w 3149"/>
                  <a:gd name="connsiteY45" fmla="*/ 797 h 1039"/>
                  <a:gd name="connsiteX46" fmla="*/ 966 w 3149"/>
                  <a:gd name="connsiteY46" fmla="*/ 846 h 1039"/>
                  <a:gd name="connsiteX47" fmla="*/ 923 w 3149"/>
                  <a:gd name="connsiteY47" fmla="*/ 892 h 1039"/>
                  <a:gd name="connsiteX48" fmla="*/ 876 w 3149"/>
                  <a:gd name="connsiteY48" fmla="*/ 933 h 1039"/>
                  <a:gd name="connsiteX49" fmla="*/ 826 w 3149"/>
                  <a:gd name="connsiteY49" fmla="*/ 969 h 1039"/>
                  <a:gd name="connsiteX50" fmla="*/ 772 w 3149"/>
                  <a:gd name="connsiteY50" fmla="*/ 998 h 1039"/>
                  <a:gd name="connsiteX51" fmla="*/ 717 w 3149"/>
                  <a:gd name="connsiteY51" fmla="*/ 1021 h 1039"/>
                  <a:gd name="connsiteX52" fmla="*/ 653 w 3149"/>
                  <a:gd name="connsiteY52" fmla="*/ 1033 h 1039"/>
                  <a:gd name="connsiteX53" fmla="*/ 587 w 3149"/>
                  <a:gd name="connsiteY53" fmla="*/ 1039 h 1039"/>
                  <a:gd name="connsiteX54" fmla="*/ 580 w 3149"/>
                  <a:gd name="connsiteY54" fmla="*/ 1039 h 1039"/>
                  <a:gd name="connsiteX55" fmla="*/ 512 w 3149"/>
                  <a:gd name="connsiteY55" fmla="*/ 1035 h 1039"/>
                  <a:gd name="connsiteX56" fmla="*/ 450 w 3149"/>
                  <a:gd name="connsiteY56" fmla="*/ 1023 h 1039"/>
                  <a:gd name="connsiteX57" fmla="*/ 392 w 3149"/>
                  <a:gd name="connsiteY57" fmla="*/ 1004 h 1039"/>
                  <a:gd name="connsiteX58" fmla="*/ 341 w 3149"/>
                  <a:gd name="connsiteY58" fmla="*/ 979 h 1039"/>
                  <a:gd name="connsiteX59" fmla="*/ 293 w 3149"/>
                  <a:gd name="connsiteY59" fmla="*/ 948 h 1039"/>
                  <a:gd name="connsiteX60" fmla="*/ 248 w 3149"/>
                  <a:gd name="connsiteY60" fmla="*/ 911 h 1039"/>
                  <a:gd name="connsiteX61" fmla="*/ 207 w 3149"/>
                  <a:gd name="connsiteY61" fmla="*/ 869 h 1039"/>
                  <a:gd name="connsiteX62" fmla="*/ 169 w 3149"/>
                  <a:gd name="connsiteY62" fmla="*/ 824 h 1039"/>
                  <a:gd name="connsiteX63" fmla="*/ 132 w 3149"/>
                  <a:gd name="connsiteY63" fmla="*/ 776 h 1039"/>
                  <a:gd name="connsiteX64" fmla="*/ 99 w 3149"/>
                  <a:gd name="connsiteY64" fmla="*/ 724 h 1039"/>
                  <a:gd name="connsiteX65" fmla="*/ 64 w 3149"/>
                  <a:gd name="connsiteY65" fmla="*/ 670 h 1039"/>
                  <a:gd name="connsiteX66" fmla="*/ 33 w 3149"/>
                  <a:gd name="connsiteY66" fmla="*/ 614 h 1039"/>
                  <a:gd name="connsiteX67" fmla="*/ 0 w 3149"/>
                  <a:gd name="connsiteY67" fmla="*/ 556 h 1039"/>
                  <a:gd name="connsiteX68" fmla="*/ 77 w 3149"/>
                  <a:gd name="connsiteY68" fmla="*/ 512 h 1039"/>
                  <a:gd name="connsiteX69" fmla="*/ 110 w 3149"/>
                  <a:gd name="connsiteY69" fmla="*/ 571 h 1039"/>
                  <a:gd name="connsiteX70" fmla="*/ 143 w 3149"/>
                  <a:gd name="connsiteY70" fmla="*/ 627 h 1039"/>
                  <a:gd name="connsiteX71" fmla="*/ 176 w 3149"/>
                  <a:gd name="connsiteY71" fmla="*/ 680 h 1039"/>
                  <a:gd name="connsiteX72" fmla="*/ 209 w 3149"/>
                  <a:gd name="connsiteY72" fmla="*/ 732 h 1039"/>
                  <a:gd name="connsiteX73" fmla="*/ 244 w 3149"/>
                  <a:gd name="connsiteY73" fmla="*/ 778 h 1039"/>
                  <a:gd name="connsiteX74" fmla="*/ 281 w 3149"/>
                  <a:gd name="connsiteY74" fmla="*/ 821 h 1039"/>
                  <a:gd name="connsiteX75" fmla="*/ 322 w 3149"/>
                  <a:gd name="connsiteY75" fmla="*/ 859 h 1039"/>
                  <a:gd name="connsiteX76" fmla="*/ 366 w 3149"/>
                  <a:gd name="connsiteY76" fmla="*/ 890 h 1039"/>
                  <a:gd name="connsiteX77" fmla="*/ 413 w 3149"/>
                  <a:gd name="connsiteY77" fmla="*/ 917 h 1039"/>
                  <a:gd name="connsiteX78" fmla="*/ 463 w 3149"/>
                  <a:gd name="connsiteY78" fmla="*/ 936 h 1039"/>
                  <a:gd name="connsiteX79" fmla="*/ 518 w 3149"/>
                  <a:gd name="connsiteY79" fmla="*/ 948 h 1039"/>
                  <a:gd name="connsiteX80" fmla="*/ 580 w 3149"/>
                  <a:gd name="connsiteY80" fmla="*/ 952 h 1039"/>
                  <a:gd name="connsiteX81" fmla="*/ 587 w 3149"/>
                  <a:gd name="connsiteY81" fmla="*/ 952 h 1039"/>
                  <a:gd name="connsiteX82" fmla="*/ 646 w 3149"/>
                  <a:gd name="connsiteY82" fmla="*/ 946 h 1039"/>
                  <a:gd name="connsiteX83" fmla="*/ 702 w 3149"/>
                  <a:gd name="connsiteY83" fmla="*/ 931 h 1039"/>
                  <a:gd name="connsiteX84" fmla="*/ 756 w 3149"/>
                  <a:gd name="connsiteY84" fmla="*/ 909 h 1039"/>
                  <a:gd name="connsiteX85" fmla="*/ 803 w 3149"/>
                  <a:gd name="connsiteY85" fmla="*/ 880 h 1039"/>
                  <a:gd name="connsiteX86" fmla="*/ 849 w 3149"/>
                  <a:gd name="connsiteY86" fmla="*/ 842 h 1039"/>
                  <a:gd name="connsiteX87" fmla="*/ 892 w 3149"/>
                  <a:gd name="connsiteY87" fmla="*/ 799 h 1039"/>
                  <a:gd name="connsiteX88" fmla="*/ 931 w 3149"/>
                  <a:gd name="connsiteY88" fmla="*/ 751 h 1039"/>
                  <a:gd name="connsiteX89" fmla="*/ 971 w 3149"/>
                  <a:gd name="connsiteY89" fmla="*/ 699 h 1039"/>
                  <a:gd name="connsiteX90" fmla="*/ 1010 w 3149"/>
                  <a:gd name="connsiteY90" fmla="*/ 645 h 1039"/>
                  <a:gd name="connsiteX91" fmla="*/ 1121 w 3149"/>
                  <a:gd name="connsiteY91" fmla="*/ 471 h 1039"/>
                  <a:gd name="connsiteX92" fmla="*/ 1161 w 3149"/>
                  <a:gd name="connsiteY92" fmla="*/ 411 h 1039"/>
                  <a:gd name="connsiteX93" fmla="*/ 1202 w 3149"/>
                  <a:gd name="connsiteY93" fmla="*/ 353 h 1039"/>
                  <a:gd name="connsiteX94" fmla="*/ 1245 w 3149"/>
                  <a:gd name="connsiteY94" fmla="*/ 295 h 1039"/>
                  <a:gd name="connsiteX95" fmla="*/ 1291 w 3149"/>
                  <a:gd name="connsiteY95" fmla="*/ 241 h 1039"/>
                  <a:gd name="connsiteX96" fmla="*/ 1338 w 3149"/>
                  <a:gd name="connsiteY96" fmla="*/ 189 h 1039"/>
                  <a:gd name="connsiteX97" fmla="*/ 1392 w 3149"/>
                  <a:gd name="connsiteY97" fmla="*/ 141 h 1039"/>
                  <a:gd name="connsiteX98" fmla="*/ 1447 w 3149"/>
                  <a:gd name="connsiteY98" fmla="*/ 100 h 1039"/>
                  <a:gd name="connsiteX99" fmla="*/ 1509 w 3149"/>
                  <a:gd name="connsiteY99" fmla="*/ 65 h 1039"/>
                  <a:gd name="connsiteX100" fmla="*/ 1575 w 3149"/>
                  <a:gd name="connsiteY100" fmla="*/ 36 h 1039"/>
                  <a:gd name="connsiteX101" fmla="*/ 1648 w 3149"/>
                  <a:gd name="connsiteY101" fmla="*/ 15 h 1039"/>
                  <a:gd name="connsiteX102" fmla="*/ 1726 w 3149"/>
                  <a:gd name="connsiteY102" fmla="*/ 2 h 1039"/>
                  <a:gd name="connsiteX103" fmla="*/ 1796 w 3149"/>
                  <a:gd name="connsiteY103" fmla="*/ 0 h 1039"/>
                  <a:gd name="connsiteX104" fmla="*/ 1862 w 3149"/>
                  <a:gd name="connsiteY104" fmla="*/ 9 h 1039"/>
                  <a:gd name="connsiteX105" fmla="*/ 1922 w 3149"/>
                  <a:gd name="connsiteY105" fmla="*/ 23 h 1039"/>
                  <a:gd name="connsiteX106" fmla="*/ 1980 w 3149"/>
                  <a:gd name="connsiteY106" fmla="*/ 46 h 1039"/>
                  <a:gd name="connsiteX107" fmla="*/ 2034 w 3149"/>
                  <a:gd name="connsiteY107" fmla="*/ 77 h 1039"/>
                  <a:gd name="connsiteX108" fmla="*/ 2083 w 3149"/>
                  <a:gd name="connsiteY108" fmla="*/ 112 h 1039"/>
                  <a:gd name="connsiteX109" fmla="*/ 2129 w 3149"/>
                  <a:gd name="connsiteY109" fmla="*/ 154 h 1039"/>
                  <a:gd name="connsiteX110" fmla="*/ 2174 w 3149"/>
                  <a:gd name="connsiteY110" fmla="*/ 199 h 1039"/>
                  <a:gd name="connsiteX111" fmla="*/ 2216 w 3149"/>
                  <a:gd name="connsiteY111" fmla="*/ 247 h 1039"/>
                  <a:gd name="connsiteX112" fmla="*/ 2255 w 3149"/>
                  <a:gd name="connsiteY112" fmla="*/ 299 h 1039"/>
                  <a:gd name="connsiteX113" fmla="*/ 2292 w 3149"/>
                  <a:gd name="connsiteY113" fmla="*/ 353 h 1039"/>
                  <a:gd name="connsiteX114" fmla="*/ 2327 w 3149"/>
                  <a:gd name="connsiteY114" fmla="*/ 409 h 1039"/>
                  <a:gd name="connsiteX115" fmla="*/ 2362 w 3149"/>
                  <a:gd name="connsiteY115" fmla="*/ 463 h 1039"/>
                  <a:gd name="connsiteX116" fmla="*/ 2395 w 3149"/>
                  <a:gd name="connsiteY116" fmla="*/ 519 h 1039"/>
                  <a:gd name="connsiteX117" fmla="*/ 2432 w 3149"/>
                  <a:gd name="connsiteY117" fmla="*/ 581 h 1039"/>
                  <a:gd name="connsiteX118" fmla="*/ 2469 w 3149"/>
                  <a:gd name="connsiteY118" fmla="*/ 639 h 1039"/>
                  <a:gd name="connsiteX119" fmla="*/ 2509 w 3149"/>
                  <a:gd name="connsiteY119" fmla="*/ 697 h 1039"/>
                  <a:gd name="connsiteX120" fmla="*/ 2546 w 3149"/>
                  <a:gd name="connsiteY120" fmla="*/ 751 h 1039"/>
                  <a:gd name="connsiteX121" fmla="*/ 2587 w 3149"/>
                  <a:gd name="connsiteY121" fmla="*/ 801 h 1039"/>
                  <a:gd name="connsiteX122" fmla="*/ 2628 w 3149"/>
                  <a:gd name="connsiteY122" fmla="*/ 844 h 1039"/>
                  <a:gd name="connsiteX123" fmla="*/ 2672 w 3149"/>
                  <a:gd name="connsiteY123" fmla="*/ 882 h 1039"/>
                  <a:gd name="connsiteX124" fmla="*/ 2717 w 3149"/>
                  <a:gd name="connsiteY124" fmla="*/ 913 h 1039"/>
                  <a:gd name="connsiteX125" fmla="*/ 2767 w 3149"/>
                  <a:gd name="connsiteY125" fmla="*/ 936 h 1039"/>
                  <a:gd name="connsiteX126" fmla="*/ 2820 w 3149"/>
                  <a:gd name="connsiteY126" fmla="*/ 948 h 1039"/>
                  <a:gd name="connsiteX127" fmla="*/ 2876 w 3149"/>
                  <a:gd name="connsiteY127" fmla="*/ 952 h 1039"/>
                  <a:gd name="connsiteX128" fmla="*/ 2932 w 3149"/>
                  <a:gd name="connsiteY128" fmla="*/ 946 h 1039"/>
                  <a:gd name="connsiteX129" fmla="*/ 2982 w 3149"/>
                  <a:gd name="connsiteY129" fmla="*/ 931 h 1039"/>
                  <a:gd name="connsiteX130" fmla="*/ 3029 w 3149"/>
                  <a:gd name="connsiteY130" fmla="*/ 911 h 1039"/>
                  <a:gd name="connsiteX131" fmla="*/ 3072 w 3149"/>
                  <a:gd name="connsiteY131" fmla="*/ 880 h 1039"/>
                  <a:gd name="connsiteX132" fmla="*/ 3112 w 3149"/>
                  <a:gd name="connsiteY132" fmla="*/ 844 h 1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</a:cxnLst>
                <a:rect l="l" t="t" r="r" b="b"/>
                <a:pathLst>
                  <a:path w="3149" h="1039">
                    <a:moveTo>
                      <a:pt x="3112" y="844"/>
                    </a:moveTo>
                    <a:cubicBezTo>
                      <a:pt x="3124" y="852"/>
                      <a:pt x="3149" y="911"/>
                      <a:pt x="3147" y="931"/>
                    </a:cubicBezTo>
                    <a:cubicBezTo>
                      <a:pt x="3132" y="943"/>
                      <a:pt x="3116" y="955"/>
                      <a:pt x="3101" y="967"/>
                    </a:cubicBezTo>
                    <a:cubicBezTo>
                      <a:pt x="3085" y="977"/>
                      <a:pt x="3068" y="986"/>
                      <a:pt x="3052" y="996"/>
                    </a:cubicBezTo>
                    <a:cubicBezTo>
                      <a:pt x="3035" y="1003"/>
                      <a:pt x="3017" y="1011"/>
                      <a:pt x="3000" y="1018"/>
                    </a:cubicBezTo>
                    <a:lnTo>
                      <a:pt x="2942" y="1033"/>
                    </a:lnTo>
                    <a:lnTo>
                      <a:pt x="2878" y="1039"/>
                    </a:lnTo>
                    <a:lnTo>
                      <a:pt x="2870" y="1039"/>
                    </a:lnTo>
                    <a:cubicBezTo>
                      <a:pt x="2849" y="1038"/>
                      <a:pt x="2829" y="1036"/>
                      <a:pt x="2808" y="1035"/>
                    </a:cubicBezTo>
                    <a:cubicBezTo>
                      <a:pt x="2788" y="1030"/>
                      <a:pt x="2768" y="1026"/>
                      <a:pt x="2748" y="1021"/>
                    </a:cubicBezTo>
                    <a:cubicBezTo>
                      <a:pt x="2730" y="1013"/>
                      <a:pt x="2713" y="1006"/>
                      <a:pt x="2695" y="998"/>
                    </a:cubicBezTo>
                    <a:cubicBezTo>
                      <a:pt x="2678" y="988"/>
                      <a:pt x="2660" y="979"/>
                      <a:pt x="2643" y="969"/>
                    </a:cubicBezTo>
                    <a:cubicBezTo>
                      <a:pt x="2627" y="956"/>
                      <a:pt x="2611" y="944"/>
                      <a:pt x="2595" y="931"/>
                    </a:cubicBezTo>
                    <a:cubicBezTo>
                      <a:pt x="2581" y="917"/>
                      <a:pt x="2566" y="904"/>
                      <a:pt x="2552" y="890"/>
                    </a:cubicBezTo>
                    <a:cubicBezTo>
                      <a:pt x="2538" y="874"/>
                      <a:pt x="2523" y="858"/>
                      <a:pt x="2509" y="842"/>
                    </a:cubicBezTo>
                    <a:cubicBezTo>
                      <a:pt x="2496" y="825"/>
                      <a:pt x="2482" y="809"/>
                      <a:pt x="2469" y="792"/>
                    </a:cubicBezTo>
                    <a:cubicBezTo>
                      <a:pt x="2456" y="773"/>
                      <a:pt x="2443" y="755"/>
                      <a:pt x="2430" y="736"/>
                    </a:cubicBezTo>
                    <a:cubicBezTo>
                      <a:pt x="2418" y="717"/>
                      <a:pt x="2405" y="699"/>
                      <a:pt x="2393" y="680"/>
                    </a:cubicBezTo>
                    <a:lnTo>
                      <a:pt x="2288" y="506"/>
                    </a:lnTo>
                    <a:cubicBezTo>
                      <a:pt x="2276" y="487"/>
                      <a:pt x="2263" y="467"/>
                      <a:pt x="2251" y="448"/>
                    </a:cubicBezTo>
                    <a:cubicBezTo>
                      <a:pt x="2238" y="429"/>
                      <a:pt x="2226" y="411"/>
                      <a:pt x="2213" y="392"/>
                    </a:cubicBezTo>
                    <a:cubicBezTo>
                      <a:pt x="2201" y="374"/>
                      <a:pt x="2188" y="356"/>
                      <a:pt x="2176" y="338"/>
                    </a:cubicBezTo>
                    <a:cubicBezTo>
                      <a:pt x="2163" y="322"/>
                      <a:pt x="2150" y="305"/>
                      <a:pt x="2137" y="289"/>
                    </a:cubicBezTo>
                    <a:cubicBezTo>
                      <a:pt x="2123" y="274"/>
                      <a:pt x="2110" y="258"/>
                      <a:pt x="2096" y="243"/>
                    </a:cubicBezTo>
                    <a:lnTo>
                      <a:pt x="2054" y="201"/>
                    </a:lnTo>
                    <a:cubicBezTo>
                      <a:pt x="2039" y="189"/>
                      <a:pt x="2024" y="176"/>
                      <a:pt x="2009" y="164"/>
                    </a:cubicBezTo>
                    <a:lnTo>
                      <a:pt x="1962" y="135"/>
                    </a:lnTo>
                    <a:cubicBezTo>
                      <a:pt x="1945" y="127"/>
                      <a:pt x="1927" y="120"/>
                      <a:pt x="1910" y="112"/>
                    </a:cubicBezTo>
                    <a:cubicBezTo>
                      <a:pt x="1891" y="107"/>
                      <a:pt x="1873" y="101"/>
                      <a:pt x="1854" y="96"/>
                    </a:cubicBezTo>
                    <a:lnTo>
                      <a:pt x="1796" y="87"/>
                    </a:lnTo>
                    <a:cubicBezTo>
                      <a:pt x="1775" y="88"/>
                      <a:pt x="1753" y="88"/>
                      <a:pt x="1732" y="89"/>
                    </a:cubicBezTo>
                    <a:cubicBezTo>
                      <a:pt x="1709" y="93"/>
                      <a:pt x="1687" y="96"/>
                      <a:pt x="1664" y="100"/>
                    </a:cubicBezTo>
                    <a:lnTo>
                      <a:pt x="1602" y="118"/>
                    </a:lnTo>
                    <a:cubicBezTo>
                      <a:pt x="1583" y="126"/>
                      <a:pt x="1564" y="135"/>
                      <a:pt x="1545" y="143"/>
                    </a:cubicBezTo>
                    <a:cubicBezTo>
                      <a:pt x="1527" y="154"/>
                      <a:pt x="1509" y="166"/>
                      <a:pt x="1491" y="177"/>
                    </a:cubicBezTo>
                    <a:lnTo>
                      <a:pt x="1439" y="214"/>
                    </a:lnTo>
                    <a:cubicBezTo>
                      <a:pt x="1424" y="228"/>
                      <a:pt x="1409" y="243"/>
                      <a:pt x="1394" y="257"/>
                    </a:cubicBezTo>
                    <a:lnTo>
                      <a:pt x="1348" y="303"/>
                    </a:lnTo>
                    <a:cubicBezTo>
                      <a:pt x="1334" y="320"/>
                      <a:pt x="1321" y="338"/>
                      <a:pt x="1307" y="355"/>
                    </a:cubicBezTo>
                    <a:lnTo>
                      <a:pt x="1268" y="409"/>
                    </a:lnTo>
                    <a:cubicBezTo>
                      <a:pt x="1256" y="427"/>
                      <a:pt x="1243" y="445"/>
                      <a:pt x="1231" y="463"/>
                    </a:cubicBezTo>
                    <a:cubicBezTo>
                      <a:pt x="1219" y="482"/>
                      <a:pt x="1206" y="500"/>
                      <a:pt x="1194" y="519"/>
                    </a:cubicBezTo>
                    <a:cubicBezTo>
                      <a:pt x="1181" y="538"/>
                      <a:pt x="1169" y="558"/>
                      <a:pt x="1156" y="577"/>
                    </a:cubicBezTo>
                    <a:cubicBezTo>
                      <a:pt x="1144" y="596"/>
                      <a:pt x="1133" y="614"/>
                      <a:pt x="1121" y="633"/>
                    </a:cubicBezTo>
                    <a:cubicBezTo>
                      <a:pt x="1096" y="670"/>
                      <a:pt x="1072" y="708"/>
                      <a:pt x="1047" y="745"/>
                    </a:cubicBezTo>
                    <a:cubicBezTo>
                      <a:pt x="1034" y="762"/>
                      <a:pt x="1021" y="780"/>
                      <a:pt x="1008" y="797"/>
                    </a:cubicBezTo>
                    <a:cubicBezTo>
                      <a:pt x="994" y="813"/>
                      <a:pt x="980" y="830"/>
                      <a:pt x="966" y="846"/>
                    </a:cubicBezTo>
                    <a:lnTo>
                      <a:pt x="923" y="892"/>
                    </a:lnTo>
                    <a:lnTo>
                      <a:pt x="876" y="933"/>
                    </a:lnTo>
                    <a:cubicBezTo>
                      <a:pt x="859" y="945"/>
                      <a:pt x="843" y="957"/>
                      <a:pt x="826" y="969"/>
                    </a:cubicBezTo>
                    <a:cubicBezTo>
                      <a:pt x="808" y="979"/>
                      <a:pt x="790" y="988"/>
                      <a:pt x="772" y="998"/>
                    </a:cubicBezTo>
                    <a:cubicBezTo>
                      <a:pt x="754" y="1006"/>
                      <a:pt x="735" y="1013"/>
                      <a:pt x="717" y="1021"/>
                    </a:cubicBezTo>
                    <a:lnTo>
                      <a:pt x="653" y="1033"/>
                    </a:lnTo>
                    <a:lnTo>
                      <a:pt x="587" y="1039"/>
                    </a:lnTo>
                    <a:lnTo>
                      <a:pt x="580" y="1039"/>
                    </a:lnTo>
                    <a:cubicBezTo>
                      <a:pt x="557" y="1038"/>
                      <a:pt x="535" y="1036"/>
                      <a:pt x="512" y="1035"/>
                    </a:cubicBezTo>
                    <a:lnTo>
                      <a:pt x="450" y="1023"/>
                    </a:lnTo>
                    <a:cubicBezTo>
                      <a:pt x="431" y="1017"/>
                      <a:pt x="411" y="1010"/>
                      <a:pt x="392" y="1004"/>
                    </a:cubicBezTo>
                    <a:cubicBezTo>
                      <a:pt x="375" y="996"/>
                      <a:pt x="358" y="987"/>
                      <a:pt x="341" y="979"/>
                    </a:cubicBezTo>
                    <a:cubicBezTo>
                      <a:pt x="325" y="969"/>
                      <a:pt x="309" y="958"/>
                      <a:pt x="293" y="948"/>
                    </a:cubicBezTo>
                    <a:cubicBezTo>
                      <a:pt x="278" y="936"/>
                      <a:pt x="263" y="923"/>
                      <a:pt x="248" y="911"/>
                    </a:cubicBezTo>
                    <a:cubicBezTo>
                      <a:pt x="234" y="897"/>
                      <a:pt x="221" y="883"/>
                      <a:pt x="207" y="869"/>
                    </a:cubicBezTo>
                    <a:cubicBezTo>
                      <a:pt x="194" y="854"/>
                      <a:pt x="182" y="839"/>
                      <a:pt x="169" y="824"/>
                    </a:cubicBezTo>
                    <a:cubicBezTo>
                      <a:pt x="157" y="808"/>
                      <a:pt x="144" y="792"/>
                      <a:pt x="132" y="776"/>
                    </a:cubicBezTo>
                    <a:cubicBezTo>
                      <a:pt x="121" y="759"/>
                      <a:pt x="110" y="741"/>
                      <a:pt x="99" y="724"/>
                    </a:cubicBezTo>
                    <a:cubicBezTo>
                      <a:pt x="87" y="706"/>
                      <a:pt x="76" y="688"/>
                      <a:pt x="64" y="670"/>
                    </a:cubicBezTo>
                    <a:cubicBezTo>
                      <a:pt x="54" y="651"/>
                      <a:pt x="43" y="633"/>
                      <a:pt x="33" y="614"/>
                    </a:cubicBezTo>
                    <a:cubicBezTo>
                      <a:pt x="22" y="595"/>
                      <a:pt x="11" y="575"/>
                      <a:pt x="0" y="556"/>
                    </a:cubicBezTo>
                    <a:cubicBezTo>
                      <a:pt x="7" y="539"/>
                      <a:pt x="59" y="510"/>
                      <a:pt x="77" y="512"/>
                    </a:cubicBezTo>
                    <a:cubicBezTo>
                      <a:pt x="88" y="532"/>
                      <a:pt x="99" y="551"/>
                      <a:pt x="110" y="571"/>
                    </a:cubicBezTo>
                    <a:cubicBezTo>
                      <a:pt x="121" y="590"/>
                      <a:pt x="132" y="608"/>
                      <a:pt x="143" y="627"/>
                    </a:cubicBezTo>
                    <a:cubicBezTo>
                      <a:pt x="154" y="645"/>
                      <a:pt x="165" y="662"/>
                      <a:pt x="176" y="680"/>
                    </a:cubicBezTo>
                    <a:cubicBezTo>
                      <a:pt x="187" y="697"/>
                      <a:pt x="198" y="715"/>
                      <a:pt x="209" y="732"/>
                    </a:cubicBezTo>
                    <a:cubicBezTo>
                      <a:pt x="221" y="747"/>
                      <a:pt x="232" y="763"/>
                      <a:pt x="244" y="778"/>
                    </a:cubicBezTo>
                    <a:lnTo>
                      <a:pt x="281" y="821"/>
                    </a:lnTo>
                    <a:lnTo>
                      <a:pt x="322" y="859"/>
                    </a:lnTo>
                    <a:cubicBezTo>
                      <a:pt x="337" y="869"/>
                      <a:pt x="351" y="880"/>
                      <a:pt x="366" y="890"/>
                    </a:cubicBezTo>
                    <a:cubicBezTo>
                      <a:pt x="382" y="899"/>
                      <a:pt x="397" y="908"/>
                      <a:pt x="413" y="917"/>
                    </a:cubicBezTo>
                    <a:cubicBezTo>
                      <a:pt x="430" y="923"/>
                      <a:pt x="446" y="930"/>
                      <a:pt x="463" y="936"/>
                    </a:cubicBezTo>
                    <a:lnTo>
                      <a:pt x="518" y="948"/>
                    </a:lnTo>
                    <a:cubicBezTo>
                      <a:pt x="539" y="949"/>
                      <a:pt x="559" y="951"/>
                      <a:pt x="580" y="952"/>
                    </a:cubicBezTo>
                    <a:lnTo>
                      <a:pt x="587" y="952"/>
                    </a:lnTo>
                    <a:lnTo>
                      <a:pt x="646" y="946"/>
                    </a:lnTo>
                    <a:lnTo>
                      <a:pt x="702" y="931"/>
                    </a:lnTo>
                    <a:cubicBezTo>
                      <a:pt x="720" y="924"/>
                      <a:pt x="738" y="916"/>
                      <a:pt x="756" y="909"/>
                    </a:cubicBezTo>
                    <a:lnTo>
                      <a:pt x="803" y="880"/>
                    </a:lnTo>
                    <a:cubicBezTo>
                      <a:pt x="818" y="867"/>
                      <a:pt x="834" y="855"/>
                      <a:pt x="849" y="842"/>
                    </a:cubicBezTo>
                    <a:lnTo>
                      <a:pt x="892" y="799"/>
                    </a:lnTo>
                    <a:lnTo>
                      <a:pt x="931" y="751"/>
                    </a:lnTo>
                    <a:lnTo>
                      <a:pt x="971" y="699"/>
                    </a:lnTo>
                    <a:lnTo>
                      <a:pt x="1010" y="645"/>
                    </a:lnTo>
                    <a:lnTo>
                      <a:pt x="1121" y="471"/>
                    </a:lnTo>
                    <a:cubicBezTo>
                      <a:pt x="1134" y="451"/>
                      <a:pt x="1148" y="431"/>
                      <a:pt x="1161" y="411"/>
                    </a:cubicBezTo>
                    <a:cubicBezTo>
                      <a:pt x="1175" y="392"/>
                      <a:pt x="1188" y="372"/>
                      <a:pt x="1202" y="353"/>
                    </a:cubicBezTo>
                    <a:lnTo>
                      <a:pt x="1245" y="295"/>
                    </a:lnTo>
                    <a:cubicBezTo>
                      <a:pt x="1260" y="277"/>
                      <a:pt x="1276" y="259"/>
                      <a:pt x="1291" y="241"/>
                    </a:cubicBezTo>
                    <a:cubicBezTo>
                      <a:pt x="1307" y="224"/>
                      <a:pt x="1322" y="206"/>
                      <a:pt x="1338" y="189"/>
                    </a:cubicBezTo>
                    <a:lnTo>
                      <a:pt x="1392" y="141"/>
                    </a:lnTo>
                    <a:cubicBezTo>
                      <a:pt x="1410" y="127"/>
                      <a:pt x="1429" y="114"/>
                      <a:pt x="1447" y="100"/>
                    </a:cubicBezTo>
                    <a:lnTo>
                      <a:pt x="1509" y="65"/>
                    </a:lnTo>
                    <a:cubicBezTo>
                      <a:pt x="1531" y="55"/>
                      <a:pt x="1553" y="46"/>
                      <a:pt x="1575" y="36"/>
                    </a:cubicBezTo>
                    <a:lnTo>
                      <a:pt x="1648" y="15"/>
                    </a:lnTo>
                    <a:cubicBezTo>
                      <a:pt x="1674" y="11"/>
                      <a:pt x="1700" y="6"/>
                      <a:pt x="1726" y="2"/>
                    </a:cubicBezTo>
                    <a:cubicBezTo>
                      <a:pt x="1749" y="1"/>
                      <a:pt x="1773" y="1"/>
                      <a:pt x="1796" y="0"/>
                    </a:cubicBezTo>
                    <a:lnTo>
                      <a:pt x="1862" y="9"/>
                    </a:lnTo>
                    <a:cubicBezTo>
                      <a:pt x="1882" y="14"/>
                      <a:pt x="1902" y="18"/>
                      <a:pt x="1922" y="23"/>
                    </a:cubicBezTo>
                    <a:cubicBezTo>
                      <a:pt x="1941" y="31"/>
                      <a:pt x="1961" y="38"/>
                      <a:pt x="1980" y="46"/>
                    </a:cubicBezTo>
                    <a:cubicBezTo>
                      <a:pt x="1998" y="56"/>
                      <a:pt x="2016" y="67"/>
                      <a:pt x="2034" y="77"/>
                    </a:cubicBezTo>
                    <a:cubicBezTo>
                      <a:pt x="2050" y="89"/>
                      <a:pt x="2067" y="100"/>
                      <a:pt x="2083" y="112"/>
                    </a:cubicBezTo>
                    <a:cubicBezTo>
                      <a:pt x="2098" y="126"/>
                      <a:pt x="2114" y="140"/>
                      <a:pt x="2129" y="154"/>
                    </a:cubicBezTo>
                    <a:lnTo>
                      <a:pt x="2174" y="199"/>
                    </a:lnTo>
                    <a:lnTo>
                      <a:pt x="2216" y="247"/>
                    </a:lnTo>
                    <a:cubicBezTo>
                      <a:pt x="2229" y="264"/>
                      <a:pt x="2242" y="282"/>
                      <a:pt x="2255" y="299"/>
                    </a:cubicBezTo>
                    <a:cubicBezTo>
                      <a:pt x="2267" y="317"/>
                      <a:pt x="2280" y="335"/>
                      <a:pt x="2292" y="353"/>
                    </a:cubicBezTo>
                    <a:cubicBezTo>
                      <a:pt x="2304" y="372"/>
                      <a:pt x="2315" y="390"/>
                      <a:pt x="2327" y="409"/>
                    </a:cubicBezTo>
                    <a:cubicBezTo>
                      <a:pt x="2339" y="427"/>
                      <a:pt x="2350" y="445"/>
                      <a:pt x="2362" y="463"/>
                    </a:cubicBezTo>
                    <a:cubicBezTo>
                      <a:pt x="2373" y="482"/>
                      <a:pt x="2384" y="500"/>
                      <a:pt x="2395" y="519"/>
                    </a:cubicBezTo>
                    <a:cubicBezTo>
                      <a:pt x="2407" y="540"/>
                      <a:pt x="2420" y="560"/>
                      <a:pt x="2432" y="581"/>
                    </a:cubicBezTo>
                    <a:cubicBezTo>
                      <a:pt x="2444" y="600"/>
                      <a:pt x="2457" y="620"/>
                      <a:pt x="2469" y="639"/>
                    </a:cubicBezTo>
                    <a:cubicBezTo>
                      <a:pt x="2482" y="658"/>
                      <a:pt x="2496" y="678"/>
                      <a:pt x="2509" y="697"/>
                    </a:cubicBezTo>
                    <a:cubicBezTo>
                      <a:pt x="2521" y="715"/>
                      <a:pt x="2534" y="733"/>
                      <a:pt x="2546" y="751"/>
                    </a:cubicBezTo>
                    <a:lnTo>
                      <a:pt x="2587" y="801"/>
                    </a:lnTo>
                    <a:cubicBezTo>
                      <a:pt x="2601" y="815"/>
                      <a:pt x="2614" y="830"/>
                      <a:pt x="2628" y="844"/>
                    </a:cubicBezTo>
                    <a:lnTo>
                      <a:pt x="2672" y="882"/>
                    </a:lnTo>
                    <a:cubicBezTo>
                      <a:pt x="2687" y="892"/>
                      <a:pt x="2702" y="903"/>
                      <a:pt x="2717" y="913"/>
                    </a:cubicBezTo>
                    <a:cubicBezTo>
                      <a:pt x="2734" y="921"/>
                      <a:pt x="2750" y="928"/>
                      <a:pt x="2767" y="936"/>
                    </a:cubicBezTo>
                    <a:lnTo>
                      <a:pt x="2820" y="948"/>
                    </a:lnTo>
                    <a:cubicBezTo>
                      <a:pt x="2839" y="949"/>
                      <a:pt x="2857" y="951"/>
                      <a:pt x="2876" y="952"/>
                    </a:cubicBezTo>
                    <a:lnTo>
                      <a:pt x="2932" y="946"/>
                    </a:lnTo>
                    <a:lnTo>
                      <a:pt x="2982" y="931"/>
                    </a:lnTo>
                    <a:cubicBezTo>
                      <a:pt x="2998" y="924"/>
                      <a:pt x="3013" y="918"/>
                      <a:pt x="3029" y="911"/>
                    </a:cubicBezTo>
                    <a:lnTo>
                      <a:pt x="3072" y="880"/>
                    </a:lnTo>
                    <a:cubicBezTo>
                      <a:pt x="3085" y="868"/>
                      <a:pt x="3099" y="856"/>
                      <a:pt x="3112" y="84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7"/>
              <p:cNvSpPr>
                <a:spLocks/>
              </p:cNvSpPr>
              <p:nvPr/>
            </p:nvSpPr>
            <p:spPr bwMode="auto">
              <a:xfrm>
                <a:off x="1892303" y="2640021"/>
                <a:ext cx="4824411" cy="1649412"/>
              </a:xfrm>
              <a:custGeom>
                <a:avLst/>
                <a:gdLst>
                  <a:gd name="connsiteX0" fmla="*/ 4631 w 5810"/>
                  <a:gd name="connsiteY0" fmla="*/ 0 h 1072"/>
                  <a:gd name="connsiteX1" fmla="*/ 4681 w 5810"/>
                  <a:gd name="connsiteY1" fmla="*/ 0 h 1072"/>
                  <a:gd name="connsiteX2" fmla="*/ 4710 w 5810"/>
                  <a:gd name="connsiteY2" fmla="*/ 4 h 1072"/>
                  <a:gd name="connsiteX3" fmla="*/ 4741 w 5810"/>
                  <a:gd name="connsiteY3" fmla="*/ 13 h 1072"/>
                  <a:gd name="connsiteX4" fmla="*/ 4778 w 5810"/>
                  <a:gd name="connsiteY4" fmla="*/ 23 h 1072"/>
                  <a:gd name="connsiteX5" fmla="*/ 4819 w 5810"/>
                  <a:gd name="connsiteY5" fmla="*/ 39 h 1072"/>
                  <a:gd name="connsiteX6" fmla="*/ 4863 w 5810"/>
                  <a:gd name="connsiteY6" fmla="*/ 60 h 1072"/>
                  <a:gd name="connsiteX7" fmla="*/ 4910 w 5810"/>
                  <a:gd name="connsiteY7" fmla="*/ 89 h 1072"/>
                  <a:gd name="connsiteX8" fmla="*/ 4960 w 5810"/>
                  <a:gd name="connsiteY8" fmla="*/ 124 h 1072"/>
                  <a:gd name="connsiteX9" fmla="*/ 5009 w 5810"/>
                  <a:gd name="connsiteY9" fmla="*/ 170 h 1072"/>
                  <a:gd name="connsiteX10" fmla="*/ 5061 w 5810"/>
                  <a:gd name="connsiteY10" fmla="*/ 224 h 1072"/>
                  <a:gd name="connsiteX11" fmla="*/ 5112 w 5810"/>
                  <a:gd name="connsiteY11" fmla="*/ 286 h 1072"/>
                  <a:gd name="connsiteX12" fmla="*/ 5164 w 5810"/>
                  <a:gd name="connsiteY12" fmla="*/ 361 h 1072"/>
                  <a:gd name="connsiteX13" fmla="*/ 5216 w 5810"/>
                  <a:gd name="connsiteY13" fmla="*/ 448 h 1072"/>
                  <a:gd name="connsiteX14" fmla="*/ 5267 w 5810"/>
                  <a:gd name="connsiteY14" fmla="*/ 548 h 1072"/>
                  <a:gd name="connsiteX15" fmla="*/ 5313 w 5810"/>
                  <a:gd name="connsiteY15" fmla="*/ 633 h 1072"/>
                  <a:gd name="connsiteX16" fmla="*/ 5358 w 5810"/>
                  <a:gd name="connsiteY16" fmla="*/ 707 h 1072"/>
                  <a:gd name="connsiteX17" fmla="*/ 5408 w 5810"/>
                  <a:gd name="connsiteY17" fmla="*/ 769 h 1072"/>
                  <a:gd name="connsiteX18" fmla="*/ 5455 w 5810"/>
                  <a:gd name="connsiteY18" fmla="*/ 821 h 1072"/>
                  <a:gd name="connsiteX19" fmla="*/ 5503 w 5810"/>
                  <a:gd name="connsiteY19" fmla="*/ 865 h 1072"/>
                  <a:gd name="connsiteX20" fmla="*/ 5550 w 5810"/>
                  <a:gd name="connsiteY20" fmla="*/ 900 h 1072"/>
                  <a:gd name="connsiteX21" fmla="*/ 5593 w 5810"/>
                  <a:gd name="connsiteY21" fmla="*/ 927 h 1072"/>
                  <a:gd name="connsiteX22" fmla="*/ 5637 w 5810"/>
                  <a:gd name="connsiteY22" fmla="*/ 948 h 1072"/>
                  <a:gd name="connsiteX23" fmla="*/ 5676 w 5810"/>
                  <a:gd name="connsiteY23" fmla="*/ 962 h 1072"/>
                  <a:gd name="connsiteX24" fmla="*/ 5711 w 5810"/>
                  <a:gd name="connsiteY24" fmla="*/ 973 h 1072"/>
                  <a:gd name="connsiteX25" fmla="*/ 5742 w 5810"/>
                  <a:gd name="connsiteY25" fmla="*/ 981 h 1072"/>
                  <a:gd name="connsiteX26" fmla="*/ 5767 w 5810"/>
                  <a:gd name="connsiteY26" fmla="*/ 983 h 1072"/>
                  <a:gd name="connsiteX27" fmla="*/ 5785 w 5810"/>
                  <a:gd name="connsiteY27" fmla="*/ 985 h 1072"/>
                  <a:gd name="connsiteX28" fmla="*/ 5802 w 5810"/>
                  <a:gd name="connsiteY28" fmla="*/ 985 h 1072"/>
                  <a:gd name="connsiteX29" fmla="*/ 5810 w 5810"/>
                  <a:gd name="connsiteY29" fmla="*/ 1072 h 1072"/>
                  <a:gd name="connsiteX30" fmla="*/ 5748 w 5810"/>
                  <a:gd name="connsiteY30" fmla="*/ 1070 h 1072"/>
                  <a:gd name="connsiteX31" fmla="*/ 5717 w 5810"/>
                  <a:gd name="connsiteY31" fmla="*/ 1064 h 1072"/>
                  <a:gd name="connsiteX32" fmla="*/ 5680 w 5810"/>
                  <a:gd name="connsiteY32" fmla="*/ 1056 h 1072"/>
                  <a:gd name="connsiteX33" fmla="*/ 5639 w 5810"/>
                  <a:gd name="connsiteY33" fmla="*/ 1043 h 1072"/>
                  <a:gd name="connsiteX34" fmla="*/ 5593 w 5810"/>
                  <a:gd name="connsiteY34" fmla="*/ 1025 h 1072"/>
                  <a:gd name="connsiteX35" fmla="*/ 5546 w 5810"/>
                  <a:gd name="connsiteY35" fmla="*/ 1002 h 1072"/>
                  <a:gd name="connsiteX36" fmla="*/ 5496 w 5810"/>
                  <a:gd name="connsiteY36" fmla="*/ 971 h 1072"/>
                  <a:gd name="connsiteX37" fmla="*/ 5445 w 5810"/>
                  <a:gd name="connsiteY37" fmla="*/ 931 h 1072"/>
                  <a:gd name="connsiteX38" fmla="*/ 5393 w 5810"/>
                  <a:gd name="connsiteY38" fmla="*/ 884 h 1072"/>
                  <a:gd name="connsiteX39" fmla="*/ 5339 w 5810"/>
                  <a:gd name="connsiteY39" fmla="*/ 825 h 1072"/>
                  <a:gd name="connsiteX40" fmla="*/ 5288 w 5810"/>
                  <a:gd name="connsiteY40" fmla="*/ 757 h 1072"/>
                  <a:gd name="connsiteX41" fmla="*/ 5238 w 5810"/>
                  <a:gd name="connsiteY41" fmla="*/ 676 h 1072"/>
                  <a:gd name="connsiteX42" fmla="*/ 5191 w 5810"/>
                  <a:gd name="connsiteY42" fmla="*/ 585 h 1072"/>
                  <a:gd name="connsiteX43" fmla="*/ 5141 w 5810"/>
                  <a:gd name="connsiteY43" fmla="*/ 489 h 1072"/>
                  <a:gd name="connsiteX44" fmla="*/ 5092 w 5810"/>
                  <a:gd name="connsiteY44" fmla="*/ 407 h 1072"/>
                  <a:gd name="connsiteX45" fmla="*/ 5042 w 5810"/>
                  <a:gd name="connsiteY45" fmla="*/ 336 h 1072"/>
                  <a:gd name="connsiteX46" fmla="*/ 4993 w 5810"/>
                  <a:gd name="connsiteY46" fmla="*/ 276 h 1072"/>
                  <a:gd name="connsiteX47" fmla="*/ 4945 w 5810"/>
                  <a:gd name="connsiteY47" fmla="*/ 228 h 1072"/>
                  <a:gd name="connsiteX48" fmla="*/ 4900 w 5810"/>
                  <a:gd name="connsiteY48" fmla="*/ 189 h 1072"/>
                  <a:gd name="connsiteX49" fmla="*/ 4858 w 5810"/>
                  <a:gd name="connsiteY49" fmla="*/ 158 h 1072"/>
                  <a:gd name="connsiteX50" fmla="*/ 4819 w 5810"/>
                  <a:gd name="connsiteY50" fmla="*/ 135 h 1072"/>
                  <a:gd name="connsiteX51" fmla="*/ 4770 w 5810"/>
                  <a:gd name="connsiteY51" fmla="*/ 112 h 1072"/>
                  <a:gd name="connsiteX52" fmla="*/ 4726 w 5810"/>
                  <a:gd name="connsiteY52" fmla="*/ 98 h 1072"/>
                  <a:gd name="connsiteX53" fmla="*/ 4691 w 5810"/>
                  <a:gd name="connsiteY53" fmla="*/ 89 h 1072"/>
                  <a:gd name="connsiteX54" fmla="*/ 4662 w 5810"/>
                  <a:gd name="connsiteY54" fmla="*/ 87 h 1072"/>
                  <a:gd name="connsiteX55" fmla="*/ 4635 w 5810"/>
                  <a:gd name="connsiteY55" fmla="*/ 87 h 1072"/>
                  <a:gd name="connsiteX56" fmla="*/ 4569 w 5810"/>
                  <a:gd name="connsiteY56" fmla="*/ 93 h 1072"/>
                  <a:gd name="connsiteX57" fmla="*/ 4507 w 5810"/>
                  <a:gd name="connsiteY57" fmla="*/ 106 h 1072"/>
                  <a:gd name="connsiteX58" fmla="*/ 4452 w 5810"/>
                  <a:gd name="connsiteY58" fmla="*/ 127 h 1072"/>
                  <a:gd name="connsiteX59" fmla="*/ 4400 w 5810"/>
                  <a:gd name="connsiteY59" fmla="*/ 154 h 1072"/>
                  <a:gd name="connsiteX60" fmla="*/ 4353 w 5810"/>
                  <a:gd name="connsiteY60" fmla="*/ 187 h 1072"/>
                  <a:gd name="connsiteX61" fmla="*/ 4309 w 5810"/>
                  <a:gd name="connsiteY61" fmla="*/ 224 h 1072"/>
                  <a:gd name="connsiteX62" fmla="*/ 4270 w 5810"/>
                  <a:gd name="connsiteY62" fmla="*/ 268 h 1072"/>
                  <a:gd name="connsiteX63" fmla="*/ 4231 w 5810"/>
                  <a:gd name="connsiteY63" fmla="*/ 313 h 1072"/>
                  <a:gd name="connsiteX64" fmla="*/ 4196 w 5810"/>
                  <a:gd name="connsiteY64" fmla="*/ 363 h 1072"/>
                  <a:gd name="connsiteX65" fmla="*/ 4163 w 5810"/>
                  <a:gd name="connsiteY65" fmla="*/ 415 h 1072"/>
                  <a:gd name="connsiteX66" fmla="*/ 4101 w 5810"/>
                  <a:gd name="connsiteY66" fmla="*/ 523 h 1072"/>
                  <a:gd name="connsiteX67" fmla="*/ 4008 w 5810"/>
                  <a:gd name="connsiteY67" fmla="*/ 691 h 1072"/>
                  <a:gd name="connsiteX68" fmla="*/ 3975 w 5810"/>
                  <a:gd name="connsiteY68" fmla="*/ 747 h 1072"/>
                  <a:gd name="connsiteX69" fmla="*/ 3940 w 5810"/>
                  <a:gd name="connsiteY69" fmla="*/ 798 h 1072"/>
                  <a:gd name="connsiteX70" fmla="*/ 3905 w 5810"/>
                  <a:gd name="connsiteY70" fmla="*/ 848 h 1072"/>
                  <a:gd name="connsiteX71" fmla="*/ 3865 w 5810"/>
                  <a:gd name="connsiteY71" fmla="*/ 894 h 1072"/>
                  <a:gd name="connsiteX72" fmla="*/ 3824 w 5810"/>
                  <a:gd name="connsiteY72" fmla="*/ 935 h 1072"/>
                  <a:gd name="connsiteX73" fmla="*/ 3779 w 5810"/>
                  <a:gd name="connsiteY73" fmla="*/ 971 h 1072"/>
                  <a:gd name="connsiteX74" fmla="*/ 3729 w 5810"/>
                  <a:gd name="connsiteY74" fmla="*/ 1000 h 1072"/>
                  <a:gd name="connsiteX75" fmla="*/ 3677 w 5810"/>
                  <a:gd name="connsiteY75" fmla="*/ 1022 h 1072"/>
                  <a:gd name="connsiteX76" fmla="*/ 3620 w 5810"/>
                  <a:gd name="connsiteY76" fmla="*/ 1037 h 1072"/>
                  <a:gd name="connsiteX77" fmla="*/ 3556 w 5810"/>
                  <a:gd name="connsiteY77" fmla="*/ 1043 h 1072"/>
                  <a:gd name="connsiteX78" fmla="*/ 3547 w 5810"/>
                  <a:gd name="connsiteY78" fmla="*/ 1043 h 1072"/>
                  <a:gd name="connsiteX79" fmla="*/ 3485 w 5810"/>
                  <a:gd name="connsiteY79" fmla="*/ 1039 h 1072"/>
                  <a:gd name="connsiteX80" fmla="*/ 3426 w 5810"/>
                  <a:gd name="connsiteY80" fmla="*/ 1025 h 1072"/>
                  <a:gd name="connsiteX81" fmla="*/ 3372 w 5810"/>
                  <a:gd name="connsiteY81" fmla="*/ 1002 h 1072"/>
                  <a:gd name="connsiteX82" fmla="*/ 3320 w 5810"/>
                  <a:gd name="connsiteY82" fmla="*/ 973 h 1072"/>
                  <a:gd name="connsiteX83" fmla="*/ 3273 w 5810"/>
                  <a:gd name="connsiteY83" fmla="*/ 935 h 1072"/>
                  <a:gd name="connsiteX84" fmla="*/ 3229 w 5810"/>
                  <a:gd name="connsiteY84" fmla="*/ 894 h 1072"/>
                  <a:gd name="connsiteX85" fmla="*/ 3186 w 5810"/>
                  <a:gd name="connsiteY85" fmla="*/ 846 h 1072"/>
                  <a:gd name="connsiteX86" fmla="*/ 3147 w 5810"/>
                  <a:gd name="connsiteY86" fmla="*/ 796 h 1072"/>
                  <a:gd name="connsiteX87" fmla="*/ 3108 w 5810"/>
                  <a:gd name="connsiteY87" fmla="*/ 740 h 1072"/>
                  <a:gd name="connsiteX88" fmla="*/ 3070 w 5810"/>
                  <a:gd name="connsiteY88" fmla="*/ 684 h 1072"/>
                  <a:gd name="connsiteX89" fmla="*/ 2965 w 5810"/>
                  <a:gd name="connsiteY89" fmla="*/ 510 h 1072"/>
                  <a:gd name="connsiteX90" fmla="*/ 2928 w 5810"/>
                  <a:gd name="connsiteY90" fmla="*/ 452 h 1072"/>
                  <a:gd name="connsiteX91" fmla="*/ 2891 w 5810"/>
                  <a:gd name="connsiteY91" fmla="*/ 396 h 1072"/>
                  <a:gd name="connsiteX92" fmla="*/ 2854 w 5810"/>
                  <a:gd name="connsiteY92" fmla="*/ 342 h 1072"/>
                  <a:gd name="connsiteX93" fmla="*/ 2814 w 5810"/>
                  <a:gd name="connsiteY93" fmla="*/ 292 h 1072"/>
                  <a:gd name="connsiteX94" fmla="*/ 2773 w 5810"/>
                  <a:gd name="connsiteY94" fmla="*/ 247 h 1072"/>
                  <a:gd name="connsiteX95" fmla="*/ 2732 w 5810"/>
                  <a:gd name="connsiteY95" fmla="*/ 205 h 1072"/>
                  <a:gd name="connsiteX96" fmla="*/ 2686 w 5810"/>
                  <a:gd name="connsiteY96" fmla="*/ 168 h 1072"/>
                  <a:gd name="connsiteX97" fmla="*/ 2639 w 5810"/>
                  <a:gd name="connsiteY97" fmla="*/ 139 h 1072"/>
                  <a:gd name="connsiteX98" fmla="*/ 2587 w 5810"/>
                  <a:gd name="connsiteY98" fmla="*/ 116 h 1072"/>
                  <a:gd name="connsiteX99" fmla="*/ 2532 w 5810"/>
                  <a:gd name="connsiteY99" fmla="*/ 100 h 1072"/>
                  <a:gd name="connsiteX100" fmla="*/ 2474 w 5810"/>
                  <a:gd name="connsiteY100" fmla="*/ 91 h 1072"/>
                  <a:gd name="connsiteX101" fmla="*/ 2410 w 5810"/>
                  <a:gd name="connsiteY101" fmla="*/ 93 h 1072"/>
                  <a:gd name="connsiteX102" fmla="*/ 2342 w 5810"/>
                  <a:gd name="connsiteY102" fmla="*/ 104 h 1072"/>
                  <a:gd name="connsiteX103" fmla="*/ 2280 w 5810"/>
                  <a:gd name="connsiteY103" fmla="*/ 122 h 1072"/>
                  <a:gd name="connsiteX104" fmla="*/ 2222 w 5810"/>
                  <a:gd name="connsiteY104" fmla="*/ 147 h 1072"/>
                  <a:gd name="connsiteX105" fmla="*/ 2168 w 5810"/>
                  <a:gd name="connsiteY105" fmla="*/ 180 h 1072"/>
                  <a:gd name="connsiteX106" fmla="*/ 2117 w 5810"/>
                  <a:gd name="connsiteY106" fmla="*/ 218 h 1072"/>
                  <a:gd name="connsiteX107" fmla="*/ 2071 w 5810"/>
                  <a:gd name="connsiteY107" fmla="*/ 261 h 1072"/>
                  <a:gd name="connsiteX108" fmla="*/ 2026 w 5810"/>
                  <a:gd name="connsiteY108" fmla="*/ 307 h 1072"/>
                  <a:gd name="connsiteX109" fmla="*/ 1984 w 5810"/>
                  <a:gd name="connsiteY109" fmla="*/ 359 h 1072"/>
                  <a:gd name="connsiteX110" fmla="*/ 1945 w 5810"/>
                  <a:gd name="connsiteY110" fmla="*/ 413 h 1072"/>
                  <a:gd name="connsiteX111" fmla="*/ 1908 w 5810"/>
                  <a:gd name="connsiteY111" fmla="*/ 467 h 1072"/>
                  <a:gd name="connsiteX112" fmla="*/ 1871 w 5810"/>
                  <a:gd name="connsiteY112" fmla="*/ 523 h 1072"/>
                  <a:gd name="connsiteX113" fmla="*/ 1834 w 5810"/>
                  <a:gd name="connsiteY113" fmla="*/ 581 h 1072"/>
                  <a:gd name="connsiteX114" fmla="*/ 1799 w 5810"/>
                  <a:gd name="connsiteY114" fmla="*/ 637 h 1072"/>
                  <a:gd name="connsiteX115" fmla="*/ 1724 w 5810"/>
                  <a:gd name="connsiteY115" fmla="*/ 749 h 1072"/>
                  <a:gd name="connsiteX116" fmla="*/ 1685 w 5810"/>
                  <a:gd name="connsiteY116" fmla="*/ 801 h 1072"/>
                  <a:gd name="connsiteX117" fmla="*/ 1644 w 5810"/>
                  <a:gd name="connsiteY117" fmla="*/ 850 h 1072"/>
                  <a:gd name="connsiteX118" fmla="*/ 1600 w 5810"/>
                  <a:gd name="connsiteY118" fmla="*/ 896 h 1072"/>
                  <a:gd name="connsiteX119" fmla="*/ 1553 w 5810"/>
                  <a:gd name="connsiteY119" fmla="*/ 937 h 1072"/>
                  <a:gd name="connsiteX120" fmla="*/ 1503 w 5810"/>
                  <a:gd name="connsiteY120" fmla="*/ 973 h 1072"/>
                  <a:gd name="connsiteX121" fmla="*/ 1450 w 5810"/>
                  <a:gd name="connsiteY121" fmla="*/ 1002 h 1072"/>
                  <a:gd name="connsiteX122" fmla="*/ 1394 w 5810"/>
                  <a:gd name="connsiteY122" fmla="*/ 1025 h 1072"/>
                  <a:gd name="connsiteX123" fmla="*/ 1330 w 5810"/>
                  <a:gd name="connsiteY123" fmla="*/ 1037 h 1072"/>
                  <a:gd name="connsiteX124" fmla="*/ 1264 w 5810"/>
                  <a:gd name="connsiteY124" fmla="*/ 1043 h 1072"/>
                  <a:gd name="connsiteX125" fmla="*/ 1258 w 5810"/>
                  <a:gd name="connsiteY125" fmla="*/ 1043 h 1072"/>
                  <a:gd name="connsiteX126" fmla="*/ 1190 w 5810"/>
                  <a:gd name="connsiteY126" fmla="*/ 1039 h 1072"/>
                  <a:gd name="connsiteX127" fmla="*/ 1128 w 5810"/>
                  <a:gd name="connsiteY127" fmla="*/ 1027 h 1072"/>
                  <a:gd name="connsiteX128" fmla="*/ 1070 w 5810"/>
                  <a:gd name="connsiteY128" fmla="*/ 1008 h 1072"/>
                  <a:gd name="connsiteX129" fmla="*/ 1018 w 5810"/>
                  <a:gd name="connsiteY129" fmla="*/ 983 h 1072"/>
                  <a:gd name="connsiteX130" fmla="*/ 971 w 5810"/>
                  <a:gd name="connsiteY130" fmla="*/ 952 h 1072"/>
                  <a:gd name="connsiteX131" fmla="*/ 925 w 5810"/>
                  <a:gd name="connsiteY131" fmla="*/ 915 h 1072"/>
                  <a:gd name="connsiteX132" fmla="*/ 884 w 5810"/>
                  <a:gd name="connsiteY132" fmla="*/ 873 h 1072"/>
                  <a:gd name="connsiteX133" fmla="*/ 847 w 5810"/>
                  <a:gd name="connsiteY133" fmla="*/ 828 h 1072"/>
                  <a:gd name="connsiteX134" fmla="*/ 810 w 5810"/>
                  <a:gd name="connsiteY134" fmla="*/ 780 h 1072"/>
                  <a:gd name="connsiteX135" fmla="*/ 777 w 5810"/>
                  <a:gd name="connsiteY135" fmla="*/ 728 h 1072"/>
                  <a:gd name="connsiteX136" fmla="*/ 742 w 5810"/>
                  <a:gd name="connsiteY136" fmla="*/ 674 h 1072"/>
                  <a:gd name="connsiteX137" fmla="*/ 711 w 5810"/>
                  <a:gd name="connsiteY137" fmla="*/ 618 h 1072"/>
                  <a:gd name="connsiteX138" fmla="*/ 678 w 5810"/>
                  <a:gd name="connsiteY138" fmla="*/ 560 h 1072"/>
                  <a:gd name="connsiteX139" fmla="*/ 616 w 5810"/>
                  <a:gd name="connsiteY139" fmla="*/ 448 h 1072"/>
                  <a:gd name="connsiteX140" fmla="*/ 547 w 5810"/>
                  <a:gd name="connsiteY140" fmla="*/ 340 h 1072"/>
                  <a:gd name="connsiteX141" fmla="*/ 504 w 5810"/>
                  <a:gd name="connsiteY141" fmla="*/ 284 h 1072"/>
                  <a:gd name="connsiteX142" fmla="*/ 457 w 5810"/>
                  <a:gd name="connsiteY142" fmla="*/ 239 h 1072"/>
                  <a:gd name="connsiteX143" fmla="*/ 409 w 5810"/>
                  <a:gd name="connsiteY143" fmla="*/ 199 h 1072"/>
                  <a:gd name="connsiteX144" fmla="*/ 358 w 5810"/>
                  <a:gd name="connsiteY144" fmla="*/ 168 h 1072"/>
                  <a:gd name="connsiteX145" fmla="*/ 308 w 5810"/>
                  <a:gd name="connsiteY145" fmla="*/ 145 h 1072"/>
                  <a:gd name="connsiteX146" fmla="*/ 256 w 5810"/>
                  <a:gd name="connsiteY146" fmla="*/ 127 h 1072"/>
                  <a:gd name="connsiteX147" fmla="*/ 209 w 5810"/>
                  <a:gd name="connsiteY147" fmla="*/ 112 h 1072"/>
                  <a:gd name="connsiteX148" fmla="*/ 163 w 5810"/>
                  <a:gd name="connsiteY148" fmla="*/ 104 h 1072"/>
                  <a:gd name="connsiteX149" fmla="*/ 122 w 5810"/>
                  <a:gd name="connsiteY149" fmla="*/ 100 h 1072"/>
                  <a:gd name="connsiteX150" fmla="*/ 85 w 5810"/>
                  <a:gd name="connsiteY150" fmla="*/ 95 h 1072"/>
                  <a:gd name="connsiteX151" fmla="*/ 31 w 5810"/>
                  <a:gd name="connsiteY151" fmla="*/ 95 h 1072"/>
                  <a:gd name="connsiteX152" fmla="*/ 17 w 5810"/>
                  <a:gd name="connsiteY152" fmla="*/ 98 h 1072"/>
                  <a:gd name="connsiteX153" fmla="*/ 11 w 5810"/>
                  <a:gd name="connsiteY153" fmla="*/ 98 h 1072"/>
                  <a:gd name="connsiteX154" fmla="*/ 0 w 5810"/>
                  <a:gd name="connsiteY154" fmla="*/ 13 h 1072"/>
                  <a:gd name="connsiteX155" fmla="*/ 9 w 5810"/>
                  <a:gd name="connsiteY155" fmla="*/ 13 h 1072"/>
                  <a:gd name="connsiteX156" fmla="*/ 29 w 5810"/>
                  <a:gd name="connsiteY156" fmla="*/ 10 h 1072"/>
                  <a:gd name="connsiteX157" fmla="*/ 91 w 5810"/>
                  <a:gd name="connsiteY157" fmla="*/ 10 h 1072"/>
                  <a:gd name="connsiteX158" fmla="*/ 135 w 5810"/>
                  <a:gd name="connsiteY158" fmla="*/ 13 h 1072"/>
                  <a:gd name="connsiteX159" fmla="*/ 182 w 5810"/>
                  <a:gd name="connsiteY159" fmla="*/ 19 h 1072"/>
                  <a:gd name="connsiteX160" fmla="*/ 234 w 5810"/>
                  <a:gd name="connsiteY160" fmla="*/ 29 h 1072"/>
                  <a:gd name="connsiteX161" fmla="*/ 287 w 5810"/>
                  <a:gd name="connsiteY161" fmla="*/ 46 h 1072"/>
                  <a:gd name="connsiteX162" fmla="*/ 345 w 5810"/>
                  <a:gd name="connsiteY162" fmla="*/ 66 h 1072"/>
                  <a:gd name="connsiteX163" fmla="*/ 403 w 5810"/>
                  <a:gd name="connsiteY163" fmla="*/ 93 h 1072"/>
                  <a:gd name="connsiteX164" fmla="*/ 459 w 5810"/>
                  <a:gd name="connsiteY164" fmla="*/ 131 h 1072"/>
                  <a:gd name="connsiteX165" fmla="*/ 514 w 5810"/>
                  <a:gd name="connsiteY165" fmla="*/ 174 h 1072"/>
                  <a:gd name="connsiteX166" fmla="*/ 568 w 5810"/>
                  <a:gd name="connsiteY166" fmla="*/ 228 h 1072"/>
                  <a:gd name="connsiteX167" fmla="*/ 618 w 5810"/>
                  <a:gd name="connsiteY167" fmla="*/ 292 h 1072"/>
                  <a:gd name="connsiteX168" fmla="*/ 667 w 5810"/>
                  <a:gd name="connsiteY168" fmla="*/ 367 h 1072"/>
                  <a:gd name="connsiteX169" fmla="*/ 754 w 5810"/>
                  <a:gd name="connsiteY169" fmla="*/ 516 h 1072"/>
                  <a:gd name="connsiteX170" fmla="*/ 787 w 5810"/>
                  <a:gd name="connsiteY170" fmla="*/ 575 h 1072"/>
                  <a:gd name="connsiteX171" fmla="*/ 820 w 5810"/>
                  <a:gd name="connsiteY171" fmla="*/ 631 h 1072"/>
                  <a:gd name="connsiteX172" fmla="*/ 853 w 5810"/>
                  <a:gd name="connsiteY172" fmla="*/ 684 h 1072"/>
                  <a:gd name="connsiteX173" fmla="*/ 886 w 5810"/>
                  <a:gd name="connsiteY173" fmla="*/ 736 h 1072"/>
                  <a:gd name="connsiteX174" fmla="*/ 921 w 5810"/>
                  <a:gd name="connsiteY174" fmla="*/ 782 h 1072"/>
                  <a:gd name="connsiteX175" fmla="*/ 958 w 5810"/>
                  <a:gd name="connsiteY175" fmla="*/ 825 h 1072"/>
                  <a:gd name="connsiteX176" fmla="*/ 1000 w 5810"/>
                  <a:gd name="connsiteY176" fmla="*/ 863 h 1072"/>
                  <a:gd name="connsiteX177" fmla="*/ 1043 w 5810"/>
                  <a:gd name="connsiteY177" fmla="*/ 894 h 1072"/>
                  <a:gd name="connsiteX178" fmla="*/ 1090 w 5810"/>
                  <a:gd name="connsiteY178" fmla="*/ 921 h 1072"/>
                  <a:gd name="connsiteX179" fmla="*/ 1140 w 5810"/>
                  <a:gd name="connsiteY179" fmla="*/ 939 h 1072"/>
                  <a:gd name="connsiteX180" fmla="*/ 1196 w 5810"/>
                  <a:gd name="connsiteY180" fmla="*/ 952 h 1072"/>
                  <a:gd name="connsiteX181" fmla="*/ 1258 w 5810"/>
                  <a:gd name="connsiteY181" fmla="*/ 956 h 1072"/>
                  <a:gd name="connsiteX182" fmla="*/ 1264 w 5810"/>
                  <a:gd name="connsiteY182" fmla="*/ 956 h 1072"/>
                  <a:gd name="connsiteX183" fmla="*/ 1324 w 5810"/>
                  <a:gd name="connsiteY183" fmla="*/ 950 h 1072"/>
                  <a:gd name="connsiteX184" fmla="*/ 1380 w 5810"/>
                  <a:gd name="connsiteY184" fmla="*/ 935 h 1072"/>
                  <a:gd name="connsiteX185" fmla="*/ 1433 w 5810"/>
                  <a:gd name="connsiteY185" fmla="*/ 913 h 1072"/>
                  <a:gd name="connsiteX186" fmla="*/ 1481 w 5810"/>
                  <a:gd name="connsiteY186" fmla="*/ 884 h 1072"/>
                  <a:gd name="connsiteX187" fmla="*/ 1526 w 5810"/>
                  <a:gd name="connsiteY187" fmla="*/ 846 h 1072"/>
                  <a:gd name="connsiteX188" fmla="*/ 1569 w 5810"/>
                  <a:gd name="connsiteY188" fmla="*/ 803 h 1072"/>
                  <a:gd name="connsiteX189" fmla="*/ 1609 w 5810"/>
                  <a:gd name="connsiteY189" fmla="*/ 755 h 1072"/>
                  <a:gd name="connsiteX190" fmla="*/ 1648 w 5810"/>
                  <a:gd name="connsiteY190" fmla="*/ 703 h 1072"/>
                  <a:gd name="connsiteX191" fmla="*/ 1687 w 5810"/>
                  <a:gd name="connsiteY191" fmla="*/ 649 h 1072"/>
                  <a:gd name="connsiteX192" fmla="*/ 1799 w 5810"/>
                  <a:gd name="connsiteY192" fmla="*/ 475 h 1072"/>
                  <a:gd name="connsiteX193" fmla="*/ 1838 w 5810"/>
                  <a:gd name="connsiteY193" fmla="*/ 415 h 1072"/>
                  <a:gd name="connsiteX194" fmla="*/ 1879 w 5810"/>
                  <a:gd name="connsiteY194" fmla="*/ 357 h 1072"/>
                  <a:gd name="connsiteX195" fmla="*/ 1923 w 5810"/>
                  <a:gd name="connsiteY195" fmla="*/ 299 h 1072"/>
                  <a:gd name="connsiteX196" fmla="*/ 1968 w 5810"/>
                  <a:gd name="connsiteY196" fmla="*/ 245 h 1072"/>
                  <a:gd name="connsiteX197" fmla="*/ 2015 w 5810"/>
                  <a:gd name="connsiteY197" fmla="*/ 193 h 1072"/>
                  <a:gd name="connsiteX198" fmla="*/ 2069 w 5810"/>
                  <a:gd name="connsiteY198" fmla="*/ 145 h 1072"/>
                  <a:gd name="connsiteX199" fmla="*/ 2125 w 5810"/>
                  <a:gd name="connsiteY199" fmla="*/ 104 h 1072"/>
                  <a:gd name="connsiteX200" fmla="*/ 2187 w 5810"/>
                  <a:gd name="connsiteY200" fmla="*/ 69 h 1072"/>
                  <a:gd name="connsiteX201" fmla="*/ 2253 w 5810"/>
                  <a:gd name="connsiteY201" fmla="*/ 39 h 1072"/>
                  <a:gd name="connsiteX202" fmla="*/ 2325 w 5810"/>
                  <a:gd name="connsiteY202" fmla="*/ 19 h 1072"/>
                  <a:gd name="connsiteX203" fmla="*/ 2404 w 5810"/>
                  <a:gd name="connsiteY203" fmla="*/ 6 h 1072"/>
                  <a:gd name="connsiteX204" fmla="*/ 2474 w 5810"/>
                  <a:gd name="connsiteY204" fmla="*/ 4 h 1072"/>
                  <a:gd name="connsiteX205" fmla="*/ 2540 w 5810"/>
                  <a:gd name="connsiteY205" fmla="*/ 13 h 1072"/>
                  <a:gd name="connsiteX206" fmla="*/ 2600 w 5810"/>
                  <a:gd name="connsiteY206" fmla="*/ 27 h 1072"/>
                  <a:gd name="connsiteX207" fmla="*/ 2658 w 5810"/>
                  <a:gd name="connsiteY207" fmla="*/ 50 h 1072"/>
                  <a:gd name="connsiteX208" fmla="*/ 2711 w 5810"/>
                  <a:gd name="connsiteY208" fmla="*/ 81 h 1072"/>
                  <a:gd name="connsiteX209" fmla="*/ 2761 w 5810"/>
                  <a:gd name="connsiteY209" fmla="*/ 116 h 1072"/>
                  <a:gd name="connsiteX210" fmla="*/ 2806 w 5810"/>
                  <a:gd name="connsiteY210" fmla="*/ 158 h 1072"/>
                  <a:gd name="connsiteX211" fmla="*/ 2852 w 5810"/>
                  <a:gd name="connsiteY211" fmla="*/ 203 h 1072"/>
                  <a:gd name="connsiteX212" fmla="*/ 2893 w 5810"/>
                  <a:gd name="connsiteY212" fmla="*/ 251 h 1072"/>
                  <a:gd name="connsiteX213" fmla="*/ 2932 w 5810"/>
                  <a:gd name="connsiteY213" fmla="*/ 303 h 1072"/>
                  <a:gd name="connsiteX214" fmla="*/ 2969 w 5810"/>
                  <a:gd name="connsiteY214" fmla="*/ 357 h 1072"/>
                  <a:gd name="connsiteX215" fmla="*/ 3004 w 5810"/>
                  <a:gd name="connsiteY215" fmla="*/ 413 h 1072"/>
                  <a:gd name="connsiteX216" fmla="*/ 3039 w 5810"/>
                  <a:gd name="connsiteY216" fmla="*/ 467 h 1072"/>
                  <a:gd name="connsiteX217" fmla="*/ 3073 w 5810"/>
                  <a:gd name="connsiteY217" fmla="*/ 523 h 1072"/>
                  <a:gd name="connsiteX218" fmla="*/ 3110 w 5810"/>
                  <a:gd name="connsiteY218" fmla="*/ 585 h 1072"/>
                  <a:gd name="connsiteX219" fmla="*/ 3147 w 5810"/>
                  <a:gd name="connsiteY219" fmla="*/ 643 h 1072"/>
                  <a:gd name="connsiteX220" fmla="*/ 3186 w 5810"/>
                  <a:gd name="connsiteY220" fmla="*/ 701 h 1072"/>
                  <a:gd name="connsiteX221" fmla="*/ 3223 w 5810"/>
                  <a:gd name="connsiteY221" fmla="*/ 755 h 1072"/>
                  <a:gd name="connsiteX222" fmla="*/ 3265 w 5810"/>
                  <a:gd name="connsiteY222" fmla="*/ 805 h 1072"/>
                  <a:gd name="connsiteX223" fmla="*/ 3306 w 5810"/>
                  <a:gd name="connsiteY223" fmla="*/ 848 h 1072"/>
                  <a:gd name="connsiteX224" fmla="*/ 3349 w 5810"/>
                  <a:gd name="connsiteY224" fmla="*/ 886 h 1072"/>
                  <a:gd name="connsiteX225" fmla="*/ 3395 w 5810"/>
                  <a:gd name="connsiteY225" fmla="*/ 917 h 1072"/>
                  <a:gd name="connsiteX226" fmla="*/ 3444 w 5810"/>
                  <a:gd name="connsiteY226" fmla="*/ 939 h 1072"/>
                  <a:gd name="connsiteX227" fmla="*/ 3498 w 5810"/>
                  <a:gd name="connsiteY227" fmla="*/ 952 h 1072"/>
                  <a:gd name="connsiteX228" fmla="*/ 3554 w 5810"/>
                  <a:gd name="connsiteY228" fmla="*/ 956 h 1072"/>
                  <a:gd name="connsiteX229" fmla="*/ 3609 w 5810"/>
                  <a:gd name="connsiteY229" fmla="*/ 950 h 1072"/>
                  <a:gd name="connsiteX230" fmla="*/ 3659 w 5810"/>
                  <a:gd name="connsiteY230" fmla="*/ 935 h 1072"/>
                  <a:gd name="connsiteX231" fmla="*/ 3706 w 5810"/>
                  <a:gd name="connsiteY231" fmla="*/ 915 h 1072"/>
                  <a:gd name="connsiteX232" fmla="*/ 3750 w 5810"/>
                  <a:gd name="connsiteY232" fmla="*/ 884 h 1072"/>
                  <a:gd name="connsiteX233" fmla="*/ 3789 w 5810"/>
                  <a:gd name="connsiteY233" fmla="*/ 848 h 1072"/>
                  <a:gd name="connsiteX234" fmla="*/ 3826 w 5810"/>
                  <a:gd name="connsiteY234" fmla="*/ 807 h 1072"/>
                  <a:gd name="connsiteX235" fmla="*/ 3861 w 5810"/>
                  <a:gd name="connsiteY235" fmla="*/ 759 h 1072"/>
                  <a:gd name="connsiteX236" fmla="*/ 3894 w 5810"/>
                  <a:gd name="connsiteY236" fmla="*/ 709 h 1072"/>
                  <a:gd name="connsiteX237" fmla="*/ 3927 w 5810"/>
                  <a:gd name="connsiteY237" fmla="*/ 655 h 1072"/>
                  <a:gd name="connsiteX238" fmla="*/ 3960 w 5810"/>
                  <a:gd name="connsiteY238" fmla="*/ 597 h 1072"/>
                  <a:gd name="connsiteX239" fmla="*/ 3993 w 5810"/>
                  <a:gd name="connsiteY239" fmla="*/ 537 h 1072"/>
                  <a:gd name="connsiteX240" fmla="*/ 4022 w 5810"/>
                  <a:gd name="connsiteY240" fmla="*/ 483 h 1072"/>
                  <a:gd name="connsiteX241" fmla="*/ 4084 w 5810"/>
                  <a:gd name="connsiteY241" fmla="*/ 375 h 1072"/>
                  <a:gd name="connsiteX242" fmla="*/ 4154 w 5810"/>
                  <a:gd name="connsiteY242" fmla="*/ 272 h 1072"/>
                  <a:gd name="connsiteX243" fmla="*/ 4192 w 5810"/>
                  <a:gd name="connsiteY243" fmla="*/ 224 h 1072"/>
                  <a:gd name="connsiteX244" fmla="*/ 4233 w 5810"/>
                  <a:gd name="connsiteY244" fmla="*/ 178 h 1072"/>
                  <a:gd name="connsiteX245" fmla="*/ 4276 w 5810"/>
                  <a:gd name="connsiteY245" fmla="*/ 137 h 1072"/>
                  <a:gd name="connsiteX246" fmla="*/ 4324 w 5810"/>
                  <a:gd name="connsiteY246" fmla="*/ 100 h 1072"/>
                  <a:gd name="connsiteX247" fmla="*/ 4375 w 5810"/>
                  <a:gd name="connsiteY247" fmla="*/ 66 h 1072"/>
                  <a:gd name="connsiteX248" fmla="*/ 4433 w 5810"/>
                  <a:gd name="connsiteY248" fmla="*/ 39 h 1072"/>
                  <a:gd name="connsiteX249" fmla="*/ 4493 w 5810"/>
                  <a:gd name="connsiteY249" fmla="*/ 19 h 1072"/>
                  <a:gd name="connsiteX250" fmla="*/ 4559 w 5810"/>
                  <a:gd name="connsiteY250" fmla="*/ 6 h 1072"/>
                  <a:gd name="connsiteX251" fmla="*/ 4631 w 5810"/>
                  <a:gd name="connsiteY251" fmla="*/ 0 h 1072"/>
                  <a:gd name="connsiteX0" fmla="*/ 4631 w 5810"/>
                  <a:gd name="connsiteY0" fmla="*/ 0 h 1085"/>
                  <a:gd name="connsiteX1" fmla="*/ 4681 w 5810"/>
                  <a:gd name="connsiteY1" fmla="*/ 0 h 1085"/>
                  <a:gd name="connsiteX2" fmla="*/ 4710 w 5810"/>
                  <a:gd name="connsiteY2" fmla="*/ 4 h 1085"/>
                  <a:gd name="connsiteX3" fmla="*/ 4741 w 5810"/>
                  <a:gd name="connsiteY3" fmla="*/ 13 h 1085"/>
                  <a:gd name="connsiteX4" fmla="*/ 4778 w 5810"/>
                  <a:gd name="connsiteY4" fmla="*/ 23 h 1085"/>
                  <a:gd name="connsiteX5" fmla="*/ 4819 w 5810"/>
                  <a:gd name="connsiteY5" fmla="*/ 39 h 1085"/>
                  <a:gd name="connsiteX6" fmla="*/ 4863 w 5810"/>
                  <a:gd name="connsiteY6" fmla="*/ 60 h 1085"/>
                  <a:gd name="connsiteX7" fmla="*/ 4910 w 5810"/>
                  <a:gd name="connsiteY7" fmla="*/ 89 h 1085"/>
                  <a:gd name="connsiteX8" fmla="*/ 4960 w 5810"/>
                  <a:gd name="connsiteY8" fmla="*/ 124 h 1085"/>
                  <a:gd name="connsiteX9" fmla="*/ 5009 w 5810"/>
                  <a:gd name="connsiteY9" fmla="*/ 170 h 1085"/>
                  <a:gd name="connsiteX10" fmla="*/ 5061 w 5810"/>
                  <a:gd name="connsiteY10" fmla="*/ 224 h 1085"/>
                  <a:gd name="connsiteX11" fmla="*/ 5112 w 5810"/>
                  <a:gd name="connsiteY11" fmla="*/ 286 h 1085"/>
                  <a:gd name="connsiteX12" fmla="*/ 5164 w 5810"/>
                  <a:gd name="connsiteY12" fmla="*/ 361 h 1085"/>
                  <a:gd name="connsiteX13" fmla="*/ 5216 w 5810"/>
                  <a:gd name="connsiteY13" fmla="*/ 448 h 1085"/>
                  <a:gd name="connsiteX14" fmla="*/ 5267 w 5810"/>
                  <a:gd name="connsiteY14" fmla="*/ 548 h 1085"/>
                  <a:gd name="connsiteX15" fmla="*/ 5313 w 5810"/>
                  <a:gd name="connsiteY15" fmla="*/ 633 h 1085"/>
                  <a:gd name="connsiteX16" fmla="*/ 5358 w 5810"/>
                  <a:gd name="connsiteY16" fmla="*/ 707 h 1085"/>
                  <a:gd name="connsiteX17" fmla="*/ 5408 w 5810"/>
                  <a:gd name="connsiteY17" fmla="*/ 769 h 1085"/>
                  <a:gd name="connsiteX18" fmla="*/ 5455 w 5810"/>
                  <a:gd name="connsiteY18" fmla="*/ 821 h 1085"/>
                  <a:gd name="connsiteX19" fmla="*/ 5503 w 5810"/>
                  <a:gd name="connsiteY19" fmla="*/ 865 h 1085"/>
                  <a:gd name="connsiteX20" fmla="*/ 5550 w 5810"/>
                  <a:gd name="connsiteY20" fmla="*/ 900 h 1085"/>
                  <a:gd name="connsiteX21" fmla="*/ 5593 w 5810"/>
                  <a:gd name="connsiteY21" fmla="*/ 927 h 1085"/>
                  <a:gd name="connsiteX22" fmla="*/ 5637 w 5810"/>
                  <a:gd name="connsiteY22" fmla="*/ 948 h 1085"/>
                  <a:gd name="connsiteX23" fmla="*/ 5676 w 5810"/>
                  <a:gd name="connsiteY23" fmla="*/ 962 h 1085"/>
                  <a:gd name="connsiteX24" fmla="*/ 5711 w 5810"/>
                  <a:gd name="connsiteY24" fmla="*/ 973 h 1085"/>
                  <a:gd name="connsiteX25" fmla="*/ 5742 w 5810"/>
                  <a:gd name="connsiteY25" fmla="*/ 981 h 1085"/>
                  <a:gd name="connsiteX26" fmla="*/ 5767 w 5810"/>
                  <a:gd name="connsiteY26" fmla="*/ 983 h 1085"/>
                  <a:gd name="connsiteX27" fmla="*/ 5785 w 5810"/>
                  <a:gd name="connsiteY27" fmla="*/ 985 h 1085"/>
                  <a:gd name="connsiteX28" fmla="*/ 5802 w 5810"/>
                  <a:gd name="connsiteY28" fmla="*/ 985 h 1085"/>
                  <a:gd name="connsiteX29" fmla="*/ 5810 w 5810"/>
                  <a:gd name="connsiteY29" fmla="*/ 1072 h 1085"/>
                  <a:gd name="connsiteX30" fmla="*/ 5717 w 5810"/>
                  <a:gd name="connsiteY30" fmla="*/ 1064 h 1085"/>
                  <a:gd name="connsiteX31" fmla="*/ 5680 w 5810"/>
                  <a:gd name="connsiteY31" fmla="*/ 1056 h 1085"/>
                  <a:gd name="connsiteX32" fmla="*/ 5639 w 5810"/>
                  <a:gd name="connsiteY32" fmla="*/ 1043 h 1085"/>
                  <a:gd name="connsiteX33" fmla="*/ 5593 w 5810"/>
                  <a:gd name="connsiteY33" fmla="*/ 1025 h 1085"/>
                  <a:gd name="connsiteX34" fmla="*/ 5546 w 5810"/>
                  <a:gd name="connsiteY34" fmla="*/ 1002 h 1085"/>
                  <a:gd name="connsiteX35" fmla="*/ 5496 w 5810"/>
                  <a:gd name="connsiteY35" fmla="*/ 971 h 1085"/>
                  <a:gd name="connsiteX36" fmla="*/ 5445 w 5810"/>
                  <a:gd name="connsiteY36" fmla="*/ 931 h 1085"/>
                  <a:gd name="connsiteX37" fmla="*/ 5393 w 5810"/>
                  <a:gd name="connsiteY37" fmla="*/ 884 h 1085"/>
                  <a:gd name="connsiteX38" fmla="*/ 5339 w 5810"/>
                  <a:gd name="connsiteY38" fmla="*/ 825 h 1085"/>
                  <a:gd name="connsiteX39" fmla="*/ 5288 w 5810"/>
                  <a:gd name="connsiteY39" fmla="*/ 757 h 1085"/>
                  <a:gd name="connsiteX40" fmla="*/ 5238 w 5810"/>
                  <a:gd name="connsiteY40" fmla="*/ 676 h 1085"/>
                  <a:gd name="connsiteX41" fmla="*/ 5191 w 5810"/>
                  <a:gd name="connsiteY41" fmla="*/ 585 h 1085"/>
                  <a:gd name="connsiteX42" fmla="*/ 5141 w 5810"/>
                  <a:gd name="connsiteY42" fmla="*/ 489 h 1085"/>
                  <a:gd name="connsiteX43" fmla="*/ 5092 w 5810"/>
                  <a:gd name="connsiteY43" fmla="*/ 407 h 1085"/>
                  <a:gd name="connsiteX44" fmla="*/ 5042 w 5810"/>
                  <a:gd name="connsiteY44" fmla="*/ 336 h 1085"/>
                  <a:gd name="connsiteX45" fmla="*/ 4993 w 5810"/>
                  <a:gd name="connsiteY45" fmla="*/ 276 h 1085"/>
                  <a:gd name="connsiteX46" fmla="*/ 4945 w 5810"/>
                  <a:gd name="connsiteY46" fmla="*/ 228 h 1085"/>
                  <a:gd name="connsiteX47" fmla="*/ 4900 w 5810"/>
                  <a:gd name="connsiteY47" fmla="*/ 189 h 1085"/>
                  <a:gd name="connsiteX48" fmla="*/ 4858 w 5810"/>
                  <a:gd name="connsiteY48" fmla="*/ 158 h 1085"/>
                  <a:gd name="connsiteX49" fmla="*/ 4819 w 5810"/>
                  <a:gd name="connsiteY49" fmla="*/ 135 h 1085"/>
                  <a:gd name="connsiteX50" fmla="*/ 4770 w 5810"/>
                  <a:gd name="connsiteY50" fmla="*/ 112 h 1085"/>
                  <a:gd name="connsiteX51" fmla="*/ 4726 w 5810"/>
                  <a:gd name="connsiteY51" fmla="*/ 98 h 1085"/>
                  <a:gd name="connsiteX52" fmla="*/ 4691 w 5810"/>
                  <a:gd name="connsiteY52" fmla="*/ 89 h 1085"/>
                  <a:gd name="connsiteX53" fmla="*/ 4662 w 5810"/>
                  <a:gd name="connsiteY53" fmla="*/ 87 h 1085"/>
                  <a:gd name="connsiteX54" fmla="*/ 4635 w 5810"/>
                  <a:gd name="connsiteY54" fmla="*/ 87 h 1085"/>
                  <a:gd name="connsiteX55" fmla="*/ 4569 w 5810"/>
                  <a:gd name="connsiteY55" fmla="*/ 93 h 1085"/>
                  <a:gd name="connsiteX56" fmla="*/ 4507 w 5810"/>
                  <a:gd name="connsiteY56" fmla="*/ 106 h 1085"/>
                  <a:gd name="connsiteX57" fmla="*/ 4452 w 5810"/>
                  <a:gd name="connsiteY57" fmla="*/ 127 h 1085"/>
                  <a:gd name="connsiteX58" fmla="*/ 4400 w 5810"/>
                  <a:gd name="connsiteY58" fmla="*/ 154 h 1085"/>
                  <a:gd name="connsiteX59" fmla="*/ 4353 w 5810"/>
                  <a:gd name="connsiteY59" fmla="*/ 187 h 1085"/>
                  <a:gd name="connsiteX60" fmla="*/ 4309 w 5810"/>
                  <a:gd name="connsiteY60" fmla="*/ 224 h 1085"/>
                  <a:gd name="connsiteX61" fmla="*/ 4270 w 5810"/>
                  <a:gd name="connsiteY61" fmla="*/ 268 h 1085"/>
                  <a:gd name="connsiteX62" fmla="*/ 4231 w 5810"/>
                  <a:gd name="connsiteY62" fmla="*/ 313 h 1085"/>
                  <a:gd name="connsiteX63" fmla="*/ 4196 w 5810"/>
                  <a:gd name="connsiteY63" fmla="*/ 363 h 1085"/>
                  <a:gd name="connsiteX64" fmla="*/ 4163 w 5810"/>
                  <a:gd name="connsiteY64" fmla="*/ 415 h 1085"/>
                  <a:gd name="connsiteX65" fmla="*/ 4101 w 5810"/>
                  <a:gd name="connsiteY65" fmla="*/ 523 h 1085"/>
                  <a:gd name="connsiteX66" fmla="*/ 4008 w 5810"/>
                  <a:gd name="connsiteY66" fmla="*/ 691 h 1085"/>
                  <a:gd name="connsiteX67" fmla="*/ 3975 w 5810"/>
                  <a:gd name="connsiteY67" fmla="*/ 747 h 1085"/>
                  <a:gd name="connsiteX68" fmla="*/ 3940 w 5810"/>
                  <a:gd name="connsiteY68" fmla="*/ 798 h 1085"/>
                  <a:gd name="connsiteX69" fmla="*/ 3905 w 5810"/>
                  <a:gd name="connsiteY69" fmla="*/ 848 h 1085"/>
                  <a:gd name="connsiteX70" fmla="*/ 3865 w 5810"/>
                  <a:gd name="connsiteY70" fmla="*/ 894 h 1085"/>
                  <a:gd name="connsiteX71" fmla="*/ 3824 w 5810"/>
                  <a:gd name="connsiteY71" fmla="*/ 935 h 1085"/>
                  <a:gd name="connsiteX72" fmla="*/ 3779 w 5810"/>
                  <a:gd name="connsiteY72" fmla="*/ 971 h 1085"/>
                  <a:gd name="connsiteX73" fmla="*/ 3729 w 5810"/>
                  <a:gd name="connsiteY73" fmla="*/ 1000 h 1085"/>
                  <a:gd name="connsiteX74" fmla="*/ 3677 w 5810"/>
                  <a:gd name="connsiteY74" fmla="*/ 1022 h 1085"/>
                  <a:gd name="connsiteX75" fmla="*/ 3620 w 5810"/>
                  <a:gd name="connsiteY75" fmla="*/ 1037 h 1085"/>
                  <a:gd name="connsiteX76" fmla="*/ 3556 w 5810"/>
                  <a:gd name="connsiteY76" fmla="*/ 1043 h 1085"/>
                  <a:gd name="connsiteX77" fmla="*/ 3547 w 5810"/>
                  <a:gd name="connsiteY77" fmla="*/ 1043 h 1085"/>
                  <a:gd name="connsiteX78" fmla="*/ 3485 w 5810"/>
                  <a:gd name="connsiteY78" fmla="*/ 1039 h 1085"/>
                  <a:gd name="connsiteX79" fmla="*/ 3426 w 5810"/>
                  <a:gd name="connsiteY79" fmla="*/ 1025 h 1085"/>
                  <a:gd name="connsiteX80" fmla="*/ 3372 w 5810"/>
                  <a:gd name="connsiteY80" fmla="*/ 1002 h 1085"/>
                  <a:gd name="connsiteX81" fmla="*/ 3320 w 5810"/>
                  <a:gd name="connsiteY81" fmla="*/ 973 h 1085"/>
                  <a:gd name="connsiteX82" fmla="*/ 3273 w 5810"/>
                  <a:gd name="connsiteY82" fmla="*/ 935 h 1085"/>
                  <a:gd name="connsiteX83" fmla="*/ 3229 w 5810"/>
                  <a:gd name="connsiteY83" fmla="*/ 894 h 1085"/>
                  <a:gd name="connsiteX84" fmla="*/ 3186 w 5810"/>
                  <a:gd name="connsiteY84" fmla="*/ 846 h 1085"/>
                  <a:gd name="connsiteX85" fmla="*/ 3147 w 5810"/>
                  <a:gd name="connsiteY85" fmla="*/ 796 h 1085"/>
                  <a:gd name="connsiteX86" fmla="*/ 3108 w 5810"/>
                  <a:gd name="connsiteY86" fmla="*/ 740 h 1085"/>
                  <a:gd name="connsiteX87" fmla="*/ 3070 w 5810"/>
                  <a:gd name="connsiteY87" fmla="*/ 684 h 1085"/>
                  <a:gd name="connsiteX88" fmla="*/ 2965 w 5810"/>
                  <a:gd name="connsiteY88" fmla="*/ 510 h 1085"/>
                  <a:gd name="connsiteX89" fmla="*/ 2928 w 5810"/>
                  <a:gd name="connsiteY89" fmla="*/ 452 h 1085"/>
                  <a:gd name="connsiteX90" fmla="*/ 2891 w 5810"/>
                  <a:gd name="connsiteY90" fmla="*/ 396 h 1085"/>
                  <a:gd name="connsiteX91" fmla="*/ 2854 w 5810"/>
                  <a:gd name="connsiteY91" fmla="*/ 342 h 1085"/>
                  <a:gd name="connsiteX92" fmla="*/ 2814 w 5810"/>
                  <a:gd name="connsiteY92" fmla="*/ 292 h 1085"/>
                  <a:gd name="connsiteX93" fmla="*/ 2773 w 5810"/>
                  <a:gd name="connsiteY93" fmla="*/ 247 h 1085"/>
                  <a:gd name="connsiteX94" fmla="*/ 2732 w 5810"/>
                  <a:gd name="connsiteY94" fmla="*/ 205 h 1085"/>
                  <a:gd name="connsiteX95" fmla="*/ 2686 w 5810"/>
                  <a:gd name="connsiteY95" fmla="*/ 168 h 1085"/>
                  <a:gd name="connsiteX96" fmla="*/ 2639 w 5810"/>
                  <a:gd name="connsiteY96" fmla="*/ 139 h 1085"/>
                  <a:gd name="connsiteX97" fmla="*/ 2587 w 5810"/>
                  <a:gd name="connsiteY97" fmla="*/ 116 h 1085"/>
                  <a:gd name="connsiteX98" fmla="*/ 2532 w 5810"/>
                  <a:gd name="connsiteY98" fmla="*/ 100 h 1085"/>
                  <a:gd name="connsiteX99" fmla="*/ 2474 w 5810"/>
                  <a:gd name="connsiteY99" fmla="*/ 91 h 1085"/>
                  <a:gd name="connsiteX100" fmla="*/ 2410 w 5810"/>
                  <a:gd name="connsiteY100" fmla="*/ 93 h 1085"/>
                  <a:gd name="connsiteX101" fmla="*/ 2342 w 5810"/>
                  <a:gd name="connsiteY101" fmla="*/ 104 h 1085"/>
                  <a:gd name="connsiteX102" fmla="*/ 2280 w 5810"/>
                  <a:gd name="connsiteY102" fmla="*/ 122 h 1085"/>
                  <a:gd name="connsiteX103" fmla="*/ 2222 w 5810"/>
                  <a:gd name="connsiteY103" fmla="*/ 147 h 1085"/>
                  <a:gd name="connsiteX104" fmla="*/ 2168 w 5810"/>
                  <a:gd name="connsiteY104" fmla="*/ 180 h 1085"/>
                  <a:gd name="connsiteX105" fmla="*/ 2117 w 5810"/>
                  <a:gd name="connsiteY105" fmla="*/ 218 h 1085"/>
                  <a:gd name="connsiteX106" fmla="*/ 2071 w 5810"/>
                  <a:gd name="connsiteY106" fmla="*/ 261 h 1085"/>
                  <a:gd name="connsiteX107" fmla="*/ 2026 w 5810"/>
                  <a:gd name="connsiteY107" fmla="*/ 307 h 1085"/>
                  <a:gd name="connsiteX108" fmla="*/ 1984 w 5810"/>
                  <a:gd name="connsiteY108" fmla="*/ 359 h 1085"/>
                  <a:gd name="connsiteX109" fmla="*/ 1945 w 5810"/>
                  <a:gd name="connsiteY109" fmla="*/ 413 h 1085"/>
                  <a:gd name="connsiteX110" fmla="*/ 1908 w 5810"/>
                  <a:gd name="connsiteY110" fmla="*/ 467 h 1085"/>
                  <a:gd name="connsiteX111" fmla="*/ 1871 w 5810"/>
                  <a:gd name="connsiteY111" fmla="*/ 523 h 1085"/>
                  <a:gd name="connsiteX112" fmla="*/ 1834 w 5810"/>
                  <a:gd name="connsiteY112" fmla="*/ 581 h 1085"/>
                  <a:gd name="connsiteX113" fmla="*/ 1799 w 5810"/>
                  <a:gd name="connsiteY113" fmla="*/ 637 h 1085"/>
                  <a:gd name="connsiteX114" fmla="*/ 1724 w 5810"/>
                  <a:gd name="connsiteY114" fmla="*/ 749 h 1085"/>
                  <a:gd name="connsiteX115" fmla="*/ 1685 w 5810"/>
                  <a:gd name="connsiteY115" fmla="*/ 801 h 1085"/>
                  <a:gd name="connsiteX116" fmla="*/ 1644 w 5810"/>
                  <a:gd name="connsiteY116" fmla="*/ 850 h 1085"/>
                  <a:gd name="connsiteX117" fmla="*/ 1600 w 5810"/>
                  <a:gd name="connsiteY117" fmla="*/ 896 h 1085"/>
                  <a:gd name="connsiteX118" fmla="*/ 1553 w 5810"/>
                  <a:gd name="connsiteY118" fmla="*/ 937 h 1085"/>
                  <a:gd name="connsiteX119" fmla="*/ 1503 w 5810"/>
                  <a:gd name="connsiteY119" fmla="*/ 973 h 1085"/>
                  <a:gd name="connsiteX120" fmla="*/ 1450 w 5810"/>
                  <a:gd name="connsiteY120" fmla="*/ 1002 h 1085"/>
                  <a:gd name="connsiteX121" fmla="*/ 1394 w 5810"/>
                  <a:gd name="connsiteY121" fmla="*/ 1025 h 1085"/>
                  <a:gd name="connsiteX122" fmla="*/ 1330 w 5810"/>
                  <a:gd name="connsiteY122" fmla="*/ 1037 h 1085"/>
                  <a:gd name="connsiteX123" fmla="*/ 1264 w 5810"/>
                  <a:gd name="connsiteY123" fmla="*/ 1043 h 1085"/>
                  <a:gd name="connsiteX124" fmla="*/ 1258 w 5810"/>
                  <a:gd name="connsiteY124" fmla="*/ 1043 h 1085"/>
                  <a:gd name="connsiteX125" fmla="*/ 1190 w 5810"/>
                  <a:gd name="connsiteY125" fmla="*/ 1039 h 1085"/>
                  <a:gd name="connsiteX126" fmla="*/ 1128 w 5810"/>
                  <a:gd name="connsiteY126" fmla="*/ 1027 h 1085"/>
                  <a:gd name="connsiteX127" fmla="*/ 1070 w 5810"/>
                  <a:gd name="connsiteY127" fmla="*/ 1008 h 1085"/>
                  <a:gd name="connsiteX128" fmla="*/ 1018 w 5810"/>
                  <a:gd name="connsiteY128" fmla="*/ 983 h 1085"/>
                  <a:gd name="connsiteX129" fmla="*/ 971 w 5810"/>
                  <a:gd name="connsiteY129" fmla="*/ 952 h 1085"/>
                  <a:gd name="connsiteX130" fmla="*/ 925 w 5810"/>
                  <a:gd name="connsiteY130" fmla="*/ 915 h 1085"/>
                  <a:gd name="connsiteX131" fmla="*/ 884 w 5810"/>
                  <a:gd name="connsiteY131" fmla="*/ 873 h 1085"/>
                  <a:gd name="connsiteX132" fmla="*/ 847 w 5810"/>
                  <a:gd name="connsiteY132" fmla="*/ 828 h 1085"/>
                  <a:gd name="connsiteX133" fmla="*/ 810 w 5810"/>
                  <a:gd name="connsiteY133" fmla="*/ 780 h 1085"/>
                  <a:gd name="connsiteX134" fmla="*/ 777 w 5810"/>
                  <a:gd name="connsiteY134" fmla="*/ 728 h 1085"/>
                  <a:gd name="connsiteX135" fmla="*/ 742 w 5810"/>
                  <a:gd name="connsiteY135" fmla="*/ 674 h 1085"/>
                  <a:gd name="connsiteX136" fmla="*/ 711 w 5810"/>
                  <a:gd name="connsiteY136" fmla="*/ 618 h 1085"/>
                  <a:gd name="connsiteX137" fmla="*/ 678 w 5810"/>
                  <a:gd name="connsiteY137" fmla="*/ 560 h 1085"/>
                  <a:gd name="connsiteX138" fmla="*/ 616 w 5810"/>
                  <a:gd name="connsiteY138" fmla="*/ 448 h 1085"/>
                  <a:gd name="connsiteX139" fmla="*/ 547 w 5810"/>
                  <a:gd name="connsiteY139" fmla="*/ 340 h 1085"/>
                  <a:gd name="connsiteX140" fmla="*/ 504 w 5810"/>
                  <a:gd name="connsiteY140" fmla="*/ 284 h 1085"/>
                  <a:gd name="connsiteX141" fmla="*/ 457 w 5810"/>
                  <a:gd name="connsiteY141" fmla="*/ 239 h 1085"/>
                  <a:gd name="connsiteX142" fmla="*/ 409 w 5810"/>
                  <a:gd name="connsiteY142" fmla="*/ 199 h 1085"/>
                  <a:gd name="connsiteX143" fmla="*/ 358 w 5810"/>
                  <a:gd name="connsiteY143" fmla="*/ 168 h 1085"/>
                  <a:gd name="connsiteX144" fmla="*/ 308 w 5810"/>
                  <a:gd name="connsiteY144" fmla="*/ 145 h 1085"/>
                  <a:gd name="connsiteX145" fmla="*/ 256 w 5810"/>
                  <a:gd name="connsiteY145" fmla="*/ 127 h 1085"/>
                  <a:gd name="connsiteX146" fmla="*/ 209 w 5810"/>
                  <a:gd name="connsiteY146" fmla="*/ 112 h 1085"/>
                  <a:gd name="connsiteX147" fmla="*/ 163 w 5810"/>
                  <a:gd name="connsiteY147" fmla="*/ 104 h 1085"/>
                  <a:gd name="connsiteX148" fmla="*/ 122 w 5810"/>
                  <a:gd name="connsiteY148" fmla="*/ 100 h 1085"/>
                  <a:gd name="connsiteX149" fmla="*/ 85 w 5810"/>
                  <a:gd name="connsiteY149" fmla="*/ 95 h 1085"/>
                  <a:gd name="connsiteX150" fmla="*/ 31 w 5810"/>
                  <a:gd name="connsiteY150" fmla="*/ 95 h 1085"/>
                  <a:gd name="connsiteX151" fmla="*/ 17 w 5810"/>
                  <a:gd name="connsiteY151" fmla="*/ 98 h 1085"/>
                  <a:gd name="connsiteX152" fmla="*/ 11 w 5810"/>
                  <a:gd name="connsiteY152" fmla="*/ 98 h 1085"/>
                  <a:gd name="connsiteX153" fmla="*/ 0 w 5810"/>
                  <a:gd name="connsiteY153" fmla="*/ 13 h 1085"/>
                  <a:gd name="connsiteX154" fmla="*/ 9 w 5810"/>
                  <a:gd name="connsiteY154" fmla="*/ 13 h 1085"/>
                  <a:gd name="connsiteX155" fmla="*/ 29 w 5810"/>
                  <a:gd name="connsiteY155" fmla="*/ 10 h 1085"/>
                  <a:gd name="connsiteX156" fmla="*/ 91 w 5810"/>
                  <a:gd name="connsiteY156" fmla="*/ 10 h 1085"/>
                  <a:gd name="connsiteX157" fmla="*/ 135 w 5810"/>
                  <a:gd name="connsiteY157" fmla="*/ 13 h 1085"/>
                  <a:gd name="connsiteX158" fmla="*/ 182 w 5810"/>
                  <a:gd name="connsiteY158" fmla="*/ 19 h 1085"/>
                  <a:gd name="connsiteX159" fmla="*/ 234 w 5810"/>
                  <a:gd name="connsiteY159" fmla="*/ 29 h 1085"/>
                  <a:gd name="connsiteX160" fmla="*/ 287 w 5810"/>
                  <a:gd name="connsiteY160" fmla="*/ 46 h 1085"/>
                  <a:gd name="connsiteX161" fmla="*/ 345 w 5810"/>
                  <a:gd name="connsiteY161" fmla="*/ 66 h 1085"/>
                  <a:gd name="connsiteX162" fmla="*/ 403 w 5810"/>
                  <a:gd name="connsiteY162" fmla="*/ 93 h 1085"/>
                  <a:gd name="connsiteX163" fmla="*/ 459 w 5810"/>
                  <a:gd name="connsiteY163" fmla="*/ 131 h 1085"/>
                  <a:gd name="connsiteX164" fmla="*/ 514 w 5810"/>
                  <a:gd name="connsiteY164" fmla="*/ 174 h 1085"/>
                  <a:gd name="connsiteX165" fmla="*/ 568 w 5810"/>
                  <a:gd name="connsiteY165" fmla="*/ 228 h 1085"/>
                  <a:gd name="connsiteX166" fmla="*/ 618 w 5810"/>
                  <a:gd name="connsiteY166" fmla="*/ 292 h 1085"/>
                  <a:gd name="connsiteX167" fmla="*/ 667 w 5810"/>
                  <a:gd name="connsiteY167" fmla="*/ 367 h 1085"/>
                  <a:gd name="connsiteX168" fmla="*/ 754 w 5810"/>
                  <a:gd name="connsiteY168" fmla="*/ 516 h 1085"/>
                  <a:gd name="connsiteX169" fmla="*/ 787 w 5810"/>
                  <a:gd name="connsiteY169" fmla="*/ 575 h 1085"/>
                  <a:gd name="connsiteX170" fmla="*/ 820 w 5810"/>
                  <a:gd name="connsiteY170" fmla="*/ 631 h 1085"/>
                  <a:gd name="connsiteX171" fmla="*/ 853 w 5810"/>
                  <a:gd name="connsiteY171" fmla="*/ 684 h 1085"/>
                  <a:gd name="connsiteX172" fmla="*/ 886 w 5810"/>
                  <a:gd name="connsiteY172" fmla="*/ 736 h 1085"/>
                  <a:gd name="connsiteX173" fmla="*/ 921 w 5810"/>
                  <a:gd name="connsiteY173" fmla="*/ 782 h 1085"/>
                  <a:gd name="connsiteX174" fmla="*/ 958 w 5810"/>
                  <a:gd name="connsiteY174" fmla="*/ 825 h 1085"/>
                  <a:gd name="connsiteX175" fmla="*/ 1000 w 5810"/>
                  <a:gd name="connsiteY175" fmla="*/ 863 h 1085"/>
                  <a:gd name="connsiteX176" fmla="*/ 1043 w 5810"/>
                  <a:gd name="connsiteY176" fmla="*/ 894 h 1085"/>
                  <a:gd name="connsiteX177" fmla="*/ 1090 w 5810"/>
                  <a:gd name="connsiteY177" fmla="*/ 921 h 1085"/>
                  <a:gd name="connsiteX178" fmla="*/ 1140 w 5810"/>
                  <a:gd name="connsiteY178" fmla="*/ 939 h 1085"/>
                  <a:gd name="connsiteX179" fmla="*/ 1196 w 5810"/>
                  <a:gd name="connsiteY179" fmla="*/ 952 h 1085"/>
                  <a:gd name="connsiteX180" fmla="*/ 1258 w 5810"/>
                  <a:gd name="connsiteY180" fmla="*/ 956 h 1085"/>
                  <a:gd name="connsiteX181" fmla="*/ 1264 w 5810"/>
                  <a:gd name="connsiteY181" fmla="*/ 956 h 1085"/>
                  <a:gd name="connsiteX182" fmla="*/ 1324 w 5810"/>
                  <a:gd name="connsiteY182" fmla="*/ 950 h 1085"/>
                  <a:gd name="connsiteX183" fmla="*/ 1380 w 5810"/>
                  <a:gd name="connsiteY183" fmla="*/ 935 h 1085"/>
                  <a:gd name="connsiteX184" fmla="*/ 1433 w 5810"/>
                  <a:gd name="connsiteY184" fmla="*/ 913 h 1085"/>
                  <a:gd name="connsiteX185" fmla="*/ 1481 w 5810"/>
                  <a:gd name="connsiteY185" fmla="*/ 884 h 1085"/>
                  <a:gd name="connsiteX186" fmla="*/ 1526 w 5810"/>
                  <a:gd name="connsiteY186" fmla="*/ 846 h 1085"/>
                  <a:gd name="connsiteX187" fmla="*/ 1569 w 5810"/>
                  <a:gd name="connsiteY187" fmla="*/ 803 h 1085"/>
                  <a:gd name="connsiteX188" fmla="*/ 1609 w 5810"/>
                  <a:gd name="connsiteY188" fmla="*/ 755 h 1085"/>
                  <a:gd name="connsiteX189" fmla="*/ 1648 w 5810"/>
                  <a:gd name="connsiteY189" fmla="*/ 703 h 1085"/>
                  <a:gd name="connsiteX190" fmla="*/ 1687 w 5810"/>
                  <a:gd name="connsiteY190" fmla="*/ 649 h 1085"/>
                  <a:gd name="connsiteX191" fmla="*/ 1799 w 5810"/>
                  <a:gd name="connsiteY191" fmla="*/ 475 h 1085"/>
                  <a:gd name="connsiteX192" fmla="*/ 1838 w 5810"/>
                  <a:gd name="connsiteY192" fmla="*/ 415 h 1085"/>
                  <a:gd name="connsiteX193" fmla="*/ 1879 w 5810"/>
                  <a:gd name="connsiteY193" fmla="*/ 357 h 1085"/>
                  <a:gd name="connsiteX194" fmla="*/ 1923 w 5810"/>
                  <a:gd name="connsiteY194" fmla="*/ 299 h 1085"/>
                  <a:gd name="connsiteX195" fmla="*/ 1968 w 5810"/>
                  <a:gd name="connsiteY195" fmla="*/ 245 h 1085"/>
                  <a:gd name="connsiteX196" fmla="*/ 2015 w 5810"/>
                  <a:gd name="connsiteY196" fmla="*/ 193 h 1085"/>
                  <a:gd name="connsiteX197" fmla="*/ 2069 w 5810"/>
                  <a:gd name="connsiteY197" fmla="*/ 145 h 1085"/>
                  <a:gd name="connsiteX198" fmla="*/ 2125 w 5810"/>
                  <a:gd name="connsiteY198" fmla="*/ 104 h 1085"/>
                  <a:gd name="connsiteX199" fmla="*/ 2187 w 5810"/>
                  <a:gd name="connsiteY199" fmla="*/ 69 h 1085"/>
                  <a:gd name="connsiteX200" fmla="*/ 2253 w 5810"/>
                  <a:gd name="connsiteY200" fmla="*/ 39 h 1085"/>
                  <a:gd name="connsiteX201" fmla="*/ 2325 w 5810"/>
                  <a:gd name="connsiteY201" fmla="*/ 19 h 1085"/>
                  <a:gd name="connsiteX202" fmla="*/ 2404 w 5810"/>
                  <a:gd name="connsiteY202" fmla="*/ 6 h 1085"/>
                  <a:gd name="connsiteX203" fmla="*/ 2474 w 5810"/>
                  <a:gd name="connsiteY203" fmla="*/ 4 h 1085"/>
                  <a:gd name="connsiteX204" fmla="*/ 2540 w 5810"/>
                  <a:gd name="connsiteY204" fmla="*/ 13 h 1085"/>
                  <a:gd name="connsiteX205" fmla="*/ 2600 w 5810"/>
                  <a:gd name="connsiteY205" fmla="*/ 27 h 1085"/>
                  <a:gd name="connsiteX206" fmla="*/ 2658 w 5810"/>
                  <a:gd name="connsiteY206" fmla="*/ 50 h 1085"/>
                  <a:gd name="connsiteX207" fmla="*/ 2711 w 5810"/>
                  <a:gd name="connsiteY207" fmla="*/ 81 h 1085"/>
                  <a:gd name="connsiteX208" fmla="*/ 2761 w 5810"/>
                  <a:gd name="connsiteY208" fmla="*/ 116 h 1085"/>
                  <a:gd name="connsiteX209" fmla="*/ 2806 w 5810"/>
                  <a:gd name="connsiteY209" fmla="*/ 158 h 1085"/>
                  <a:gd name="connsiteX210" fmla="*/ 2852 w 5810"/>
                  <a:gd name="connsiteY210" fmla="*/ 203 h 1085"/>
                  <a:gd name="connsiteX211" fmla="*/ 2893 w 5810"/>
                  <a:gd name="connsiteY211" fmla="*/ 251 h 1085"/>
                  <a:gd name="connsiteX212" fmla="*/ 2932 w 5810"/>
                  <a:gd name="connsiteY212" fmla="*/ 303 h 1085"/>
                  <a:gd name="connsiteX213" fmla="*/ 2969 w 5810"/>
                  <a:gd name="connsiteY213" fmla="*/ 357 h 1085"/>
                  <a:gd name="connsiteX214" fmla="*/ 3004 w 5810"/>
                  <a:gd name="connsiteY214" fmla="*/ 413 h 1085"/>
                  <a:gd name="connsiteX215" fmla="*/ 3039 w 5810"/>
                  <a:gd name="connsiteY215" fmla="*/ 467 h 1085"/>
                  <a:gd name="connsiteX216" fmla="*/ 3073 w 5810"/>
                  <a:gd name="connsiteY216" fmla="*/ 523 h 1085"/>
                  <a:gd name="connsiteX217" fmla="*/ 3110 w 5810"/>
                  <a:gd name="connsiteY217" fmla="*/ 585 h 1085"/>
                  <a:gd name="connsiteX218" fmla="*/ 3147 w 5810"/>
                  <a:gd name="connsiteY218" fmla="*/ 643 h 1085"/>
                  <a:gd name="connsiteX219" fmla="*/ 3186 w 5810"/>
                  <a:gd name="connsiteY219" fmla="*/ 701 h 1085"/>
                  <a:gd name="connsiteX220" fmla="*/ 3223 w 5810"/>
                  <a:gd name="connsiteY220" fmla="*/ 755 h 1085"/>
                  <a:gd name="connsiteX221" fmla="*/ 3265 w 5810"/>
                  <a:gd name="connsiteY221" fmla="*/ 805 h 1085"/>
                  <a:gd name="connsiteX222" fmla="*/ 3306 w 5810"/>
                  <a:gd name="connsiteY222" fmla="*/ 848 h 1085"/>
                  <a:gd name="connsiteX223" fmla="*/ 3349 w 5810"/>
                  <a:gd name="connsiteY223" fmla="*/ 886 h 1085"/>
                  <a:gd name="connsiteX224" fmla="*/ 3395 w 5810"/>
                  <a:gd name="connsiteY224" fmla="*/ 917 h 1085"/>
                  <a:gd name="connsiteX225" fmla="*/ 3444 w 5810"/>
                  <a:gd name="connsiteY225" fmla="*/ 939 h 1085"/>
                  <a:gd name="connsiteX226" fmla="*/ 3498 w 5810"/>
                  <a:gd name="connsiteY226" fmla="*/ 952 h 1085"/>
                  <a:gd name="connsiteX227" fmla="*/ 3554 w 5810"/>
                  <a:gd name="connsiteY227" fmla="*/ 956 h 1085"/>
                  <a:gd name="connsiteX228" fmla="*/ 3609 w 5810"/>
                  <a:gd name="connsiteY228" fmla="*/ 950 h 1085"/>
                  <a:gd name="connsiteX229" fmla="*/ 3659 w 5810"/>
                  <a:gd name="connsiteY229" fmla="*/ 935 h 1085"/>
                  <a:gd name="connsiteX230" fmla="*/ 3706 w 5810"/>
                  <a:gd name="connsiteY230" fmla="*/ 915 h 1085"/>
                  <a:gd name="connsiteX231" fmla="*/ 3750 w 5810"/>
                  <a:gd name="connsiteY231" fmla="*/ 884 h 1085"/>
                  <a:gd name="connsiteX232" fmla="*/ 3789 w 5810"/>
                  <a:gd name="connsiteY232" fmla="*/ 848 h 1085"/>
                  <a:gd name="connsiteX233" fmla="*/ 3826 w 5810"/>
                  <a:gd name="connsiteY233" fmla="*/ 807 h 1085"/>
                  <a:gd name="connsiteX234" fmla="*/ 3861 w 5810"/>
                  <a:gd name="connsiteY234" fmla="*/ 759 h 1085"/>
                  <a:gd name="connsiteX235" fmla="*/ 3894 w 5810"/>
                  <a:gd name="connsiteY235" fmla="*/ 709 h 1085"/>
                  <a:gd name="connsiteX236" fmla="*/ 3927 w 5810"/>
                  <a:gd name="connsiteY236" fmla="*/ 655 h 1085"/>
                  <a:gd name="connsiteX237" fmla="*/ 3960 w 5810"/>
                  <a:gd name="connsiteY237" fmla="*/ 597 h 1085"/>
                  <a:gd name="connsiteX238" fmla="*/ 3993 w 5810"/>
                  <a:gd name="connsiteY238" fmla="*/ 537 h 1085"/>
                  <a:gd name="connsiteX239" fmla="*/ 4022 w 5810"/>
                  <a:gd name="connsiteY239" fmla="*/ 483 h 1085"/>
                  <a:gd name="connsiteX240" fmla="*/ 4084 w 5810"/>
                  <a:gd name="connsiteY240" fmla="*/ 375 h 1085"/>
                  <a:gd name="connsiteX241" fmla="*/ 4154 w 5810"/>
                  <a:gd name="connsiteY241" fmla="*/ 272 h 1085"/>
                  <a:gd name="connsiteX242" fmla="*/ 4192 w 5810"/>
                  <a:gd name="connsiteY242" fmla="*/ 224 h 1085"/>
                  <a:gd name="connsiteX243" fmla="*/ 4233 w 5810"/>
                  <a:gd name="connsiteY243" fmla="*/ 178 h 1085"/>
                  <a:gd name="connsiteX244" fmla="*/ 4276 w 5810"/>
                  <a:gd name="connsiteY244" fmla="*/ 137 h 1085"/>
                  <a:gd name="connsiteX245" fmla="*/ 4324 w 5810"/>
                  <a:gd name="connsiteY245" fmla="*/ 100 h 1085"/>
                  <a:gd name="connsiteX246" fmla="*/ 4375 w 5810"/>
                  <a:gd name="connsiteY246" fmla="*/ 66 h 1085"/>
                  <a:gd name="connsiteX247" fmla="*/ 4433 w 5810"/>
                  <a:gd name="connsiteY247" fmla="*/ 39 h 1085"/>
                  <a:gd name="connsiteX248" fmla="*/ 4493 w 5810"/>
                  <a:gd name="connsiteY248" fmla="*/ 19 h 1085"/>
                  <a:gd name="connsiteX249" fmla="*/ 4559 w 5810"/>
                  <a:gd name="connsiteY249" fmla="*/ 6 h 1085"/>
                  <a:gd name="connsiteX250" fmla="*/ 4631 w 5810"/>
                  <a:gd name="connsiteY250" fmla="*/ 0 h 1085"/>
                  <a:gd name="connsiteX0" fmla="*/ 4631 w 5810"/>
                  <a:gd name="connsiteY0" fmla="*/ 0 h 1085"/>
                  <a:gd name="connsiteX1" fmla="*/ 4681 w 5810"/>
                  <a:gd name="connsiteY1" fmla="*/ 0 h 1085"/>
                  <a:gd name="connsiteX2" fmla="*/ 4710 w 5810"/>
                  <a:gd name="connsiteY2" fmla="*/ 4 h 1085"/>
                  <a:gd name="connsiteX3" fmla="*/ 4741 w 5810"/>
                  <a:gd name="connsiteY3" fmla="*/ 13 h 1085"/>
                  <a:gd name="connsiteX4" fmla="*/ 4778 w 5810"/>
                  <a:gd name="connsiteY4" fmla="*/ 23 h 1085"/>
                  <a:gd name="connsiteX5" fmla="*/ 4819 w 5810"/>
                  <a:gd name="connsiteY5" fmla="*/ 39 h 1085"/>
                  <a:gd name="connsiteX6" fmla="*/ 4863 w 5810"/>
                  <a:gd name="connsiteY6" fmla="*/ 60 h 1085"/>
                  <a:gd name="connsiteX7" fmla="*/ 4910 w 5810"/>
                  <a:gd name="connsiteY7" fmla="*/ 89 h 1085"/>
                  <a:gd name="connsiteX8" fmla="*/ 4960 w 5810"/>
                  <a:gd name="connsiteY8" fmla="*/ 124 h 1085"/>
                  <a:gd name="connsiteX9" fmla="*/ 5009 w 5810"/>
                  <a:gd name="connsiteY9" fmla="*/ 170 h 1085"/>
                  <a:gd name="connsiteX10" fmla="*/ 5061 w 5810"/>
                  <a:gd name="connsiteY10" fmla="*/ 224 h 1085"/>
                  <a:gd name="connsiteX11" fmla="*/ 5112 w 5810"/>
                  <a:gd name="connsiteY11" fmla="*/ 286 h 1085"/>
                  <a:gd name="connsiteX12" fmla="*/ 5164 w 5810"/>
                  <a:gd name="connsiteY12" fmla="*/ 361 h 1085"/>
                  <a:gd name="connsiteX13" fmla="*/ 5216 w 5810"/>
                  <a:gd name="connsiteY13" fmla="*/ 448 h 1085"/>
                  <a:gd name="connsiteX14" fmla="*/ 5267 w 5810"/>
                  <a:gd name="connsiteY14" fmla="*/ 548 h 1085"/>
                  <a:gd name="connsiteX15" fmla="*/ 5313 w 5810"/>
                  <a:gd name="connsiteY15" fmla="*/ 633 h 1085"/>
                  <a:gd name="connsiteX16" fmla="*/ 5358 w 5810"/>
                  <a:gd name="connsiteY16" fmla="*/ 707 h 1085"/>
                  <a:gd name="connsiteX17" fmla="*/ 5408 w 5810"/>
                  <a:gd name="connsiteY17" fmla="*/ 769 h 1085"/>
                  <a:gd name="connsiteX18" fmla="*/ 5455 w 5810"/>
                  <a:gd name="connsiteY18" fmla="*/ 821 h 1085"/>
                  <a:gd name="connsiteX19" fmla="*/ 5503 w 5810"/>
                  <a:gd name="connsiteY19" fmla="*/ 865 h 1085"/>
                  <a:gd name="connsiteX20" fmla="*/ 5550 w 5810"/>
                  <a:gd name="connsiteY20" fmla="*/ 900 h 1085"/>
                  <a:gd name="connsiteX21" fmla="*/ 5593 w 5810"/>
                  <a:gd name="connsiteY21" fmla="*/ 927 h 1085"/>
                  <a:gd name="connsiteX22" fmla="*/ 5637 w 5810"/>
                  <a:gd name="connsiteY22" fmla="*/ 948 h 1085"/>
                  <a:gd name="connsiteX23" fmla="*/ 5676 w 5810"/>
                  <a:gd name="connsiteY23" fmla="*/ 962 h 1085"/>
                  <a:gd name="connsiteX24" fmla="*/ 5711 w 5810"/>
                  <a:gd name="connsiteY24" fmla="*/ 973 h 1085"/>
                  <a:gd name="connsiteX25" fmla="*/ 5742 w 5810"/>
                  <a:gd name="connsiteY25" fmla="*/ 981 h 1085"/>
                  <a:gd name="connsiteX26" fmla="*/ 5767 w 5810"/>
                  <a:gd name="connsiteY26" fmla="*/ 983 h 1085"/>
                  <a:gd name="connsiteX27" fmla="*/ 5785 w 5810"/>
                  <a:gd name="connsiteY27" fmla="*/ 985 h 1085"/>
                  <a:gd name="connsiteX28" fmla="*/ 5802 w 5810"/>
                  <a:gd name="connsiteY28" fmla="*/ 985 h 1085"/>
                  <a:gd name="connsiteX29" fmla="*/ 5810 w 5810"/>
                  <a:gd name="connsiteY29" fmla="*/ 1072 h 1085"/>
                  <a:gd name="connsiteX30" fmla="*/ 5717 w 5810"/>
                  <a:gd name="connsiteY30" fmla="*/ 1064 h 1085"/>
                  <a:gd name="connsiteX31" fmla="*/ 5639 w 5810"/>
                  <a:gd name="connsiteY31" fmla="*/ 1043 h 1085"/>
                  <a:gd name="connsiteX32" fmla="*/ 5593 w 5810"/>
                  <a:gd name="connsiteY32" fmla="*/ 1025 h 1085"/>
                  <a:gd name="connsiteX33" fmla="*/ 5546 w 5810"/>
                  <a:gd name="connsiteY33" fmla="*/ 1002 h 1085"/>
                  <a:gd name="connsiteX34" fmla="*/ 5496 w 5810"/>
                  <a:gd name="connsiteY34" fmla="*/ 971 h 1085"/>
                  <a:gd name="connsiteX35" fmla="*/ 5445 w 5810"/>
                  <a:gd name="connsiteY35" fmla="*/ 931 h 1085"/>
                  <a:gd name="connsiteX36" fmla="*/ 5393 w 5810"/>
                  <a:gd name="connsiteY36" fmla="*/ 884 h 1085"/>
                  <a:gd name="connsiteX37" fmla="*/ 5339 w 5810"/>
                  <a:gd name="connsiteY37" fmla="*/ 825 h 1085"/>
                  <a:gd name="connsiteX38" fmla="*/ 5288 w 5810"/>
                  <a:gd name="connsiteY38" fmla="*/ 757 h 1085"/>
                  <a:gd name="connsiteX39" fmla="*/ 5238 w 5810"/>
                  <a:gd name="connsiteY39" fmla="*/ 676 h 1085"/>
                  <a:gd name="connsiteX40" fmla="*/ 5191 w 5810"/>
                  <a:gd name="connsiteY40" fmla="*/ 585 h 1085"/>
                  <a:gd name="connsiteX41" fmla="*/ 5141 w 5810"/>
                  <a:gd name="connsiteY41" fmla="*/ 489 h 1085"/>
                  <a:gd name="connsiteX42" fmla="*/ 5092 w 5810"/>
                  <a:gd name="connsiteY42" fmla="*/ 407 h 1085"/>
                  <a:gd name="connsiteX43" fmla="*/ 5042 w 5810"/>
                  <a:gd name="connsiteY43" fmla="*/ 336 h 1085"/>
                  <a:gd name="connsiteX44" fmla="*/ 4993 w 5810"/>
                  <a:gd name="connsiteY44" fmla="*/ 276 h 1085"/>
                  <a:gd name="connsiteX45" fmla="*/ 4945 w 5810"/>
                  <a:gd name="connsiteY45" fmla="*/ 228 h 1085"/>
                  <a:gd name="connsiteX46" fmla="*/ 4900 w 5810"/>
                  <a:gd name="connsiteY46" fmla="*/ 189 h 1085"/>
                  <a:gd name="connsiteX47" fmla="*/ 4858 w 5810"/>
                  <a:gd name="connsiteY47" fmla="*/ 158 h 1085"/>
                  <a:gd name="connsiteX48" fmla="*/ 4819 w 5810"/>
                  <a:gd name="connsiteY48" fmla="*/ 135 h 1085"/>
                  <a:gd name="connsiteX49" fmla="*/ 4770 w 5810"/>
                  <a:gd name="connsiteY49" fmla="*/ 112 h 1085"/>
                  <a:gd name="connsiteX50" fmla="*/ 4726 w 5810"/>
                  <a:gd name="connsiteY50" fmla="*/ 98 h 1085"/>
                  <a:gd name="connsiteX51" fmla="*/ 4691 w 5810"/>
                  <a:gd name="connsiteY51" fmla="*/ 89 h 1085"/>
                  <a:gd name="connsiteX52" fmla="*/ 4662 w 5810"/>
                  <a:gd name="connsiteY52" fmla="*/ 87 h 1085"/>
                  <a:gd name="connsiteX53" fmla="*/ 4635 w 5810"/>
                  <a:gd name="connsiteY53" fmla="*/ 87 h 1085"/>
                  <a:gd name="connsiteX54" fmla="*/ 4569 w 5810"/>
                  <a:gd name="connsiteY54" fmla="*/ 93 h 1085"/>
                  <a:gd name="connsiteX55" fmla="*/ 4507 w 5810"/>
                  <a:gd name="connsiteY55" fmla="*/ 106 h 1085"/>
                  <a:gd name="connsiteX56" fmla="*/ 4452 w 5810"/>
                  <a:gd name="connsiteY56" fmla="*/ 127 h 1085"/>
                  <a:gd name="connsiteX57" fmla="*/ 4400 w 5810"/>
                  <a:gd name="connsiteY57" fmla="*/ 154 h 1085"/>
                  <a:gd name="connsiteX58" fmla="*/ 4353 w 5810"/>
                  <a:gd name="connsiteY58" fmla="*/ 187 h 1085"/>
                  <a:gd name="connsiteX59" fmla="*/ 4309 w 5810"/>
                  <a:gd name="connsiteY59" fmla="*/ 224 h 1085"/>
                  <a:gd name="connsiteX60" fmla="*/ 4270 w 5810"/>
                  <a:gd name="connsiteY60" fmla="*/ 268 h 1085"/>
                  <a:gd name="connsiteX61" fmla="*/ 4231 w 5810"/>
                  <a:gd name="connsiteY61" fmla="*/ 313 h 1085"/>
                  <a:gd name="connsiteX62" fmla="*/ 4196 w 5810"/>
                  <a:gd name="connsiteY62" fmla="*/ 363 h 1085"/>
                  <a:gd name="connsiteX63" fmla="*/ 4163 w 5810"/>
                  <a:gd name="connsiteY63" fmla="*/ 415 h 1085"/>
                  <a:gd name="connsiteX64" fmla="*/ 4101 w 5810"/>
                  <a:gd name="connsiteY64" fmla="*/ 523 h 1085"/>
                  <a:gd name="connsiteX65" fmla="*/ 4008 w 5810"/>
                  <a:gd name="connsiteY65" fmla="*/ 691 h 1085"/>
                  <a:gd name="connsiteX66" fmla="*/ 3975 w 5810"/>
                  <a:gd name="connsiteY66" fmla="*/ 747 h 1085"/>
                  <a:gd name="connsiteX67" fmla="*/ 3940 w 5810"/>
                  <a:gd name="connsiteY67" fmla="*/ 798 h 1085"/>
                  <a:gd name="connsiteX68" fmla="*/ 3905 w 5810"/>
                  <a:gd name="connsiteY68" fmla="*/ 848 h 1085"/>
                  <a:gd name="connsiteX69" fmla="*/ 3865 w 5810"/>
                  <a:gd name="connsiteY69" fmla="*/ 894 h 1085"/>
                  <a:gd name="connsiteX70" fmla="*/ 3824 w 5810"/>
                  <a:gd name="connsiteY70" fmla="*/ 935 h 1085"/>
                  <a:gd name="connsiteX71" fmla="*/ 3779 w 5810"/>
                  <a:gd name="connsiteY71" fmla="*/ 971 h 1085"/>
                  <a:gd name="connsiteX72" fmla="*/ 3729 w 5810"/>
                  <a:gd name="connsiteY72" fmla="*/ 1000 h 1085"/>
                  <a:gd name="connsiteX73" fmla="*/ 3677 w 5810"/>
                  <a:gd name="connsiteY73" fmla="*/ 1022 h 1085"/>
                  <a:gd name="connsiteX74" fmla="*/ 3620 w 5810"/>
                  <a:gd name="connsiteY74" fmla="*/ 1037 h 1085"/>
                  <a:gd name="connsiteX75" fmla="*/ 3556 w 5810"/>
                  <a:gd name="connsiteY75" fmla="*/ 1043 h 1085"/>
                  <a:gd name="connsiteX76" fmla="*/ 3547 w 5810"/>
                  <a:gd name="connsiteY76" fmla="*/ 1043 h 1085"/>
                  <a:gd name="connsiteX77" fmla="*/ 3485 w 5810"/>
                  <a:gd name="connsiteY77" fmla="*/ 1039 h 1085"/>
                  <a:gd name="connsiteX78" fmla="*/ 3426 w 5810"/>
                  <a:gd name="connsiteY78" fmla="*/ 1025 h 1085"/>
                  <a:gd name="connsiteX79" fmla="*/ 3372 w 5810"/>
                  <a:gd name="connsiteY79" fmla="*/ 1002 h 1085"/>
                  <a:gd name="connsiteX80" fmla="*/ 3320 w 5810"/>
                  <a:gd name="connsiteY80" fmla="*/ 973 h 1085"/>
                  <a:gd name="connsiteX81" fmla="*/ 3273 w 5810"/>
                  <a:gd name="connsiteY81" fmla="*/ 935 h 1085"/>
                  <a:gd name="connsiteX82" fmla="*/ 3229 w 5810"/>
                  <a:gd name="connsiteY82" fmla="*/ 894 h 1085"/>
                  <a:gd name="connsiteX83" fmla="*/ 3186 w 5810"/>
                  <a:gd name="connsiteY83" fmla="*/ 846 h 1085"/>
                  <a:gd name="connsiteX84" fmla="*/ 3147 w 5810"/>
                  <a:gd name="connsiteY84" fmla="*/ 796 h 1085"/>
                  <a:gd name="connsiteX85" fmla="*/ 3108 w 5810"/>
                  <a:gd name="connsiteY85" fmla="*/ 740 h 1085"/>
                  <a:gd name="connsiteX86" fmla="*/ 3070 w 5810"/>
                  <a:gd name="connsiteY86" fmla="*/ 684 h 1085"/>
                  <a:gd name="connsiteX87" fmla="*/ 2965 w 5810"/>
                  <a:gd name="connsiteY87" fmla="*/ 510 h 1085"/>
                  <a:gd name="connsiteX88" fmla="*/ 2928 w 5810"/>
                  <a:gd name="connsiteY88" fmla="*/ 452 h 1085"/>
                  <a:gd name="connsiteX89" fmla="*/ 2891 w 5810"/>
                  <a:gd name="connsiteY89" fmla="*/ 396 h 1085"/>
                  <a:gd name="connsiteX90" fmla="*/ 2854 w 5810"/>
                  <a:gd name="connsiteY90" fmla="*/ 342 h 1085"/>
                  <a:gd name="connsiteX91" fmla="*/ 2814 w 5810"/>
                  <a:gd name="connsiteY91" fmla="*/ 292 h 1085"/>
                  <a:gd name="connsiteX92" fmla="*/ 2773 w 5810"/>
                  <a:gd name="connsiteY92" fmla="*/ 247 h 1085"/>
                  <a:gd name="connsiteX93" fmla="*/ 2732 w 5810"/>
                  <a:gd name="connsiteY93" fmla="*/ 205 h 1085"/>
                  <a:gd name="connsiteX94" fmla="*/ 2686 w 5810"/>
                  <a:gd name="connsiteY94" fmla="*/ 168 h 1085"/>
                  <a:gd name="connsiteX95" fmla="*/ 2639 w 5810"/>
                  <a:gd name="connsiteY95" fmla="*/ 139 h 1085"/>
                  <a:gd name="connsiteX96" fmla="*/ 2587 w 5810"/>
                  <a:gd name="connsiteY96" fmla="*/ 116 h 1085"/>
                  <a:gd name="connsiteX97" fmla="*/ 2532 w 5810"/>
                  <a:gd name="connsiteY97" fmla="*/ 100 h 1085"/>
                  <a:gd name="connsiteX98" fmla="*/ 2474 w 5810"/>
                  <a:gd name="connsiteY98" fmla="*/ 91 h 1085"/>
                  <a:gd name="connsiteX99" fmla="*/ 2410 w 5810"/>
                  <a:gd name="connsiteY99" fmla="*/ 93 h 1085"/>
                  <a:gd name="connsiteX100" fmla="*/ 2342 w 5810"/>
                  <a:gd name="connsiteY100" fmla="*/ 104 h 1085"/>
                  <a:gd name="connsiteX101" fmla="*/ 2280 w 5810"/>
                  <a:gd name="connsiteY101" fmla="*/ 122 h 1085"/>
                  <a:gd name="connsiteX102" fmla="*/ 2222 w 5810"/>
                  <a:gd name="connsiteY102" fmla="*/ 147 h 1085"/>
                  <a:gd name="connsiteX103" fmla="*/ 2168 w 5810"/>
                  <a:gd name="connsiteY103" fmla="*/ 180 h 1085"/>
                  <a:gd name="connsiteX104" fmla="*/ 2117 w 5810"/>
                  <a:gd name="connsiteY104" fmla="*/ 218 h 1085"/>
                  <a:gd name="connsiteX105" fmla="*/ 2071 w 5810"/>
                  <a:gd name="connsiteY105" fmla="*/ 261 h 1085"/>
                  <a:gd name="connsiteX106" fmla="*/ 2026 w 5810"/>
                  <a:gd name="connsiteY106" fmla="*/ 307 h 1085"/>
                  <a:gd name="connsiteX107" fmla="*/ 1984 w 5810"/>
                  <a:gd name="connsiteY107" fmla="*/ 359 h 1085"/>
                  <a:gd name="connsiteX108" fmla="*/ 1945 w 5810"/>
                  <a:gd name="connsiteY108" fmla="*/ 413 h 1085"/>
                  <a:gd name="connsiteX109" fmla="*/ 1908 w 5810"/>
                  <a:gd name="connsiteY109" fmla="*/ 467 h 1085"/>
                  <a:gd name="connsiteX110" fmla="*/ 1871 w 5810"/>
                  <a:gd name="connsiteY110" fmla="*/ 523 h 1085"/>
                  <a:gd name="connsiteX111" fmla="*/ 1834 w 5810"/>
                  <a:gd name="connsiteY111" fmla="*/ 581 h 1085"/>
                  <a:gd name="connsiteX112" fmla="*/ 1799 w 5810"/>
                  <a:gd name="connsiteY112" fmla="*/ 637 h 1085"/>
                  <a:gd name="connsiteX113" fmla="*/ 1724 w 5810"/>
                  <a:gd name="connsiteY113" fmla="*/ 749 h 1085"/>
                  <a:gd name="connsiteX114" fmla="*/ 1685 w 5810"/>
                  <a:gd name="connsiteY114" fmla="*/ 801 h 1085"/>
                  <a:gd name="connsiteX115" fmla="*/ 1644 w 5810"/>
                  <a:gd name="connsiteY115" fmla="*/ 850 h 1085"/>
                  <a:gd name="connsiteX116" fmla="*/ 1600 w 5810"/>
                  <a:gd name="connsiteY116" fmla="*/ 896 h 1085"/>
                  <a:gd name="connsiteX117" fmla="*/ 1553 w 5810"/>
                  <a:gd name="connsiteY117" fmla="*/ 937 h 1085"/>
                  <a:gd name="connsiteX118" fmla="*/ 1503 w 5810"/>
                  <a:gd name="connsiteY118" fmla="*/ 973 h 1085"/>
                  <a:gd name="connsiteX119" fmla="*/ 1450 w 5810"/>
                  <a:gd name="connsiteY119" fmla="*/ 1002 h 1085"/>
                  <a:gd name="connsiteX120" fmla="*/ 1394 w 5810"/>
                  <a:gd name="connsiteY120" fmla="*/ 1025 h 1085"/>
                  <a:gd name="connsiteX121" fmla="*/ 1330 w 5810"/>
                  <a:gd name="connsiteY121" fmla="*/ 1037 h 1085"/>
                  <a:gd name="connsiteX122" fmla="*/ 1264 w 5810"/>
                  <a:gd name="connsiteY122" fmla="*/ 1043 h 1085"/>
                  <a:gd name="connsiteX123" fmla="*/ 1258 w 5810"/>
                  <a:gd name="connsiteY123" fmla="*/ 1043 h 1085"/>
                  <a:gd name="connsiteX124" fmla="*/ 1190 w 5810"/>
                  <a:gd name="connsiteY124" fmla="*/ 1039 h 1085"/>
                  <a:gd name="connsiteX125" fmla="*/ 1128 w 5810"/>
                  <a:gd name="connsiteY125" fmla="*/ 1027 h 1085"/>
                  <a:gd name="connsiteX126" fmla="*/ 1070 w 5810"/>
                  <a:gd name="connsiteY126" fmla="*/ 1008 h 1085"/>
                  <a:gd name="connsiteX127" fmla="*/ 1018 w 5810"/>
                  <a:gd name="connsiteY127" fmla="*/ 983 h 1085"/>
                  <a:gd name="connsiteX128" fmla="*/ 971 w 5810"/>
                  <a:gd name="connsiteY128" fmla="*/ 952 h 1085"/>
                  <a:gd name="connsiteX129" fmla="*/ 925 w 5810"/>
                  <a:gd name="connsiteY129" fmla="*/ 915 h 1085"/>
                  <a:gd name="connsiteX130" fmla="*/ 884 w 5810"/>
                  <a:gd name="connsiteY130" fmla="*/ 873 h 1085"/>
                  <a:gd name="connsiteX131" fmla="*/ 847 w 5810"/>
                  <a:gd name="connsiteY131" fmla="*/ 828 h 1085"/>
                  <a:gd name="connsiteX132" fmla="*/ 810 w 5810"/>
                  <a:gd name="connsiteY132" fmla="*/ 780 h 1085"/>
                  <a:gd name="connsiteX133" fmla="*/ 777 w 5810"/>
                  <a:gd name="connsiteY133" fmla="*/ 728 h 1085"/>
                  <a:gd name="connsiteX134" fmla="*/ 742 w 5810"/>
                  <a:gd name="connsiteY134" fmla="*/ 674 h 1085"/>
                  <a:gd name="connsiteX135" fmla="*/ 711 w 5810"/>
                  <a:gd name="connsiteY135" fmla="*/ 618 h 1085"/>
                  <a:gd name="connsiteX136" fmla="*/ 678 w 5810"/>
                  <a:gd name="connsiteY136" fmla="*/ 560 h 1085"/>
                  <a:gd name="connsiteX137" fmla="*/ 616 w 5810"/>
                  <a:gd name="connsiteY137" fmla="*/ 448 h 1085"/>
                  <a:gd name="connsiteX138" fmla="*/ 547 w 5810"/>
                  <a:gd name="connsiteY138" fmla="*/ 340 h 1085"/>
                  <a:gd name="connsiteX139" fmla="*/ 504 w 5810"/>
                  <a:gd name="connsiteY139" fmla="*/ 284 h 1085"/>
                  <a:gd name="connsiteX140" fmla="*/ 457 w 5810"/>
                  <a:gd name="connsiteY140" fmla="*/ 239 h 1085"/>
                  <a:gd name="connsiteX141" fmla="*/ 409 w 5810"/>
                  <a:gd name="connsiteY141" fmla="*/ 199 h 1085"/>
                  <a:gd name="connsiteX142" fmla="*/ 358 w 5810"/>
                  <a:gd name="connsiteY142" fmla="*/ 168 h 1085"/>
                  <a:gd name="connsiteX143" fmla="*/ 308 w 5810"/>
                  <a:gd name="connsiteY143" fmla="*/ 145 h 1085"/>
                  <a:gd name="connsiteX144" fmla="*/ 256 w 5810"/>
                  <a:gd name="connsiteY144" fmla="*/ 127 h 1085"/>
                  <a:gd name="connsiteX145" fmla="*/ 209 w 5810"/>
                  <a:gd name="connsiteY145" fmla="*/ 112 h 1085"/>
                  <a:gd name="connsiteX146" fmla="*/ 163 w 5810"/>
                  <a:gd name="connsiteY146" fmla="*/ 104 h 1085"/>
                  <a:gd name="connsiteX147" fmla="*/ 122 w 5810"/>
                  <a:gd name="connsiteY147" fmla="*/ 100 h 1085"/>
                  <a:gd name="connsiteX148" fmla="*/ 85 w 5810"/>
                  <a:gd name="connsiteY148" fmla="*/ 95 h 1085"/>
                  <a:gd name="connsiteX149" fmla="*/ 31 w 5810"/>
                  <a:gd name="connsiteY149" fmla="*/ 95 h 1085"/>
                  <a:gd name="connsiteX150" fmla="*/ 17 w 5810"/>
                  <a:gd name="connsiteY150" fmla="*/ 98 h 1085"/>
                  <a:gd name="connsiteX151" fmla="*/ 11 w 5810"/>
                  <a:gd name="connsiteY151" fmla="*/ 98 h 1085"/>
                  <a:gd name="connsiteX152" fmla="*/ 0 w 5810"/>
                  <a:gd name="connsiteY152" fmla="*/ 13 h 1085"/>
                  <a:gd name="connsiteX153" fmla="*/ 9 w 5810"/>
                  <a:gd name="connsiteY153" fmla="*/ 13 h 1085"/>
                  <a:gd name="connsiteX154" fmla="*/ 29 w 5810"/>
                  <a:gd name="connsiteY154" fmla="*/ 10 h 1085"/>
                  <a:gd name="connsiteX155" fmla="*/ 91 w 5810"/>
                  <a:gd name="connsiteY155" fmla="*/ 10 h 1085"/>
                  <a:gd name="connsiteX156" fmla="*/ 135 w 5810"/>
                  <a:gd name="connsiteY156" fmla="*/ 13 h 1085"/>
                  <a:gd name="connsiteX157" fmla="*/ 182 w 5810"/>
                  <a:gd name="connsiteY157" fmla="*/ 19 h 1085"/>
                  <a:gd name="connsiteX158" fmla="*/ 234 w 5810"/>
                  <a:gd name="connsiteY158" fmla="*/ 29 h 1085"/>
                  <a:gd name="connsiteX159" fmla="*/ 287 w 5810"/>
                  <a:gd name="connsiteY159" fmla="*/ 46 h 1085"/>
                  <a:gd name="connsiteX160" fmla="*/ 345 w 5810"/>
                  <a:gd name="connsiteY160" fmla="*/ 66 h 1085"/>
                  <a:gd name="connsiteX161" fmla="*/ 403 w 5810"/>
                  <a:gd name="connsiteY161" fmla="*/ 93 h 1085"/>
                  <a:gd name="connsiteX162" fmla="*/ 459 w 5810"/>
                  <a:gd name="connsiteY162" fmla="*/ 131 h 1085"/>
                  <a:gd name="connsiteX163" fmla="*/ 514 w 5810"/>
                  <a:gd name="connsiteY163" fmla="*/ 174 h 1085"/>
                  <a:gd name="connsiteX164" fmla="*/ 568 w 5810"/>
                  <a:gd name="connsiteY164" fmla="*/ 228 h 1085"/>
                  <a:gd name="connsiteX165" fmla="*/ 618 w 5810"/>
                  <a:gd name="connsiteY165" fmla="*/ 292 h 1085"/>
                  <a:gd name="connsiteX166" fmla="*/ 667 w 5810"/>
                  <a:gd name="connsiteY166" fmla="*/ 367 h 1085"/>
                  <a:gd name="connsiteX167" fmla="*/ 754 w 5810"/>
                  <a:gd name="connsiteY167" fmla="*/ 516 h 1085"/>
                  <a:gd name="connsiteX168" fmla="*/ 787 w 5810"/>
                  <a:gd name="connsiteY168" fmla="*/ 575 h 1085"/>
                  <a:gd name="connsiteX169" fmla="*/ 820 w 5810"/>
                  <a:gd name="connsiteY169" fmla="*/ 631 h 1085"/>
                  <a:gd name="connsiteX170" fmla="*/ 853 w 5810"/>
                  <a:gd name="connsiteY170" fmla="*/ 684 h 1085"/>
                  <a:gd name="connsiteX171" fmla="*/ 886 w 5810"/>
                  <a:gd name="connsiteY171" fmla="*/ 736 h 1085"/>
                  <a:gd name="connsiteX172" fmla="*/ 921 w 5810"/>
                  <a:gd name="connsiteY172" fmla="*/ 782 h 1085"/>
                  <a:gd name="connsiteX173" fmla="*/ 958 w 5810"/>
                  <a:gd name="connsiteY173" fmla="*/ 825 h 1085"/>
                  <a:gd name="connsiteX174" fmla="*/ 1000 w 5810"/>
                  <a:gd name="connsiteY174" fmla="*/ 863 h 1085"/>
                  <a:gd name="connsiteX175" fmla="*/ 1043 w 5810"/>
                  <a:gd name="connsiteY175" fmla="*/ 894 h 1085"/>
                  <a:gd name="connsiteX176" fmla="*/ 1090 w 5810"/>
                  <a:gd name="connsiteY176" fmla="*/ 921 h 1085"/>
                  <a:gd name="connsiteX177" fmla="*/ 1140 w 5810"/>
                  <a:gd name="connsiteY177" fmla="*/ 939 h 1085"/>
                  <a:gd name="connsiteX178" fmla="*/ 1196 w 5810"/>
                  <a:gd name="connsiteY178" fmla="*/ 952 h 1085"/>
                  <a:gd name="connsiteX179" fmla="*/ 1258 w 5810"/>
                  <a:gd name="connsiteY179" fmla="*/ 956 h 1085"/>
                  <a:gd name="connsiteX180" fmla="*/ 1264 w 5810"/>
                  <a:gd name="connsiteY180" fmla="*/ 956 h 1085"/>
                  <a:gd name="connsiteX181" fmla="*/ 1324 w 5810"/>
                  <a:gd name="connsiteY181" fmla="*/ 950 h 1085"/>
                  <a:gd name="connsiteX182" fmla="*/ 1380 w 5810"/>
                  <a:gd name="connsiteY182" fmla="*/ 935 h 1085"/>
                  <a:gd name="connsiteX183" fmla="*/ 1433 w 5810"/>
                  <a:gd name="connsiteY183" fmla="*/ 913 h 1085"/>
                  <a:gd name="connsiteX184" fmla="*/ 1481 w 5810"/>
                  <a:gd name="connsiteY184" fmla="*/ 884 h 1085"/>
                  <a:gd name="connsiteX185" fmla="*/ 1526 w 5810"/>
                  <a:gd name="connsiteY185" fmla="*/ 846 h 1085"/>
                  <a:gd name="connsiteX186" fmla="*/ 1569 w 5810"/>
                  <a:gd name="connsiteY186" fmla="*/ 803 h 1085"/>
                  <a:gd name="connsiteX187" fmla="*/ 1609 w 5810"/>
                  <a:gd name="connsiteY187" fmla="*/ 755 h 1085"/>
                  <a:gd name="connsiteX188" fmla="*/ 1648 w 5810"/>
                  <a:gd name="connsiteY188" fmla="*/ 703 h 1085"/>
                  <a:gd name="connsiteX189" fmla="*/ 1687 w 5810"/>
                  <a:gd name="connsiteY189" fmla="*/ 649 h 1085"/>
                  <a:gd name="connsiteX190" fmla="*/ 1799 w 5810"/>
                  <a:gd name="connsiteY190" fmla="*/ 475 h 1085"/>
                  <a:gd name="connsiteX191" fmla="*/ 1838 w 5810"/>
                  <a:gd name="connsiteY191" fmla="*/ 415 h 1085"/>
                  <a:gd name="connsiteX192" fmla="*/ 1879 w 5810"/>
                  <a:gd name="connsiteY192" fmla="*/ 357 h 1085"/>
                  <a:gd name="connsiteX193" fmla="*/ 1923 w 5810"/>
                  <a:gd name="connsiteY193" fmla="*/ 299 h 1085"/>
                  <a:gd name="connsiteX194" fmla="*/ 1968 w 5810"/>
                  <a:gd name="connsiteY194" fmla="*/ 245 h 1085"/>
                  <a:gd name="connsiteX195" fmla="*/ 2015 w 5810"/>
                  <a:gd name="connsiteY195" fmla="*/ 193 h 1085"/>
                  <a:gd name="connsiteX196" fmla="*/ 2069 w 5810"/>
                  <a:gd name="connsiteY196" fmla="*/ 145 h 1085"/>
                  <a:gd name="connsiteX197" fmla="*/ 2125 w 5810"/>
                  <a:gd name="connsiteY197" fmla="*/ 104 h 1085"/>
                  <a:gd name="connsiteX198" fmla="*/ 2187 w 5810"/>
                  <a:gd name="connsiteY198" fmla="*/ 69 h 1085"/>
                  <a:gd name="connsiteX199" fmla="*/ 2253 w 5810"/>
                  <a:gd name="connsiteY199" fmla="*/ 39 h 1085"/>
                  <a:gd name="connsiteX200" fmla="*/ 2325 w 5810"/>
                  <a:gd name="connsiteY200" fmla="*/ 19 h 1085"/>
                  <a:gd name="connsiteX201" fmla="*/ 2404 w 5810"/>
                  <a:gd name="connsiteY201" fmla="*/ 6 h 1085"/>
                  <a:gd name="connsiteX202" fmla="*/ 2474 w 5810"/>
                  <a:gd name="connsiteY202" fmla="*/ 4 h 1085"/>
                  <a:gd name="connsiteX203" fmla="*/ 2540 w 5810"/>
                  <a:gd name="connsiteY203" fmla="*/ 13 h 1085"/>
                  <a:gd name="connsiteX204" fmla="*/ 2600 w 5810"/>
                  <a:gd name="connsiteY204" fmla="*/ 27 h 1085"/>
                  <a:gd name="connsiteX205" fmla="*/ 2658 w 5810"/>
                  <a:gd name="connsiteY205" fmla="*/ 50 h 1085"/>
                  <a:gd name="connsiteX206" fmla="*/ 2711 w 5810"/>
                  <a:gd name="connsiteY206" fmla="*/ 81 h 1085"/>
                  <a:gd name="connsiteX207" fmla="*/ 2761 w 5810"/>
                  <a:gd name="connsiteY207" fmla="*/ 116 h 1085"/>
                  <a:gd name="connsiteX208" fmla="*/ 2806 w 5810"/>
                  <a:gd name="connsiteY208" fmla="*/ 158 h 1085"/>
                  <a:gd name="connsiteX209" fmla="*/ 2852 w 5810"/>
                  <a:gd name="connsiteY209" fmla="*/ 203 h 1085"/>
                  <a:gd name="connsiteX210" fmla="*/ 2893 w 5810"/>
                  <a:gd name="connsiteY210" fmla="*/ 251 h 1085"/>
                  <a:gd name="connsiteX211" fmla="*/ 2932 w 5810"/>
                  <a:gd name="connsiteY211" fmla="*/ 303 h 1085"/>
                  <a:gd name="connsiteX212" fmla="*/ 2969 w 5810"/>
                  <a:gd name="connsiteY212" fmla="*/ 357 h 1085"/>
                  <a:gd name="connsiteX213" fmla="*/ 3004 w 5810"/>
                  <a:gd name="connsiteY213" fmla="*/ 413 h 1085"/>
                  <a:gd name="connsiteX214" fmla="*/ 3039 w 5810"/>
                  <a:gd name="connsiteY214" fmla="*/ 467 h 1085"/>
                  <a:gd name="connsiteX215" fmla="*/ 3073 w 5810"/>
                  <a:gd name="connsiteY215" fmla="*/ 523 h 1085"/>
                  <a:gd name="connsiteX216" fmla="*/ 3110 w 5810"/>
                  <a:gd name="connsiteY216" fmla="*/ 585 h 1085"/>
                  <a:gd name="connsiteX217" fmla="*/ 3147 w 5810"/>
                  <a:gd name="connsiteY217" fmla="*/ 643 h 1085"/>
                  <a:gd name="connsiteX218" fmla="*/ 3186 w 5810"/>
                  <a:gd name="connsiteY218" fmla="*/ 701 h 1085"/>
                  <a:gd name="connsiteX219" fmla="*/ 3223 w 5810"/>
                  <a:gd name="connsiteY219" fmla="*/ 755 h 1085"/>
                  <a:gd name="connsiteX220" fmla="*/ 3265 w 5810"/>
                  <a:gd name="connsiteY220" fmla="*/ 805 h 1085"/>
                  <a:gd name="connsiteX221" fmla="*/ 3306 w 5810"/>
                  <a:gd name="connsiteY221" fmla="*/ 848 h 1085"/>
                  <a:gd name="connsiteX222" fmla="*/ 3349 w 5810"/>
                  <a:gd name="connsiteY222" fmla="*/ 886 h 1085"/>
                  <a:gd name="connsiteX223" fmla="*/ 3395 w 5810"/>
                  <a:gd name="connsiteY223" fmla="*/ 917 h 1085"/>
                  <a:gd name="connsiteX224" fmla="*/ 3444 w 5810"/>
                  <a:gd name="connsiteY224" fmla="*/ 939 h 1085"/>
                  <a:gd name="connsiteX225" fmla="*/ 3498 w 5810"/>
                  <a:gd name="connsiteY225" fmla="*/ 952 h 1085"/>
                  <a:gd name="connsiteX226" fmla="*/ 3554 w 5810"/>
                  <a:gd name="connsiteY226" fmla="*/ 956 h 1085"/>
                  <a:gd name="connsiteX227" fmla="*/ 3609 w 5810"/>
                  <a:gd name="connsiteY227" fmla="*/ 950 h 1085"/>
                  <a:gd name="connsiteX228" fmla="*/ 3659 w 5810"/>
                  <a:gd name="connsiteY228" fmla="*/ 935 h 1085"/>
                  <a:gd name="connsiteX229" fmla="*/ 3706 w 5810"/>
                  <a:gd name="connsiteY229" fmla="*/ 915 h 1085"/>
                  <a:gd name="connsiteX230" fmla="*/ 3750 w 5810"/>
                  <a:gd name="connsiteY230" fmla="*/ 884 h 1085"/>
                  <a:gd name="connsiteX231" fmla="*/ 3789 w 5810"/>
                  <a:gd name="connsiteY231" fmla="*/ 848 h 1085"/>
                  <a:gd name="connsiteX232" fmla="*/ 3826 w 5810"/>
                  <a:gd name="connsiteY232" fmla="*/ 807 h 1085"/>
                  <a:gd name="connsiteX233" fmla="*/ 3861 w 5810"/>
                  <a:gd name="connsiteY233" fmla="*/ 759 h 1085"/>
                  <a:gd name="connsiteX234" fmla="*/ 3894 w 5810"/>
                  <a:gd name="connsiteY234" fmla="*/ 709 h 1085"/>
                  <a:gd name="connsiteX235" fmla="*/ 3927 w 5810"/>
                  <a:gd name="connsiteY235" fmla="*/ 655 h 1085"/>
                  <a:gd name="connsiteX236" fmla="*/ 3960 w 5810"/>
                  <a:gd name="connsiteY236" fmla="*/ 597 h 1085"/>
                  <a:gd name="connsiteX237" fmla="*/ 3993 w 5810"/>
                  <a:gd name="connsiteY237" fmla="*/ 537 h 1085"/>
                  <a:gd name="connsiteX238" fmla="*/ 4022 w 5810"/>
                  <a:gd name="connsiteY238" fmla="*/ 483 h 1085"/>
                  <a:gd name="connsiteX239" fmla="*/ 4084 w 5810"/>
                  <a:gd name="connsiteY239" fmla="*/ 375 h 1085"/>
                  <a:gd name="connsiteX240" fmla="*/ 4154 w 5810"/>
                  <a:gd name="connsiteY240" fmla="*/ 272 h 1085"/>
                  <a:gd name="connsiteX241" fmla="*/ 4192 w 5810"/>
                  <a:gd name="connsiteY241" fmla="*/ 224 h 1085"/>
                  <a:gd name="connsiteX242" fmla="*/ 4233 w 5810"/>
                  <a:gd name="connsiteY242" fmla="*/ 178 h 1085"/>
                  <a:gd name="connsiteX243" fmla="*/ 4276 w 5810"/>
                  <a:gd name="connsiteY243" fmla="*/ 137 h 1085"/>
                  <a:gd name="connsiteX244" fmla="*/ 4324 w 5810"/>
                  <a:gd name="connsiteY244" fmla="*/ 100 h 1085"/>
                  <a:gd name="connsiteX245" fmla="*/ 4375 w 5810"/>
                  <a:gd name="connsiteY245" fmla="*/ 66 h 1085"/>
                  <a:gd name="connsiteX246" fmla="*/ 4433 w 5810"/>
                  <a:gd name="connsiteY246" fmla="*/ 39 h 1085"/>
                  <a:gd name="connsiteX247" fmla="*/ 4493 w 5810"/>
                  <a:gd name="connsiteY247" fmla="*/ 19 h 1085"/>
                  <a:gd name="connsiteX248" fmla="*/ 4559 w 5810"/>
                  <a:gd name="connsiteY248" fmla="*/ 6 h 1085"/>
                  <a:gd name="connsiteX249" fmla="*/ 4631 w 5810"/>
                  <a:gd name="connsiteY249" fmla="*/ 0 h 1085"/>
                  <a:gd name="connsiteX0" fmla="*/ 4631 w 5810"/>
                  <a:gd name="connsiteY0" fmla="*/ 0 h 1085"/>
                  <a:gd name="connsiteX1" fmla="*/ 4681 w 5810"/>
                  <a:gd name="connsiteY1" fmla="*/ 0 h 1085"/>
                  <a:gd name="connsiteX2" fmla="*/ 4710 w 5810"/>
                  <a:gd name="connsiteY2" fmla="*/ 4 h 1085"/>
                  <a:gd name="connsiteX3" fmla="*/ 4741 w 5810"/>
                  <a:gd name="connsiteY3" fmla="*/ 13 h 1085"/>
                  <a:gd name="connsiteX4" fmla="*/ 4778 w 5810"/>
                  <a:gd name="connsiteY4" fmla="*/ 23 h 1085"/>
                  <a:gd name="connsiteX5" fmla="*/ 4819 w 5810"/>
                  <a:gd name="connsiteY5" fmla="*/ 39 h 1085"/>
                  <a:gd name="connsiteX6" fmla="*/ 4863 w 5810"/>
                  <a:gd name="connsiteY6" fmla="*/ 60 h 1085"/>
                  <a:gd name="connsiteX7" fmla="*/ 4910 w 5810"/>
                  <a:gd name="connsiteY7" fmla="*/ 89 h 1085"/>
                  <a:gd name="connsiteX8" fmla="*/ 4960 w 5810"/>
                  <a:gd name="connsiteY8" fmla="*/ 124 h 1085"/>
                  <a:gd name="connsiteX9" fmla="*/ 5009 w 5810"/>
                  <a:gd name="connsiteY9" fmla="*/ 170 h 1085"/>
                  <a:gd name="connsiteX10" fmla="*/ 5061 w 5810"/>
                  <a:gd name="connsiteY10" fmla="*/ 224 h 1085"/>
                  <a:gd name="connsiteX11" fmla="*/ 5112 w 5810"/>
                  <a:gd name="connsiteY11" fmla="*/ 286 h 1085"/>
                  <a:gd name="connsiteX12" fmla="*/ 5164 w 5810"/>
                  <a:gd name="connsiteY12" fmla="*/ 361 h 1085"/>
                  <a:gd name="connsiteX13" fmla="*/ 5216 w 5810"/>
                  <a:gd name="connsiteY13" fmla="*/ 448 h 1085"/>
                  <a:gd name="connsiteX14" fmla="*/ 5267 w 5810"/>
                  <a:gd name="connsiteY14" fmla="*/ 548 h 1085"/>
                  <a:gd name="connsiteX15" fmla="*/ 5313 w 5810"/>
                  <a:gd name="connsiteY15" fmla="*/ 633 h 1085"/>
                  <a:gd name="connsiteX16" fmla="*/ 5358 w 5810"/>
                  <a:gd name="connsiteY16" fmla="*/ 707 h 1085"/>
                  <a:gd name="connsiteX17" fmla="*/ 5408 w 5810"/>
                  <a:gd name="connsiteY17" fmla="*/ 769 h 1085"/>
                  <a:gd name="connsiteX18" fmla="*/ 5455 w 5810"/>
                  <a:gd name="connsiteY18" fmla="*/ 821 h 1085"/>
                  <a:gd name="connsiteX19" fmla="*/ 5503 w 5810"/>
                  <a:gd name="connsiteY19" fmla="*/ 865 h 1085"/>
                  <a:gd name="connsiteX20" fmla="*/ 5550 w 5810"/>
                  <a:gd name="connsiteY20" fmla="*/ 900 h 1085"/>
                  <a:gd name="connsiteX21" fmla="*/ 5593 w 5810"/>
                  <a:gd name="connsiteY21" fmla="*/ 927 h 1085"/>
                  <a:gd name="connsiteX22" fmla="*/ 5637 w 5810"/>
                  <a:gd name="connsiteY22" fmla="*/ 948 h 1085"/>
                  <a:gd name="connsiteX23" fmla="*/ 5676 w 5810"/>
                  <a:gd name="connsiteY23" fmla="*/ 962 h 1085"/>
                  <a:gd name="connsiteX24" fmla="*/ 5711 w 5810"/>
                  <a:gd name="connsiteY24" fmla="*/ 973 h 1085"/>
                  <a:gd name="connsiteX25" fmla="*/ 5742 w 5810"/>
                  <a:gd name="connsiteY25" fmla="*/ 981 h 1085"/>
                  <a:gd name="connsiteX26" fmla="*/ 5767 w 5810"/>
                  <a:gd name="connsiteY26" fmla="*/ 983 h 1085"/>
                  <a:gd name="connsiteX27" fmla="*/ 5785 w 5810"/>
                  <a:gd name="connsiteY27" fmla="*/ 985 h 1085"/>
                  <a:gd name="connsiteX28" fmla="*/ 5802 w 5810"/>
                  <a:gd name="connsiteY28" fmla="*/ 985 h 1085"/>
                  <a:gd name="connsiteX29" fmla="*/ 5810 w 5810"/>
                  <a:gd name="connsiteY29" fmla="*/ 1072 h 1085"/>
                  <a:gd name="connsiteX30" fmla="*/ 5717 w 5810"/>
                  <a:gd name="connsiteY30" fmla="*/ 1064 h 1085"/>
                  <a:gd name="connsiteX31" fmla="*/ 5639 w 5810"/>
                  <a:gd name="connsiteY31" fmla="*/ 1043 h 1085"/>
                  <a:gd name="connsiteX32" fmla="*/ 5546 w 5810"/>
                  <a:gd name="connsiteY32" fmla="*/ 1002 h 1085"/>
                  <a:gd name="connsiteX33" fmla="*/ 5496 w 5810"/>
                  <a:gd name="connsiteY33" fmla="*/ 971 h 1085"/>
                  <a:gd name="connsiteX34" fmla="*/ 5445 w 5810"/>
                  <a:gd name="connsiteY34" fmla="*/ 931 h 1085"/>
                  <a:gd name="connsiteX35" fmla="*/ 5393 w 5810"/>
                  <a:gd name="connsiteY35" fmla="*/ 884 h 1085"/>
                  <a:gd name="connsiteX36" fmla="*/ 5339 w 5810"/>
                  <a:gd name="connsiteY36" fmla="*/ 825 h 1085"/>
                  <a:gd name="connsiteX37" fmla="*/ 5288 w 5810"/>
                  <a:gd name="connsiteY37" fmla="*/ 757 h 1085"/>
                  <a:gd name="connsiteX38" fmla="*/ 5238 w 5810"/>
                  <a:gd name="connsiteY38" fmla="*/ 676 h 1085"/>
                  <a:gd name="connsiteX39" fmla="*/ 5191 w 5810"/>
                  <a:gd name="connsiteY39" fmla="*/ 585 h 1085"/>
                  <a:gd name="connsiteX40" fmla="*/ 5141 w 5810"/>
                  <a:gd name="connsiteY40" fmla="*/ 489 h 1085"/>
                  <a:gd name="connsiteX41" fmla="*/ 5092 w 5810"/>
                  <a:gd name="connsiteY41" fmla="*/ 407 h 1085"/>
                  <a:gd name="connsiteX42" fmla="*/ 5042 w 5810"/>
                  <a:gd name="connsiteY42" fmla="*/ 336 h 1085"/>
                  <a:gd name="connsiteX43" fmla="*/ 4993 w 5810"/>
                  <a:gd name="connsiteY43" fmla="*/ 276 h 1085"/>
                  <a:gd name="connsiteX44" fmla="*/ 4945 w 5810"/>
                  <a:gd name="connsiteY44" fmla="*/ 228 h 1085"/>
                  <a:gd name="connsiteX45" fmla="*/ 4900 w 5810"/>
                  <a:gd name="connsiteY45" fmla="*/ 189 h 1085"/>
                  <a:gd name="connsiteX46" fmla="*/ 4858 w 5810"/>
                  <a:gd name="connsiteY46" fmla="*/ 158 h 1085"/>
                  <a:gd name="connsiteX47" fmla="*/ 4819 w 5810"/>
                  <a:gd name="connsiteY47" fmla="*/ 135 h 1085"/>
                  <a:gd name="connsiteX48" fmla="*/ 4770 w 5810"/>
                  <a:gd name="connsiteY48" fmla="*/ 112 h 1085"/>
                  <a:gd name="connsiteX49" fmla="*/ 4726 w 5810"/>
                  <a:gd name="connsiteY49" fmla="*/ 98 h 1085"/>
                  <a:gd name="connsiteX50" fmla="*/ 4691 w 5810"/>
                  <a:gd name="connsiteY50" fmla="*/ 89 h 1085"/>
                  <a:gd name="connsiteX51" fmla="*/ 4662 w 5810"/>
                  <a:gd name="connsiteY51" fmla="*/ 87 h 1085"/>
                  <a:gd name="connsiteX52" fmla="*/ 4635 w 5810"/>
                  <a:gd name="connsiteY52" fmla="*/ 87 h 1085"/>
                  <a:gd name="connsiteX53" fmla="*/ 4569 w 5810"/>
                  <a:gd name="connsiteY53" fmla="*/ 93 h 1085"/>
                  <a:gd name="connsiteX54" fmla="*/ 4507 w 5810"/>
                  <a:gd name="connsiteY54" fmla="*/ 106 h 1085"/>
                  <a:gd name="connsiteX55" fmla="*/ 4452 w 5810"/>
                  <a:gd name="connsiteY55" fmla="*/ 127 h 1085"/>
                  <a:gd name="connsiteX56" fmla="*/ 4400 w 5810"/>
                  <a:gd name="connsiteY56" fmla="*/ 154 h 1085"/>
                  <a:gd name="connsiteX57" fmla="*/ 4353 w 5810"/>
                  <a:gd name="connsiteY57" fmla="*/ 187 h 1085"/>
                  <a:gd name="connsiteX58" fmla="*/ 4309 w 5810"/>
                  <a:gd name="connsiteY58" fmla="*/ 224 h 1085"/>
                  <a:gd name="connsiteX59" fmla="*/ 4270 w 5810"/>
                  <a:gd name="connsiteY59" fmla="*/ 268 h 1085"/>
                  <a:gd name="connsiteX60" fmla="*/ 4231 w 5810"/>
                  <a:gd name="connsiteY60" fmla="*/ 313 h 1085"/>
                  <a:gd name="connsiteX61" fmla="*/ 4196 w 5810"/>
                  <a:gd name="connsiteY61" fmla="*/ 363 h 1085"/>
                  <a:gd name="connsiteX62" fmla="*/ 4163 w 5810"/>
                  <a:gd name="connsiteY62" fmla="*/ 415 h 1085"/>
                  <a:gd name="connsiteX63" fmla="*/ 4101 w 5810"/>
                  <a:gd name="connsiteY63" fmla="*/ 523 h 1085"/>
                  <a:gd name="connsiteX64" fmla="*/ 4008 w 5810"/>
                  <a:gd name="connsiteY64" fmla="*/ 691 h 1085"/>
                  <a:gd name="connsiteX65" fmla="*/ 3975 w 5810"/>
                  <a:gd name="connsiteY65" fmla="*/ 747 h 1085"/>
                  <a:gd name="connsiteX66" fmla="*/ 3940 w 5810"/>
                  <a:gd name="connsiteY66" fmla="*/ 798 h 1085"/>
                  <a:gd name="connsiteX67" fmla="*/ 3905 w 5810"/>
                  <a:gd name="connsiteY67" fmla="*/ 848 h 1085"/>
                  <a:gd name="connsiteX68" fmla="*/ 3865 w 5810"/>
                  <a:gd name="connsiteY68" fmla="*/ 894 h 1085"/>
                  <a:gd name="connsiteX69" fmla="*/ 3824 w 5810"/>
                  <a:gd name="connsiteY69" fmla="*/ 935 h 1085"/>
                  <a:gd name="connsiteX70" fmla="*/ 3779 w 5810"/>
                  <a:gd name="connsiteY70" fmla="*/ 971 h 1085"/>
                  <a:gd name="connsiteX71" fmla="*/ 3729 w 5810"/>
                  <a:gd name="connsiteY71" fmla="*/ 1000 h 1085"/>
                  <a:gd name="connsiteX72" fmla="*/ 3677 w 5810"/>
                  <a:gd name="connsiteY72" fmla="*/ 1022 h 1085"/>
                  <a:gd name="connsiteX73" fmla="*/ 3620 w 5810"/>
                  <a:gd name="connsiteY73" fmla="*/ 1037 h 1085"/>
                  <a:gd name="connsiteX74" fmla="*/ 3556 w 5810"/>
                  <a:gd name="connsiteY74" fmla="*/ 1043 h 1085"/>
                  <a:gd name="connsiteX75" fmla="*/ 3547 w 5810"/>
                  <a:gd name="connsiteY75" fmla="*/ 1043 h 1085"/>
                  <a:gd name="connsiteX76" fmla="*/ 3485 w 5810"/>
                  <a:gd name="connsiteY76" fmla="*/ 1039 h 1085"/>
                  <a:gd name="connsiteX77" fmla="*/ 3426 w 5810"/>
                  <a:gd name="connsiteY77" fmla="*/ 1025 h 1085"/>
                  <a:gd name="connsiteX78" fmla="*/ 3372 w 5810"/>
                  <a:gd name="connsiteY78" fmla="*/ 1002 h 1085"/>
                  <a:gd name="connsiteX79" fmla="*/ 3320 w 5810"/>
                  <a:gd name="connsiteY79" fmla="*/ 973 h 1085"/>
                  <a:gd name="connsiteX80" fmla="*/ 3273 w 5810"/>
                  <a:gd name="connsiteY80" fmla="*/ 935 h 1085"/>
                  <a:gd name="connsiteX81" fmla="*/ 3229 w 5810"/>
                  <a:gd name="connsiteY81" fmla="*/ 894 h 1085"/>
                  <a:gd name="connsiteX82" fmla="*/ 3186 w 5810"/>
                  <a:gd name="connsiteY82" fmla="*/ 846 h 1085"/>
                  <a:gd name="connsiteX83" fmla="*/ 3147 w 5810"/>
                  <a:gd name="connsiteY83" fmla="*/ 796 h 1085"/>
                  <a:gd name="connsiteX84" fmla="*/ 3108 w 5810"/>
                  <a:gd name="connsiteY84" fmla="*/ 740 h 1085"/>
                  <a:gd name="connsiteX85" fmla="*/ 3070 w 5810"/>
                  <a:gd name="connsiteY85" fmla="*/ 684 h 1085"/>
                  <a:gd name="connsiteX86" fmla="*/ 2965 w 5810"/>
                  <a:gd name="connsiteY86" fmla="*/ 510 h 1085"/>
                  <a:gd name="connsiteX87" fmla="*/ 2928 w 5810"/>
                  <a:gd name="connsiteY87" fmla="*/ 452 h 1085"/>
                  <a:gd name="connsiteX88" fmla="*/ 2891 w 5810"/>
                  <a:gd name="connsiteY88" fmla="*/ 396 h 1085"/>
                  <a:gd name="connsiteX89" fmla="*/ 2854 w 5810"/>
                  <a:gd name="connsiteY89" fmla="*/ 342 h 1085"/>
                  <a:gd name="connsiteX90" fmla="*/ 2814 w 5810"/>
                  <a:gd name="connsiteY90" fmla="*/ 292 h 1085"/>
                  <a:gd name="connsiteX91" fmla="*/ 2773 w 5810"/>
                  <a:gd name="connsiteY91" fmla="*/ 247 h 1085"/>
                  <a:gd name="connsiteX92" fmla="*/ 2732 w 5810"/>
                  <a:gd name="connsiteY92" fmla="*/ 205 h 1085"/>
                  <a:gd name="connsiteX93" fmla="*/ 2686 w 5810"/>
                  <a:gd name="connsiteY93" fmla="*/ 168 h 1085"/>
                  <a:gd name="connsiteX94" fmla="*/ 2639 w 5810"/>
                  <a:gd name="connsiteY94" fmla="*/ 139 h 1085"/>
                  <a:gd name="connsiteX95" fmla="*/ 2587 w 5810"/>
                  <a:gd name="connsiteY95" fmla="*/ 116 h 1085"/>
                  <a:gd name="connsiteX96" fmla="*/ 2532 w 5810"/>
                  <a:gd name="connsiteY96" fmla="*/ 100 h 1085"/>
                  <a:gd name="connsiteX97" fmla="*/ 2474 w 5810"/>
                  <a:gd name="connsiteY97" fmla="*/ 91 h 1085"/>
                  <a:gd name="connsiteX98" fmla="*/ 2410 w 5810"/>
                  <a:gd name="connsiteY98" fmla="*/ 93 h 1085"/>
                  <a:gd name="connsiteX99" fmla="*/ 2342 w 5810"/>
                  <a:gd name="connsiteY99" fmla="*/ 104 h 1085"/>
                  <a:gd name="connsiteX100" fmla="*/ 2280 w 5810"/>
                  <a:gd name="connsiteY100" fmla="*/ 122 h 1085"/>
                  <a:gd name="connsiteX101" fmla="*/ 2222 w 5810"/>
                  <a:gd name="connsiteY101" fmla="*/ 147 h 1085"/>
                  <a:gd name="connsiteX102" fmla="*/ 2168 w 5810"/>
                  <a:gd name="connsiteY102" fmla="*/ 180 h 1085"/>
                  <a:gd name="connsiteX103" fmla="*/ 2117 w 5810"/>
                  <a:gd name="connsiteY103" fmla="*/ 218 h 1085"/>
                  <a:gd name="connsiteX104" fmla="*/ 2071 w 5810"/>
                  <a:gd name="connsiteY104" fmla="*/ 261 h 1085"/>
                  <a:gd name="connsiteX105" fmla="*/ 2026 w 5810"/>
                  <a:gd name="connsiteY105" fmla="*/ 307 h 1085"/>
                  <a:gd name="connsiteX106" fmla="*/ 1984 w 5810"/>
                  <a:gd name="connsiteY106" fmla="*/ 359 h 1085"/>
                  <a:gd name="connsiteX107" fmla="*/ 1945 w 5810"/>
                  <a:gd name="connsiteY107" fmla="*/ 413 h 1085"/>
                  <a:gd name="connsiteX108" fmla="*/ 1908 w 5810"/>
                  <a:gd name="connsiteY108" fmla="*/ 467 h 1085"/>
                  <a:gd name="connsiteX109" fmla="*/ 1871 w 5810"/>
                  <a:gd name="connsiteY109" fmla="*/ 523 h 1085"/>
                  <a:gd name="connsiteX110" fmla="*/ 1834 w 5810"/>
                  <a:gd name="connsiteY110" fmla="*/ 581 h 1085"/>
                  <a:gd name="connsiteX111" fmla="*/ 1799 w 5810"/>
                  <a:gd name="connsiteY111" fmla="*/ 637 h 1085"/>
                  <a:gd name="connsiteX112" fmla="*/ 1724 w 5810"/>
                  <a:gd name="connsiteY112" fmla="*/ 749 h 1085"/>
                  <a:gd name="connsiteX113" fmla="*/ 1685 w 5810"/>
                  <a:gd name="connsiteY113" fmla="*/ 801 h 1085"/>
                  <a:gd name="connsiteX114" fmla="*/ 1644 w 5810"/>
                  <a:gd name="connsiteY114" fmla="*/ 850 h 1085"/>
                  <a:gd name="connsiteX115" fmla="*/ 1600 w 5810"/>
                  <a:gd name="connsiteY115" fmla="*/ 896 h 1085"/>
                  <a:gd name="connsiteX116" fmla="*/ 1553 w 5810"/>
                  <a:gd name="connsiteY116" fmla="*/ 937 h 1085"/>
                  <a:gd name="connsiteX117" fmla="*/ 1503 w 5810"/>
                  <a:gd name="connsiteY117" fmla="*/ 973 h 1085"/>
                  <a:gd name="connsiteX118" fmla="*/ 1450 w 5810"/>
                  <a:gd name="connsiteY118" fmla="*/ 1002 h 1085"/>
                  <a:gd name="connsiteX119" fmla="*/ 1394 w 5810"/>
                  <a:gd name="connsiteY119" fmla="*/ 1025 h 1085"/>
                  <a:gd name="connsiteX120" fmla="*/ 1330 w 5810"/>
                  <a:gd name="connsiteY120" fmla="*/ 1037 h 1085"/>
                  <a:gd name="connsiteX121" fmla="*/ 1264 w 5810"/>
                  <a:gd name="connsiteY121" fmla="*/ 1043 h 1085"/>
                  <a:gd name="connsiteX122" fmla="*/ 1258 w 5810"/>
                  <a:gd name="connsiteY122" fmla="*/ 1043 h 1085"/>
                  <a:gd name="connsiteX123" fmla="*/ 1190 w 5810"/>
                  <a:gd name="connsiteY123" fmla="*/ 1039 h 1085"/>
                  <a:gd name="connsiteX124" fmla="*/ 1128 w 5810"/>
                  <a:gd name="connsiteY124" fmla="*/ 1027 h 1085"/>
                  <a:gd name="connsiteX125" fmla="*/ 1070 w 5810"/>
                  <a:gd name="connsiteY125" fmla="*/ 1008 h 1085"/>
                  <a:gd name="connsiteX126" fmla="*/ 1018 w 5810"/>
                  <a:gd name="connsiteY126" fmla="*/ 983 h 1085"/>
                  <a:gd name="connsiteX127" fmla="*/ 971 w 5810"/>
                  <a:gd name="connsiteY127" fmla="*/ 952 h 1085"/>
                  <a:gd name="connsiteX128" fmla="*/ 925 w 5810"/>
                  <a:gd name="connsiteY128" fmla="*/ 915 h 1085"/>
                  <a:gd name="connsiteX129" fmla="*/ 884 w 5810"/>
                  <a:gd name="connsiteY129" fmla="*/ 873 h 1085"/>
                  <a:gd name="connsiteX130" fmla="*/ 847 w 5810"/>
                  <a:gd name="connsiteY130" fmla="*/ 828 h 1085"/>
                  <a:gd name="connsiteX131" fmla="*/ 810 w 5810"/>
                  <a:gd name="connsiteY131" fmla="*/ 780 h 1085"/>
                  <a:gd name="connsiteX132" fmla="*/ 777 w 5810"/>
                  <a:gd name="connsiteY132" fmla="*/ 728 h 1085"/>
                  <a:gd name="connsiteX133" fmla="*/ 742 w 5810"/>
                  <a:gd name="connsiteY133" fmla="*/ 674 h 1085"/>
                  <a:gd name="connsiteX134" fmla="*/ 711 w 5810"/>
                  <a:gd name="connsiteY134" fmla="*/ 618 h 1085"/>
                  <a:gd name="connsiteX135" fmla="*/ 678 w 5810"/>
                  <a:gd name="connsiteY135" fmla="*/ 560 h 1085"/>
                  <a:gd name="connsiteX136" fmla="*/ 616 w 5810"/>
                  <a:gd name="connsiteY136" fmla="*/ 448 h 1085"/>
                  <a:gd name="connsiteX137" fmla="*/ 547 w 5810"/>
                  <a:gd name="connsiteY137" fmla="*/ 340 h 1085"/>
                  <a:gd name="connsiteX138" fmla="*/ 504 w 5810"/>
                  <a:gd name="connsiteY138" fmla="*/ 284 h 1085"/>
                  <a:gd name="connsiteX139" fmla="*/ 457 w 5810"/>
                  <a:gd name="connsiteY139" fmla="*/ 239 h 1085"/>
                  <a:gd name="connsiteX140" fmla="*/ 409 w 5810"/>
                  <a:gd name="connsiteY140" fmla="*/ 199 h 1085"/>
                  <a:gd name="connsiteX141" fmla="*/ 358 w 5810"/>
                  <a:gd name="connsiteY141" fmla="*/ 168 h 1085"/>
                  <a:gd name="connsiteX142" fmla="*/ 308 w 5810"/>
                  <a:gd name="connsiteY142" fmla="*/ 145 h 1085"/>
                  <a:gd name="connsiteX143" fmla="*/ 256 w 5810"/>
                  <a:gd name="connsiteY143" fmla="*/ 127 h 1085"/>
                  <a:gd name="connsiteX144" fmla="*/ 209 w 5810"/>
                  <a:gd name="connsiteY144" fmla="*/ 112 h 1085"/>
                  <a:gd name="connsiteX145" fmla="*/ 163 w 5810"/>
                  <a:gd name="connsiteY145" fmla="*/ 104 h 1085"/>
                  <a:gd name="connsiteX146" fmla="*/ 122 w 5810"/>
                  <a:gd name="connsiteY146" fmla="*/ 100 h 1085"/>
                  <a:gd name="connsiteX147" fmla="*/ 85 w 5810"/>
                  <a:gd name="connsiteY147" fmla="*/ 95 h 1085"/>
                  <a:gd name="connsiteX148" fmla="*/ 31 w 5810"/>
                  <a:gd name="connsiteY148" fmla="*/ 95 h 1085"/>
                  <a:gd name="connsiteX149" fmla="*/ 17 w 5810"/>
                  <a:gd name="connsiteY149" fmla="*/ 98 h 1085"/>
                  <a:gd name="connsiteX150" fmla="*/ 11 w 5810"/>
                  <a:gd name="connsiteY150" fmla="*/ 98 h 1085"/>
                  <a:gd name="connsiteX151" fmla="*/ 0 w 5810"/>
                  <a:gd name="connsiteY151" fmla="*/ 13 h 1085"/>
                  <a:gd name="connsiteX152" fmla="*/ 9 w 5810"/>
                  <a:gd name="connsiteY152" fmla="*/ 13 h 1085"/>
                  <a:gd name="connsiteX153" fmla="*/ 29 w 5810"/>
                  <a:gd name="connsiteY153" fmla="*/ 10 h 1085"/>
                  <a:gd name="connsiteX154" fmla="*/ 91 w 5810"/>
                  <a:gd name="connsiteY154" fmla="*/ 10 h 1085"/>
                  <a:gd name="connsiteX155" fmla="*/ 135 w 5810"/>
                  <a:gd name="connsiteY155" fmla="*/ 13 h 1085"/>
                  <a:gd name="connsiteX156" fmla="*/ 182 w 5810"/>
                  <a:gd name="connsiteY156" fmla="*/ 19 h 1085"/>
                  <a:gd name="connsiteX157" fmla="*/ 234 w 5810"/>
                  <a:gd name="connsiteY157" fmla="*/ 29 h 1085"/>
                  <a:gd name="connsiteX158" fmla="*/ 287 w 5810"/>
                  <a:gd name="connsiteY158" fmla="*/ 46 h 1085"/>
                  <a:gd name="connsiteX159" fmla="*/ 345 w 5810"/>
                  <a:gd name="connsiteY159" fmla="*/ 66 h 1085"/>
                  <a:gd name="connsiteX160" fmla="*/ 403 w 5810"/>
                  <a:gd name="connsiteY160" fmla="*/ 93 h 1085"/>
                  <a:gd name="connsiteX161" fmla="*/ 459 w 5810"/>
                  <a:gd name="connsiteY161" fmla="*/ 131 h 1085"/>
                  <a:gd name="connsiteX162" fmla="*/ 514 w 5810"/>
                  <a:gd name="connsiteY162" fmla="*/ 174 h 1085"/>
                  <a:gd name="connsiteX163" fmla="*/ 568 w 5810"/>
                  <a:gd name="connsiteY163" fmla="*/ 228 h 1085"/>
                  <a:gd name="connsiteX164" fmla="*/ 618 w 5810"/>
                  <a:gd name="connsiteY164" fmla="*/ 292 h 1085"/>
                  <a:gd name="connsiteX165" fmla="*/ 667 w 5810"/>
                  <a:gd name="connsiteY165" fmla="*/ 367 h 1085"/>
                  <a:gd name="connsiteX166" fmla="*/ 754 w 5810"/>
                  <a:gd name="connsiteY166" fmla="*/ 516 h 1085"/>
                  <a:gd name="connsiteX167" fmla="*/ 787 w 5810"/>
                  <a:gd name="connsiteY167" fmla="*/ 575 h 1085"/>
                  <a:gd name="connsiteX168" fmla="*/ 820 w 5810"/>
                  <a:gd name="connsiteY168" fmla="*/ 631 h 1085"/>
                  <a:gd name="connsiteX169" fmla="*/ 853 w 5810"/>
                  <a:gd name="connsiteY169" fmla="*/ 684 h 1085"/>
                  <a:gd name="connsiteX170" fmla="*/ 886 w 5810"/>
                  <a:gd name="connsiteY170" fmla="*/ 736 h 1085"/>
                  <a:gd name="connsiteX171" fmla="*/ 921 w 5810"/>
                  <a:gd name="connsiteY171" fmla="*/ 782 h 1085"/>
                  <a:gd name="connsiteX172" fmla="*/ 958 w 5810"/>
                  <a:gd name="connsiteY172" fmla="*/ 825 h 1085"/>
                  <a:gd name="connsiteX173" fmla="*/ 1000 w 5810"/>
                  <a:gd name="connsiteY173" fmla="*/ 863 h 1085"/>
                  <a:gd name="connsiteX174" fmla="*/ 1043 w 5810"/>
                  <a:gd name="connsiteY174" fmla="*/ 894 h 1085"/>
                  <a:gd name="connsiteX175" fmla="*/ 1090 w 5810"/>
                  <a:gd name="connsiteY175" fmla="*/ 921 h 1085"/>
                  <a:gd name="connsiteX176" fmla="*/ 1140 w 5810"/>
                  <a:gd name="connsiteY176" fmla="*/ 939 h 1085"/>
                  <a:gd name="connsiteX177" fmla="*/ 1196 w 5810"/>
                  <a:gd name="connsiteY177" fmla="*/ 952 h 1085"/>
                  <a:gd name="connsiteX178" fmla="*/ 1258 w 5810"/>
                  <a:gd name="connsiteY178" fmla="*/ 956 h 1085"/>
                  <a:gd name="connsiteX179" fmla="*/ 1264 w 5810"/>
                  <a:gd name="connsiteY179" fmla="*/ 956 h 1085"/>
                  <a:gd name="connsiteX180" fmla="*/ 1324 w 5810"/>
                  <a:gd name="connsiteY180" fmla="*/ 950 h 1085"/>
                  <a:gd name="connsiteX181" fmla="*/ 1380 w 5810"/>
                  <a:gd name="connsiteY181" fmla="*/ 935 h 1085"/>
                  <a:gd name="connsiteX182" fmla="*/ 1433 w 5810"/>
                  <a:gd name="connsiteY182" fmla="*/ 913 h 1085"/>
                  <a:gd name="connsiteX183" fmla="*/ 1481 w 5810"/>
                  <a:gd name="connsiteY183" fmla="*/ 884 h 1085"/>
                  <a:gd name="connsiteX184" fmla="*/ 1526 w 5810"/>
                  <a:gd name="connsiteY184" fmla="*/ 846 h 1085"/>
                  <a:gd name="connsiteX185" fmla="*/ 1569 w 5810"/>
                  <a:gd name="connsiteY185" fmla="*/ 803 h 1085"/>
                  <a:gd name="connsiteX186" fmla="*/ 1609 w 5810"/>
                  <a:gd name="connsiteY186" fmla="*/ 755 h 1085"/>
                  <a:gd name="connsiteX187" fmla="*/ 1648 w 5810"/>
                  <a:gd name="connsiteY187" fmla="*/ 703 h 1085"/>
                  <a:gd name="connsiteX188" fmla="*/ 1687 w 5810"/>
                  <a:gd name="connsiteY188" fmla="*/ 649 h 1085"/>
                  <a:gd name="connsiteX189" fmla="*/ 1799 w 5810"/>
                  <a:gd name="connsiteY189" fmla="*/ 475 h 1085"/>
                  <a:gd name="connsiteX190" fmla="*/ 1838 w 5810"/>
                  <a:gd name="connsiteY190" fmla="*/ 415 h 1085"/>
                  <a:gd name="connsiteX191" fmla="*/ 1879 w 5810"/>
                  <a:gd name="connsiteY191" fmla="*/ 357 h 1085"/>
                  <a:gd name="connsiteX192" fmla="*/ 1923 w 5810"/>
                  <a:gd name="connsiteY192" fmla="*/ 299 h 1085"/>
                  <a:gd name="connsiteX193" fmla="*/ 1968 w 5810"/>
                  <a:gd name="connsiteY193" fmla="*/ 245 h 1085"/>
                  <a:gd name="connsiteX194" fmla="*/ 2015 w 5810"/>
                  <a:gd name="connsiteY194" fmla="*/ 193 h 1085"/>
                  <a:gd name="connsiteX195" fmla="*/ 2069 w 5810"/>
                  <a:gd name="connsiteY195" fmla="*/ 145 h 1085"/>
                  <a:gd name="connsiteX196" fmla="*/ 2125 w 5810"/>
                  <a:gd name="connsiteY196" fmla="*/ 104 h 1085"/>
                  <a:gd name="connsiteX197" fmla="*/ 2187 w 5810"/>
                  <a:gd name="connsiteY197" fmla="*/ 69 h 1085"/>
                  <a:gd name="connsiteX198" fmla="*/ 2253 w 5810"/>
                  <a:gd name="connsiteY198" fmla="*/ 39 h 1085"/>
                  <a:gd name="connsiteX199" fmla="*/ 2325 w 5810"/>
                  <a:gd name="connsiteY199" fmla="*/ 19 h 1085"/>
                  <a:gd name="connsiteX200" fmla="*/ 2404 w 5810"/>
                  <a:gd name="connsiteY200" fmla="*/ 6 h 1085"/>
                  <a:gd name="connsiteX201" fmla="*/ 2474 w 5810"/>
                  <a:gd name="connsiteY201" fmla="*/ 4 h 1085"/>
                  <a:gd name="connsiteX202" fmla="*/ 2540 w 5810"/>
                  <a:gd name="connsiteY202" fmla="*/ 13 h 1085"/>
                  <a:gd name="connsiteX203" fmla="*/ 2600 w 5810"/>
                  <a:gd name="connsiteY203" fmla="*/ 27 h 1085"/>
                  <a:gd name="connsiteX204" fmla="*/ 2658 w 5810"/>
                  <a:gd name="connsiteY204" fmla="*/ 50 h 1085"/>
                  <a:gd name="connsiteX205" fmla="*/ 2711 w 5810"/>
                  <a:gd name="connsiteY205" fmla="*/ 81 h 1085"/>
                  <a:gd name="connsiteX206" fmla="*/ 2761 w 5810"/>
                  <a:gd name="connsiteY206" fmla="*/ 116 h 1085"/>
                  <a:gd name="connsiteX207" fmla="*/ 2806 w 5810"/>
                  <a:gd name="connsiteY207" fmla="*/ 158 h 1085"/>
                  <a:gd name="connsiteX208" fmla="*/ 2852 w 5810"/>
                  <a:gd name="connsiteY208" fmla="*/ 203 h 1085"/>
                  <a:gd name="connsiteX209" fmla="*/ 2893 w 5810"/>
                  <a:gd name="connsiteY209" fmla="*/ 251 h 1085"/>
                  <a:gd name="connsiteX210" fmla="*/ 2932 w 5810"/>
                  <a:gd name="connsiteY210" fmla="*/ 303 h 1085"/>
                  <a:gd name="connsiteX211" fmla="*/ 2969 w 5810"/>
                  <a:gd name="connsiteY211" fmla="*/ 357 h 1085"/>
                  <a:gd name="connsiteX212" fmla="*/ 3004 w 5810"/>
                  <a:gd name="connsiteY212" fmla="*/ 413 h 1085"/>
                  <a:gd name="connsiteX213" fmla="*/ 3039 w 5810"/>
                  <a:gd name="connsiteY213" fmla="*/ 467 h 1085"/>
                  <a:gd name="connsiteX214" fmla="*/ 3073 w 5810"/>
                  <a:gd name="connsiteY214" fmla="*/ 523 h 1085"/>
                  <a:gd name="connsiteX215" fmla="*/ 3110 w 5810"/>
                  <a:gd name="connsiteY215" fmla="*/ 585 h 1085"/>
                  <a:gd name="connsiteX216" fmla="*/ 3147 w 5810"/>
                  <a:gd name="connsiteY216" fmla="*/ 643 h 1085"/>
                  <a:gd name="connsiteX217" fmla="*/ 3186 w 5810"/>
                  <a:gd name="connsiteY217" fmla="*/ 701 h 1085"/>
                  <a:gd name="connsiteX218" fmla="*/ 3223 w 5810"/>
                  <a:gd name="connsiteY218" fmla="*/ 755 h 1085"/>
                  <a:gd name="connsiteX219" fmla="*/ 3265 w 5810"/>
                  <a:gd name="connsiteY219" fmla="*/ 805 h 1085"/>
                  <a:gd name="connsiteX220" fmla="*/ 3306 w 5810"/>
                  <a:gd name="connsiteY220" fmla="*/ 848 h 1085"/>
                  <a:gd name="connsiteX221" fmla="*/ 3349 w 5810"/>
                  <a:gd name="connsiteY221" fmla="*/ 886 h 1085"/>
                  <a:gd name="connsiteX222" fmla="*/ 3395 w 5810"/>
                  <a:gd name="connsiteY222" fmla="*/ 917 h 1085"/>
                  <a:gd name="connsiteX223" fmla="*/ 3444 w 5810"/>
                  <a:gd name="connsiteY223" fmla="*/ 939 h 1085"/>
                  <a:gd name="connsiteX224" fmla="*/ 3498 w 5810"/>
                  <a:gd name="connsiteY224" fmla="*/ 952 h 1085"/>
                  <a:gd name="connsiteX225" fmla="*/ 3554 w 5810"/>
                  <a:gd name="connsiteY225" fmla="*/ 956 h 1085"/>
                  <a:gd name="connsiteX226" fmla="*/ 3609 w 5810"/>
                  <a:gd name="connsiteY226" fmla="*/ 950 h 1085"/>
                  <a:gd name="connsiteX227" fmla="*/ 3659 w 5810"/>
                  <a:gd name="connsiteY227" fmla="*/ 935 h 1085"/>
                  <a:gd name="connsiteX228" fmla="*/ 3706 w 5810"/>
                  <a:gd name="connsiteY228" fmla="*/ 915 h 1085"/>
                  <a:gd name="connsiteX229" fmla="*/ 3750 w 5810"/>
                  <a:gd name="connsiteY229" fmla="*/ 884 h 1085"/>
                  <a:gd name="connsiteX230" fmla="*/ 3789 w 5810"/>
                  <a:gd name="connsiteY230" fmla="*/ 848 h 1085"/>
                  <a:gd name="connsiteX231" fmla="*/ 3826 w 5810"/>
                  <a:gd name="connsiteY231" fmla="*/ 807 h 1085"/>
                  <a:gd name="connsiteX232" fmla="*/ 3861 w 5810"/>
                  <a:gd name="connsiteY232" fmla="*/ 759 h 1085"/>
                  <a:gd name="connsiteX233" fmla="*/ 3894 w 5810"/>
                  <a:gd name="connsiteY233" fmla="*/ 709 h 1085"/>
                  <a:gd name="connsiteX234" fmla="*/ 3927 w 5810"/>
                  <a:gd name="connsiteY234" fmla="*/ 655 h 1085"/>
                  <a:gd name="connsiteX235" fmla="*/ 3960 w 5810"/>
                  <a:gd name="connsiteY235" fmla="*/ 597 h 1085"/>
                  <a:gd name="connsiteX236" fmla="*/ 3993 w 5810"/>
                  <a:gd name="connsiteY236" fmla="*/ 537 h 1085"/>
                  <a:gd name="connsiteX237" fmla="*/ 4022 w 5810"/>
                  <a:gd name="connsiteY237" fmla="*/ 483 h 1085"/>
                  <a:gd name="connsiteX238" fmla="*/ 4084 w 5810"/>
                  <a:gd name="connsiteY238" fmla="*/ 375 h 1085"/>
                  <a:gd name="connsiteX239" fmla="*/ 4154 w 5810"/>
                  <a:gd name="connsiteY239" fmla="*/ 272 h 1085"/>
                  <a:gd name="connsiteX240" fmla="*/ 4192 w 5810"/>
                  <a:gd name="connsiteY240" fmla="*/ 224 h 1085"/>
                  <a:gd name="connsiteX241" fmla="*/ 4233 w 5810"/>
                  <a:gd name="connsiteY241" fmla="*/ 178 h 1085"/>
                  <a:gd name="connsiteX242" fmla="*/ 4276 w 5810"/>
                  <a:gd name="connsiteY242" fmla="*/ 137 h 1085"/>
                  <a:gd name="connsiteX243" fmla="*/ 4324 w 5810"/>
                  <a:gd name="connsiteY243" fmla="*/ 100 h 1085"/>
                  <a:gd name="connsiteX244" fmla="*/ 4375 w 5810"/>
                  <a:gd name="connsiteY244" fmla="*/ 66 h 1085"/>
                  <a:gd name="connsiteX245" fmla="*/ 4433 w 5810"/>
                  <a:gd name="connsiteY245" fmla="*/ 39 h 1085"/>
                  <a:gd name="connsiteX246" fmla="*/ 4493 w 5810"/>
                  <a:gd name="connsiteY246" fmla="*/ 19 h 1085"/>
                  <a:gd name="connsiteX247" fmla="*/ 4559 w 5810"/>
                  <a:gd name="connsiteY247" fmla="*/ 6 h 1085"/>
                  <a:gd name="connsiteX248" fmla="*/ 4631 w 5810"/>
                  <a:gd name="connsiteY248" fmla="*/ 0 h 1085"/>
                  <a:gd name="connsiteX0" fmla="*/ 4631 w 5810"/>
                  <a:gd name="connsiteY0" fmla="*/ 0 h 1085"/>
                  <a:gd name="connsiteX1" fmla="*/ 4681 w 5810"/>
                  <a:gd name="connsiteY1" fmla="*/ 0 h 1085"/>
                  <a:gd name="connsiteX2" fmla="*/ 4710 w 5810"/>
                  <a:gd name="connsiteY2" fmla="*/ 4 h 1085"/>
                  <a:gd name="connsiteX3" fmla="*/ 4741 w 5810"/>
                  <a:gd name="connsiteY3" fmla="*/ 13 h 1085"/>
                  <a:gd name="connsiteX4" fmla="*/ 4778 w 5810"/>
                  <a:gd name="connsiteY4" fmla="*/ 23 h 1085"/>
                  <a:gd name="connsiteX5" fmla="*/ 4819 w 5810"/>
                  <a:gd name="connsiteY5" fmla="*/ 39 h 1085"/>
                  <a:gd name="connsiteX6" fmla="*/ 4863 w 5810"/>
                  <a:gd name="connsiteY6" fmla="*/ 60 h 1085"/>
                  <a:gd name="connsiteX7" fmla="*/ 4910 w 5810"/>
                  <a:gd name="connsiteY7" fmla="*/ 89 h 1085"/>
                  <a:gd name="connsiteX8" fmla="*/ 4960 w 5810"/>
                  <a:gd name="connsiteY8" fmla="*/ 124 h 1085"/>
                  <a:gd name="connsiteX9" fmla="*/ 5009 w 5810"/>
                  <a:gd name="connsiteY9" fmla="*/ 170 h 1085"/>
                  <a:gd name="connsiteX10" fmla="*/ 5061 w 5810"/>
                  <a:gd name="connsiteY10" fmla="*/ 224 h 1085"/>
                  <a:gd name="connsiteX11" fmla="*/ 5112 w 5810"/>
                  <a:gd name="connsiteY11" fmla="*/ 286 h 1085"/>
                  <a:gd name="connsiteX12" fmla="*/ 5164 w 5810"/>
                  <a:gd name="connsiteY12" fmla="*/ 361 h 1085"/>
                  <a:gd name="connsiteX13" fmla="*/ 5216 w 5810"/>
                  <a:gd name="connsiteY13" fmla="*/ 448 h 1085"/>
                  <a:gd name="connsiteX14" fmla="*/ 5267 w 5810"/>
                  <a:gd name="connsiteY14" fmla="*/ 548 h 1085"/>
                  <a:gd name="connsiteX15" fmla="*/ 5313 w 5810"/>
                  <a:gd name="connsiteY15" fmla="*/ 633 h 1085"/>
                  <a:gd name="connsiteX16" fmla="*/ 5358 w 5810"/>
                  <a:gd name="connsiteY16" fmla="*/ 707 h 1085"/>
                  <a:gd name="connsiteX17" fmla="*/ 5408 w 5810"/>
                  <a:gd name="connsiteY17" fmla="*/ 769 h 1085"/>
                  <a:gd name="connsiteX18" fmla="*/ 5455 w 5810"/>
                  <a:gd name="connsiteY18" fmla="*/ 821 h 1085"/>
                  <a:gd name="connsiteX19" fmla="*/ 5503 w 5810"/>
                  <a:gd name="connsiteY19" fmla="*/ 865 h 1085"/>
                  <a:gd name="connsiteX20" fmla="*/ 5550 w 5810"/>
                  <a:gd name="connsiteY20" fmla="*/ 900 h 1085"/>
                  <a:gd name="connsiteX21" fmla="*/ 5593 w 5810"/>
                  <a:gd name="connsiteY21" fmla="*/ 927 h 1085"/>
                  <a:gd name="connsiteX22" fmla="*/ 5637 w 5810"/>
                  <a:gd name="connsiteY22" fmla="*/ 948 h 1085"/>
                  <a:gd name="connsiteX23" fmla="*/ 5676 w 5810"/>
                  <a:gd name="connsiteY23" fmla="*/ 962 h 1085"/>
                  <a:gd name="connsiteX24" fmla="*/ 5711 w 5810"/>
                  <a:gd name="connsiteY24" fmla="*/ 973 h 1085"/>
                  <a:gd name="connsiteX25" fmla="*/ 5742 w 5810"/>
                  <a:gd name="connsiteY25" fmla="*/ 981 h 1085"/>
                  <a:gd name="connsiteX26" fmla="*/ 5767 w 5810"/>
                  <a:gd name="connsiteY26" fmla="*/ 983 h 1085"/>
                  <a:gd name="connsiteX27" fmla="*/ 5785 w 5810"/>
                  <a:gd name="connsiteY27" fmla="*/ 985 h 1085"/>
                  <a:gd name="connsiteX28" fmla="*/ 5802 w 5810"/>
                  <a:gd name="connsiteY28" fmla="*/ 985 h 1085"/>
                  <a:gd name="connsiteX29" fmla="*/ 5810 w 5810"/>
                  <a:gd name="connsiteY29" fmla="*/ 1072 h 1085"/>
                  <a:gd name="connsiteX30" fmla="*/ 5717 w 5810"/>
                  <a:gd name="connsiteY30" fmla="*/ 1064 h 1085"/>
                  <a:gd name="connsiteX31" fmla="*/ 5639 w 5810"/>
                  <a:gd name="connsiteY31" fmla="*/ 1043 h 1085"/>
                  <a:gd name="connsiteX32" fmla="*/ 5546 w 5810"/>
                  <a:gd name="connsiteY32" fmla="*/ 1002 h 1085"/>
                  <a:gd name="connsiteX33" fmla="*/ 5496 w 5810"/>
                  <a:gd name="connsiteY33" fmla="*/ 971 h 1085"/>
                  <a:gd name="connsiteX34" fmla="*/ 5393 w 5810"/>
                  <a:gd name="connsiteY34" fmla="*/ 884 h 1085"/>
                  <a:gd name="connsiteX35" fmla="*/ 5339 w 5810"/>
                  <a:gd name="connsiteY35" fmla="*/ 825 h 1085"/>
                  <a:gd name="connsiteX36" fmla="*/ 5288 w 5810"/>
                  <a:gd name="connsiteY36" fmla="*/ 757 h 1085"/>
                  <a:gd name="connsiteX37" fmla="*/ 5238 w 5810"/>
                  <a:gd name="connsiteY37" fmla="*/ 676 h 1085"/>
                  <a:gd name="connsiteX38" fmla="*/ 5191 w 5810"/>
                  <a:gd name="connsiteY38" fmla="*/ 585 h 1085"/>
                  <a:gd name="connsiteX39" fmla="*/ 5141 w 5810"/>
                  <a:gd name="connsiteY39" fmla="*/ 489 h 1085"/>
                  <a:gd name="connsiteX40" fmla="*/ 5092 w 5810"/>
                  <a:gd name="connsiteY40" fmla="*/ 407 h 1085"/>
                  <a:gd name="connsiteX41" fmla="*/ 5042 w 5810"/>
                  <a:gd name="connsiteY41" fmla="*/ 336 h 1085"/>
                  <a:gd name="connsiteX42" fmla="*/ 4993 w 5810"/>
                  <a:gd name="connsiteY42" fmla="*/ 276 h 1085"/>
                  <a:gd name="connsiteX43" fmla="*/ 4945 w 5810"/>
                  <a:gd name="connsiteY43" fmla="*/ 228 h 1085"/>
                  <a:gd name="connsiteX44" fmla="*/ 4900 w 5810"/>
                  <a:gd name="connsiteY44" fmla="*/ 189 h 1085"/>
                  <a:gd name="connsiteX45" fmla="*/ 4858 w 5810"/>
                  <a:gd name="connsiteY45" fmla="*/ 158 h 1085"/>
                  <a:gd name="connsiteX46" fmla="*/ 4819 w 5810"/>
                  <a:gd name="connsiteY46" fmla="*/ 135 h 1085"/>
                  <a:gd name="connsiteX47" fmla="*/ 4770 w 5810"/>
                  <a:gd name="connsiteY47" fmla="*/ 112 h 1085"/>
                  <a:gd name="connsiteX48" fmla="*/ 4726 w 5810"/>
                  <a:gd name="connsiteY48" fmla="*/ 98 h 1085"/>
                  <a:gd name="connsiteX49" fmla="*/ 4691 w 5810"/>
                  <a:gd name="connsiteY49" fmla="*/ 89 h 1085"/>
                  <a:gd name="connsiteX50" fmla="*/ 4662 w 5810"/>
                  <a:gd name="connsiteY50" fmla="*/ 87 h 1085"/>
                  <a:gd name="connsiteX51" fmla="*/ 4635 w 5810"/>
                  <a:gd name="connsiteY51" fmla="*/ 87 h 1085"/>
                  <a:gd name="connsiteX52" fmla="*/ 4569 w 5810"/>
                  <a:gd name="connsiteY52" fmla="*/ 93 h 1085"/>
                  <a:gd name="connsiteX53" fmla="*/ 4507 w 5810"/>
                  <a:gd name="connsiteY53" fmla="*/ 106 h 1085"/>
                  <a:gd name="connsiteX54" fmla="*/ 4452 w 5810"/>
                  <a:gd name="connsiteY54" fmla="*/ 127 h 1085"/>
                  <a:gd name="connsiteX55" fmla="*/ 4400 w 5810"/>
                  <a:gd name="connsiteY55" fmla="*/ 154 h 1085"/>
                  <a:gd name="connsiteX56" fmla="*/ 4353 w 5810"/>
                  <a:gd name="connsiteY56" fmla="*/ 187 h 1085"/>
                  <a:gd name="connsiteX57" fmla="*/ 4309 w 5810"/>
                  <a:gd name="connsiteY57" fmla="*/ 224 h 1085"/>
                  <a:gd name="connsiteX58" fmla="*/ 4270 w 5810"/>
                  <a:gd name="connsiteY58" fmla="*/ 268 h 1085"/>
                  <a:gd name="connsiteX59" fmla="*/ 4231 w 5810"/>
                  <a:gd name="connsiteY59" fmla="*/ 313 h 1085"/>
                  <a:gd name="connsiteX60" fmla="*/ 4196 w 5810"/>
                  <a:gd name="connsiteY60" fmla="*/ 363 h 1085"/>
                  <a:gd name="connsiteX61" fmla="*/ 4163 w 5810"/>
                  <a:gd name="connsiteY61" fmla="*/ 415 h 1085"/>
                  <a:gd name="connsiteX62" fmla="*/ 4101 w 5810"/>
                  <a:gd name="connsiteY62" fmla="*/ 523 h 1085"/>
                  <a:gd name="connsiteX63" fmla="*/ 4008 w 5810"/>
                  <a:gd name="connsiteY63" fmla="*/ 691 h 1085"/>
                  <a:gd name="connsiteX64" fmla="*/ 3975 w 5810"/>
                  <a:gd name="connsiteY64" fmla="*/ 747 h 1085"/>
                  <a:gd name="connsiteX65" fmla="*/ 3940 w 5810"/>
                  <a:gd name="connsiteY65" fmla="*/ 798 h 1085"/>
                  <a:gd name="connsiteX66" fmla="*/ 3905 w 5810"/>
                  <a:gd name="connsiteY66" fmla="*/ 848 h 1085"/>
                  <a:gd name="connsiteX67" fmla="*/ 3865 w 5810"/>
                  <a:gd name="connsiteY67" fmla="*/ 894 h 1085"/>
                  <a:gd name="connsiteX68" fmla="*/ 3824 w 5810"/>
                  <a:gd name="connsiteY68" fmla="*/ 935 h 1085"/>
                  <a:gd name="connsiteX69" fmla="*/ 3779 w 5810"/>
                  <a:gd name="connsiteY69" fmla="*/ 971 h 1085"/>
                  <a:gd name="connsiteX70" fmla="*/ 3729 w 5810"/>
                  <a:gd name="connsiteY70" fmla="*/ 1000 h 1085"/>
                  <a:gd name="connsiteX71" fmla="*/ 3677 w 5810"/>
                  <a:gd name="connsiteY71" fmla="*/ 1022 h 1085"/>
                  <a:gd name="connsiteX72" fmla="*/ 3620 w 5810"/>
                  <a:gd name="connsiteY72" fmla="*/ 1037 h 1085"/>
                  <a:gd name="connsiteX73" fmla="*/ 3556 w 5810"/>
                  <a:gd name="connsiteY73" fmla="*/ 1043 h 1085"/>
                  <a:gd name="connsiteX74" fmla="*/ 3547 w 5810"/>
                  <a:gd name="connsiteY74" fmla="*/ 1043 h 1085"/>
                  <a:gd name="connsiteX75" fmla="*/ 3485 w 5810"/>
                  <a:gd name="connsiteY75" fmla="*/ 1039 h 1085"/>
                  <a:gd name="connsiteX76" fmla="*/ 3426 w 5810"/>
                  <a:gd name="connsiteY76" fmla="*/ 1025 h 1085"/>
                  <a:gd name="connsiteX77" fmla="*/ 3372 w 5810"/>
                  <a:gd name="connsiteY77" fmla="*/ 1002 h 1085"/>
                  <a:gd name="connsiteX78" fmla="*/ 3320 w 5810"/>
                  <a:gd name="connsiteY78" fmla="*/ 973 h 1085"/>
                  <a:gd name="connsiteX79" fmla="*/ 3273 w 5810"/>
                  <a:gd name="connsiteY79" fmla="*/ 935 h 1085"/>
                  <a:gd name="connsiteX80" fmla="*/ 3229 w 5810"/>
                  <a:gd name="connsiteY80" fmla="*/ 894 h 1085"/>
                  <a:gd name="connsiteX81" fmla="*/ 3186 w 5810"/>
                  <a:gd name="connsiteY81" fmla="*/ 846 h 1085"/>
                  <a:gd name="connsiteX82" fmla="*/ 3147 w 5810"/>
                  <a:gd name="connsiteY82" fmla="*/ 796 h 1085"/>
                  <a:gd name="connsiteX83" fmla="*/ 3108 w 5810"/>
                  <a:gd name="connsiteY83" fmla="*/ 740 h 1085"/>
                  <a:gd name="connsiteX84" fmla="*/ 3070 w 5810"/>
                  <a:gd name="connsiteY84" fmla="*/ 684 h 1085"/>
                  <a:gd name="connsiteX85" fmla="*/ 2965 w 5810"/>
                  <a:gd name="connsiteY85" fmla="*/ 510 h 1085"/>
                  <a:gd name="connsiteX86" fmla="*/ 2928 w 5810"/>
                  <a:gd name="connsiteY86" fmla="*/ 452 h 1085"/>
                  <a:gd name="connsiteX87" fmla="*/ 2891 w 5810"/>
                  <a:gd name="connsiteY87" fmla="*/ 396 h 1085"/>
                  <a:gd name="connsiteX88" fmla="*/ 2854 w 5810"/>
                  <a:gd name="connsiteY88" fmla="*/ 342 h 1085"/>
                  <a:gd name="connsiteX89" fmla="*/ 2814 w 5810"/>
                  <a:gd name="connsiteY89" fmla="*/ 292 h 1085"/>
                  <a:gd name="connsiteX90" fmla="*/ 2773 w 5810"/>
                  <a:gd name="connsiteY90" fmla="*/ 247 h 1085"/>
                  <a:gd name="connsiteX91" fmla="*/ 2732 w 5810"/>
                  <a:gd name="connsiteY91" fmla="*/ 205 h 1085"/>
                  <a:gd name="connsiteX92" fmla="*/ 2686 w 5810"/>
                  <a:gd name="connsiteY92" fmla="*/ 168 h 1085"/>
                  <a:gd name="connsiteX93" fmla="*/ 2639 w 5810"/>
                  <a:gd name="connsiteY93" fmla="*/ 139 h 1085"/>
                  <a:gd name="connsiteX94" fmla="*/ 2587 w 5810"/>
                  <a:gd name="connsiteY94" fmla="*/ 116 h 1085"/>
                  <a:gd name="connsiteX95" fmla="*/ 2532 w 5810"/>
                  <a:gd name="connsiteY95" fmla="*/ 100 h 1085"/>
                  <a:gd name="connsiteX96" fmla="*/ 2474 w 5810"/>
                  <a:gd name="connsiteY96" fmla="*/ 91 h 1085"/>
                  <a:gd name="connsiteX97" fmla="*/ 2410 w 5810"/>
                  <a:gd name="connsiteY97" fmla="*/ 93 h 1085"/>
                  <a:gd name="connsiteX98" fmla="*/ 2342 w 5810"/>
                  <a:gd name="connsiteY98" fmla="*/ 104 h 1085"/>
                  <a:gd name="connsiteX99" fmla="*/ 2280 w 5810"/>
                  <a:gd name="connsiteY99" fmla="*/ 122 h 1085"/>
                  <a:gd name="connsiteX100" fmla="*/ 2222 w 5810"/>
                  <a:gd name="connsiteY100" fmla="*/ 147 h 1085"/>
                  <a:gd name="connsiteX101" fmla="*/ 2168 w 5810"/>
                  <a:gd name="connsiteY101" fmla="*/ 180 h 1085"/>
                  <a:gd name="connsiteX102" fmla="*/ 2117 w 5810"/>
                  <a:gd name="connsiteY102" fmla="*/ 218 h 1085"/>
                  <a:gd name="connsiteX103" fmla="*/ 2071 w 5810"/>
                  <a:gd name="connsiteY103" fmla="*/ 261 h 1085"/>
                  <a:gd name="connsiteX104" fmla="*/ 2026 w 5810"/>
                  <a:gd name="connsiteY104" fmla="*/ 307 h 1085"/>
                  <a:gd name="connsiteX105" fmla="*/ 1984 w 5810"/>
                  <a:gd name="connsiteY105" fmla="*/ 359 h 1085"/>
                  <a:gd name="connsiteX106" fmla="*/ 1945 w 5810"/>
                  <a:gd name="connsiteY106" fmla="*/ 413 h 1085"/>
                  <a:gd name="connsiteX107" fmla="*/ 1908 w 5810"/>
                  <a:gd name="connsiteY107" fmla="*/ 467 h 1085"/>
                  <a:gd name="connsiteX108" fmla="*/ 1871 w 5810"/>
                  <a:gd name="connsiteY108" fmla="*/ 523 h 1085"/>
                  <a:gd name="connsiteX109" fmla="*/ 1834 w 5810"/>
                  <a:gd name="connsiteY109" fmla="*/ 581 h 1085"/>
                  <a:gd name="connsiteX110" fmla="*/ 1799 w 5810"/>
                  <a:gd name="connsiteY110" fmla="*/ 637 h 1085"/>
                  <a:gd name="connsiteX111" fmla="*/ 1724 w 5810"/>
                  <a:gd name="connsiteY111" fmla="*/ 749 h 1085"/>
                  <a:gd name="connsiteX112" fmla="*/ 1685 w 5810"/>
                  <a:gd name="connsiteY112" fmla="*/ 801 h 1085"/>
                  <a:gd name="connsiteX113" fmla="*/ 1644 w 5810"/>
                  <a:gd name="connsiteY113" fmla="*/ 850 h 1085"/>
                  <a:gd name="connsiteX114" fmla="*/ 1600 w 5810"/>
                  <a:gd name="connsiteY114" fmla="*/ 896 h 1085"/>
                  <a:gd name="connsiteX115" fmla="*/ 1553 w 5810"/>
                  <a:gd name="connsiteY115" fmla="*/ 937 h 1085"/>
                  <a:gd name="connsiteX116" fmla="*/ 1503 w 5810"/>
                  <a:gd name="connsiteY116" fmla="*/ 973 h 1085"/>
                  <a:gd name="connsiteX117" fmla="*/ 1450 w 5810"/>
                  <a:gd name="connsiteY117" fmla="*/ 1002 h 1085"/>
                  <a:gd name="connsiteX118" fmla="*/ 1394 w 5810"/>
                  <a:gd name="connsiteY118" fmla="*/ 1025 h 1085"/>
                  <a:gd name="connsiteX119" fmla="*/ 1330 w 5810"/>
                  <a:gd name="connsiteY119" fmla="*/ 1037 h 1085"/>
                  <a:gd name="connsiteX120" fmla="*/ 1264 w 5810"/>
                  <a:gd name="connsiteY120" fmla="*/ 1043 h 1085"/>
                  <a:gd name="connsiteX121" fmla="*/ 1258 w 5810"/>
                  <a:gd name="connsiteY121" fmla="*/ 1043 h 1085"/>
                  <a:gd name="connsiteX122" fmla="*/ 1190 w 5810"/>
                  <a:gd name="connsiteY122" fmla="*/ 1039 h 1085"/>
                  <a:gd name="connsiteX123" fmla="*/ 1128 w 5810"/>
                  <a:gd name="connsiteY123" fmla="*/ 1027 h 1085"/>
                  <a:gd name="connsiteX124" fmla="*/ 1070 w 5810"/>
                  <a:gd name="connsiteY124" fmla="*/ 1008 h 1085"/>
                  <a:gd name="connsiteX125" fmla="*/ 1018 w 5810"/>
                  <a:gd name="connsiteY125" fmla="*/ 983 h 1085"/>
                  <a:gd name="connsiteX126" fmla="*/ 971 w 5810"/>
                  <a:gd name="connsiteY126" fmla="*/ 952 h 1085"/>
                  <a:gd name="connsiteX127" fmla="*/ 925 w 5810"/>
                  <a:gd name="connsiteY127" fmla="*/ 915 h 1085"/>
                  <a:gd name="connsiteX128" fmla="*/ 884 w 5810"/>
                  <a:gd name="connsiteY128" fmla="*/ 873 h 1085"/>
                  <a:gd name="connsiteX129" fmla="*/ 847 w 5810"/>
                  <a:gd name="connsiteY129" fmla="*/ 828 h 1085"/>
                  <a:gd name="connsiteX130" fmla="*/ 810 w 5810"/>
                  <a:gd name="connsiteY130" fmla="*/ 780 h 1085"/>
                  <a:gd name="connsiteX131" fmla="*/ 777 w 5810"/>
                  <a:gd name="connsiteY131" fmla="*/ 728 h 1085"/>
                  <a:gd name="connsiteX132" fmla="*/ 742 w 5810"/>
                  <a:gd name="connsiteY132" fmla="*/ 674 h 1085"/>
                  <a:gd name="connsiteX133" fmla="*/ 711 w 5810"/>
                  <a:gd name="connsiteY133" fmla="*/ 618 h 1085"/>
                  <a:gd name="connsiteX134" fmla="*/ 678 w 5810"/>
                  <a:gd name="connsiteY134" fmla="*/ 560 h 1085"/>
                  <a:gd name="connsiteX135" fmla="*/ 616 w 5810"/>
                  <a:gd name="connsiteY135" fmla="*/ 448 h 1085"/>
                  <a:gd name="connsiteX136" fmla="*/ 547 w 5810"/>
                  <a:gd name="connsiteY136" fmla="*/ 340 h 1085"/>
                  <a:gd name="connsiteX137" fmla="*/ 504 w 5810"/>
                  <a:gd name="connsiteY137" fmla="*/ 284 h 1085"/>
                  <a:gd name="connsiteX138" fmla="*/ 457 w 5810"/>
                  <a:gd name="connsiteY138" fmla="*/ 239 h 1085"/>
                  <a:gd name="connsiteX139" fmla="*/ 409 w 5810"/>
                  <a:gd name="connsiteY139" fmla="*/ 199 h 1085"/>
                  <a:gd name="connsiteX140" fmla="*/ 358 w 5810"/>
                  <a:gd name="connsiteY140" fmla="*/ 168 h 1085"/>
                  <a:gd name="connsiteX141" fmla="*/ 308 w 5810"/>
                  <a:gd name="connsiteY141" fmla="*/ 145 h 1085"/>
                  <a:gd name="connsiteX142" fmla="*/ 256 w 5810"/>
                  <a:gd name="connsiteY142" fmla="*/ 127 h 1085"/>
                  <a:gd name="connsiteX143" fmla="*/ 209 w 5810"/>
                  <a:gd name="connsiteY143" fmla="*/ 112 h 1085"/>
                  <a:gd name="connsiteX144" fmla="*/ 163 w 5810"/>
                  <a:gd name="connsiteY144" fmla="*/ 104 h 1085"/>
                  <a:gd name="connsiteX145" fmla="*/ 122 w 5810"/>
                  <a:gd name="connsiteY145" fmla="*/ 100 h 1085"/>
                  <a:gd name="connsiteX146" fmla="*/ 85 w 5810"/>
                  <a:gd name="connsiteY146" fmla="*/ 95 h 1085"/>
                  <a:gd name="connsiteX147" fmla="*/ 31 w 5810"/>
                  <a:gd name="connsiteY147" fmla="*/ 95 h 1085"/>
                  <a:gd name="connsiteX148" fmla="*/ 17 w 5810"/>
                  <a:gd name="connsiteY148" fmla="*/ 98 h 1085"/>
                  <a:gd name="connsiteX149" fmla="*/ 11 w 5810"/>
                  <a:gd name="connsiteY149" fmla="*/ 98 h 1085"/>
                  <a:gd name="connsiteX150" fmla="*/ 0 w 5810"/>
                  <a:gd name="connsiteY150" fmla="*/ 13 h 1085"/>
                  <a:gd name="connsiteX151" fmla="*/ 9 w 5810"/>
                  <a:gd name="connsiteY151" fmla="*/ 13 h 1085"/>
                  <a:gd name="connsiteX152" fmla="*/ 29 w 5810"/>
                  <a:gd name="connsiteY152" fmla="*/ 10 h 1085"/>
                  <a:gd name="connsiteX153" fmla="*/ 91 w 5810"/>
                  <a:gd name="connsiteY153" fmla="*/ 10 h 1085"/>
                  <a:gd name="connsiteX154" fmla="*/ 135 w 5810"/>
                  <a:gd name="connsiteY154" fmla="*/ 13 h 1085"/>
                  <a:gd name="connsiteX155" fmla="*/ 182 w 5810"/>
                  <a:gd name="connsiteY155" fmla="*/ 19 h 1085"/>
                  <a:gd name="connsiteX156" fmla="*/ 234 w 5810"/>
                  <a:gd name="connsiteY156" fmla="*/ 29 h 1085"/>
                  <a:gd name="connsiteX157" fmla="*/ 287 w 5810"/>
                  <a:gd name="connsiteY157" fmla="*/ 46 h 1085"/>
                  <a:gd name="connsiteX158" fmla="*/ 345 w 5810"/>
                  <a:gd name="connsiteY158" fmla="*/ 66 h 1085"/>
                  <a:gd name="connsiteX159" fmla="*/ 403 w 5810"/>
                  <a:gd name="connsiteY159" fmla="*/ 93 h 1085"/>
                  <a:gd name="connsiteX160" fmla="*/ 459 w 5810"/>
                  <a:gd name="connsiteY160" fmla="*/ 131 h 1085"/>
                  <a:gd name="connsiteX161" fmla="*/ 514 w 5810"/>
                  <a:gd name="connsiteY161" fmla="*/ 174 h 1085"/>
                  <a:gd name="connsiteX162" fmla="*/ 568 w 5810"/>
                  <a:gd name="connsiteY162" fmla="*/ 228 h 1085"/>
                  <a:gd name="connsiteX163" fmla="*/ 618 w 5810"/>
                  <a:gd name="connsiteY163" fmla="*/ 292 h 1085"/>
                  <a:gd name="connsiteX164" fmla="*/ 667 w 5810"/>
                  <a:gd name="connsiteY164" fmla="*/ 367 h 1085"/>
                  <a:gd name="connsiteX165" fmla="*/ 754 w 5810"/>
                  <a:gd name="connsiteY165" fmla="*/ 516 h 1085"/>
                  <a:gd name="connsiteX166" fmla="*/ 787 w 5810"/>
                  <a:gd name="connsiteY166" fmla="*/ 575 h 1085"/>
                  <a:gd name="connsiteX167" fmla="*/ 820 w 5810"/>
                  <a:gd name="connsiteY167" fmla="*/ 631 h 1085"/>
                  <a:gd name="connsiteX168" fmla="*/ 853 w 5810"/>
                  <a:gd name="connsiteY168" fmla="*/ 684 h 1085"/>
                  <a:gd name="connsiteX169" fmla="*/ 886 w 5810"/>
                  <a:gd name="connsiteY169" fmla="*/ 736 h 1085"/>
                  <a:gd name="connsiteX170" fmla="*/ 921 w 5810"/>
                  <a:gd name="connsiteY170" fmla="*/ 782 h 1085"/>
                  <a:gd name="connsiteX171" fmla="*/ 958 w 5810"/>
                  <a:gd name="connsiteY171" fmla="*/ 825 h 1085"/>
                  <a:gd name="connsiteX172" fmla="*/ 1000 w 5810"/>
                  <a:gd name="connsiteY172" fmla="*/ 863 h 1085"/>
                  <a:gd name="connsiteX173" fmla="*/ 1043 w 5810"/>
                  <a:gd name="connsiteY173" fmla="*/ 894 h 1085"/>
                  <a:gd name="connsiteX174" fmla="*/ 1090 w 5810"/>
                  <a:gd name="connsiteY174" fmla="*/ 921 h 1085"/>
                  <a:gd name="connsiteX175" fmla="*/ 1140 w 5810"/>
                  <a:gd name="connsiteY175" fmla="*/ 939 h 1085"/>
                  <a:gd name="connsiteX176" fmla="*/ 1196 w 5810"/>
                  <a:gd name="connsiteY176" fmla="*/ 952 h 1085"/>
                  <a:gd name="connsiteX177" fmla="*/ 1258 w 5810"/>
                  <a:gd name="connsiteY177" fmla="*/ 956 h 1085"/>
                  <a:gd name="connsiteX178" fmla="*/ 1264 w 5810"/>
                  <a:gd name="connsiteY178" fmla="*/ 956 h 1085"/>
                  <a:gd name="connsiteX179" fmla="*/ 1324 w 5810"/>
                  <a:gd name="connsiteY179" fmla="*/ 950 h 1085"/>
                  <a:gd name="connsiteX180" fmla="*/ 1380 w 5810"/>
                  <a:gd name="connsiteY180" fmla="*/ 935 h 1085"/>
                  <a:gd name="connsiteX181" fmla="*/ 1433 w 5810"/>
                  <a:gd name="connsiteY181" fmla="*/ 913 h 1085"/>
                  <a:gd name="connsiteX182" fmla="*/ 1481 w 5810"/>
                  <a:gd name="connsiteY182" fmla="*/ 884 h 1085"/>
                  <a:gd name="connsiteX183" fmla="*/ 1526 w 5810"/>
                  <a:gd name="connsiteY183" fmla="*/ 846 h 1085"/>
                  <a:gd name="connsiteX184" fmla="*/ 1569 w 5810"/>
                  <a:gd name="connsiteY184" fmla="*/ 803 h 1085"/>
                  <a:gd name="connsiteX185" fmla="*/ 1609 w 5810"/>
                  <a:gd name="connsiteY185" fmla="*/ 755 h 1085"/>
                  <a:gd name="connsiteX186" fmla="*/ 1648 w 5810"/>
                  <a:gd name="connsiteY186" fmla="*/ 703 h 1085"/>
                  <a:gd name="connsiteX187" fmla="*/ 1687 w 5810"/>
                  <a:gd name="connsiteY187" fmla="*/ 649 h 1085"/>
                  <a:gd name="connsiteX188" fmla="*/ 1799 w 5810"/>
                  <a:gd name="connsiteY188" fmla="*/ 475 h 1085"/>
                  <a:gd name="connsiteX189" fmla="*/ 1838 w 5810"/>
                  <a:gd name="connsiteY189" fmla="*/ 415 h 1085"/>
                  <a:gd name="connsiteX190" fmla="*/ 1879 w 5810"/>
                  <a:gd name="connsiteY190" fmla="*/ 357 h 1085"/>
                  <a:gd name="connsiteX191" fmla="*/ 1923 w 5810"/>
                  <a:gd name="connsiteY191" fmla="*/ 299 h 1085"/>
                  <a:gd name="connsiteX192" fmla="*/ 1968 w 5810"/>
                  <a:gd name="connsiteY192" fmla="*/ 245 h 1085"/>
                  <a:gd name="connsiteX193" fmla="*/ 2015 w 5810"/>
                  <a:gd name="connsiteY193" fmla="*/ 193 h 1085"/>
                  <a:gd name="connsiteX194" fmla="*/ 2069 w 5810"/>
                  <a:gd name="connsiteY194" fmla="*/ 145 h 1085"/>
                  <a:gd name="connsiteX195" fmla="*/ 2125 w 5810"/>
                  <a:gd name="connsiteY195" fmla="*/ 104 h 1085"/>
                  <a:gd name="connsiteX196" fmla="*/ 2187 w 5810"/>
                  <a:gd name="connsiteY196" fmla="*/ 69 h 1085"/>
                  <a:gd name="connsiteX197" fmla="*/ 2253 w 5810"/>
                  <a:gd name="connsiteY197" fmla="*/ 39 h 1085"/>
                  <a:gd name="connsiteX198" fmla="*/ 2325 w 5810"/>
                  <a:gd name="connsiteY198" fmla="*/ 19 h 1085"/>
                  <a:gd name="connsiteX199" fmla="*/ 2404 w 5810"/>
                  <a:gd name="connsiteY199" fmla="*/ 6 h 1085"/>
                  <a:gd name="connsiteX200" fmla="*/ 2474 w 5810"/>
                  <a:gd name="connsiteY200" fmla="*/ 4 h 1085"/>
                  <a:gd name="connsiteX201" fmla="*/ 2540 w 5810"/>
                  <a:gd name="connsiteY201" fmla="*/ 13 h 1085"/>
                  <a:gd name="connsiteX202" fmla="*/ 2600 w 5810"/>
                  <a:gd name="connsiteY202" fmla="*/ 27 h 1085"/>
                  <a:gd name="connsiteX203" fmla="*/ 2658 w 5810"/>
                  <a:gd name="connsiteY203" fmla="*/ 50 h 1085"/>
                  <a:gd name="connsiteX204" fmla="*/ 2711 w 5810"/>
                  <a:gd name="connsiteY204" fmla="*/ 81 h 1085"/>
                  <a:gd name="connsiteX205" fmla="*/ 2761 w 5810"/>
                  <a:gd name="connsiteY205" fmla="*/ 116 h 1085"/>
                  <a:gd name="connsiteX206" fmla="*/ 2806 w 5810"/>
                  <a:gd name="connsiteY206" fmla="*/ 158 h 1085"/>
                  <a:gd name="connsiteX207" fmla="*/ 2852 w 5810"/>
                  <a:gd name="connsiteY207" fmla="*/ 203 h 1085"/>
                  <a:gd name="connsiteX208" fmla="*/ 2893 w 5810"/>
                  <a:gd name="connsiteY208" fmla="*/ 251 h 1085"/>
                  <a:gd name="connsiteX209" fmla="*/ 2932 w 5810"/>
                  <a:gd name="connsiteY209" fmla="*/ 303 h 1085"/>
                  <a:gd name="connsiteX210" fmla="*/ 2969 w 5810"/>
                  <a:gd name="connsiteY210" fmla="*/ 357 h 1085"/>
                  <a:gd name="connsiteX211" fmla="*/ 3004 w 5810"/>
                  <a:gd name="connsiteY211" fmla="*/ 413 h 1085"/>
                  <a:gd name="connsiteX212" fmla="*/ 3039 w 5810"/>
                  <a:gd name="connsiteY212" fmla="*/ 467 h 1085"/>
                  <a:gd name="connsiteX213" fmla="*/ 3073 w 5810"/>
                  <a:gd name="connsiteY213" fmla="*/ 523 h 1085"/>
                  <a:gd name="connsiteX214" fmla="*/ 3110 w 5810"/>
                  <a:gd name="connsiteY214" fmla="*/ 585 h 1085"/>
                  <a:gd name="connsiteX215" fmla="*/ 3147 w 5810"/>
                  <a:gd name="connsiteY215" fmla="*/ 643 h 1085"/>
                  <a:gd name="connsiteX216" fmla="*/ 3186 w 5810"/>
                  <a:gd name="connsiteY216" fmla="*/ 701 h 1085"/>
                  <a:gd name="connsiteX217" fmla="*/ 3223 w 5810"/>
                  <a:gd name="connsiteY217" fmla="*/ 755 h 1085"/>
                  <a:gd name="connsiteX218" fmla="*/ 3265 w 5810"/>
                  <a:gd name="connsiteY218" fmla="*/ 805 h 1085"/>
                  <a:gd name="connsiteX219" fmla="*/ 3306 w 5810"/>
                  <a:gd name="connsiteY219" fmla="*/ 848 h 1085"/>
                  <a:gd name="connsiteX220" fmla="*/ 3349 w 5810"/>
                  <a:gd name="connsiteY220" fmla="*/ 886 h 1085"/>
                  <a:gd name="connsiteX221" fmla="*/ 3395 w 5810"/>
                  <a:gd name="connsiteY221" fmla="*/ 917 h 1085"/>
                  <a:gd name="connsiteX222" fmla="*/ 3444 w 5810"/>
                  <a:gd name="connsiteY222" fmla="*/ 939 h 1085"/>
                  <a:gd name="connsiteX223" fmla="*/ 3498 w 5810"/>
                  <a:gd name="connsiteY223" fmla="*/ 952 h 1085"/>
                  <a:gd name="connsiteX224" fmla="*/ 3554 w 5810"/>
                  <a:gd name="connsiteY224" fmla="*/ 956 h 1085"/>
                  <a:gd name="connsiteX225" fmla="*/ 3609 w 5810"/>
                  <a:gd name="connsiteY225" fmla="*/ 950 h 1085"/>
                  <a:gd name="connsiteX226" fmla="*/ 3659 w 5810"/>
                  <a:gd name="connsiteY226" fmla="*/ 935 h 1085"/>
                  <a:gd name="connsiteX227" fmla="*/ 3706 w 5810"/>
                  <a:gd name="connsiteY227" fmla="*/ 915 h 1085"/>
                  <a:gd name="connsiteX228" fmla="*/ 3750 w 5810"/>
                  <a:gd name="connsiteY228" fmla="*/ 884 h 1085"/>
                  <a:gd name="connsiteX229" fmla="*/ 3789 w 5810"/>
                  <a:gd name="connsiteY229" fmla="*/ 848 h 1085"/>
                  <a:gd name="connsiteX230" fmla="*/ 3826 w 5810"/>
                  <a:gd name="connsiteY230" fmla="*/ 807 h 1085"/>
                  <a:gd name="connsiteX231" fmla="*/ 3861 w 5810"/>
                  <a:gd name="connsiteY231" fmla="*/ 759 h 1085"/>
                  <a:gd name="connsiteX232" fmla="*/ 3894 w 5810"/>
                  <a:gd name="connsiteY232" fmla="*/ 709 h 1085"/>
                  <a:gd name="connsiteX233" fmla="*/ 3927 w 5810"/>
                  <a:gd name="connsiteY233" fmla="*/ 655 h 1085"/>
                  <a:gd name="connsiteX234" fmla="*/ 3960 w 5810"/>
                  <a:gd name="connsiteY234" fmla="*/ 597 h 1085"/>
                  <a:gd name="connsiteX235" fmla="*/ 3993 w 5810"/>
                  <a:gd name="connsiteY235" fmla="*/ 537 h 1085"/>
                  <a:gd name="connsiteX236" fmla="*/ 4022 w 5810"/>
                  <a:gd name="connsiteY236" fmla="*/ 483 h 1085"/>
                  <a:gd name="connsiteX237" fmla="*/ 4084 w 5810"/>
                  <a:gd name="connsiteY237" fmla="*/ 375 h 1085"/>
                  <a:gd name="connsiteX238" fmla="*/ 4154 w 5810"/>
                  <a:gd name="connsiteY238" fmla="*/ 272 h 1085"/>
                  <a:gd name="connsiteX239" fmla="*/ 4192 w 5810"/>
                  <a:gd name="connsiteY239" fmla="*/ 224 h 1085"/>
                  <a:gd name="connsiteX240" fmla="*/ 4233 w 5810"/>
                  <a:gd name="connsiteY240" fmla="*/ 178 h 1085"/>
                  <a:gd name="connsiteX241" fmla="*/ 4276 w 5810"/>
                  <a:gd name="connsiteY241" fmla="*/ 137 h 1085"/>
                  <a:gd name="connsiteX242" fmla="*/ 4324 w 5810"/>
                  <a:gd name="connsiteY242" fmla="*/ 100 h 1085"/>
                  <a:gd name="connsiteX243" fmla="*/ 4375 w 5810"/>
                  <a:gd name="connsiteY243" fmla="*/ 66 h 1085"/>
                  <a:gd name="connsiteX244" fmla="*/ 4433 w 5810"/>
                  <a:gd name="connsiteY244" fmla="*/ 39 h 1085"/>
                  <a:gd name="connsiteX245" fmla="*/ 4493 w 5810"/>
                  <a:gd name="connsiteY245" fmla="*/ 19 h 1085"/>
                  <a:gd name="connsiteX246" fmla="*/ 4559 w 5810"/>
                  <a:gd name="connsiteY246" fmla="*/ 6 h 1085"/>
                  <a:gd name="connsiteX247" fmla="*/ 4631 w 5810"/>
                  <a:gd name="connsiteY247" fmla="*/ 0 h 1085"/>
                  <a:gd name="connsiteX0" fmla="*/ 4631 w 5810"/>
                  <a:gd name="connsiteY0" fmla="*/ 0 h 1085"/>
                  <a:gd name="connsiteX1" fmla="*/ 4681 w 5810"/>
                  <a:gd name="connsiteY1" fmla="*/ 0 h 1085"/>
                  <a:gd name="connsiteX2" fmla="*/ 4710 w 5810"/>
                  <a:gd name="connsiteY2" fmla="*/ 4 h 1085"/>
                  <a:gd name="connsiteX3" fmla="*/ 4741 w 5810"/>
                  <a:gd name="connsiteY3" fmla="*/ 13 h 1085"/>
                  <a:gd name="connsiteX4" fmla="*/ 4778 w 5810"/>
                  <a:gd name="connsiteY4" fmla="*/ 23 h 1085"/>
                  <a:gd name="connsiteX5" fmla="*/ 4819 w 5810"/>
                  <a:gd name="connsiteY5" fmla="*/ 39 h 1085"/>
                  <a:gd name="connsiteX6" fmla="*/ 4863 w 5810"/>
                  <a:gd name="connsiteY6" fmla="*/ 60 h 1085"/>
                  <a:gd name="connsiteX7" fmla="*/ 4910 w 5810"/>
                  <a:gd name="connsiteY7" fmla="*/ 89 h 1085"/>
                  <a:gd name="connsiteX8" fmla="*/ 4960 w 5810"/>
                  <a:gd name="connsiteY8" fmla="*/ 124 h 1085"/>
                  <a:gd name="connsiteX9" fmla="*/ 5009 w 5810"/>
                  <a:gd name="connsiteY9" fmla="*/ 170 h 1085"/>
                  <a:gd name="connsiteX10" fmla="*/ 5061 w 5810"/>
                  <a:gd name="connsiteY10" fmla="*/ 224 h 1085"/>
                  <a:gd name="connsiteX11" fmla="*/ 5112 w 5810"/>
                  <a:gd name="connsiteY11" fmla="*/ 286 h 1085"/>
                  <a:gd name="connsiteX12" fmla="*/ 5164 w 5810"/>
                  <a:gd name="connsiteY12" fmla="*/ 361 h 1085"/>
                  <a:gd name="connsiteX13" fmla="*/ 5216 w 5810"/>
                  <a:gd name="connsiteY13" fmla="*/ 448 h 1085"/>
                  <a:gd name="connsiteX14" fmla="*/ 5267 w 5810"/>
                  <a:gd name="connsiteY14" fmla="*/ 548 h 1085"/>
                  <a:gd name="connsiteX15" fmla="*/ 5313 w 5810"/>
                  <a:gd name="connsiteY15" fmla="*/ 633 h 1085"/>
                  <a:gd name="connsiteX16" fmla="*/ 5358 w 5810"/>
                  <a:gd name="connsiteY16" fmla="*/ 707 h 1085"/>
                  <a:gd name="connsiteX17" fmla="*/ 5408 w 5810"/>
                  <a:gd name="connsiteY17" fmla="*/ 769 h 1085"/>
                  <a:gd name="connsiteX18" fmla="*/ 5455 w 5810"/>
                  <a:gd name="connsiteY18" fmla="*/ 821 h 1085"/>
                  <a:gd name="connsiteX19" fmla="*/ 5503 w 5810"/>
                  <a:gd name="connsiteY19" fmla="*/ 865 h 1085"/>
                  <a:gd name="connsiteX20" fmla="*/ 5550 w 5810"/>
                  <a:gd name="connsiteY20" fmla="*/ 900 h 1085"/>
                  <a:gd name="connsiteX21" fmla="*/ 5593 w 5810"/>
                  <a:gd name="connsiteY21" fmla="*/ 927 h 1085"/>
                  <a:gd name="connsiteX22" fmla="*/ 5637 w 5810"/>
                  <a:gd name="connsiteY22" fmla="*/ 948 h 1085"/>
                  <a:gd name="connsiteX23" fmla="*/ 5676 w 5810"/>
                  <a:gd name="connsiteY23" fmla="*/ 962 h 1085"/>
                  <a:gd name="connsiteX24" fmla="*/ 5711 w 5810"/>
                  <a:gd name="connsiteY24" fmla="*/ 973 h 1085"/>
                  <a:gd name="connsiteX25" fmla="*/ 5742 w 5810"/>
                  <a:gd name="connsiteY25" fmla="*/ 981 h 1085"/>
                  <a:gd name="connsiteX26" fmla="*/ 5767 w 5810"/>
                  <a:gd name="connsiteY26" fmla="*/ 983 h 1085"/>
                  <a:gd name="connsiteX27" fmla="*/ 5785 w 5810"/>
                  <a:gd name="connsiteY27" fmla="*/ 985 h 1085"/>
                  <a:gd name="connsiteX28" fmla="*/ 5802 w 5810"/>
                  <a:gd name="connsiteY28" fmla="*/ 985 h 1085"/>
                  <a:gd name="connsiteX29" fmla="*/ 5810 w 5810"/>
                  <a:gd name="connsiteY29" fmla="*/ 1072 h 1085"/>
                  <a:gd name="connsiteX30" fmla="*/ 5717 w 5810"/>
                  <a:gd name="connsiteY30" fmla="*/ 1064 h 1085"/>
                  <a:gd name="connsiteX31" fmla="*/ 5639 w 5810"/>
                  <a:gd name="connsiteY31" fmla="*/ 1043 h 1085"/>
                  <a:gd name="connsiteX32" fmla="*/ 5546 w 5810"/>
                  <a:gd name="connsiteY32" fmla="*/ 1002 h 1085"/>
                  <a:gd name="connsiteX33" fmla="*/ 5496 w 5810"/>
                  <a:gd name="connsiteY33" fmla="*/ 971 h 1085"/>
                  <a:gd name="connsiteX34" fmla="*/ 5339 w 5810"/>
                  <a:gd name="connsiteY34" fmla="*/ 825 h 1085"/>
                  <a:gd name="connsiteX35" fmla="*/ 5288 w 5810"/>
                  <a:gd name="connsiteY35" fmla="*/ 757 h 1085"/>
                  <a:gd name="connsiteX36" fmla="*/ 5238 w 5810"/>
                  <a:gd name="connsiteY36" fmla="*/ 676 h 1085"/>
                  <a:gd name="connsiteX37" fmla="*/ 5191 w 5810"/>
                  <a:gd name="connsiteY37" fmla="*/ 585 h 1085"/>
                  <a:gd name="connsiteX38" fmla="*/ 5141 w 5810"/>
                  <a:gd name="connsiteY38" fmla="*/ 489 h 1085"/>
                  <a:gd name="connsiteX39" fmla="*/ 5092 w 5810"/>
                  <a:gd name="connsiteY39" fmla="*/ 407 h 1085"/>
                  <a:gd name="connsiteX40" fmla="*/ 5042 w 5810"/>
                  <a:gd name="connsiteY40" fmla="*/ 336 h 1085"/>
                  <a:gd name="connsiteX41" fmla="*/ 4993 w 5810"/>
                  <a:gd name="connsiteY41" fmla="*/ 276 h 1085"/>
                  <a:gd name="connsiteX42" fmla="*/ 4945 w 5810"/>
                  <a:gd name="connsiteY42" fmla="*/ 228 h 1085"/>
                  <a:gd name="connsiteX43" fmla="*/ 4900 w 5810"/>
                  <a:gd name="connsiteY43" fmla="*/ 189 h 1085"/>
                  <a:gd name="connsiteX44" fmla="*/ 4858 w 5810"/>
                  <a:gd name="connsiteY44" fmla="*/ 158 h 1085"/>
                  <a:gd name="connsiteX45" fmla="*/ 4819 w 5810"/>
                  <a:gd name="connsiteY45" fmla="*/ 135 h 1085"/>
                  <a:gd name="connsiteX46" fmla="*/ 4770 w 5810"/>
                  <a:gd name="connsiteY46" fmla="*/ 112 h 1085"/>
                  <a:gd name="connsiteX47" fmla="*/ 4726 w 5810"/>
                  <a:gd name="connsiteY47" fmla="*/ 98 h 1085"/>
                  <a:gd name="connsiteX48" fmla="*/ 4691 w 5810"/>
                  <a:gd name="connsiteY48" fmla="*/ 89 h 1085"/>
                  <a:gd name="connsiteX49" fmla="*/ 4662 w 5810"/>
                  <a:gd name="connsiteY49" fmla="*/ 87 h 1085"/>
                  <a:gd name="connsiteX50" fmla="*/ 4635 w 5810"/>
                  <a:gd name="connsiteY50" fmla="*/ 87 h 1085"/>
                  <a:gd name="connsiteX51" fmla="*/ 4569 w 5810"/>
                  <a:gd name="connsiteY51" fmla="*/ 93 h 1085"/>
                  <a:gd name="connsiteX52" fmla="*/ 4507 w 5810"/>
                  <a:gd name="connsiteY52" fmla="*/ 106 h 1085"/>
                  <a:gd name="connsiteX53" fmla="*/ 4452 w 5810"/>
                  <a:gd name="connsiteY53" fmla="*/ 127 h 1085"/>
                  <a:gd name="connsiteX54" fmla="*/ 4400 w 5810"/>
                  <a:gd name="connsiteY54" fmla="*/ 154 h 1085"/>
                  <a:gd name="connsiteX55" fmla="*/ 4353 w 5810"/>
                  <a:gd name="connsiteY55" fmla="*/ 187 h 1085"/>
                  <a:gd name="connsiteX56" fmla="*/ 4309 w 5810"/>
                  <a:gd name="connsiteY56" fmla="*/ 224 h 1085"/>
                  <a:gd name="connsiteX57" fmla="*/ 4270 w 5810"/>
                  <a:gd name="connsiteY57" fmla="*/ 268 h 1085"/>
                  <a:gd name="connsiteX58" fmla="*/ 4231 w 5810"/>
                  <a:gd name="connsiteY58" fmla="*/ 313 h 1085"/>
                  <a:gd name="connsiteX59" fmla="*/ 4196 w 5810"/>
                  <a:gd name="connsiteY59" fmla="*/ 363 h 1085"/>
                  <a:gd name="connsiteX60" fmla="*/ 4163 w 5810"/>
                  <a:gd name="connsiteY60" fmla="*/ 415 h 1085"/>
                  <a:gd name="connsiteX61" fmla="*/ 4101 w 5810"/>
                  <a:gd name="connsiteY61" fmla="*/ 523 h 1085"/>
                  <a:gd name="connsiteX62" fmla="*/ 4008 w 5810"/>
                  <a:gd name="connsiteY62" fmla="*/ 691 h 1085"/>
                  <a:gd name="connsiteX63" fmla="*/ 3975 w 5810"/>
                  <a:gd name="connsiteY63" fmla="*/ 747 h 1085"/>
                  <a:gd name="connsiteX64" fmla="*/ 3940 w 5810"/>
                  <a:gd name="connsiteY64" fmla="*/ 798 h 1085"/>
                  <a:gd name="connsiteX65" fmla="*/ 3905 w 5810"/>
                  <a:gd name="connsiteY65" fmla="*/ 848 h 1085"/>
                  <a:gd name="connsiteX66" fmla="*/ 3865 w 5810"/>
                  <a:gd name="connsiteY66" fmla="*/ 894 h 1085"/>
                  <a:gd name="connsiteX67" fmla="*/ 3824 w 5810"/>
                  <a:gd name="connsiteY67" fmla="*/ 935 h 1085"/>
                  <a:gd name="connsiteX68" fmla="*/ 3779 w 5810"/>
                  <a:gd name="connsiteY68" fmla="*/ 971 h 1085"/>
                  <a:gd name="connsiteX69" fmla="*/ 3729 w 5810"/>
                  <a:gd name="connsiteY69" fmla="*/ 1000 h 1085"/>
                  <a:gd name="connsiteX70" fmla="*/ 3677 w 5810"/>
                  <a:gd name="connsiteY70" fmla="*/ 1022 h 1085"/>
                  <a:gd name="connsiteX71" fmla="*/ 3620 w 5810"/>
                  <a:gd name="connsiteY71" fmla="*/ 1037 h 1085"/>
                  <a:gd name="connsiteX72" fmla="*/ 3556 w 5810"/>
                  <a:gd name="connsiteY72" fmla="*/ 1043 h 1085"/>
                  <a:gd name="connsiteX73" fmla="*/ 3547 w 5810"/>
                  <a:gd name="connsiteY73" fmla="*/ 1043 h 1085"/>
                  <a:gd name="connsiteX74" fmla="*/ 3485 w 5810"/>
                  <a:gd name="connsiteY74" fmla="*/ 1039 h 1085"/>
                  <a:gd name="connsiteX75" fmla="*/ 3426 w 5810"/>
                  <a:gd name="connsiteY75" fmla="*/ 1025 h 1085"/>
                  <a:gd name="connsiteX76" fmla="*/ 3372 w 5810"/>
                  <a:gd name="connsiteY76" fmla="*/ 1002 h 1085"/>
                  <a:gd name="connsiteX77" fmla="*/ 3320 w 5810"/>
                  <a:gd name="connsiteY77" fmla="*/ 973 h 1085"/>
                  <a:gd name="connsiteX78" fmla="*/ 3273 w 5810"/>
                  <a:gd name="connsiteY78" fmla="*/ 935 h 1085"/>
                  <a:gd name="connsiteX79" fmla="*/ 3229 w 5810"/>
                  <a:gd name="connsiteY79" fmla="*/ 894 h 1085"/>
                  <a:gd name="connsiteX80" fmla="*/ 3186 w 5810"/>
                  <a:gd name="connsiteY80" fmla="*/ 846 h 1085"/>
                  <a:gd name="connsiteX81" fmla="*/ 3147 w 5810"/>
                  <a:gd name="connsiteY81" fmla="*/ 796 h 1085"/>
                  <a:gd name="connsiteX82" fmla="*/ 3108 w 5810"/>
                  <a:gd name="connsiteY82" fmla="*/ 740 h 1085"/>
                  <a:gd name="connsiteX83" fmla="*/ 3070 w 5810"/>
                  <a:gd name="connsiteY83" fmla="*/ 684 h 1085"/>
                  <a:gd name="connsiteX84" fmla="*/ 2965 w 5810"/>
                  <a:gd name="connsiteY84" fmla="*/ 510 h 1085"/>
                  <a:gd name="connsiteX85" fmla="*/ 2928 w 5810"/>
                  <a:gd name="connsiteY85" fmla="*/ 452 h 1085"/>
                  <a:gd name="connsiteX86" fmla="*/ 2891 w 5810"/>
                  <a:gd name="connsiteY86" fmla="*/ 396 h 1085"/>
                  <a:gd name="connsiteX87" fmla="*/ 2854 w 5810"/>
                  <a:gd name="connsiteY87" fmla="*/ 342 h 1085"/>
                  <a:gd name="connsiteX88" fmla="*/ 2814 w 5810"/>
                  <a:gd name="connsiteY88" fmla="*/ 292 h 1085"/>
                  <a:gd name="connsiteX89" fmla="*/ 2773 w 5810"/>
                  <a:gd name="connsiteY89" fmla="*/ 247 h 1085"/>
                  <a:gd name="connsiteX90" fmla="*/ 2732 w 5810"/>
                  <a:gd name="connsiteY90" fmla="*/ 205 h 1085"/>
                  <a:gd name="connsiteX91" fmla="*/ 2686 w 5810"/>
                  <a:gd name="connsiteY91" fmla="*/ 168 h 1085"/>
                  <a:gd name="connsiteX92" fmla="*/ 2639 w 5810"/>
                  <a:gd name="connsiteY92" fmla="*/ 139 h 1085"/>
                  <a:gd name="connsiteX93" fmla="*/ 2587 w 5810"/>
                  <a:gd name="connsiteY93" fmla="*/ 116 h 1085"/>
                  <a:gd name="connsiteX94" fmla="*/ 2532 w 5810"/>
                  <a:gd name="connsiteY94" fmla="*/ 100 h 1085"/>
                  <a:gd name="connsiteX95" fmla="*/ 2474 w 5810"/>
                  <a:gd name="connsiteY95" fmla="*/ 91 h 1085"/>
                  <a:gd name="connsiteX96" fmla="*/ 2410 w 5810"/>
                  <a:gd name="connsiteY96" fmla="*/ 93 h 1085"/>
                  <a:gd name="connsiteX97" fmla="*/ 2342 w 5810"/>
                  <a:gd name="connsiteY97" fmla="*/ 104 h 1085"/>
                  <a:gd name="connsiteX98" fmla="*/ 2280 w 5810"/>
                  <a:gd name="connsiteY98" fmla="*/ 122 h 1085"/>
                  <a:gd name="connsiteX99" fmla="*/ 2222 w 5810"/>
                  <a:gd name="connsiteY99" fmla="*/ 147 h 1085"/>
                  <a:gd name="connsiteX100" fmla="*/ 2168 w 5810"/>
                  <a:gd name="connsiteY100" fmla="*/ 180 h 1085"/>
                  <a:gd name="connsiteX101" fmla="*/ 2117 w 5810"/>
                  <a:gd name="connsiteY101" fmla="*/ 218 h 1085"/>
                  <a:gd name="connsiteX102" fmla="*/ 2071 w 5810"/>
                  <a:gd name="connsiteY102" fmla="*/ 261 h 1085"/>
                  <a:gd name="connsiteX103" fmla="*/ 2026 w 5810"/>
                  <a:gd name="connsiteY103" fmla="*/ 307 h 1085"/>
                  <a:gd name="connsiteX104" fmla="*/ 1984 w 5810"/>
                  <a:gd name="connsiteY104" fmla="*/ 359 h 1085"/>
                  <a:gd name="connsiteX105" fmla="*/ 1945 w 5810"/>
                  <a:gd name="connsiteY105" fmla="*/ 413 h 1085"/>
                  <a:gd name="connsiteX106" fmla="*/ 1908 w 5810"/>
                  <a:gd name="connsiteY106" fmla="*/ 467 h 1085"/>
                  <a:gd name="connsiteX107" fmla="*/ 1871 w 5810"/>
                  <a:gd name="connsiteY107" fmla="*/ 523 h 1085"/>
                  <a:gd name="connsiteX108" fmla="*/ 1834 w 5810"/>
                  <a:gd name="connsiteY108" fmla="*/ 581 h 1085"/>
                  <a:gd name="connsiteX109" fmla="*/ 1799 w 5810"/>
                  <a:gd name="connsiteY109" fmla="*/ 637 h 1085"/>
                  <a:gd name="connsiteX110" fmla="*/ 1724 w 5810"/>
                  <a:gd name="connsiteY110" fmla="*/ 749 h 1085"/>
                  <a:gd name="connsiteX111" fmla="*/ 1685 w 5810"/>
                  <a:gd name="connsiteY111" fmla="*/ 801 h 1085"/>
                  <a:gd name="connsiteX112" fmla="*/ 1644 w 5810"/>
                  <a:gd name="connsiteY112" fmla="*/ 850 h 1085"/>
                  <a:gd name="connsiteX113" fmla="*/ 1600 w 5810"/>
                  <a:gd name="connsiteY113" fmla="*/ 896 h 1085"/>
                  <a:gd name="connsiteX114" fmla="*/ 1553 w 5810"/>
                  <a:gd name="connsiteY114" fmla="*/ 937 h 1085"/>
                  <a:gd name="connsiteX115" fmla="*/ 1503 w 5810"/>
                  <a:gd name="connsiteY115" fmla="*/ 973 h 1085"/>
                  <a:gd name="connsiteX116" fmla="*/ 1450 w 5810"/>
                  <a:gd name="connsiteY116" fmla="*/ 1002 h 1085"/>
                  <a:gd name="connsiteX117" fmla="*/ 1394 w 5810"/>
                  <a:gd name="connsiteY117" fmla="*/ 1025 h 1085"/>
                  <a:gd name="connsiteX118" fmla="*/ 1330 w 5810"/>
                  <a:gd name="connsiteY118" fmla="*/ 1037 h 1085"/>
                  <a:gd name="connsiteX119" fmla="*/ 1264 w 5810"/>
                  <a:gd name="connsiteY119" fmla="*/ 1043 h 1085"/>
                  <a:gd name="connsiteX120" fmla="*/ 1258 w 5810"/>
                  <a:gd name="connsiteY120" fmla="*/ 1043 h 1085"/>
                  <a:gd name="connsiteX121" fmla="*/ 1190 w 5810"/>
                  <a:gd name="connsiteY121" fmla="*/ 1039 h 1085"/>
                  <a:gd name="connsiteX122" fmla="*/ 1128 w 5810"/>
                  <a:gd name="connsiteY122" fmla="*/ 1027 h 1085"/>
                  <a:gd name="connsiteX123" fmla="*/ 1070 w 5810"/>
                  <a:gd name="connsiteY123" fmla="*/ 1008 h 1085"/>
                  <a:gd name="connsiteX124" fmla="*/ 1018 w 5810"/>
                  <a:gd name="connsiteY124" fmla="*/ 983 h 1085"/>
                  <a:gd name="connsiteX125" fmla="*/ 971 w 5810"/>
                  <a:gd name="connsiteY125" fmla="*/ 952 h 1085"/>
                  <a:gd name="connsiteX126" fmla="*/ 925 w 5810"/>
                  <a:gd name="connsiteY126" fmla="*/ 915 h 1085"/>
                  <a:gd name="connsiteX127" fmla="*/ 884 w 5810"/>
                  <a:gd name="connsiteY127" fmla="*/ 873 h 1085"/>
                  <a:gd name="connsiteX128" fmla="*/ 847 w 5810"/>
                  <a:gd name="connsiteY128" fmla="*/ 828 h 1085"/>
                  <a:gd name="connsiteX129" fmla="*/ 810 w 5810"/>
                  <a:gd name="connsiteY129" fmla="*/ 780 h 1085"/>
                  <a:gd name="connsiteX130" fmla="*/ 777 w 5810"/>
                  <a:gd name="connsiteY130" fmla="*/ 728 h 1085"/>
                  <a:gd name="connsiteX131" fmla="*/ 742 w 5810"/>
                  <a:gd name="connsiteY131" fmla="*/ 674 h 1085"/>
                  <a:gd name="connsiteX132" fmla="*/ 711 w 5810"/>
                  <a:gd name="connsiteY132" fmla="*/ 618 h 1085"/>
                  <a:gd name="connsiteX133" fmla="*/ 678 w 5810"/>
                  <a:gd name="connsiteY133" fmla="*/ 560 h 1085"/>
                  <a:gd name="connsiteX134" fmla="*/ 616 w 5810"/>
                  <a:gd name="connsiteY134" fmla="*/ 448 h 1085"/>
                  <a:gd name="connsiteX135" fmla="*/ 547 w 5810"/>
                  <a:gd name="connsiteY135" fmla="*/ 340 h 1085"/>
                  <a:gd name="connsiteX136" fmla="*/ 504 w 5810"/>
                  <a:gd name="connsiteY136" fmla="*/ 284 h 1085"/>
                  <a:gd name="connsiteX137" fmla="*/ 457 w 5810"/>
                  <a:gd name="connsiteY137" fmla="*/ 239 h 1085"/>
                  <a:gd name="connsiteX138" fmla="*/ 409 w 5810"/>
                  <a:gd name="connsiteY138" fmla="*/ 199 h 1085"/>
                  <a:gd name="connsiteX139" fmla="*/ 358 w 5810"/>
                  <a:gd name="connsiteY139" fmla="*/ 168 h 1085"/>
                  <a:gd name="connsiteX140" fmla="*/ 308 w 5810"/>
                  <a:gd name="connsiteY140" fmla="*/ 145 h 1085"/>
                  <a:gd name="connsiteX141" fmla="*/ 256 w 5810"/>
                  <a:gd name="connsiteY141" fmla="*/ 127 h 1085"/>
                  <a:gd name="connsiteX142" fmla="*/ 209 w 5810"/>
                  <a:gd name="connsiteY142" fmla="*/ 112 h 1085"/>
                  <a:gd name="connsiteX143" fmla="*/ 163 w 5810"/>
                  <a:gd name="connsiteY143" fmla="*/ 104 h 1085"/>
                  <a:gd name="connsiteX144" fmla="*/ 122 w 5810"/>
                  <a:gd name="connsiteY144" fmla="*/ 100 h 1085"/>
                  <a:gd name="connsiteX145" fmla="*/ 85 w 5810"/>
                  <a:gd name="connsiteY145" fmla="*/ 95 h 1085"/>
                  <a:gd name="connsiteX146" fmla="*/ 31 w 5810"/>
                  <a:gd name="connsiteY146" fmla="*/ 95 h 1085"/>
                  <a:gd name="connsiteX147" fmla="*/ 17 w 5810"/>
                  <a:gd name="connsiteY147" fmla="*/ 98 h 1085"/>
                  <a:gd name="connsiteX148" fmla="*/ 11 w 5810"/>
                  <a:gd name="connsiteY148" fmla="*/ 98 h 1085"/>
                  <a:gd name="connsiteX149" fmla="*/ 0 w 5810"/>
                  <a:gd name="connsiteY149" fmla="*/ 13 h 1085"/>
                  <a:gd name="connsiteX150" fmla="*/ 9 w 5810"/>
                  <a:gd name="connsiteY150" fmla="*/ 13 h 1085"/>
                  <a:gd name="connsiteX151" fmla="*/ 29 w 5810"/>
                  <a:gd name="connsiteY151" fmla="*/ 10 h 1085"/>
                  <a:gd name="connsiteX152" fmla="*/ 91 w 5810"/>
                  <a:gd name="connsiteY152" fmla="*/ 10 h 1085"/>
                  <a:gd name="connsiteX153" fmla="*/ 135 w 5810"/>
                  <a:gd name="connsiteY153" fmla="*/ 13 h 1085"/>
                  <a:gd name="connsiteX154" fmla="*/ 182 w 5810"/>
                  <a:gd name="connsiteY154" fmla="*/ 19 h 1085"/>
                  <a:gd name="connsiteX155" fmla="*/ 234 w 5810"/>
                  <a:gd name="connsiteY155" fmla="*/ 29 h 1085"/>
                  <a:gd name="connsiteX156" fmla="*/ 287 w 5810"/>
                  <a:gd name="connsiteY156" fmla="*/ 46 h 1085"/>
                  <a:gd name="connsiteX157" fmla="*/ 345 w 5810"/>
                  <a:gd name="connsiteY157" fmla="*/ 66 h 1085"/>
                  <a:gd name="connsiteX158" fmla="*/ 403 w 5810"/>
                  <a:gd name="connsiteY158" fmla="*/ 93 h 1085"/>
                  <a:gd name="connsiteX159" fmla="*/ 459 w 5810"/>
                  <a:gd name="connsiteY159" fmla="*/ 131 h 1085"/>
                  <a:gd name="connsiteX160" fmla="*/ 514 w 5810"/>
                  <a:gd name="connsiteY160" fmla="*/ 174 h 1085"/>
                  <a:gd name="connsiteX161" fmla="*/ 568 w 5810"/>
                  <a:gd name="connsiteY161" fmla="*/ 228 h 1085"/>
                  <a:gd name="connsiteX162" fmla="*/ 618 w 5810"/>
                  <a:gd name="connsiteY162" fmla="*/ 292 h 1085"/>
                  <a:gd name="connsiteX163" fmla="*/ 667 w 5810"/>
                  <a:gd name="connsiteY163" fmla="*/ 367 h 1085"/>
                  <a:gd name="connsiteX164" fmla="*/ 754 w 5810"/>
                  <a:gd name="connsiteY164" fmla="*/ 516 h 1085"/>
                  <a:gd name="connsiteX165" fmla="*/ 787 w 5810"/>
                  <a:gd name="connsiteY165" fmla="*/ 575 h 1085"/>
                  <a:gd name="connsiteX166" fmla="*/ 820 w 5810"/>
                  <a:gd name="connsiteY166" fmla="*/ 631 h 1085"/>
                  <a:gd name="connsiteX167" fmla="*/ 853 w 5810"/>
                  <a:gd name="connsiteY167" fmla="*/ 684 h 1085"/>
                  <a:gd name="connsiteX168" fmla="*/ 886 w 5810"/>
                  <a:gd name="connsiteY168" fmla="*/ 736 h 1085"/>
                  <a:gd name="connsiteX169" fmla="*/ 921 w 5810"/>
                  <a:gd name="connsiteY169" fmla="*/ 782 h 1085"/>
                  <a:gd name="connsiteX170" fmla="*/ 958 w 5810"/>
                  <a:gd name="connsiteY170" fmla="*/ 825 h 1085"/>
                  <a:gd name="connsiteX171" fmla="*/ 1000 w 5810"/>
                  <a:gd name="connsiteY171" fmla="*/ 863 h 1085"/>
                  <a:gd name="connsiteX172" fmla="*/ 1043 w 5810"/>
                  <a:gd name="connsiteY172" fmla="*/ 894 h 1085"/>
                  <a:gd name="connsiteX173" fmla="*/ 1090 w 5810"/>
                  <a:gd name="connsiteY173" fmla="*/ 921 h 1085"/>
                  <a:gd name="connsiteX174" fmla="*/ 1140 w 5810"/>
                  <a:gd name="connsiteY174" fmla="*/ 939 h 1085"/>
                  <a:gd name="connsiteX175" fmla="*/ 1196 w 5810"/>
                  <a:gd name="connsiteY175" fmla="*/ 952 h 1085"/>
                  <a:gd name="connsiteX176" fmla="*/ 1258 w 5810"/>
                  <a:gd name="connsiteY176" fmla="*/ 956 h 1085"/>
                  <a:gd name="connsiteX177" fmla="*/ 1264 w 5810"/>
                  <a:gd name="connsiteY177" fmla="*/ 956 h 1085"/>
                  <a:gd name="connsiteX178" fmla="*/ 1324 w 5810"/>
                  <a:gd name="connsiteY178" fmla="*/ 950 h 1085"/>
                  <a:gd name="connsiteX179" fmla="*/ 1380 w 5810"/>
                  <a:gd name="connsiteY179" fmla="*/ 935 h 1085"/>
                  <a:gd name="connsiteX180" fmla="*/ 1433 w 5810"/>
                  <a:gd name="connsiteY180" fmla="*/ 913 h 1085"/>
                  <a:gd name="connsiteX181" fmla="*/ 1481 w 5810"/>
                  <a:gd name="connsiteY181" fmla="*/ 884 h 1085"/>
                  <a:gd name="connsiteX182" fmla="*/ 1526 w 5810"/>
                  <a:gd name="connsiteY182" fmla="*/ 846 h 1085"/>
                  <a:gd name="connsiteX183" fmla="*/ 1569 w 5810"/>
                  <a:gd name="connsiteY183" fmla="*/ 803 h 1085"/>
                  <a:gd name="connsiteX184" fmla="*/ 1609 w 5810"/>
                  <a:gd name="connsiteY184" fmla="*/ 755 h 1085"/>
                  <a:gd name="connsiteX185" fmla="*/ 1648 w 5810"/>
                  <a:gd name="connsiteY185" fmla="*/ 703 h 1085"/>
                  <a:gd name="connsiteX186" fmla="*/ 1687 w 5810"/>
                  <a:gd name="connsiteY186" fmla="*/ 649 h 1085"/>
                  <a:gd name="connsiteX187" fmla="*/ 1799 w 5810"/>
                  <a:gd name="connsiteY187" fmla="*/ 475 h 1085"/>
                  <a:gd name="connsiteX188" fmla="*/ 1838 w 5810"/>
                  <a:gd name="connsiteY188" fmla="*/ 415 h 1085"/>
                  <a:gd name="connsiteX189" fmla="*/ 1879 w 5810"/>
                  <a:gd name="connsiteY189" fmla="*/ 357 h 1085"/>
                  <a:gd name="connsiteX190" fmla="*/ 1923 w 5810"/>
                  <a:gd name="connsiteY190" fmla="*/ 299 h 1085"/>
                  <a:gd name="connsiteX191" fmla="*/ 1968 w 5810"/>
                  <a:gd name="connsiteY191" fmla="*/ 245 h 1085"/>
                  <a:gd name="connsiteX192" fmla="*/ 2015 w 5810"/>
                  <a:gd name="connsiteY192" fmla="*/ 193 h 1085"/>
                  <a:gd name="connsiteX193" fmla="*/ 2069 w 5810"/>
                  <a:gd name="connsiteY193" fmla="*/ 145 h 1085"/>
                  <a:gd name="connsiteX194" fmla="*/ 2125 w 5810"/>
                  <a:gd name="connsiteY194" fmla="*/ 104 h 1085"/>
                  <a:gd name="connsiteX195" fmla="*/ 2187 w 5810"/>
                  <a:gd name="connsiteY195" fmla="*/ 69 h 1085"/>
                  <a:gd name="connsiteX196" fmla="*/ 2253 w 5810"/>
                  <a:gd name="connsiteY196" fmla="*/ 39 h 1085"/>
                  <a:gd name="connsiteX197" fmla="*/ 2325 w 5810"/>
                  <a:gd name="connsiteY197" fmla="*/ 19 h 1085"/>
                  <a:gd name="connsiteX198" fmla="*/ 2404 w 5810"/>
                  <a:gd name="connsiteY198" fmla="*/ 6 h 1085"/>
                  <a:gd name="connsiteX199" fmla="*/ 2474 w 5810"/>
                  <a:gd name="connsiteY199" fmla="*/ 4 h 1085"/>
                  <a:gd name="connsiteX200" fmla="*/ 2540 w 5810"/>
                  <a:gd name="connsiteY200" fmla="*/ 13 h 1085"/>
                  <a:gd name="connsiteX201" fmla="*/ 2600 w 5810"/>
                  <a:gd name="connsiteY201" fmla="*/ 27 h 1085"/>
                  <a:gd name="connsiteX202" fmla="*/ 2658 w 5810"/>
                  <a:gd name="connsiteY202" fmla="*/ 50 h 1085"/>
                  <a:gd name="connsiteX203" fmla="*/ 2711 w 5810"/>
                  <a:gd name="connsiteY203" fmla="*/ 81 h 1085"/>
                  <a:gd name="connsiteX204" fmla="*/ 2761 w 5810"/>
                  <a:gd name="connsiteY204" fmla="*/ 116 h 1085"/>
                  <a:gd name="connsiteX205" fmla="*/ 2806 w 5810"/>
                  <a:gd name="connsiteY205" fmla="*/ 158 h 1085"/>
                  <a:gd name="connsiteX206" fmla="*/ 2852 w 5810"/>
                  <a:gd name="connsiteY206" fmla="*/ 203 h 1085"/>
                  <a:gd name="connsiteX207" fmla="*/ 2893 w 5810"/>
                  <a:gd name="connsiteY207" fmla="*/ 251 h 1085"/>
                  <a:gd name="connsiteX208" fmla="*/ 2932 w 5810"/>
                  <a:gd name="connsiteY208" fmla="*/ 303 h 1085"/>
                  <a:gd name="connsiteX209" fmla="*/ 2969 w 5810"/>
                  <a:gd name="connsiteY209" fmla="*/ 357 h 1085"/>
                  <a:gd name="connsiteX210" fmla="*/ 3004 w 5810"/>
                  <a:gd name="connsiteY210" fmla="*/ 413 h 1085"/>
                  <a:gd name="connsiteX211" fmla="*/ 3039 w 5810"/>
                  <a:gd name="connsiteY211" fmla="*/ 467 h 1085"/>
                  <a:gd name="connsiteX212" fmla="*/ 3073 w 5810"/>
                  <a:gd name="connsiteY212" fmla="*/ 523 h 1085"/>
                  <a:gd name="connsiteX213" fmla="*/ 3110 w 5810"/>
                  <a:gd name="connsiteY213" fmla="*/ 585 h 1085"/>
                  <a:gd name="connsiteX214" fmla="*/ 3147 w 5810"/>
                  <a:gd name="connsiteY214" fmla="*/ 643 h 1085"/>
                  <a:gd name="connsiteX215" fmla="*/ 3186 w 5810"/>
                  <a:gd name="connsiteY215" fmla="*/ 701 h 1085"/>
                  <a:gd name="connsiteX216" fmla="*/ 3223 w 5810"/>
                  <a:gd name="connsiteY216" fmla="*/ 755 h 1085"/>
                  <a:gd name="connsiteX217" fmla="*/ 3265 w 5810"/>
                  <a:gd name="connsiteY217" fmla="*/ 805 h 1085"/>
                  <a:gd name="connsiteX218" fmla="*/ 3306 w 5810"/>
                  <a:gd name="connsiteY218" fmla="*/ 848 h 1085"/>
                  <a:gd name="connsiteX219" fmla="*/ 3349 w 5810"/>
                  <a:gd name="connsiteY219" fmla="*/ 886 h 1085"/>
                  <a:gd name="connsiteX220" fmla="*/ 3395 w 5810"/>
                  <a:gd name="connsiteY220" fmla="*/ 917 h 1085"/>
                  <a:gd name="connsiteX221" fmla="*/ 3444 w 5810"/>
                  <a:gd name="connsiteY221" fmla="*/ 939 h 1085"/>
                  <a:gd name="connsiteX222" fmla="*/ 3498 w 5810"/>
                  <a:gd name="connsiteY222" fmla="*/ 952 h 1085"/>
                  <a:gd name="connsiteX223" fmla="*/ 3554 w 5810"/>
                  <a:gd name="connsiteY223" fmla="*/ 956 h 1085"/>
                  <a:gd name="connsiteX224" fmla="*/ 3609 w 5810"/>
                  <a:gd name="connsiteY224" fmla="*/ 950 h 1085"/>
                  <a:gd name="connsiteX225" fmla="*/ 3659 w 5810"/>
                  <a:gd name="connsiteY225" fmla="*/ 935 h 1085"/>
                  <a:gd name="connsiteX226" fmla="*/ 3706 w 5810"/>
                  <a:gd name="connsiteY226" fmla="*/ 915 h 1085"/>
                  <a:gd name="connsiteX227" fmla="*/ 3750 w 5810"/>
                  <a:gd name="connsiteY227" fmla="*/ 884 h 1085"/>
                  <a:gd name="connsiteX228" fmla="*/ 3789 w 5810"/>
                  <a:gd name="connsiteY228" fmla="*/ 848 h 1085"/>
                  <a:gd name="connsiteX229" fmla="*/ 3826 w 5810"/>
                  <a:gd name="connsiteY229" fmla="*/ 807 h 1085"/>
                  <a:gd name="connsiteX230" fmla="*/ 3861 w 5810"/>
                  <a:gd name="connsiteY230" fmla="*/ 759 h 1085"/>
                  <a:gd name="connsiteX231" fmla="*/ 3894 w 5810"/>
                  <a:gd name="connsiteY231" fmla="*/ 709 h 1085"/>
                  <a:gd name="connsiteX232" fmla="*/ 3927 w 5810"/>
                  <a:gd name="connsiteY232" fmla="*/ 655 h 1085"/>
                  <a:gd name="connsiteX233" fmla="*/ 3960 w 5810"/>
                  <a:gd name="connsiteY233" fmla="*/ 597 h 1085"/>
                  <a:gd name="connsiteX234" fmla="*/ 3993 w 5810"/>
                  <a:gd name="connsiteY234" fmla="*/ 537 h 1085"/>
                  <a:gd name="connsiteX235" fmla="*/ 4022 w 5810"/>
                  <a:gd name="connsiteY235" fmla="*/ 483 h 1085"/>
                  <a:gd name="connsiteX236" fmla="*/ 4084 w 5810"/>
                  <a:gd name="connsiteY236" fmla="*/ 375 h 1085"/>
                  <a:gd name="connsiteX237" fmla="*/ 4154 w 5810"/>
                  <a:gd name="connsiteY237" fmla="*/ 272 h 1085"/>
                  <a:gd name="connsiteX238" fmla="*/ 4192 w 5810"/>
                  <a:gd name="connsiteY238" fmla="*/ 224 h 1085"/>
                  <a:gd name="connsiteX239" fmla="*/ 4233 w 5810"/>
                  <a:gd name="connsiteY239" fmla="*/ 178 h 1085"/>
                  <a:gd name="connsiteX240" fmla="*/ 4276 w 5810"/>
                  <a:gd name="connsiteY240" fmla="*/ 137 h 1085"/>
                  <a:gd name="connsiteX241" fmla="*/ 4324 w 5810"/>
                  <a:gd name="connsiteY241" fmla="*/ 100 h 1085"/>
                  <a:gd name="connsiteX242" fmla="*/ 4375 w 5810"/>
                  <a:gd name="connsiteY242" fmla="*/ 66 h 1085"/>
                  <a:gd name="connsiteX243" fmla="*/ 4433 w 5810"/>
                  <a:gd name="connsiteY243" fmla="*/ 39 h 1085"/>
                  <a:gd name="connsiteX244" fmla="*/ 4493 w 5810"/>
                  <a:gd name="connsiteY244" fmla="*/ 19 h 1085"/>
                  <a:gd name="connsiteX245" fmla="*/ 4559 w 5810"/>
                  <a:gd name="connsiteY245" fmla="*/ 6 h 1085"/>
                  <a:gd name="connsiteX246" fmla="*/ 4631 w 5810"/>
                  <a:gd name="connsiteY246" fmla="*/ 0 h 1085"/>
                  <a:gd name="connsiteX0" fmla="*/ 4631 w 5810"/>
                  <a:gd name="connsiteY0" fmla="*/ 0 h 1085"/>
                  <a:gd name="connsiteX1" fmla="*/ 4681 w 5810"/>
                  <a:gd name="connsiteY1" fmla="*/ 0 h 1085"/>
                  <a:gd name="connsiteX2" fmla="*/ 4710 w 5810"/>
                  <a:gd name="connsiteY2" fmla="*/ 4 h 1085"/>
                  <a:gd name="connsiteX3" fmla="*/ 4741 w 5810"/>
                  <a:gd name="connsiteY3" fmla="*/ 13 h 1085"/>
                  <a:gd name="connsiteX4" fmla="*/ 4778 w 5810"/>
                  <a:gd name="connsiteY4" fmla="*/ 23 h 1085"/>
                  <a:gd name="connsiteX5" fmla="*/ 4819 w 5810"/>
                  <a:gd name="connsiteY5" fmla="*/ 39 h 1085"/>
                  <a:gd name="connsiteX6" fmla="*/ 4863 w 5810"/>
                  <a:gd name="connsiteY6" fmla="*/ 60 h 1085"/>
                  <a:gd name="connsiteX7" fmla="*/ 4910 w 5810"/>
                  <a:gd name="connsiteY7" fmla="*/ 89 h 1085"/>
                  <a:gd name="connsiteX8" fmla="*/ 4960 w 5810"/>
                  <a:gd name="connsiteY8" fmla="*/ 124 h 1085"/>
                  <a:gd name="connsiteX9" fmla="*/ 5009 w 5810"/>
                  <a:gd name="connsiteY9" fmla="*/ 170 h 1085"/>
                  <a:gd name="connsiteX10" fmla="*/ 5061 w 5810"/>
                  <a:gd name="connsiteY10" fmla="*/ 224 h 1085"/>
                  <a:gd name="connsiteX11" fmla="*/ 5112 w 5810"/>
                  <a:gd name="connsiteY11" fmla="*/ 286 h 1085"/>
                  <a:gd name="connsiteX12" fmla="*/ 5164 w 5810"/>
                  <a:gd name="connsiteY12" fmla="*/ 361 h 1085"/>
                  <a:gd name="connsiteX13" fmla="*/ 5216 w 5810"/>
                  <a:gd name="connsiteY13" fmla="*/ 448 h 1085"/>
                  <a:gd name="connsiteX14" fmla="*/ 5267 w 5810"/>
                  <a:gd name="connsiteY14" fmla="*/ 548 h 1085"/>
                  <a:gd name="connsiteX15" fmla="*/ 5313 w 5810"/>
                  <a:gd name="connsiteY15" fmla="*/ 633 h 1085"/>
                  <a:gd name="connsiteX16" fmla="*/ 5358 w 5810"/>
                  <a:gd name="connsiteY16" fmla="*/ 707 h 1085"/>
                  <a:gd name="connsiteX17" fmla="*/ 5408 w 5810"/>
                  <a:gd name="connsiteY17" fmla="*/ 769 h 1085"/>
                  <a:gd name="connsiteX18" fmla="*/ 5455 w 5810"/>
                  <a:gd name="connsiteY18" fmla="*/ 821 h 1085"/>
                  <a:gd name="connsiteX19" fmla="*/ 5503 w 5810"/>
                  <a:gd name="connsiteY19" fmla="*/ 865 h 1085"/>
                  <a:gd name="connsiteX20" fmla="*/ 5550 w 5810"/>
                  <a:gd name="connsiteY20" fmla="*/ 900 h 1085"/>
                  <a:gd name="connsiteX21" fmla="*/ 5593 w 5810"/>
                  <a:gd name="connsiteY21" fmla="*/ 927 h 1085"/>
                  <a:gd name="connsiteX22" fmla="*/ 5637 w 5810"/>
                  <a:gd name="connsiteY22" fmla="*/ 948 h 1085"/>
                  <a:gd name="connsiteX23" fmla="*/ 5676 w 5810"/>
                  <a:gd name="connsiteY23" fmla="*/ 962 h 1085"/>
                  <a:gd name="connsiteX24" fmla="*/ 5711 w 5810"/>
                  <a:gd name="connsiteY24" fmla="*/ 973 h 1085"/>
                  <a:gd name="connsiteX25" fmla="*/ 5742 w 5810"/>
                  <a:gd name="connsiteY25" fmla="*/ 981 h 1085"/>
                  <a:gd name="connsiteX26" fmla="*/ 5767 w 5810"/>
                  <a:gd name="connsiteY26" fmla="*/ 983 h 1085"/>
                  <a:gd name="connsiteX27" fmla="*/ 5785 w 5810"/>
                  <a:gd name="connsiteY27" fmla="*/ 985 h 1085"/>
                  <a:gd name="connsiteX28" fmla="*/ 5802 w 5810"/>
                  <a:gd name="connsiteY28" fmla="*/ 985 h 1085"/>
                  <a:gd name="connsiteX29" fmla="*/ 5810 w 5810"/>
                  <a:gd name="connsiteY29" fmla="*/ 1072 h 1085"/>
                  <a:gd name="connsiteX30" fmla="*/ 5717 w 5810"/>
                  <a:gd name="connsiteY30" fmla="*/ 1064 h 1085"/>
                  <a:gd name="connsiteX31" fmla="*/ 5639 w 5810"/>
                  <a:gd name="connsiteY31" fmla="*/ 1043 h 1085"/>
                  <a:gd name="connsiteX32" fmla="*/ 5546 w 5810"/>
                  <a:gd name="connsiteY32" fmla="*/ 1002 h 1085"/>
                  <a:gd name="connsiteX33" fmla="*/ 5496 w 5810"/>
                  <a:gd name="connsiteY33" fmla="*/ 971 h 1085"/>
                  <a:gd name="connsiteX34" fmla="*/ 5288 w 5810"/>
                  <a:gd name="connsiteY34" fmla="*/ 757 h 1085"/>
                  <a:gd name="connsiteX35" fmla="*/ 5238 w 5810"/>
                  <a:gd name="connsiteY35" fmla="*/ 676 h 1085"/>
                  <a:gd name="connsiteX36" fmla="*/ 5191 w 5810"/>
                  <a:gd name="connsiteY36" fmla="*/ 585 h 1085"/>
                  <a:gd name="connsiteX37" fmla="*/ 5141 w 5810"/>
                  <a:gd name="connsiteY37" fmla="*/ 489 h 1085"/>
                  <a:gd name="connsiteX38" fmla="*/ 5092 w 5810"/>
                  <a:gd name="connsiteY38" fmla="*/ 407 h 1085"/>
                  <a:gd name="connsiteX39" fmla="*/ 5042 w 5810"/>
                  <a:gd name="connsiteY39" fmla="*/ 336 h 1085"/>
                  <a:gd name="connsiteX40" fmla="*/ 4993 w 5810"/>
                  <a:gd name="connsiteY40" fmla="*/ 276 h 1085"/>
                  <a:gd name="connsiteX41" fmla="*/ 4945 w 5810"/>
                  <a:gd name="connsiteY41" fmla="*/ 228 h 1085"/>
                  <a:gd name="connsiteX42" fmla="*/ 4900 w 5810"/>
                  <a:gd name="connsiteY42" fmla="*/ 189 h 1085"/>
                  <a:gd name="connsiteX43" fmla="*/ 4858 w 5810"/>
                  <a:gd name="connsiteY43" fmla="*/ 158 h 1085"/>
                  <a:gd name="connsiteX44" fmla="*/ 4819 w 5810"/>
                  <a:gd name="connsiteY44" fmla="*/ 135 h 1085"/>
                  <a:gd name="connsiteX45" fmla="*/ 4770 w 5810"/>
                  <a:gd name="connsiteY45" fmla="*/ 112 h 1085"/>
                  <a:gd name="connsiteX46" fmla="*/ 4726 w 5810"/>
                  <a:gd name="connsiteY46" fmla="*/ 98 h 1085"/>
                  <a:gd name="connsiteX47" fmla="*/ 4691 w 5810"/>
                  <a:gd name="connsiteY47" fmla="*/ 89 h 1085"/>
                  <a:gd name="connsiteX48" fmla="*/ 4662 w 5810"/>
                  <a:gd name="connsiteY48" fmla="*/ 87 h 1085"/>
                  <a:gd name="connsiteX49" fmla="*/ 4635 w 5810"/>
                  <a:gd name="connsiteY49" fmla="*/ 87 h 1085"/>
                  <a:gd name="connsiteX50" fmla="*/ 4569 w 5810"/>
                  <a:gd name="connsiteY50" fmla="*/ 93 h 1085"/>
                  <a:gd name="connsiteX51" fmla="*/ 4507 w 5810"/>
                  <a:gd name="connsiteY51" fmla="*/ 106 h 1085"/>
                  <a:gd name="connsiteX52" fmla="*/ 4452 w 5810"/>
                  <a:gd name="connsiteY52" fmla="*/ 127 h 1085"/>
                  <a:gd name="connsiteX53" fmla="*/ 4400 w 5810"/>
                  <a:gd name="connsiteY53" fmla="*/ 154 h 1085"/>
                  <a:gd name="connsiteX54" fmla="*/ 4353 w 5810"/>
                  <a:gd name="connsiteY54" fmla="*/ 187 h 1085"/>
                  <a:gd name="connsiteX55" fmla="*/ 4309 w 5810"/>
                  <a:gd name="connsiteY55" fmla="*/ 224 h 1085"/>
                  <a:gd name="connsiteX56" fmla="*/ 4270 w 5810"/>
                  <a:gd name="connsiteY56" fmla="*/ 268 h 1085"/>
                  <a:gd name="connsiteX57" fmla="*/ 4231 w 5810"/>
                  <a:gd name="connsiteY57" fmla="*/ 313 h 1085"/>
                  <a:gd name="connsiteX58" fmla="*/ 4196 w 5810"/>
                  <a:gd name="connsiteY58" fmla="*/ 363 h 1085"/>
                  <a:gd name="connsiteX59" fmla="*/ 4163 w 5810"/>
                  <a:gd name="connsiteY59" fmla="*/ 415 h 1085"/>
                  <a:gd name="connsiteX60" fmla="*/ 4101 w 5810"/>
                  <a:gd name="connsiteY60" fmla="*/ 523 h 1085"/>
                  <a:gd name="connsiteX61" fmla="*/ 4008 w 5810"/>
                  <a:gd name="connsiteY61" fmla="*/ 691 h 1085"/>
                  <a:gd name="connsiteX62" fmla="*/ 3975 w 5810"/>
                  <a:gd name="connsiteY62" fmla="*/ 747 h 1085"/>
                  <a:gd name="connsiteX63" fmla="*/ 3940 w 5810"/>
                  <a:gd name="connsiteY63" fmla="*/ 798 h 1085"/>
                  <a:gd name="connsiteX64" fmla="*/ 3905 w 5810"/>
                  <a:gd name="connsiteY64" fmla="*/ 848 h 1085"/>
                  <a:gd name="connsiteX65" fmla="*/ 3865 w 5810"/>
                  <a:gd name="connsiteY65" fmla="*/ 894 h 1085"/>
                  <a:gd name="connsiteX66" fmla="*/ 3824 w 5810"/>
                  <a:gd name="connsiteY66" fmla="*/ 935 h 1085"/>
                  <a:gd name="connsiteX67" fmla="*/ 3779 w 5810"/>
                  <a:gd name="connsiteY67" fmla="*/ 971 h 1085"/>
                  <a:gd name="connsiteX68" fmla="*/ 3729 w 5810"/>
                  <a:gd name="connsiteY68" fmla="*/ 1000 h 1085"/>
                  <a:gd name="connsiteX69" fmla="*/ 3677 w 5810"/>
                  <a:gd name="connsiteY69" fmla="*/ 1022 h 1085"/>
                  <a:gd name="connsiteX70" fmla="*/ 3620 w 5810"/>
                  <a:gd name="connsiteY70" fmla="*/ 1037 h 1085"/>
                  <a:gd name="connsiteX71" fmla="*/ 3556 w 5810"/>
                  <a:gd name="connsiteY71" fmla="*/ 1043 h 1085"/>
                  <a:gd name="connsiteX72" fmla="*/ 3547 w 5810"/>
                  <a:gd name="connsiteY72" fmla="*/ 1043 h 1085"/>
                  <a:gd name="connsiteX73" fmla="*/ 3485 w 5810"/>
                  <a:gd name="connsiteY73" fmla="*/ 1039 h 1085"/>
                  <a:gd name="connsiteX74" fmla="*/ 3426 w 5810"/>
                  <a:gd name="connsiteY74" fmla="*/ 1025 h 1085"/>
                  <a:gd name="connsiteX75" fmla="*/ 3372 w 5810"/>
                  <a:gd name="connsiteY75" fmla="*/ 1002 h 1085"/>
                  <a:gd name="connsiteX76" fmla="*/ 3320 w 5810"/>
                  <a:gd name="connsiteY76" fmla="*/ 973 h 1085"/>
                  <a:gd name="connsiteX77" fmla="*/ 3273 w 5810"/>
                  <a:gd name="connsiteY77" fmla="*/ 935 h 1085"/>
                  <a:gd name="connsiteX78" fmla="*/ 3229 w 5810"/>
                  <a:gd name="connsiteY78" fmla="*/ 894 h 1085"/>
                  <a:gd name="connsiteX79" fmla="*/ 3186 w 5810"/>
                  <a:gd name="connsiteY79" fmla="*/ 846 h 1085"/>
                  <a:gd name="connsiteX80" fmla="*/ 3147 w 5810"/>
                  <a:gd name="connsiteY80" fmla="*/ 796 h 1085"/>
                  <a:gd name="connsiteX81" fmla="*/ 3108 w 5810"/>
                  <a:gd name="connsiteY81" fmla="*/ 740 h 1085"/>
                  <a:gd name="connsiteX82" fmla="*/ 3070 w 5810"/>
                  <a:gd name="connsiteY82" fmla="*/ 684 h 1085"/>
                  <a:gd name="connsiteX83" fmla="*/ 2965 w 5810"/>
                  <a:gd name="connsiteY83" fmla="*/ 510 h 1085"/>
                  <a:gd name="connsiteX84" fmla="*/ 2928 w 5810"/>
                  <a:gd name="connsiteY84" fmla="*/ 452 h 1085"/>
                  <a:gd name="connsiteX85" fmla="*/ 2891 w 5810"/>
                  <a:gd name="connsiteY85" fmla="*/ 396 h 1085"/>
                  <a:gd name="connsiteX86" fmla="*/ 2854 w 5810"/>
                  <a:gd name="connsiteY86" fmla="*/ 342 h 1085"/>
                  <a:gd name="connsiteX87" fmla="*/ 2814 w 5810"/>
                  <a:gd name="connsiteY87" fmla="*/ 292 h 1085"/>
                  <a:gd name="connsiteX88" fmla="*/ 2773 w 5810"/>
                  <a:gd name="connsiteY88" fmla="*/ 247 h 1085"/>
                  <a:gd name="connsiteX89" fmla="*/ 2732 w 5810"/>
                  <a:gd name="connsiteY89" fmla="*/ 205 h 1085"/>
                  <a:gd name="connsiteX90" fmla="*/ 2686 w 5810"/>
                  <a:gd name="connsiteY90" fmla="*/ 168 h 1085"/>
                  <a:gd name="connsiteX91" fmla="*/ 2639 w 5810"/>
                  <a:gd name="connsiteY91" fmla="*/ 139 h 1085"/>
                  <a:gd name="connsiteX92" fmla="*/ 2587 w 5810"/>
                  <a:gd name="connsiteY92" fmla="*/ 116 h 1085"/>
                  <a:gd name="connsiteX93" fmla="*/ 2532 w 5810"/>
                  <a:gd name="connsiteY93" fmla="*/ 100 h 1085"/>
                  <a:gd name="connsiteX94" fmla="*/ 2474 w 5810"/>
                  <a:gd name="connsiteY94" fmla="*/ 91 h 1085"/>
                  <a:gd name="connsiteX95" fmla="*/ 2410 w 5810"/>
                  <a:gd name="connsiteY95" fmla="*/ 93 h 1085"/>
                  <a:gd name="connsiteX96" fmla="*/ 2342 w 5810"/>
                  <a:gd name="connsiteY96" fmla="*/ 104 h 1085"/>
                  <a:gd name="connsiteX97" fmla="*/ 2280 w 5810"/>
                  <a:gd name="connsiteY97" fmla="*/ 122 h 1085"/>
                  <a:gd name="connsiteX98" fmla="*/ 2222 w 5810"/>
                  <a:gd name="connsiteY98" fmla="*/ 147 h 1085"/>
                  <a:gd name="connsiteX99" fmla="*/ 2168 w 5810"/>
                  <a:gd name="connsiteY99" fmla="*/ 180 h 1085"/>
                  <a:gd name="connsiteX100" fmla="*/ 2117 w 5810"/>
                  <a:gd name="connsiteY100" fmla="*/ 218 h 1085"/>
                  <a:gd name="connsiteX101" fmla="*/ 2071 w 5810"/>
                  <a:gd name="connsiteY101" fmla="*/ 261 h 1085"/>
                  <a:gd name="connsiteX102" fmla="*/ 2026 w 5810"/>
                  <a:gd name="connsiteY102" fmla="*/ 307 h 1085"/>
                  <a:gd name="connsiteX103" fmla="*/ 1984 w 5810"/>
                  <a:gd name="connsiteY103" fmla="*/ 359 h 1085"/>
                  <a:gd name="connsiteX104" fmla="*/ 1945 w 5810"/>
                  <a:gd name="connsiteY104" fmla="*/ 413 h 1085"/>
                  <a:gd name="connsiteX105" fmla="*/ 1908 w 5810"/>
                  <a:gd name="connsiteY105" fmla="*/ 467 h 1085"/>
                  <a:gd name="connsiteX106" fmla="*/ 1871 w 5810"/>
                  <a:gd name="connsiteY106" fmla="*/ 523 h 1085"/>
                  <a:gd name="connsiteX107" fmla="*/ 1834 w 5810"/>
                  <a:gd name="connsiteY107" fmla="*/ 581 h 1085"/>
                  <a:gd name="connsiteX108" fmla="*/ 1799 w 5810"/>
                  <a:gd name="connsiteY108" fmla="*/ 637 h 1085"/>
                  <a:gd name="connsiteX109" fmla="*/ 1724 w 5810"/>
                  <a:gd name="connsiteY109" fmla="*/ 749 h 1085"/>
                  <a:gd name="connsiteX110" fmla="*/ 1685 w 5810"/>
                  <a:gd name="connsiteY110" fmla="*/ 801 h 1085"/>
                  <a:gd name="connsiteX111" fmla="*/ 1644 w 5810"/>
                  <a:gd name="connsiteY111" fmla="*/ 850 h 1085"/>
                  <a:gd name="connsiteX112" fmla="*/ 1600 w 5810"/>
                  <a:gd name="connsiteY112" fmla="*/ 896 h 1085"/>
                  <a:gd name="connsiteX113" fmla="*/ 1553 w 5810"/>
                  <a:gd name="connsiteY113" fmla="*/ 937 h 1085"/>
                  <a:gd name="connsiteX114" fmla="*/ 1503 w 5810"/>
                  <a:gd name="connsiteY114" fmla="*/ 973 h 1085"/>
                  <a:gd name="connsiteX115" fmla="*/ 1450 w 5810"/>
                  <a:gd name="connsiteY115" fmla="*/ 1002 h 1085"/>
                  <a:gd name="connsiteX116" fmla="*/ 1394 w 5810"/>
                  <a:gd name="connsiteY116" fmla="*/ 1025 h 1085"/>
                  <a:gd name="connsiteX117" fmla="*/ 1330 w 5810"/>
                  <a:gd name="connsiteY117" fmla="*/ 1037 h 1085"/>
                  <a:gd name="connsiteX118" fmla="*/ 1264 w 5810"/>
                  <a:gd name="connsiteY118" fmla="*/ 1043 h 1085"/>
                  <a:gd name="connsiteX119" fmla="*/ 1258 w 5810"/>
                  <a:gd name="connsiteY119" fmla="*/ 1043 h 1085"/>
                  <a:gd name="connsiteX120" fmla="*/ 1190 w 5810"/>
                  <a:gd name="connsiteY120" fmla="*/ 1039 h 1085"/>
                  <a:gd name="connsiteX121" fmla="*/ 1128 w 5810"/>
                  <a:gd name="connsiteY121" fmla="*/ 1027 h 1085"/>
                  <a:gd name="connsiteX122" fmla="*/ 1070 w 5810"/>
                  <a:gd name="connsiteY122" fmla="*/ 1008 h 1085"/>
                  <a:gd name="connsiteX123" fmla="*/ 1018 w 5810"/>
                  <a:gd name="connsiteY123" fmla="*/ 983 h 1085"/>
                  <a:gd name="connsiteX124" fmla="*/ 971 w 5810"/>
                  <a:gd name="connsiteY124" fmla="*/ 952 h 1085"/>
                  <a:gd name="connsiteX125" fmla="*/ 925 w 5810"/>
                  <a:gd name="connsiteY125" fmla="*/ 915 h 1085"/>
                  <a:gd name="connsiteX126" fmla="*/ 884 w 5810"/>
                  <a:gd name="connsiteY126" fmla="*/ 873 h 1085"/>
                  <a:gd name="connsiteX127" fmla="*/ 847 w 5810"/>
                  <a:gd name="connsiteY127" fmla="*/ 828 h 1085"/>
                  <a:gd name="connsiteX128" fmla="*/ 810 w 5810"/>
                  <a:gd name="connsiteY128" fmla="*/ 780 h 1085"/>
                  <a:gd name="connsiteX129" fmla="*/ 777 w 5810"/>
                  <a:gd name="connsiteY129" fmla="*/ 728 h 1085"/>
                  <a:gd name="connsiteX130" fmla="*/ 742 w 5810"/>
                  <a:gd name="connsiteY130" fmla="*/ 674 h 1085"/>
                  <a:gd name="connsiteX131" fmla="*/ 711 w 5810"/>
                  <a:gd name="connsiteY131" fmla="*/ 618 h 1085"/>
                  <a:gd name="connsiteX132" fmla="*/ 678 w 5810"/>
                  <a:gd name="connsiteY132" fmla="*/ 560 h 1085"/>
                  <a:gd name="connsiteX133" fmla="*/ 616 w 5810"/>
                  <a:gd name="connsiteY133" fmla="*/ 448 h 1085"/>
                  <a:gd name="connsiteX134" fmla="*/ 547 w 5810"/>
                  <a:gd name="connsiteY134" fmla="*/ 340 h 1085"/>
                  <a:gd name="connsiteX135" fmla="*/ 504 w 5810"/>
                  <a:gd name="connsiteY135" fmla="*/ 284 h 1085"/>
                  <a:gd name="connsiteX136" fmla="*/ 457 w 5810"/>
                  <a:gd name="connsiteY136" fmla="*/ 239 h 1085"/>
                  <a:gd name="connsiteX137" fmla="*/ 409 w 5810"/>
                  <a:gd name="connsiteY137" fmla="*/ 199 h 1085"/>
                  <a:gd name="connsiteX138" fmla="*/ 358 w 5810"/>
                  <a:gd name="connsiteY138" fmla="*/ 168 h 1085"/>
                  <a:gd name="connsiteX139" fmla="*/ 308 w 5810"/>
                  <a:gd name="connsiteY139" fmla="*/ 145 h 1085"/>
                  <a:gd name="connsiteX140" fmla="*/ 256 w 5810"/>
                  <a:gd name="connsiteY140" fmla="*/ 127 h 1085"/>
                  <a:gd name="connsiteX141" fmla="*/ 209 w 5810"/>
                  <a:gd name="connsiteY141" fmla="*/ 112 h 1085"/>
                  <a:gd name="connsiteX142" fmla="*/ 163 w 5810"/>
                  <a:gd name="connsiteY142" fmla="*/ 104 h 1085"/>
                  <a:gd name="connsiteX143" fmla="*/ 122 w 5810"/>
                  <a:gd name="connsiteY143" fmla="*/ 100 h 1085"/>
                  <a:gd name="connsiteX144" fmla="*/ 85 w 5810"/>
                  <a:gd name="connsiteY144" fmla="*/ 95 h 1085"/>
                  <a:gd name="connsiteX145" fmla="*/ 31 w 5810"/>
                  <a:gd name="connsiteY145" fmla="*/ 95 h 1085"/>
                  <a:gd name="connsiteX146" fmla="*/ 17 w 5810"/>
                  <a:gd name="connsiteY146" fmla="*/ 98 h 1085"/>
                  <a:gd name="connsiteX147" fmla="*/ 11 w 5810"/>
                  <a:gd name="connsiteY147" fmla="*/ 98 h 1085"/>
                  <a:gd name="connsiteX148" fmla="*/ 0 w 5810"/>
                  <a:gd name="connsiteY148" fmla="*/ 13 h 1085"/>
                  <a:gd name="connsiteX149" fmla="*/ 9 w 5810"/>
                  <a:gd name="connsiteY149" fmla="*/ 13 h 1085"/>
                  <a:gd name="connsiteX150" fmla="*/ 29 w 5810"/>
                  <a:gd name="connsiteY150" fmla="*/ 10 h 1085"/>
                  <a:gd name="connsiteX151" fmla="*/ 91 w 5810"/>
                  <a:gd name="connsiteY151" fmla="*/ 10 h 1085"/>
                  <a:gd name="connsiteX152" fmla="*/ 135 w 5810"/>
                  <a:gd name="connsiteY152" fmla="*/ 13 h 1085"/>
                  <a:gd name="connsiteX153" fmla="*/ 182 w 5810"/>
                  <a:gd name="connsiteY153" fmla="*/ 19 h 1085"/>
                  <a:gd name="connsiteX154" fmla="*/ 234 w 5810"/>
                  <a:gd name="connsiteY154" fmla="*/ 29 h 1085"/>
                  <a:gd name="connsiteX155" fmla="*/ 287 w 5810"/>
                  <a:gd name="connsiteY155" fmla="*/ 46 h 1085"/>
                  <a:gd name="connsiteX156" fmla="*/ 345 w 5810"/>
                  <a:gd name="connsiteY156" fmla="*/ 66 h 1085"/>
                  <a:gd name="connsiteX157" fmla="*/ 403 w 5810"/>
                  <a:gd name="connsiteY157" fmla="*/ 93 h 1085"/>
                  <a:gd name="connsiteX158" fmla="*/ 459 w 5810"/>
                  <a:gd name="connsiteY158" fmla="*/ 131 h 1085"/>
                  <a:gd name="connsiteX159" fmla="*/ 514 w 5810"/>
                  <a:gd name="connsiteY159" fmla="*/ 174 h 1085"/>
                  <a:gd name="connsiteX160" fmla="*/ 568 w 5810"/>
                  <a:gd name="connsiteY160" fmla="*/ 228 h 1085"/>
                  <a:gd name="connsiteX161" fmla="*/ 618 w 5810"/>
                  <a:gd name="connsiteY161" fmla="*/ 292 h 1085"/>
                  <a:gd name="connsiteX162" fmla="*/ 667 w 5810"/>
                  <a:gd name="connsiteY162" fmla="*/ 367 h 1085"/>
                  <a:gd name="connsiteX163" fmla="*/ 754 w 5810"/>
                  <a:gd name="connsiteY163" fmla="*/ 516 h 1085"/>
                  <a:gd name="connsiteX164" fmla="*/ 787 w 5810"/>
                  <a:gd name="connsiteY164" fmla="*/ 575 h 1085"/>
                  <a:gd name="connsiteX165" fmla="*/ 820 w 5810"/>
                  <a:gd name="connsiteY165" fmla="*/ 631 h 1085"/>
                  <a:gd name="connsiteX166" fmla="*/ 853 w 5810"/>
                  <a:gd name="connsiteY166" fmla="*/ 684 h 1085"/>
                  <a:gd name="connsiteX167" fmla="*/ 886 w 5810"/>
                  <a:gd name="connsiteY167" fmla="*/ 736 h 1085"/>
                  <a:gd name="connsiteX168" fmla="*/ 921 w 5810"/>
                  <a:gd name="connsiteY168" fmla="*/ 782 h 1085"/>
                  <a:gd name="connsiteX169" fmla="*/ 958 w 5810"/>
                  <a:gd name="connsiteY169" fmla="*/ 825 h 1085"/>
                  <a:gd name="connsiteX170" fmla="*/ 1000 w 5810"/>
                  <a:gd name="connsiteY170" fmla="*/ 863 h 1085"/>
                  <a:gd name="connsiteX171" fmla="*/ 1043 w 5810"/>
                  <a:gd name="connsiteY171" fmla="*/ 894 h 1085"/>
                  <a:gd name="connsiteX172" fmla="*/ 1090 w 5810"/>
                  <a:gd name="connsiteY172" fmla="*/ 921 h 1085"/>
                  <a:gd name="connsiteX173" fmla="*/ 1140 w 5810"/>
                  <a:gd name="connsiteY173" fmla="*/ 939 h 1085"/>
                  <a:gd name="connsiteX174" fmla="*/ 1196 w 5810"/>
                  <a:gd name="connsiteY174" fmla="*/ 952 h 1085"/>
                  <a:gd name="connsiteX175" fmla="*/ 1258 w 5810"/>
                  <a:gd name="connsiteY175" fmla="*/ 956 h 1085"/>
                  <a:gd name="connsiteX176" fmla="*/ 1264 w 5810"/>
                  <a:gd name="connsiteY176" fmla="*/ 956 h 1085"/>
                  <a:gd name="connsiteX177" fmla="*/ 1324 w 5810"/>
                  <a:gd name="connsiteY177" fmla="*/ 950 h 1085"/>
                  <a:gd name="connsiteX178" fmla="*/ 1380 w 5810"/>
                  <a:gd name="connsiteY178" fmla="*/ 935 h 1085"/>
                  <a:gd name="connsiteX179" fmla="*/ 1433 w 5810"/>
                  <a:gd name="connsiteY179" fmla="*/ 913 h 1085"/>
                  <a:gd name="connsiteX180" fmla="*/ 1481 w 5810"/>
                  <a:gd name="connsiteY180" fmla="*/ 884 h 1085"/>
                  <a:gd name="connsiteX181" fmla="*/ 1526 w 5810"/>
                  <a:gd name="connsiteY181" fmla="*/ 846 h 1085"/>
                  <a:gd name="connsiteX182" fmla="*/ 1569 w 5810"/>
                  <a:gd name="connsiteY182" fmla="*/ 803 h 1085"/>
                  <a:gd name="connsiteX183" fmla="*/ 1609 w 5810"/>
                  <a:gd name="connsiteY183" fmla="*/ 755 h 1085"/>
                  <a:gd name="connsiteX184" fmla="*/ 1648 w 5810"/>
                  <a:gd name="connsiteY184" fmla="*/ 703 h 1085"/>
                  <a:gd name="connsiteX185" fmla="*/ 1687 w 5810"/>
                  <a:gd name="connsiteY185" fmla="*/ 649 h 1085"/>
                  <a:gd name="connsiteX186" fmla="*/ 1799 w 5810"/>
                  <a:gd name="connsiteY186" fmla="*/ 475 h 1085"/>
                  <a:gd name="connsiteX187" fmla="*/ 1838 w 5810"/>
                  <a:gd name="connsiteY187" fmla="*/ 415 h 1085"/>
                  <a:gd name="connsiteX188" fmla="*/ 1879 w 5810"/>
                  <a:gd name="connsiteY188" fmla="*/ 357 h 1085"/>
                  <a:gd name="connsiteX189" fmla="*/ 1923 w 5810"/>
                  <a:gd name="connsiteY189" fmla="*/ 299 h 1085"/>
                  <a:gd name="connsiteX190" fmla="*/ 1968 w 5810"/>
                  <a:gd name="connsiteY190" fmla="*/ 245 h 1085"/>
                  <a:gd name="connsiteX191" fmla="*/ 2015 w 5810"/>
                  <a:gd name="connsiteY191" fmla="*/ 193 h 1085"/>
                  <a:gd name="connsiteX192" fmla="*/ 2069 w 5810"/>
                  <a:gd name="connsiteY192" fmla="*/ 145 h 1085"/>
                  <a:gd name="connsiteX193" fmla="*/ 2125 w 5810"/>
                  <a:gd name="connsiteY193" fmla="*/ 104 h 1085"/>
                  <a:gd name="connsiteX194" fmla="*/ 2187 w 5810"/>
                  <a:gd name="connsiteY194" fmla="*/ 69 h 1085"/>
                  <a:gd name="connsiteX195" fmla="*/ 2253 w 5810"/>
                  <a:gd name="connsiteY195" fmla="*/ 39 h 1085"/>
                  <a:gd name="connsiteX196" fmla="*/ 2325 w 5810"/>
                  <a:gd name="connsiteY196" fmla="*/ 19 h 1085"/>
                  <a:gd name="connsiteX197" fmla="*/ 2404 w 5810"/>
                  <a:gd name="connsiteY197" fmla="*/ 6 h 1085"/>
                  <a:gd name="connsiteX198" fmla="*/ 2474 w 5810"/>
                  <a:gd name="connsiteY198" fmla="*/ 4 h 1085"/>
                  <a:gd name="connsiteX199" fmla="*/ 2540 w 5810"/>
                  <a:gd name="connsiteY199" fmla="*/ 13 h 1085"/>
                  <a:gd name="connsiteX200" fmla="*/ 2600 w 5810"/>
                  <a:gd name="connsiteY200" fmla="*/ 27 h 1085"/>
                  <a:gd name="connsiteX201" fmla="*/ 2658 w 5810"/>
                  <a:gd name="connsiteY201" fmla="*/ 50 h 1085"/>
                  <a:gd name="connsiteX202" fmla="*/ 2711 w 5810"/>
                  <a:gd name="connsiteY202" fmla="*/ 81 h 1085"/>
                  <a:gd name="connsiteX203" fmla="*/ 2761 w 5810"/>
                  <a:gd name="connsiteY203" fmla="*/ 116 h 1085"/>
                  <a:gd name="connsiteX204" fmla="*/ 2806 w 5810"/>
                  <a:gd name="connsiteY204" fmla="*/ 158 h 1085"/>
                  <a:gd name="connsiteX205" fmla="*/ 2852 w 5810"/>
                  <a:gd name="connsiteY205" fmla="*/ 203 h 1085"/>
                  <a:gd name="connsiteX206" fmla="*/ 2893 w 5810"/>
                  <a:gd name="connsiteY206" fmla="*/ 251 h 1085"/>
                  <a:gd name="connsiteX207" fmla="*/ 2932 w 5810"/>
                  <a:gd name="connsiteY207" fmla="*/ 303 h 1085"/>
                  <a:gd name="connsiteX208" fmla="*/ 2969 w 5810"/>
                  <a:gd name="connsiteY208" fmla="*/ 357 h 1085"/>
                  <a:gd name="connsiteX209" fmla="*/ 3004 w 5810"/>
                  <a:gd name="connsiteY209" fmla="*/ 413 h 1085"/>
                  <a:gd name="connsiteX210" fmla="*/ 3039 w 5810"/>
                  <a:gd name="connsiteY210" fmla="*/ 467 h 1085"/>
                  <a:gd name="connsiteX211" fmla="*/ 3073 w 5810"/>
                  <a:gd name="connsiteY211" fmla="*/ 523 h 1085"/>
                  <a:gd name="connsiteX212" fmla="*/ 3110 w 5810"/>
                  <a:gd name="connsiteY212" fmla="*/ 585 h 1085"/>
                  <a:gd name="connsiteX213" fmla="*/ 3147 w 5810"/>
                  <a:gd name="connsiteY213" fmla="*/ 643 h 1085"/>
                  <a:gd name="connsiteX214" fmla="*/ 3186 w 5810"/>
                  <a:gd name="connsiteY214" fmla="*/ 701 h 1085"/>
                  <a:gd name="connsiteX215" fmla="*/ 3223 w 5810"/>
                  <a:gd name="connsiteY215" fmla="*/ 755 h 1085"/>
                  <a:gd name="connsiteX216" fmla="*/ 3265 w 5810"/>
                  <a:gd name="connsiteY216" fmla="*/ 805 h 1085"/>
                  <a:gd name="connsiteX217" fmla="*/ 3306 w 5810"/>
                  <a:gd name="connsiteY217" fmla="*/ 848 h 1085"/>
                  <a:gd name="connsiteX218" fmla="*/ 3349 w 5810"/>
                  <a:gd name="connsiteY218" fmla="*/ 886 h 1085"/>
                  <a:gd name="connsiteX219" fmla="*/ 3395 w 5810"/>
                  <a:gd name="connsiteY219" fmla="*/ 917 h 1085"/>
                  <a:gd name="connsiteX220" fmla="*/ 3444 w 5810"/>
                  <a:gd name="connsiteY220" fmla="*/ 939 h 1085"/>
                  <a:gd name="connsiteX221" fmla="*/ 3498 w 5810"/>
                  <a:gd name="connsiteY221" fmla="*/ 952 h 1085"/>
                  <a:gd name="connsiteX222" fmla="*/ 3554 w 5810"/>
                  <a:gd name="connsiteY222" fmla="*/ 956 h 1085"/>
                  <a:gd name="connsiteX223" fmla="*/ 3609 w 5810"/>
                  <a:gd name="connsiteY223" fmla="*/ 950 h 1085"/>
                  <a:gd name="connsiteX224" fmla="*/ 3659 w 5810"/>
                  <a:gd name="connsiteY224" fmla="*/ 935 h 1085"/>
                  <a:gd name="connsiteX225" fmla="*/ 3706 w 5810"/>
                  <a:gd name="connsiteY225" fmla="*/ 915 h 1085"/>
                  <a:gd name="connsiteX226" fmla="*/ 3750 w 5810"/>
                  <a:gd name="connsiteY226" fmla="*/ 884 h 1085"/>
                  <a:gd name="connsiteX227" fmla="*/ 3789 w 5810"/>
                  <a:gd name="connsiteY227" fmla="*/ 848 h 1085"/>
                  <a:gd name="connsiteX228" fmla="*/ 3826 w 5810"/>
                  <a:gd name="connsiteY228" fmla="*/ 807 h 1085"/>
                  <a:gd name="connsiteX229" fmla="*/ 3861 w 5810"/>
                  <a:gd name="connsiteY229" fmla="*/ 759 h 1085"/>
                  <a:gd name="connsiteX230" fmla="*/ 3894 w 5810"/>
                  <a:gd name="connsiteY230" fmla="*/ 709 h 1085"/>
                  <a:gd name="connsiteX231" fmla="*/ 3927 w 5810"/>
                  <a:gd name="connsiteY231" fmla="*/ 655 h 1085"/>
                  <a:gd name="connsiteX232" fmla="*/ 3960 w 5810"/>
                  <a:gd name="connsiteY232" fmla="*/ 597 h 1085"/>
                  <a:gd name="connsiteX233" fmla="*/ 3993 w 5810"/>
                  <a:gd name="connsiteY233" fmla="*/ 537 h 1085"/>
                  <a:gd name="connsiteX234" fmla="*/ 4022 w 5810"/>
                  <a:gd name="connsiteY234" fmla="*/ 483 h 1085"/>
                  <a:gd name="connsiteX235" fmla="*/ 4084 w 5810"/>
                  <a:gd name="connsiteY235" fmla="*/ 375 h 1085"/>
                  <a:gd name="connsiteX236" fmla="*/ 4154 w 5810"/>
                  <a:gd name="connsiteY236" fmla="*/ 272 h 1085"/>
                  <a:gd name="connsiteX237" fmla="*/ 4192 w 5810"/>
                  <a:gd name="connsiteY237" fmla="*/ 224 h 1085"/>
                  <a:gd name="connsiteX238" fmla="*/ 4233 w 5810"/>
                  <a:gd name="connsiteY238" fmla="*/ 178 h 1085"/>
                  <a:gd name="connsiteX239" fmla="*/ 4276 w 5810"/>
                  <a:gd name="connsiteY239" fmla="*/ 137 h 1085"/>
                  <a:gd name="connsiteX240" fmla="*/ 4324 w 5810"/>
                  <a:gd name="connsiteY240" fmla="*/ 100 h 1085"/>
                  <a:gd name="connsiteX241" fmla="*/ 4375 w 5810"/>
                  <a:gd name="connsiteY241" fmla="*/ 66 h 1085"/>
                  <a:gd name="connsiteX242" fmla="*/ 4433 w 5810"/>
                  <a:gd name="connsiteY242" fmla="*/ 39 h 1085"/>
                  <a:gd name="connsiteX243" fmla="*/ 4493 w 5810"/>
                  <a:gd name="connsiteY243" fmla="*/ 19 h 1085"/>
                  <a:gd name="connsiteX244" fmla="*/ 4559 w 5810"/>
                  <a:gd name="connsiteY244" fmla="*/ 6 h 1085"/>
                  <a:gd name="connsiteX245" fmla="*/ 4631 w 5810"/>
                  <a:gd name="connsiteY245" fmla="*/ 0 h 1085"/>
                  <a:gd name="connsiteX0" fmla="*/ 4631 w 5810"/>
                  <a:gd name="connsiteY0" fmla="*/ 0 h 1085"/>
                  <a:gd name="connsiteX1" fmla="*/ 4681 w 5810"/>
                  <a:gd name="connsiteY1" fmla="*/ 0 h 1085"/>
                  <a:gd name="connsiteX2" fmla="*/ 4710 w 5810"/>
                  <a:gd name="connsiteY2" fmla="*/ 4 h 1085"/>
                  <a:gd name="connsiteX3" fmla="*/ 4741 w 5810"/>
                  <a:gd name="connsiteY3" fmla="*/ 13 h 1085"/>
                  <a:gd name="connsiteX4" fmla="*/ 4778 w 5810"/>
                  <a:gd name="connsiteY4" fmla="*/ 23 h 1085"/>
                  <a:gd name="connsiteX5" fmla="*/ 4819 w 5810"/>
                  <a:gd name="connsiteY5" fmla="*/ 39 h 1085"/>
                  <a:gd name="connsiteX6" fmla="*/ 4863 w 5810"/>
                  <a:gd name="connsiteY6" fmla="*/ 60 h 1085"/>
                  <a:gd name="connsiteX7" fmla="*/ 4910 w 5810"/>
                  <a:gd name="connsiteY7" fmla="*/ 89 h 1085"/>
                  <a:gd name="connsiteX8" fmla="*/ 4960 w 5810"/>
                  <a:gd name="connsiteY8" fmla="*/ 124 h 1085"/>
                  <a:gd name="connsiteX9" fmla="*/ 5009 w 5810"/>
                  <a:gd name="connsiteY9" fmla="*/ 170 h 1085"/>
                  <a:gd name="connsiteX10" fmla="*/ 5061 w 5810"/>
                  <a:gd name="connsiteY10" fmla="*/ 224 h 1085"/>
                  <a:gd name="connsiteX11" fmla="*/ 5112 w 5810"/>
                  <a:gd name="connsiteY11" fmla="*/ 286 h 1085"/>
                  <a:gd name="connsiteX12" fmla="*/ 5164 w 5810"/>
                  <a:gd name="connsiteY12" fmla="*/ 361 h 1085"/>
                  <a:gd name="connsiteX13" fmla="*/ 5216 w 5810"/>
                  <a:gd name="connsiteY13" fmla="*/ 448 h 1085"/>
                  <a:gd name="connsiteX14" fmla="*/ 5267 w 5810"/>
                  <a:gd name="connsiteY14" fmla="*/ 548 h 1085"/>
                  <a:gd name="connsiteX15" fmla="*/ 5313 w 5810"/>
                  <a:gd name="connsiteY15" fmla="*/ 633 h 1085"/>
                  <a:gd name="connsiteX16" fmla="*/ 5358 w 5810"/>
                  <a:gd name="connsiteY16" fmla="*/ 707 h 1085"/>
                  <a:gd name="connsiteX17" fmla="*/ 5408 w 5810"/>
                  <a:gd name="connsiteY17" fmla="*/ 769 h 1085"/>
                  <a:gd name="connsiteX18" fmla="*/ 5455 w 5810"/>
                  <a:gd name="connsiteY18" fmla="*/ 821 h 1085"/>
                  <a:gd name="connsiteX19" fmla="*/ 5503 w 5810"/>
                  <a:gd name="connsiteY19" fmla="*/ 865 h 1085"/>
                  <a:gd name="connsiteX20" fmla="*/ 5550 w 5810"/>
                  <a:gd name="connsiteY20" fmla="*/ 900 h 1085"/>
                  <a:gd name="connsiteX21" fmla="*/ 5593 w 5810"/>
                  <a:gd name="connsiteY21" fmla="*/ 927 h 1085"/>
                  <a:gd name="connsiteX22" fmla="*/ 5637 w 5810"/>
                  <a:gd name="connsiteY22" fmla="*/ 948 h 1085"/>
                  <a:gd name="connsiteX23" fmla="*/ 5676 w 5810"/>
                  <a:gd name="connsiteY23" fmla="*/ 962 h 1085"/>
                  <a:gd name="connsiteX24" fmla="*/ 5711 w 5810"/>
                  <a:gd name="connsiteY24" fmla="*/ 973 h 1085"/>
                  <a:gd name="connsiteX25" fmla="*/ 5742 w 5810"/>
                  <a:gd name="connsiteY25" fmla="*/ 981 h 1085"/>
                  <a:gd name="connsiteX26" fmla="*/ 5767 w 5810"/>
                  <a:gd name="connsiteY26" fmla="*/ 983 h 1085"/>
                  <a:gd name="connsiteX27" fmla="*/ 5785 w 5810"/>
                  <a:gd name="connsiteY27" fmla="*/ 985 h 1085"/>
                  <a:gd name="connsiteX28" fmla="*/ 5802 w 5810"/>
                  <a:gd name="connsiteY28" fmla="*/ 985 h 1085"/>
                  <a:gd name="connsiteX29" fmla="*/ 5810 w 5810"/>
                  <a:gd name="connsiteY29" fmla="*/ 1072 h 1085"/>
                  <a:gd name="connsiteX30" fmla="*/ 5717 w 5810"/>
                  <a:gd name="connsiteY30" fmla="*/ 1064 h 1085"/>
                  <a:gd name="connsiteX31" fmla="*/ 5639 w 5810"/>
                  <a:gd name="connsiteY31" fmla="*/ 1043 h 1085"/>
                  <a:gd name="connsiteX32" fmla="*/ 5546 w 5810"/>
                  <a:gd name="connsiteY32" fmla="*/ 1002 h 1085"/>
                  <a:gd name="connsiteX33" fmla="*/ 5496 w 5810"/>
                  <a:gd name="connsiteY33" fmla="*/ 971 h 1085"/>
                  <a:gd name="connsiteX34" fmla="*/ 5238 w 5810"/>
                  <a:gd name="connsiteY34" fmla="*/ 676 h 1085"/>
                  <a:gd name="connsiteX35" fmla="*/ 5191 w 5810"/>
                  <a:gd name="connsiteY35" fmla="*/ 585 h 1085"/>
                  <a:gd name="connsiteX36" fmla="*/ 5141 w 5810"/>
                  <a:gd name="connsiteY36" fmla="*/ 489 h 1085"/>
                  <a:gd name="connsiteX37" fmla="*/ 5092 w 5810"/>
                  <a:gd name="connsiteY37" fmla="*/ 407 h 1085"/>
                  <a:gd name="connsiteX38" fmla="*/ 5042 w 5810"/>
                  <a:gd name="connsiteY38" fmla="*/ 336 h 1085"/>
                  <a:gd name="connsiteX39" fmla="*/ 4993 w 5810"/>
                  <a:gd name="connsiteY39" fmla="*/ 276 h 1085"/>
                  <a:gd name="connsiteX40" fmla="*/ 4945 w 5810"/>
                  <a:gd name="connsiteY40" fmla="*/ 228 h 1085"/>
                  <a:gd name="connsiteX41" fmla="*/ 4900 w 5810"/>
                  <a:gd name="connsiteY41" fmla="*/ 189 h 1085"/>
                  <a:gd name="connsiteX42" fmla="*/ 4858 w 5810"/>
                  <a:gd name="connsiteY42" fmla="*/ 158 h 1085"/>
                  <a:gd name="connsiteX43" fmla="*/ 4819 w 5810"/>
                  <a:gd name="connsiteY43" fmla="*/ 135 h 1085"/>
                  <a:gd name="connsiteX44" fmla="*/ 4770 w 5810"/>
                  <a:gd name="connsiteY44" fmla="*/ 112 h 1085"/>
                  <a:gd name="connsiteX45" fmla="*/ 4726 w 5810"/>
                  <a:gd name="connsiteY45" fmla="*/ 98 h 1085"/>
                  <a:gd name="connsiteX46" fmla="*/ 4691 w 5810"/>
                  <a:gd name="connsiteY46" fmla="*/ 89 h 1085"/>
                  <a:gd name="connsiteX47" fmla="*/ 4662 w 5810"/>
                  <a:gd name="connsiteY47" fmla="*/ 87 h 1085"/>
                  <a:gd name="connsiteX48" fmla="*/ 4635 w 5810"/>
                  <a:gd name="connsiteY48" fmla="*/ 87 h 1085"/>
                  <a:gd name="connsiteX49" fmla="*/ 4569 w 5810"/>
                  <a:gd name="connsiteY49" fmla="*/ 93 h 1085"/>
                  <a:gd name="connsiteX50" fmla="*/ 4507 w 5810"/>
                  <a:gd name="connsiteY50" fmla="*/ 106 h 1085"/>
                  <a:gd name="connsiteX51" fmla="*/ 4452 w 5810"/>
                  <a:gd name="connsiteY51" fmla="*/ 127 h 1085"/>
                  <a:gd name="connsiteX52" fmla="*/ 4400 w 5810"/>
                  <a:gd name="connsiteY52" fmla="*/ 154 h 1085"/>
                  <a:gd name="connsiteX53" fmla="*/ 4353 w 5810"/>
                  <a:gd name="connsiteY53" fmla="*/ 187 h 1085"/>
                  <a:gd name="connsiteX54" fmla="*/ 4309 w 5810"/>
                  <a:gd name="connsiteY54" fmla="*/ 224 h 1085"/>
                  <a:gd name="connsiteX55" fmla="*/ 4270 w 5810"/>
                  <a:gd name="connsiteY55" fmla="*/ 268 h 1085"/>
                  <a:gd name="connsiteX56" fmla="*/ 4231 w 5810"/>
                  <a:gd name="connsiteY56" fmla="*/ 313 h 1085"/>
                  <a:gd name="connsiteX57" fmla="*/ 4196 w 5810"/>
                  <a:gd name="connsiteY57" fmla="*/ 363 h 1085"/>
                  <a:gd name="connsiteX58" fmla="*/ 4163 w 5810"/>
                  <a:gd name="connsiteY58" fmla="*/ 415 h 1085"/>
                  <a:gd name="connsiteX59" fmla="*/ 4101 w 5810"/>
                  <a:gd name="connsiteY59" fmla="*/ 523 h 1085"/>
                  <a:gd name="connsiteX60" fmla="*/ 4008 w 5810"/>
                  <a:gd name="connsiteY60" fmla="*/ 691 h 1085"/>
                  <a:gd name="connsiteX61" fmla="*/ 3975 w 5810"/>
                  <a:gd name="connsiteY61" fmla="*/ 747 h 1085"/>
                  <a:gd name="connsiteX62" fmla="*/ 3940 w 5810"/>
                  <a:gd name="connsiteY62" fmla="*/ 798 h 1085"/>
                  <a:gd name="connsiteX63" fmla="*/ 3905 w 5810"/>
                  <a:gd name="connsiteY63" fmla="*/ 848 h 1085"/>
                  <a:gd name="connsiteX64" fmla="*/ 3865 w 5810"/>
                  <a:gd name="connsiteY64" fmla="*/ 894 h 1085"/>
                  <a:gd name="connsiteX65" fmla="*/ 3824 w 5810"/>
                  <a:gd name="connsiteY65" fmla="*/ 935 h 1085"/>
                  <a:gd name="connsiteX66" fmla="*/ 3779 w 5810"/>
                  <a:gd name="connsiteY66" fmla="*/ 971 h 1085"/>
                  <a:gd name="connsiteX67" fmla="*/ 3729 w 5810"/>
                  <a:gd name="connsiteY67" fmla="*/ 1000 h 1085"/>
                  <a:gd name="connsiteX68" fmla="*/ 3677 w 5810"/>
                  <a:gd name="connsiteY68" fmla="*/ 1022 h 1085"/>
                  <a:gd name="connsiteX69" fmla="*/ 3620 w 5810"/>
                  <a:gd name="connsiteY69" fmla="*/ 1037 h 1085"/>
                  <a:gd name="connsiteX70" fmla="*/ 3556 w 5810"/>
                  <a:gd name="connsiteY70" fmla="*/ 1043 h 1085"/>
                  <a:gd name="connsiteX71" fmla="*/ 3547 w 5810"/>
                  <a:gd name="connsiteY71" fmla="*/ 1043 h 1085"/>
                  <a:gd name="connsiteX72" fmla="*/ 3485 w 5810"/>
                  <a:gd name="connsiteY72" fmla="*/ 1039 h 1085"/>
                  <a:gd name="connsiteX73" fmla="*/ 3426 w 5810"/>
                  <a:gd name="connsiteY73" fmla="*/ 1025 h 1085"/>
                  <a:gd name="connsiteX74" fmla="*/ 3372 w 5810"/>
                  <a:gd name="connsiteY74" fmla="*/ 1002 h 1085"/>
                  <a:gd name="connsiteX75" fmla="*/ 3320 w 5810"/>
                  <a:gd name="connsiteY75" fmla="*/ 973 h 1085"/>
                  <a:gd name="connsiteX76" fmla="*/ 3273 w 5810"/>
                  <a:gd name="connsiteY76" fmla="*/ 935 h 1085"/>
                  <a:gd name="connsiteX77" fmla="*/ 3229 w 5810"/>
                  <a:gd name="connsiteY77" fmla="*/ 894 h 1085"/>
                  <a:gd name="connsiteX78" fmla="*/ 3186 w 5810"/>
                  <a:gd name="connsiteY78" fmla="*/ 846 h 1085"/>
                  <a:gd name="connsiteX79" fmla="*/ 3147 w 5810"/>
                  <a:gd name="connsiteY79" fmla="*/ 796 h 1085"/>
                  <a:gd name="connsiteX80" fmla="*/ 3108 w 5810"/>
                  <a:gd name="connsiteY80" fmla="*/ 740 h 1085"/>
                  <a:gd name="connsiteX81" fmla="*/ 3070 w 5810"/>
                  <a:gd name="connsiteY81" fmla="*/ 684 h 1085"/>
                  <a:gd name="connsiteX82" fmla="*/ 2965 w 5810"/>
                  <a:gd name="connsiteY82" fmla="*/ 510 h 1085"/>
                  <a:gd name="connsiteX83" fmla="*/ 2928 w 5810"/>
                  <a:gd name="connsiteY83" fmla="*/ 452 h 1085"/>
                  <a:gd name="connsiteX84" fmla="*/ 2891 w 5810"/>
                  <a:gd name="connsiteY84" fmla="*/ 396 h 1085"/>
                  <a:gd name="connsiteX85" fmla="*/ 2854 w 5810"/>
                  <a:gd name="connsiteY85" fmla="*/ 342 h 1085"/>
                  <a:gd name="connsiteX86" fmla="*/ 2814 w 5810"/>
                  <a:gd name="connsiteY86" fmla="*/ 292 h 1085"/>
                  <a:gd name="connsiteX87" fmla="*/ 2773 w 5810"/>
                  <a:gd name="connsiteY87" fmla="*/ 247 h 1085"/>
                  <a:gd name="connsiteX88" fmla="*/ 2732 w 5810"/>
                  <a:gd name="connsiteY88" fmla="*/ 205 h 1085"/>
                  <a:gd name="connsiteX89" fmla="*/ 2686 w 5810"/>
                  <a:gd name="connsiteY89" fmla="*/ 168 h 1085"/>
                  <a:gd name="connsiteX90" fmla="*/ 2639 w 5810"/>
                  <a:gd name="connsiteY90" fmla="*/ 139 h 1085"/>
                  <a:gd name="connsiteX91" fmla="*/ 2587 w 5810"/>
                  <a:gd name="connsiteY91" fmla="*/ 116 h 1085"/>
                  <a:gd name="connsiteX92" fmla="*/ 2532 w 5810"/>
                  <a:gd name="connsiteY92" fmla="*/ 100 h 1085"/>
                  <a:gd name="connsiteX93" fmla="*/ 2474 w 5810"/>
                  <a:gd name="connsiteY93" fmla="*/ 91 h 1085"/>
                  <a:gd name="connsiteX94" fmla="*/ 2410 w 5810"/>
                  <a:gd name="connsiteY94" fmla="*/ 93 h 1085"/>
                  <a:gd name="connsiteX95" fmla="*/ 2342 w 5810"/>
                  <a:gd name="connsiteY95" fmla="*/ 104 h 1085"/>
                  <a:gd name="connsiteX96" fmla="*/ 2280 w 5810"/>
                  <a:gd name="connsiteY96" fmla="*/ 122 h 1085"/>
                  <a:gd name="connsiteX97" fmla="*/ 2222 w 5810"/>
                  <a:gd name="connsiteY97" fmla="*/ 147 h 1085"/>
                  <a:gd name="connsiteX98" fmla="*/ 2168 w 5810"/>
                  <a:gd name="connsiteY98" fmla="*/ 180 h 1085"/>
                  <a:gd name="connsiteX99" fmla="*/ 2117 w 5810"/>
                  <a:gd name="connsiteY99" fmla="*/ 218 h 1085"/>
                  <a:gd name="connsiteX100" fmla="*/ 2071 w 5810"/>
                  <a:gd name="connsiteY100" fmla="*/ 261 h 1085"/>
                  <a:gd name="connsiteX101" fmla="*/ 2026 w 5810"/>
                  <a:gd name="connsiteY101" fmla="*/ 307 h 1085"/>
                  <a:gd name="connsiteX102" fmla="*/ 1984 w 5810"/>
                  <a:gd name="connsiteY102" fmla="*/ 359 h 1085"/>
                  <a:gd name="connsiteX103" fmla="*/ 1945 w 5810"/>
                  <a:gd name="connsiteY103" fmla="*/ 413 h 1085"/>
                  <a:gd name="connsiteX104" fmla="*/ 1908 w 5810"/>
                  <a:gd name="connsiteY104" fmla="*/ 467 h 1085"/>
                  <a:gd name="connsiteX105" fmla="*/ 1871 w 5810"/>
                  <a:gd name="connsiteY105" fmla="*/ 523 h 1085"/>
                  <a:gd name="connsiteX106" fmla="*/ 1834 w 5810"/>
                  <a:gd name="connsiteY106" fmla="*/ 581 h 1085"/>
                  <a:gd name="connsiteX107" fmla="*/ 1799 w 5810"/>
                  <a:gd name="connsiteY107" fmla="*/ 637 h 1085"/>
                  <a:gd name="connsiteX108" fmla="*/ 1724 w 5810"/>
                  <a:gd name="connsiteY108" fmla="*/ 749 h 1085"/>
                  <a:gd name="connsiteX109" fmla="*/ 1685 w 5810"/>
                  <a:gd name="connsiteY109" fmla="*/ 801 h 1085"/>
                  <a:gd name="connsiteX110" fmla="*/ 1644 w 5810"/>
                  <a:gd name="connsiteY110" fmla="*/ 850 h 1085"/>
                  <a:gd name="connsiteX111" fmla="*/ 1600 w 5810"/>
                  <a:gd name="connsiteY111" fmla="*/ 896 h 1085"/>
                  <a:gd name="connsiteX112" fmla="*/ 1553 w 5810"/>
                  <a:gd name="connsiteY112" fmla="*/ 937 h 1085"/>
                  <a:gd name="connsiteX113" fmla="*/ 1503 w 5810"/>
                  <a:gd name="connsiteY113" fmla="*/ 973 h 1085"/>
                  <a:gd name="connsiteX114" fmla="*/ 1450 w 5810"/>
                  <a:gd name="connsiteY114" fmla="*/ 1002 h 1085"/>
                  <a:gd name="connsiteX115" fmla="*/ 1394 w 5810"/>
                  <a:gd name="connsiteY115" fmla="*/ 1025 h 1085"/>
                  <a:gd name="connsiteX116" fmla="*/ 1330 w 5810"/>
                  <a:gd name="connsiteY116" fmla="*/ 1037 h 1085"/>
                  <a:gd name="connsiteX117" fmla="*/ 1264 w 5810"/>
                  <a:gd name="connsiteY117" fmla="*/ 1043 h 1085"/>
                  <a:gd name="connsiteX118" fmla="*/ 1258 w 5810"/>
                  <a:gd name="connsiteY118" fmla="*/ 1043 h 1085"/>
                  <a:gd name="connsiteX119" fmla="*/ 1190 w 5810"/>
                  <a:gd name="connsiteY119" fmla="*/ 1039 h 1085"/>
                  <a:gd name="connsiteX120" fmla="*/ 1128 w 5810"/>
                  <a:gd name="connsiteY120" fmla="*/ 1027 h 1085"/>
                  <a:gd name="connsiteX121" fmla="*/ 1070 w 5810"/>
                  <a:gd name="connsiteY121" fmla="*/ 1008 h 1085"/>
                  <a:gd name="connsiteX122" fmla="*/ 1018 w 5810"/>
                  <a:gd name="connsiteY122" fmla="*/ 983 h 1085"/>
                  <a:gd name="connsiteX123" fmla="*/ 971 w 5810"/>
                  <a:gd name="connsiteY123" fmla="*/ 952 h 1085"/>
                  <a:gd name="connsiteX124" fmla="*/ 925 w 5810"/>
                  <a:gd name="connsiteY124" fmla="*/ 915 h 1085"/>
                  <a:gd name="connsiteX125" fmla="*/ 884 w 5810"/>
                  <a:gd name="connsiteY125" fmla="*/ 873 h 1085"/>
                  <a:gd name="connsiteX126" fmla="*/ 847 w 5810"/>
                  <a:gd name="connsiteY126" fmla="*/ 828 h 1085"/>
                  <a:gd name="connsiteX127" fmla="*/ 810 w 5810"/>
                  <a:gd name="connsiteY127" fmla="*/ 780 h 1085"/>
                  <a:gd name="connsiteX128" fmla="*/ 777 w 5810"/>
                  <a:gd name="connsiteY128" fmla="*/ 728 h 1085"/>
                  <a:gd name="connsiteX129" fmla="*/ 742 w 5810"/>
                  <a:gd name="connsiteY129" fmla="*/ 674 h 1085"/>
                  <a:gd name="connsiteX130" fmla="*/ 711 w 5810"/>
                  <a:gd name="connsiteY130" fmla="*/ 618 h 1085"/>
                  <a:gd name="connsiteX131" fmla="*/ 678 w 5810"/>
                  <a:gd name="connsiteY131" fmla="*/ 560 h 1085"/>
                  <a:gd name="connsiteX132" fmla="*/ 616 w 5810"/>
                  <a:gd name="connsiteY132" fmla="*/ 448 h 1085"/>
                  <a:gd name="connsiteX133" fmla="*/ 547 w 5810"/>
                  <a:gd name="connsiteY133" fmla="*/ 340 h 1085"/>
                  <a:gd name="connsiteX134" fmla="*/ 504 w 5810"/>
                  <a:gd name="connsiteY134" fmla="*/ 284 h 1085"/>
                  <a:gd name="connsiteX135" fmla="*/ 457 w 5810"/>
                  <a:gd name="connsiteY135" fmla="*/ 239 h 1085"/>
                  <a:gd name="connsiteX136" fmla="*/ 409 w 5810"/>
                  <a:gd name="connsiteY136" fmla="*/ 199 h 1085"/>
                  <a:gd name="connsiteX137" fmla="*/ 358 w 5810"/>
                  <a:gd name="connsiteY137" fmla="*/ 168 h 1085"/>
                  <a:gd name="connsiteX138" fmla="*/ 308 w 5810"/>
                  <a:gd name="connsiteY138" fmla="*/ 145 h 1085"/>
                  <a:gd name="connsiteX139" fmla="*/ 256 w 5810"/>
                  <a:gd name="connsiteY139" fmla="*/ 127 h 1085"/>
                  <a:gd name="connsiteX140" fmla="*/ 209 w 5810"/>
                  <a:gd name="connsiteY140" fmla="*/ 112 h 1085"/>
                  <a:gd name="connsiteX141" fmla="*/ 163 w 5810"/>
                  <a:gd name="connsiteY141" fmla="*/ 104 h 1085"/>
                  <a:gd name="connsiteX142" fmla="*/ 122 w 5810"/>
                  <a:gd name="connsiteY142" fmla="*/ 100 h 1085"/>
                  <a:gd name="connsiteX143" fmla="*/ 85 w 5810"/>
                  <a:gd name="connsiteY143" fmla="*/ 95 h 1085"/>
                  <a:gd name="connsiteX144" fmla="*/ 31 w 5810"/>
                  <a:gd name="connsiteY144" fmla="*/ 95 h 1085"/>
                  <a:gd name="connsiteX145" fmla="*/ 17 w 5810"/>
                  <a:gd name="connsiteY145" fmla="*/ 98 h 1085"/>
                  <a:gd name="connsiteX146" fmla="*/ 11 w 5810"/>
                  <a:gd name="connsiteY146" fmla="*/ 98 h 1085"/>
                  <a:gd name="connsiteX147" fmla="*/ 0 w 5810"/>
                  <a:gd name="connsiteY147" fmla="*/ 13 h 1085"/>
                  <a:gd name="connsiteX148" fmla="*/ 9 w 5810"/>
                  <a:gd name="connsiteY148" fmla="*/ 13 h 1085"/>
                  <a:gd name="connsiteX149" fmla="*/ 29 w 5810"/>
                  <a:gd name="connsiteY149" fmla="*/ 10 h 1085"/>
                  <a:gd name="connsiteX150" fmla="*/ 91 w 5810"/>
                  <a:gd name="connsiteY150" fmla="*/ 10 h 1085"/>
                  <a:gd name="connsiteX151" fmla="*/ 135 w 5810"/>
                  <a:gd name="connsiteY151" fmla="*/ 13 h 1085"/>
                  <a:gd name="connsiteX152" fmla="*/ 182 w 5810"/>
                  <a:gd name="connsiteY152" fmla="*/ 19 h 1085"/>
                  <a:gd name="connsiteX153" fmla="*/ 234 w 5810"/>
                  <a:gd name="connsiteY153" fmla="*/ 29 h 1085"/>
                  <a:gd name="connsiteX154" fmla="*/ 287 w 5810"/>
                  <a:gd name="connsiteY154" fmla="*/ 46 h 1085"/>
                  <a:gd name="connsiteX155" fmla="*/ 345 w 5810"/>
                  <a:gd name="connsiteY155" fmla="*/ 66 h 1085"/>
                  <a:gd name="connsiteX156" fmla="*/ 403 w 5810"/>
                  <a:gd name="connsiteY156" fmla="*/ 93 h 1085"/>
                  <a:gd name="connsiteX157" fmla="*/ 459 w 5810"/>
                  <a:gd name="connsiteY157" fmla="*/ 131 h 1085"/>
                  <a:gd name="connsiteX158" fmla="*/ 514 w 5810"/>
                  <a:gd name="connsiteY158" fmla="*/ 174 h 1085"/>
                  <a:gd name="connsiteX159" fmla="*/ 568 w 5810"/>
                  <a:gd name="connsiteY159" fmla="*/ 228 h 1085"/>
                  <a:gd name="connsiteX160" fmla="*/ 618 w 5810"/>
                  <a:gd name="connsiteY160" fmla="*/ 292 h 1085"/>
                  <a:gd name="connsiteX161" fmla="*/ 667 w 5810"/>
                  <a:gd name="connsiteY161" fmla="*/ 367 h 1085"/>
                  <a:gd name="connsiteX162" fmla="*/ 754 w 5810"/>
                  <a:gd name="connsiteY162" fmla="*/ 516 h 1085"/>
                  <a:gd name="connsiteX163" fmla="*/ 787 w 5810"/>
                  <a:gd name="connsiteY163" fmla="*/ 575 h 1085"/>
                  <a:gd name="connsiteX164" fmla="*/ 820 w 5810"/>
                  <a:gd name="connsiteY164" fmla="*/ 631 h 1085"/>
                  <a:gd name="connsiteX165" fmla="*/ 853 w 5810"/>
                  <a:gd name="connsiteY165" fmla="*/ 684 h 1085"/>
                  <a:gd name="connsiteX166" fmla="*/ 886 w 5810"/>
                  <a:gd name="connsiteY166" fmla="*/ 736 h 1085"/>
                  <a:gd name="connsiteX167" fmla="*/ 921 w 5810"/>
                  <a:gd name="connsiteY167" fmla="*/ 782 h 1085"/>
                  <a:gd name="connsiteX168" fmla="*/ 958 w 5810"/>
                  <a:gd name="connsiteY168" fmla="*/ 825 h 1085"/>
                  <a:gd name="connsiteX169" fmla="*/ 1000 w 5810"/>
                  <a:gd name="connsiteY169" fmla="*/ 863 h 1085"/>
                  <a:gd name="connsiteX170" fmla="*/ 1043 w 5810"/>
                  <a:gd name="connsiteY170" fmla="*/ 894 h 1085"/>
                  <a:gd name="connsiteX171" fmla="*/ 1090 w 5810"/>
                  <a:gd name="connsiteY171" fmla="*/ 921 h 1085"/>
                  <a:gd name="connsiteX172" fmla="*/ 1140 w 5810"/>
                  <a:gd name="connsiteY172" fmla="*/ 939 h 1085"/>
                  <a:gd name="connsiteX173" fmla="*/ 1196 w 5810"/>
                  <a:gd name="connsiteY173" fmla="*/ 952 h 1085"/>
                  <a:gd name="connsiteX174" fmla="*/ 1258 w 5810"/>
                  <a:gd name="connsiteY174" fmla="*/ 956 h 1085"/>
                  <a:gd name="connsiteX175" fmla="*/ 1264 w 5810"/>
                  <a:gd name="connsiteY175" fmla="*/ 956 h 1085"/>
                  <a:gd name="connsiteX176" fmla="*/ 1324 w 5810"/>
                  <a:gd name="connsiteY176" fmla="*/ 950 h 1085"/>
                  <a:gd name="connsiteX177" fmla="*/ 1380 w 5810"/>
                  <a:gd name="connsiteY177" fmla="*/ 935 h 1085"/>
                  <a:gd name="connsiteX178" fmla="*/ 1433 w 5810"/>
                  <a:gd name="connsiteY178" fmla="*/ 913 h 1085"/>
                  <a:gd name="connsiteX179" fmla="*/ 1481 w 5810"/>
                  <a:gd name="connsiteY179" fmla="*/ 884 h 1085"/>
                  <a:gd name="connsiteX180" fmla="*/ 1526 w 5810"/>
                  <a:gd name="connsiteY180" fmla="*/ 846 h 1085"/>
                  <a:gd name="connsiteX181" fmla="*/ 1569 w 5810"/>
                  <a:gd name="connsiteY181" fmla="*/ 803 h 1085"/>
                  <a:gd name="connsiteX182" fmla="*/ 1609 w 5810"/>
                  <a:gd name="connsiteY182" fmla="*/ 755 h 1085"/>
                  <a:gd name="connsiteX183" fmla="*/ 1648 w 5810"/>
                  <a:gd name="connsiteY183" fmla="*/ 703 h 1085"/>
                  <a:gd name="connsiteX184" fmla="*/ 1687 w 5810"/>
                  <a:gd name="connsiteY184" fmla="*/ 649 h 1085"/>
                  <a:gd name="connsiteX185" fmla="*/ 1799 w 5810"/>
                  <a:gd name="connsiteY185" fmla="*/ 475 h 1085"/>
                  <a:gd name="connsiteX186" fmla="*/ 1838 w 5810"/>
                  <a:gd name="connsiteY186" fmla="*/ 415 h 1085"/>
                  <a:gd name="connsiteX187" fmla="*/ 1879 w 5810"/>
                  <a:gd name="connsiteY187" fmla="*/ 357 h 1085"/>
                  <a:gd name="connsiteX188" fmla="*/ 1923 w 5810"/>
                  <a:gd name="connsiteY188" fmla="*/ 299 h 1085"/>
                  <a:gd name="connsiteX189" fmla="*/ 1968 w 5810"/>
                  <a:gd name="connsiteY189" fmla="*/ 245 h 1085"/>
                  <a:gd name="connsiteX190" fmla="*/ 2015 w 5810"/>
                  <a:gd name="connsiteY190" fmla="*/ 193 h 1085"/>
                  <a:gd name="connsiteX191" fmla="*/ 2069 w 5810"/>
                  <a:gd name="connsiteY191" fmla="*/ 145 h 1085"/>
                  <a:gd name="connsiteX192" fmla="*/ 2125 w 5810"/>
                  <a:gd name="connsiteY192" fmla="*/ 104 h 1085"/>
                  <a:gd name="connsiteX193" fmla="*/ 2187 w 5810"/>
                  <a:gd name="connsiteY193" fmla="*/ 69 h 1085"/>
                  <a:gd name="connsiteX194" fmla="*/ 2253 w 5810"/>
                  <a:gd name="connsiteY194" fmla="*/ 39 h 1085"/>
                  <a:gd name="connsiteX195" fmla="*/ 2325 w 5810"/>
                  <a:gd name="connsiteY195" fmla="*/ 19 h 1085"/>
                  <a:gd name="connsiteX196" fmla="*/ 2404 w 5810"/>
                  <a:gd name="connsiteY196" fmla="*/ 6 h 1085"/>
                  <a:gd name="connsiteX197" fmla="*/ 2474 w 5810"/>
                  <a:gd name="connsiteY197" fmla="*/ 4 h 1085"/>
                  <a:gd name="connsiteX198" fmla="*/ 2540 w 5810"/>
                  <a:gd name="connsiteY198" fmla="*/ 13 h 1085"/>
                  <a:gd name="connsiteX199" fmla="*/ 2600 w 5810"/>
                  <a:gd name="connsiteY199" fmla="*/ 27 h 1085"/>
                  <a:gd name="connsiteX200" fmla="*/ 2658 w 5810"/>
                  <a:gd name="connsiteY200" fmla="*/ 50 h 1085"/>
                  <a:gd name="connsiteX201" fmla="*/ 2711 w 5810"/>
                  <a:gd name="connsiteY201" fmla="*/ 81 h 1085"/>
                  <a:gd name="connsiteX202" fmla="*/ 2761 w 5810"/>
                  <a:gd name="connsiteY202" fmla="*/ 116 h 1085"/>
                  <a:gd name="connsiteX203" fmla="*/ 2806 w 5810"/>
                  <a:gd name="connsiteY203" fmla="*/ 158 h 1085"/>
                  <a:gd name="connsiteX204" fmla="*/ 2852 w 5810"/>
                  <a:gd name="connsiteY204" fmla="*/ 203 h 1085"/>
                  <a:gd name="connsiteX205" fmla="*/ 2893 w 5810"/>
                  <a:gd name="connsiteY205" fmla="*/ 251 h 1085"/>
                  <a:gd name="connsiteX206" fmla="*/ 2932 w 5810"/>
                  <a:gd name="connsiteY206" fmla="*/ 303 h 1085"/>
                  <a:gd name="connsiteX207" fmla="*/ 2969 w 5810"/>
                  <a:gd name="connsiteY207" fmla="*/ 357 h 1085"/>
                  <a:gd name="connsiteX208" fmla="*/ 3004 w 5810"/>
                  <a:gd name="connsiteY208" fmla="*/ 413 h 1085"/>
                  <a:gd name="connsiteX209" fmla="*/ 3039 w 5810"/>
                  <a:gd name="connsiteY209" fmla="*/ 467 h 1085"/>
                  <a:gd name="connsiteX210" fmla="*/ 3073 w 5810"/>
                  <a:gd name="connsiteY210" fmla="*/ 523 h 1085"/>
                  <a:gd name="connsiteX211" fmla="*/ 3110 w 5810"/>
                  <a:gd name="connsiteY211" fmla="*/ 585 h 1085"/>
                  <a:gd name="connsiteX212" fmla="*/ 3147 w 5810"/>
                  <a:gd name="connsiteY212" fmla="*/ 643 h 1085"/>
                  <a:gd name="connsiteX213" fmla="*/ 3186 w 5810"/>
                  <a:gd name="connsiteY213" fmla="*/ 701 h 1085"/>
                  <a:gd name="connsiteX214" fmla="*/ 3223 w 5810"/>
                  <a:gd name="connsiteY214" fmla="*/ 755 h 1085"/>
                  <a:gd name="connsiteX215" fmla="*/ 3265 w 5810"/>
                  <a:gd name="connsiteY215" fmla="*/ 805 h 1085"/>
                  <a:gd name="connsiteX216" fmla="*/ 3306 w 5810"/>
                  <a:gd name="connsiteY216" fmla="*/ 848 h 1085"/>
                  <a:gd name="connsiteX217" fmla="*/ 3349 w 5810"/>
                  <a:gd name="connsiteY217" fmla="*/ 886 h 1085"/>
                  <a:gd name="connsiteX218" fmla="*/ 3395 w 5810"/>
                  <a:gd name="connsiteY218" fmla="*/ 917 h 1085"/>
                  <a:gd name="connsiteX219" fmla="*/ 3444 w 5810"/>
                  <a:gd name="connsiteY219" fmla="*/ 939 h 1085"/>
                  <a:gd name="connsiteX220" fmla="*/ 3498 w 5810"/>
                  <a:gd name="connsiteY220" fmla="*/ 952 h 1085"/>
                  <a:gd name="connsiteX221" fmla="*/ 3554 w 5810"/>
                  <a:gd name="connsiteY221" fmla="*/ 956 h 1085"/>
                  <a:gd name="connsiteX222" fmla="*/ 3609 w 5810"/>
                  <a:gd name="connsiteY222" fmla="*/ 950 h 1085"/>
                  <a:gd name="connsiteX223" fmla="*/ 3659 w 5810"/>
                  <a:gd name="connsiteY223" fmla="*/ 935 h 1085"/>
                  <a:gd name="connsiteX224" fmla="*/ 3706 w 5810"/>
                  <a:gd name="connsiteY224" fmla="*/ 915 h 1085"/>
                  <a:gd name="connsiteX225" fmla="*/ 3750 w 5810"/>
                  <a:gd name="connsiteY225" fmla="*/ 884 h 1085"/>
                  <a:gd name="connsiteX226" fmla="*/ 3789 w 5810"/>
                  <a:gd name="connsiteY226" fmla="*/ 848 h 1085"/>
                  <a:gd name="connsiteX227" fmla="*/ 3826 w 5810"/>
                  <a:gd name="connsiteY227" fmla="*/ 807 h 1085"/>
                  <a:gd name="connsiteX228" fmla="*/ 3861 w 5810"/>
                  <a:gd name="connsiteY228" fmla="*/ 759 h 1085"/>
                  <a:gd name="connsiteX229" fmla="*/ 3894 w 5810"/>
                  <a:gd name="connsiteY229" fmla="*/ 709 h 1085"/>
                  <a:gd name="connsiteX230" fmla="*/ 3927 w 5810"/>
                  <a:gd name="connsiteY230" fmla="*/ 655 h 1085"/>
                  <a:gd name="connsiteX231" fmla="*/ 3960 w 5810"/>
                  <a:gd name="connsiteY231" fmla="*/ 597 h 1085"/>
                  <a:gd name="connsiteX232" fmla="*/ 3993 w 5810"/>
                  <a:gd name="connsiteY232" fmla="*/ 537 h 1085"/>
                  <a:gd name="connsiteX233" fmla="*/ 4022 w 5810"/>
                  <a:gd name="connsiteY233" fmla="*/ 483 h 1085"/>
                  <a:gd name="connsiteX234" fmla="*/ 4084 w 5810"/>
                  <a:gd name="connsiteY234" fmla="*/ 375 h 1085"/>
                  <a:gd name="connsiteX235" fmla="*/ 4154 w 5810"/>
                  <a:gd name="connsiteY235" fmla="*/ 272 h 1085"/>
                  <a:gd name="connsiteX236" fmla="*/ 4192 w 5810"/>
                  <a:gd name="connsiteY236" fmla="*/ 224 h 1085"/>
                  <a:gd name="connsiteX237" fmla="*/ 4233 w 5810"/>
                  <a:gd name="connsiteY237" fmla="*/ 178 h 1085"/>
                  <a:gd name="connsiteX238" fmla="*/ 4276 w 5810"/>
                  <a:gd name="connsiteY238" fmla="*/ 137 h 1085"/>
                  <a:gd name="connsiteX239" fmla="*/ 4324 w 5810"/>
                  <a:gd name="connsiteY239" fmla="*/ 100 h 1085"/>
                  <a:gd name="connsiteX240" fmla="*/ 4375 w 5810"/>
                  <a:gd name="connsiteY240" fmla="*/ 66 h 1085"/>
                  <a:gd name="connsiteX241" fmla="*/ 4433 w 5810"/>
                  <a:gd name="connsiteY241" fmla="*/ 39 h 1085"/>
                  <a:gd name="connsiteX242" fmla="*/ 4493 w 5810"/>
                  <a:gd name="connsiteY242" fmla="*/ 19 h 1085"/>
                  <a:gd name="connsiteX243" fmla="*/ 4559 w 5810"/>
                  <a:gd name="connsiteY243" fmla="*/ 6 h 1085"/>
                  <a:gd name="connsiteX244" fmla="*/ 4631 w 5810"/>
                  <a:gd name="connsiteY244" fmla="*/ 0 h 1085"/>
                  <a:gd name="connsiteX0" fmla="*/ 4631 w 5810"/>
                  <a:gd name="connsiteY0" fmla="*/ 0 h 1085"/>
                  <a:gd name="connsiteX1" fmla="*/ 4681 w 5810"/>
                  <a:gd name="connsiteY1" fmla="*/ 0 h 1085"/>
                  <a:gd name="connsiteX2" fmla="*/ 4710 w 5810"/>
                  <a:gd name="connsiteY2" fmla="*/ 4 h 1085"/>
                  <a:gd name="connsiteX3" fmla="*/ 4741 w 5810"/>
                  <a:gd name="connsiteY3" fmla="*/ 13 h 1085"/>
                  <a:gd name="connsiteX4" fmla="*/ 4778 w 5810"/>
                  <a:gd name="connsiteY4" fmla="*/ 23 h 1085"/>
                  <a:gd name="connsiteX5" fmla="*/ 4819 w 5810"/>
                  <a:gd name="connsiteY5" fmla="*/ 39 h 1085"/>
                  <a:gd name="connsiteX6" fmla="*/ 4863 w 5810"/>
                  <a:gd name="connsiteY6" fmla="*/ 60 h 1085"/>
                  <a:gd name="connsiteX7" fmla="*/ 4910 w 5810"/>
                  <a:gd name="connsiteY7" fmla="*/ 89 h 1085"/>
                  <a:gd name="connsiteX8" fmla="*/ 4960 w 5810"/>
                  <a:gd name="connsiteY8" fmla="*/ 124 h 1085"/>
                  <a:gd name="connsiteX9" fmla="*/ 5009 w 5810"/>
                  <a:gd name="connsiteY9" fmla="*/ 170 h 1085"/>
                  <a:gd name="connsiteX10" fmla="*/ 5061 w 5810"/>
                  <a:gd name="connsiteY10" fmla="*/ 224 h 1085"/>
                  <a:gd name="connsiteX11" fmla="*/ 5112 w 5810"/>
                  <a:gd name="connsiteY11" fmla="*/ 286 h 1085"/>
                  <a:gd name="connsiteX12" fmla="*/ 5164 w 5810"/>
                  <a:gd name="connsiteY12" fmla="*/ 361 h 1085"/>
                  <a:gd name="connsiteX13" fmla="*/ 5216 w 5810"/>
                  <a:gd name="connsiteY13" fmla="*/ 448 h 1085"/>
                  <a:gd name="connsiteX14" fmla="*/ 5267 w 5810"/>
                  <a:gd name="connsiteY14" fmla="*/ 548 h 1085"/>
                  <a:gd name="connsiteX15" fmla="*/ 5313 w 5810"/>
                  <a:gd name="connsiteY15" fmla="*/ 633 h 1085"/>
                  <a:gd name="connsiteX16" fmla="*/ 5358 w 5810"/>
                  <a:gd name="connsiteY16" fmla="*/ 707 h 1085"/>
                  <a:gd name="connsiteX17" fmla="*/ 5408 w 5810"/>
                  <a:gd name="connsiteY17" fmla="*/ 769 h 1085"/>
                  <a:gd name="connsiteX18" fmla="*/ 5455 w 5810"/>
                  <a:gd name="connsiteY18" fmla="*/ 821 h 1085"/>
                  <a:gd name="connsiteX19" fmla="*/ 5503 w 5810"/>
                  <a:gd name="connsiteY19" fmla="*/ 865 h 1085"/>
                  <a:gd name="connsiteX20" fmla="*/ 5550 w 5810"/>
                  <a:gd name="connsiteY20" fmla="*/ 900 h 1085"/>
                  <a:gd name="connsiteX21" fmla="*/ 5593 w 5810"/>
                  <a:gd name="connsiteY21" fmla="*/ 927 h 1085"/>
                  <a:gd name="connsiteX22" fmla="*/ 5637 w 5810"/>
                  <a:gd name="connsiteY22" fmla="*/ 948 h 1085"/>
                  <a:gd name="connsiteX23" fmla="*/ 5676 w 5810"/>
                  <a:gd name="connsiteY23" fmla="*/ 962 h 1085"/>
                  <a:gd name="connsiteX24" fmla="*/ 5711 w 5810"/>
                  <a:gd name="connsiteY24" fmla="*/ 973 h 1085"/>
                  <a:gd name="connsiteX25" fmla="*/ 5742 w 5810"/>
                  <a:gd name="connsiteY25" fmla="*/ 981 h 1085"/>
                  <a:gd name="connsiteX26" fmla="*/ 5767 w 5810"/>
                  <a:gd name="connsiteY26" fmla="*/ 983 h 1085"/>
                  <a:gd name="connsiteX27" fmla="*/ 5785 w 5810"/>
                  <a:gd name="connsiteY27" fmla="*/ 985 h 1085"/>
                  <a:gd name="connsiteX28" fmla="*/ 5802 w 5810"/>
                  <a:gd name="connsiteY28" fmla="*/ 985 h 1085"/>
                  <a:gd name="connsiteX29" fmla="*/ 5810 w 5810"/>
                  <a:gd name="connsiteY29" fmla="*/ 1072 h 1085"/>
                  <a:gd name="connsiteX30" fmla="*/ 5717 w 5810"/>
                  <a:gd name="connsiteY30" fmla="*/ 1064 h 1085"/>
                  <a:gd name="connsiteX31" fmla="*/ 5639 w 5810"/>
                  <a:gd name="connsiteY31" fmla="*/ 1043 h 1085"/>
                  <a:gd name="connsiteX32" fmla="*/ 5546 w 5810"/>
                  <a:gd name="connsiteY32" fmla="*/ 1002 h 1085"/>
                  <a:gd name="connsiteX33" fmla="*/ 5496 w 5810"/>
                  <a:gd name="connsiteY33" fmla="*/ 971 h 1085"/>
                  <a:gd name="connsiteX34" fmla="*/ 5191 w 5810"/>
                  <a:gd name="connsiteY34" fmla="*/ 585 h 1085"/>
                  <a:gd name="connsiteX35" fmla="*/ 5141 w 5810"/>
                  <a:gd name="connsiteY35" fmla="*/ 489 h 1085"/>
                  <a:gd name="connsiteX36" fmla="*/ 5092 w 5810"/>
                  <a:gd name="connsiteY36" fmla="*/ 407 h 1085"/>
                  <a:gd name="connsiteX37" fmla="*/ 5042 w 5810"/>
                  <a:gd name="connsiteY37" fmla="*/ 336 h 1085"/>
                  <a:gd name="connsiteX38" fmla="*/ 4993 w 5810"/>
                  <a:gd name="connsiteY38" fmla="*/ 276 h 1085"/>
                  <a:gd name="connsiteX39" fmla="*/ 4945 w 5810"/>
                  <a:gd name="connsiteY39" fmla="*/ 228 h 1085"/>
                  <a:gd name="connsiteX40" fmla="*/ 4900 w 5810"/>
                  <a:gd name="connsiteY40" fmla="*/ 189 h 1085"/>
                  <a:gd name="connsiteX41" fmla="*/ 4858 w 5810"/>
                  <a:gd name="connsiteY41" fmla="*/ 158 h 1085"/>
                  <a:gd name="connsiteX42" fmla="*/ 4819 w 5810"/>
                  <a:gd name="connsiteY42" fmla="*/ 135 h 1085"/>
                  <a:gd name="connsiteX43" fmla="*/ 4770 w 5810"/>
                  <a:gd name="connsiteY43" fmla="*/ 112 h 1085"/>
                  <a:gd name="connsiteX44" fmla="*/ 4726 w 5810"/>
                  <a:gd name="connsiteY44" fmla="*/ 98 h 1085"/>
                  <a:gd name="connsiteX45" fmla="*/ 4691 w 5810"/>
                  <a:gd name="connsiteY45" fmla="*/ 89 h 1085"/>
                  <a:gd name="connsiteX46" fmla="*/ 4662 w 5810"/>
                  <a:gd name="connsiteY46" fmla="*/ 87 h 1085"/>
                  <a:gd name="connsiteX47" fmla="*/ 4635 w 5810"/>
                  <a:gd name="connsiteY47" fmla="*/ 87 h 1085"/>
                  <a:gd name="connsiteX48" fmla="*/ 4569 w 5810"/>
                  <a:gd name="connsiteY48" fmla="*/ 93 h 1085"/>
                  <a:gd name="connsiteX49" fmla="*/ 4507 w 5810"/>
                  <a:gd name="connsiteY49" fmla="*/ 106 h 1085"/>
                  <a:gd name="connsiteX50" fmla="*/ 4452 w 5810"/>
                  <a:gd name="connsiteY50" fmla="*/ 127 h 1085"/>
                  <a:gd name="connsiteX51" fmla="*/ 4400 w 5810"/>
                  <a:gd name="connsiteY51" fmla="*/ 154 h 1085"/>
                  <a:gd name="connsiteX52" fmla="*/ 4353 w 5810"/>
                  <a:gd name="connsiteY52" fmla="*/ 187 h 1085"/>
                  <a:gd name="connsiteX53" fmla="*/ 4309 w 5810"/>
                  <a:gd name="connsiteY53" fmla="*/ 224 h 1085"/>
                  <a:gd name="connsiteX54" fmla="*/ 4270 w 5810"/>
                  <a:gd name="connsiteY54" fmla="*/ 268 h 1085"/>
                  <a:gd name="connsiteX55" fmla="*/ 4231 w 5810"/>
                  <a:gd name="connsiteY55" fmla="*/ 313 h 1085"/>
                  <a:gd name="connsiteX56" fmla="*/ 4196 w 5810"/>
                  <a:gd name="connsiteY56" fmla="*/ 363 h 1085"/>
                  <a:gd name="connsiteX57" fmla="*/ 4163 w 5810"/>
                  <a:gd name="connsiteY57" fmla="*/ 415 h 1085"/>
                  <a:gd name="connsiteX58" fmla="*/ 4101 w 5810"/>
                  <a:gd name="connsiteY58" fmla="*/ 523 h 1085"/>
                  <a:gd name="connsiteX59" fmla="*/ 4008 w 5810"/>
                  <a:gd name="connsiteY59" fmla="*/ 691 h 1085"/>
                  <a:gd name="connsiteX60" fmla="*/ 3975 w 5810"/>
                  <a:gd name="connsiteY60" fmla="*/ 747 h 1085"/>
                  <a:gd name="connsiteX61" fmla="*/ 3940 w 5810"/>
                  <a:gd name="connsiteY61" fmla="*/ 798 h 1085"/>
                  <a:gd name="connsiteX62" fmla="*/ 3905 w 5810"/>
                  <a:gd name="connsiteY62" fmla="*/ 848 h 1085"/>
                  <a:gd name="connsiteX63" fmla="*/ 3865 w 5810"/>
                  <a:gd name="connsiteY63" fmla="*/ 894 h 1085"/>
                  <a:gd name="connsiteX64" fmla="*/ 3824 w 5810"/>
                  <a:gd name="connsiteY64" fmla="*/ 935 h 1085"/>
                  <a:gd name="connsiteX65" fmla="*/ 3779 w 5810"/>
                  <a:gd name="connsiteY65" fmla="*/ 971 h 1085"/>
                  <a:gd name="connsiteX66" fmla="*/ 3729 w 5810"/>
                  <a:gd name="connsiteY66" fmla="*/ 1000 h 1085"/>
                  <a:gd name="connsiteX67" fmla="*/ 3677 w 5810"/>
                  <a:gd name="connsiteY67" fmla="*/ 1022 h 1085"/>
                  <a:gd name="connsiteX68" fmla="*/ 3620 w 5810"/>
                  <a:gd name="connsiteY68" fmla="*/ 1037 h 1085"/>
                  <a:gd name="connsiteX69" fmla="*/ 3556 w 5810"/>
                  <a:gd name="connsiteY69" fmla="*/ 1043 h 1085"/>
                  <a:gd name="connsiteX70" fmla="*/ 3547 w 5810"/>
                  <a:gd name="connsiteY70" fmla="*/ 1043 h 1085"/>
                  <a:gd name="connsiteX71" fmla="*/ 3485 w 5810"/>
                  <a:gd name="connsiteY71" fmla="*/ 1039 h 1085"/>
                  <a:gd name="connsiteX72" fmla="*/ 3426 w 5810"/>
                  <a:gd name="connsiteY72" fmla="*/ 1025 h 1085"/>
                  <a:gd name="connsiteX73" fmla="*/ 3372 w 5810"/>
                  <a:gd name="connsiteY73" fmla="*/ 1002 h 1085"/>
                  <a:gd name="connsiteX74" fmla="*/ 3320 w 5810"/>
                  <a:gd name="connsiteY74" fmla="*/ 973 h 1085"/>
                  <a:gd name="connsiteX75" fmla="*/ 3273 w 5810"/>
                  <a:gd name="connsiteY75" fmla="*/ 935 h 1085"/>
                  <a:gd name="connsiteX76" fmla="*/ 3229 w 5810"/>
                  <a:gd name="connsiteY76" fmla="*/ 894 h 1085"/>
                  <a:gd name="connsiteX77" fmla="*/ 3186 w 5810"/>
                  <a:gd name="connsiteY77" fmla="*/ 846 h 1085"/>
                  <a:gd name="connsiteX78" fmla="*/ 3147 w 5810"/>
                  <a:gd name="connsiteY78" fmla="*/ 796 h 1085"/>
                  <a:gd name="connsiteX79" fmla="*/ 3108 w 5810"/>
                  <a:gd name="connsiteY79" fmla="*/ 740 h 1085"/>
                  <a:gd name="connsiteX80" fmla="*/ 3070 w 5810"/>
                  <a:gd name="connsiteY80" fmla="*/ 684 h 1085"/>
                  <a:gd name="connsiteX81" fmla="*/ 2965 w 5810"/>
                  <a:gd name="connsiteY81" fmla="*/ 510 h 1085"/>
                  <a:gd name="connsiteX82" fmla="*/ 2928 w 5810"/>
                  <a:gd name="connsiteY82" fmla="*/ 452 h 1085"/>
                  <a:gd name="connsiteX83" fmla="*/ 2891 w 5810"/>
                  <a:gd name="connsiteY83" fmla="*/ 396 h 1085"/>
                  <a:gd name="connsiteX84" fmla="*/ 2854 w 5810"/>
                  <a:gd name="connsiteY84" fmla="*/ 342 h 1085"/>
                  <a:gd name="connsiteX85" fmla="*/ 2814 w 5810"/>
                  <a:gd name="connsiteY85" fmla="*/ 292 h 1085"/>
                  <a:gd name="connsiteX86" fmla="*/ 2773 w 5810"/>
                  <a:gd name="connsiteY86" fmla="*/ 247 h 1085"/>
                  <a:gd name="connsiteX87" fmla="*/ 2732 w 5810"/>
                  <a:gd name="connsiteY87" fmla="*/ 205 h 1085"/>
                  <a:gd name="connsiteX88" fmla="*/ 2686 w 5810"/>
                  <a:gd name="connsiteY88" fmla="*/ 168 h 1085"/>
                  <a:gd name="connsiteX89" fmla="*/ 2639 w 5810"/>
                  <a:gd name="connsiteY89" fmla="*/ 139 h 1085"/>
                  <a:gd name="connsiteX90" fmla="*/ 2587 w 5810"/>
                  <a:gd name="connsiteY90" fmla="*/ 116 h 1085"/>
                  <a:gd name="connsiteX91" fmla="*/ 2532 w 5810"/>
                  <a:gd name="connsiteY91" fmla="*/ 100 h 1085"/>
                  <a:gd name="connsiteX92" fmla="*/ 2474 w 5810"/>
                  <a:gd name="connsiteY92" fmla="*/ 91 h 1085"/>
                  <a:gd name="connsiteX93" fmla="*/ 2410 w 5810"/>
                  <a:gd name="connsiteY93" fmla="*/ 93 h 1085"/>
                  <a:gd name="connsiteX94" fmla="*/ 2342 w 5810"/>
                  <a:gd name="connsiteY94" fmla="*/ 104 h 1085"/>
                  <a:gd name="connsiteX95" fmla="*/ 2280 w 5810"/>
                  <a:gd name="connsiteY95" fmla="*/ 122 h 1085"/>
                  <a:gd name="connsiteX96" fmla="*/ 2222 w 5810"/>
                  <a:gd name="connsiteY96" fmla="*/ 147 h 1085"/>
                  <a:gd name="connsiteX97" fmla="*/ 2168 w 5810"/>
                  <a:gd name="connsiteY97" fmla="*/ 180 h 1085"/>
                  <a:gd name="connsiteX98" fmla="*/ 2117 w 5810"/>
                  <a:gd name="connsiteY98" fmla="*/ 218 h 1085"/>
                  <a:gd name="connsiteX99" fmla="*/ 2071 w 5810"/>
                  <a:gd name="connsiteY99" fmla="*/ 261 h 1085"/>
                  <a:gd name="connsiteX100" fmla="*/ 2026 w 5810"/>
                  <a:gd name="connsiteY100" fmla="*/ 307 h 1085"/>
                  <a:gd name="connsiteX101" fmla="*/ 1984 w 5810"/>
                  <a:gd name="connsiteY101" fmla="*/ 359 h 1085"/>
                  <a:gd name="connsiteX102" fmla="*/ 1945 w 5810"/>
                  <a:gd name="connsiteY102" fmla="*/ 413 h 1085"/>
                  <a:gd name="connsiteX103" fmla="*/ 1908 w 5810"/>
                  <a:gd name="connsiteY103" fmla="*/ 467 h 1085"/>
                  <a:gd name="connsiteX104" fmla="*/ 1871 w 5810"/>
                  <a:gd name="connsiteY104" fmla="*/ 523 h 1085"/>
                  <a:gd name="connsiteX105" fmla="*/ 1834 w 5810"/>
                  <a:gd name="connsiteY105" fmla="*/ 581 h 1085"/>
                  <a:gd name="connsiteX106" fmla="*/ 1799 w 5810"/>
                  <a:gd name="connsiteY106" fmla="*/ 637 h 1085"/>
                  <a:gd name="connsiteX107" fmla="*/ 1724 w 5810"/>
                  <a:gd name="connsiteY107" fmla="*/ 749 h 1085"/>
                  <a:gd name="connsiteX108" fmla="*/ 1685 w 5810"/>
                  <a:gd name="connsiteY108" fmla="*/ 801 h 1085"/>
                  <a:gd name="connsiteX109" fmla="*/ 1644 w 5810"/>
                  <a:gd name="connsiteY109" fmla="*/ 850 h 1085"/>
                  <a:gd name="connsiteX110" fmla="*/ 1600 w 5810"/>
                  <a:gd name="connsiteY110" fmla="*/ 896 h 1085"/>
                  <a:gd name="connsiteX111" fmla="*/ 1553 w 5810"/>
                  <a:gd name="connsiteY111" fmla="*/ 937 h 1085"/>
                  <a:gd name="connsiteX112" fmla="*/ 1503 w 5810"/>
                  <a:gd name="connsiteY112" fmla="*/ 973 h 1085"/>
                  <a:gd name="connsiteX113" fmla="*/ 1450 w 5810"/>
                  <a:gd name="connsiteY113" fmla="*/ 1002 h 1085"/>
                  <a:gd name="connsiteX114" fmla="*/ 1394 w 5810"/>
                  <a:gd name="connsiteY114" fmla="*/ 1025 h 1085"/>
                  <a:gd name="connsiteX115" fmla="*/ 1330 w 5810"/>
                  <a:gd name="connsiteY115" fmla="*/ 1037 h 1085"/>
                  <a:gd name="connsiteX116" fmla="*/ 1264 w 5810"/>
                  <a:gd name="connsiteY116" fmla="*/ 1043 h 1085"/>
                  <a:gd name="connsiteX117" fmla="*/ 1258 w 5810"/>
                  <a:gd name="connsiteY117" fmla="*/ 1043 h 1085"/>
                  <a:gd name="connsiteX118" fmla="*/ 1190 w 5810"/>
                  <a:gd name="connsiteY118" fmla="*/ 1039 h 1085"/>
                  <a:gd name="connsiteX119" fmla="*/ 1128 w 5810"/>
                  <a:gd name="connsiteY119" fmla="*/ 1027 h 1085"/>
                  <a:gd name="connsiteX120" fmla="*/ 1070 w 5810"/>
                  <a:gd name="connsiteY120" fmla="*/ 1008 h 1085"/>
                  <a:gd name="connsiteX121" fmla="*/ 1018 w 5810"/>
                  <a:gd name="connsiteY121" fmla="*/ 983 h 1085"/>
                  <a:gd name="connsiteX122" fmla="*/ 971 w 5810"/>
                  <a:gd name="connsiteY122" fmla="*/ 952 h 1085"/>
                  <a:gd name="connsiteX123" fmla="*/ 925 w 5810"/>
                  <a:gd name="connsiteY123" fmla="*/ 915 h 1085"/>
                  <a:gd name="connsiteX124" fmla="*/ 884 w 5810"/>
                  <a:gd name="connsiteY124" fmla="*/ 873 h 1085"/>
                  <a:gd name="connsiteX125" fmla="*/ 847 w 5810"/>
                  <a:gd name="connsiteY125" fmla="*/ 828 h 1085"/>
                  <a:gd name="connsiteX126" fmla="*/ 810 w 5810"/>
                  <a:gd name="connsiteY126" fmla="*/ 780 h 1085"/>
                  <a:gd name="connsiteX127" fmla="*/ 777 w 5810"/>
                  <a:gd name="connsiteY127" fmla="*/ 728 h 1085"/>
                  <a:gd name="connsiteX128" fmla="*/ 742 w 5810"/>
                  <a:gd name="connsiteY128" fmla="*/ 674 h 1085"/>
                  <a:gd name="connsiteX129" fmla="*/ 711 w 5810"/>
                  <a:gd name="connsiteY129" fmla="*/ 618 h 1085"/>
                  <a:gd name="connsiteX130" fmla="*/ 678 w 5810"/>
                  <a:gd name="connsiteY130" fmla="*/ 560 h 1085"/>
                  <a:gd name="connsiteX131" fmla="*/ 616 w 5810"/>
                  <a:gd name="connsiteY131" fmla="*/ 448 h 1085"/>
                  <a:gd name="connsiteX132" fmla="*/ 547 w 5810"/>
                  <a:gd name="connsiteY132" fmla="*/ 340 h 1085"/>
                  <a:gd name="connsiteX133" fmla="*/ 504 w 5810"/>
                  <a:gd name="connsiteY133" fmla="*/ 284 h 1085"/>
                  <a:gd name="connsiteX134" fmla="*/ 457 w 5810"/>
                  <a:gd name="connsiteY134" fmla="*/ 239 h 1085"/>
                  <a:gd name="connsiteX135" fmla="*/ 409 w 5810"/>
                  <a:gd name="connsiteY135" fmla="*/ 199 h 1085"/>
                  <a:gd name="connsiteX136" fmla="*/ 358 w 5810"/>
                  <a:gd name="connsiteY136" fmla="*/ 168 h 1085"/>
                  <a:gd name="connsiteX137" fmla="*/ 308 w 5810"/>
                  <a:gd name="connsiteY137" fmla="*/ 145 h 1085"/>
                  <a:gd name="connsiteX138" fmla="*/ 256 w 5810"/>
                  <a:gd name="connsiteY138" fmla="*/ 127 h 1085"/>
                  <a:gd name="connsiteX139" fmla="*/ 209 w 5810"/>
                  <a:gd name="connsiteY139" fmla="*/ 112 h 1085"/>
                  <a:gd name="connsiteX140" fmla="*/ 163 w 5810"/>
                  <a:gd name="connsiteY140" fmla="*/ 104 h 1085"/>
                  <a:gd name="connsiteX141" fmla="*/ 122 w 5810"/>
                  <a:gd name="connsiteY141" fmla="*/ 100 h 1085"/>
                  <a:gd name="connsiteX142" fmla="*/ 85 w 5810"/>
                  <a:gd name="connsiteY142" fmla="*/ 95 h 1085"/>
                  <a:gd name="connsiteX143" fmla="*/ 31 w 5810"/>
                  <a:gd name="connsiteY143" fmla="*/ 95 h 1085"/>
                  <a:gd name="connsiteX144" fmla="*/ 17 w 5810"/>
                  <a:gd name="connsiteY144" fmla="*/ 98 h 1085"/>
                  <a:gd name="connsiteX145" fmla="*/ 11 w 5810"/>
                  <a:gd name="connsiteY145" fmla="*/ 98 h 1085"/>
                  <a:gd name="connsiteX146" fmla="*/ 0 w 5810"/>
                  <a:gd name="connsiteY146" fmla="*/ 13 h 1085"/>
                  <a:gd name="connsiteX147" fmla="*/ 9 w 5810"/>
                  <a:gd name="connsiteY147" fmla="*/ 13 h 1085"/>
                  <a:gd name="connsiteX148" fmla="*/ 29 w 5810"/>
                  <a:gd name="connsiteY148" fmla="*/ 10 h 1085"/>
                  <a:gd name="connsiteX149" fmla="*/ 91 w 5810"/>
                  <a:gd name="connsiteY149" fmla="*/ 10 h 1085"/>
                  <a:gd name="connsiteX150" fmla="*/ 135 w 5810"/>
                  <a:gd name="connsiteY150" fmla="*/ 13 h 1085"/>
                  <a:gd name="connsiteX151" fmla="*/ 182 w 5810"/>
                  <a:gd name="connsiteY151" fmla="*/ 19 h 1085"/>
                  <a:gd name="connsiteX152" fmla="*/ 234 w 5810"/>
                  <a:gd name="connsiteY152" fmla="*/ 29 h 1085"/>
                  <a:gd name="connsiteX153" fmla="*/ 287 w 5810"/>
                  <a:gd name="connsiteY153" fmla="*/ 46 h 1085"/>
                  <a:gd name="connsiteX154" fmla="*/ 345 w 5810"/>
                  <a:gd name="connsiteY154" fmla="*/ 66 h 1085"/>
                  <a:gd name="connsiteX155" fmla="*/ 403 w 5810"/>
                  <a:gd name="connsiteY155" fmla="*/ 93 h 1085"/>
                  <a:gd name="connsiteX156" fmla="*/ 459 w 5810"/>
                  <a:gd name="connsiteY156" fmla="*/ 131 h 1085"/>
                  <a:gd name="connsiteX157" fmla="*/ 514 w 5810"/>
                  <a:gd name="connsiteY157" fmla="*/ 174 h 1085"/>
                  <a:gd name="connsiteX158" fmla="*/ 568 w 5810"/>
                  <a:gd name="connsiteY158" fmla="*/ 228 h 1085"/>
                  <a:gd name="connsiteX159" fmla="*/ 618 w 5810"/>
                  <a:gd name="connsiteY159" fmla="*/ 292 h 1085"/>
                  <a:gd name="connsiteX160" fmla="*/ 667 w 5810"/>
                  <a:gd name="connsiteY160" fmla="*/ 367 h 1085"/>
                  <a:gd name="connsiteX161" fmla="*/ 754 w 5810"/>
                  <a:gd name="connsiteY161" fmla="*/ 516 h 1085"/>
                  <a:gd name="connsiteX162" fmla="*/ 787 w 5810"/>
                  <a:gd name="connsiteY162" fmla="*/ 575 h 1085"/>
                  <a:gd name="connsiteX163" fmla="*/ 820 w 5810"/>
                  <a:gd name="connsiteY163" fmla="*/ 631 h 1085"/>
                  <a:gd name="connsiteX164" fmla="*/ 853 w 5810"/>
                  <a:gd name="connsiteY164" fmla="*/ 684 h 1085"/>
                  <a:gd name="connsiteX165" fmla="*/ 886 w 5810"/>
                  <a:gd name="connsiteY165" fmla="*/ 736 h 1085"/>
                  <a:gd name="connsiteX166" fmla="*/ 921 w 5810"/>
                  <a:gd name="connsiteY166" fmla="*/ 782 h 1085"/>
                  <a:gd name="connsiteX167" fmla="*/ 958 w 5810"/>
                  <a:gd name="connsiteY167" fmla="*/ 825 h 1085"/>
                  <a:gd name="connsiteX168" fmla="*/ 1000 w 5810"/>
                  <a:gd name="connsiteY168" fmla="*/ 863 h 1085"/>
                  <a:gd name="connsiteX169" fmla="*/ 1043 w 5810"/>
                  <a:gd name="connsiteY169" fmla="*/ 894 h 1085"/>
                  <a:gd name="connsiteX170" fmla="*/ 1090 w 5810"/>
                  <a:gd name="connsiteY170" fmla="*/ 921 h 1085"/>
                  <a:gd name="connsiteX171" fmla="*/ 1140 w 5810"/>
                  <a:gd name="connsiteY171" fmla="*/ 939 h 1085"/>
                  <a:gd name="connsiteX172" fmla="*/ 1196 w 5810"/>
                  <a:gd name="connsiteY172" fmla="*/ 952 h 1085"/>
                  <a:gd name="connsiteX173" fmla="*/ 1258 w 5810"/>
                  <a:gd name="connsiteY173" fmla="*/ 956 h 1085"/>
                  <a:gd name="connsiteX174" fmla="*/ 1264 w 5810"/>
                  <a:gd name="connsiteY174" fmla="*/ 956 h 1085"/>
                  <a:gd name="connsiteX175" fmla="*/ 1324 w 5810"/>
                  <a:gd name="connsiteY175" fmla="*/ 950 h 1085"/>
                  <a:gd name="connsiteX176" fmla="*/ 1380 w 5810"/>
                  <a:gd name="connsiteY176" fmla="*/ 935 h 1085"/>
                  <a:gd name="connsiteX177" fmla="*/ 1433 w 5810"/>
                  <a:gd name="connsiteY177" fmla="*/ 913 h 1085"/>
                  <a:gd name="connsiteX178" fmla="*/ 1481 w 5810"/>
                  <a:gd name="connsiteY178" fmla="*/ 884 h 1085"/>
                  <a:gd name="connsiteX179" fmla="*/ 1526 w 5810"/>
                  <a:gd name="connsiteY179" fmla="*/ 846 h 1085"/>
                  <a:gd name="connsiteX180" fmla="*/ 1569 w 5810"/>
                  <a:gd name="connsiteY180" fmla="*/ 803 h 1085"/>
                  <a:gd name="connsiteX181" fmla="*/ 1609 w 5810"/>
                  <a:gd name="connsiteY181" fmla="*/ 755 h 1085"/>
                  <a:gd name="connsiteX182" fmla="*/ 1648 w 5810"/>
                  <a:gd name="connsiteY182" fmla="*/ 703 h 1085"/>
                  <a:gd name="connsiteX183" fmla="*/ 1687 w 5810"/>
                  <a:gd name="connsiteY183" fmla="*/ 649 h 1085"/>
                  <a:gd name="connsiteX184" fmla="*/ 1799 w 5810"/>
                  <a:gd name="connsiteY184" fmla="*/ 475 h 1085"/>
                  <a:gd name="connsiteX185" fmla="*/ 1838 w 5810"/>
                  <a:gd name="connsiteY185" fmla="*/ 415 h 1085"/>
                  <a:gd name="connsiteX186" fmla="*/ 1879 w 5810"/>
                  <a:gd name="connsiteY186" fmla="*/ 357 h 1085"/>
                  <a:gd name="connsiteX187" fmla="*/ 1923 w 5810"/>
                  <a:gd name="connsiteY187" fmla="*/ 299 h 1085"/>
                  <a:gd name="connsiteX188" fmla="*/ 1968 w 5810"/>
                  <a:gd name="connsiteY188" fmla="*/ 245 h 1085"/>
                  <a:gd name="connsiteX189" fmla="*/ 2015 w 5810"/>
                  <a:gd name="connsiteY189" fmla="*/ 193 h 1085"/>
                  <a:gd name="connsiteX190" fmla="*/ 2069 w 5810"/>
                  <a:gd name="connsiteY190" fmla="*/ 145 h 1085"/>
                  <a:gd name="connsiteX191" fmla="*/ 2125 w 5810"/>
                  <a:gd name="connsiteY191" fmla="*/ 104 h 1085"/>
                  <a:gd name="connsiteX192" fmla="*/ 2187 w 5810"/>
                  <a:gd name="connsiteY192" fmla="*/ 69 h 1085"/>
                  <a:gd name="connsiteX193" fmla="*/ 2253 w 5810"/>
                  <a:gd name="connsiteY193" fmla="*/ 39 h 1085"/>
                  <a:gd name="connsiteX194" fmla="*/ 2325 w 5810"/>
                  <a:gd name="connsiteY194" fmla="*/ 19 h 1085"/>
                  <a:gd name="connsiteX195" fmla="*/ 2404 w 5810"/>
                  <a:gd name="connsiteY195" fmla="*/ 6 h 1085"/>
                  <a:gd name="connsiteX196" fmla="*/ 2474 w 5810"/>
                  <a:gd name="connsiteY196" fmla="*/ 4 h 1085"/>
                  <a:gd name="connsiteX197" fmla="*/ 2540 w 5810"/>
                  <a:gd name="connsiteY197" fmla="*/ 13 h 1085"/>
                  <a:gd name="connsiteX198" fmla="*/ 2600 w 5810"/>
                  <a:gd name="connsiteY198" fmla="*/ 27 h 1085"/>
                  <a:gd name="connsiteX199" fmla="*/ 2658 w 5810"/>
                  <a:gd name="connsiteY199" fmla="*/ 50 h 1085"/>
                  <a:gd name="connsiteX200" fmla="*/ 2711 w 5810"/>
                  <a:gd name="connsiteY200" fmla="*/ 81 h 1085"/>
                  <a:gd name="connsiteX201" fmla="*/ 2761 w 5810"/>
                  <a:gd name="connsiteY201" fmla="*/ 116 h 1085"/>
                  <a:gd name="connsiteX202" fmla="*/ 2806 w 5810"/>
                  <a:gd name="connsiteY202" fmla="*/ 158 h 1085"/>
                  <a:gd name="connsiteX203" fmla="*/ 2852 w 5810"/>
                  <a:gd name="connsiteY203" fmla="*/ 203 h 1085"/>
                  <a:gd name="connsiteX204" fmla="*/ 2893 w 5810"/>
                  <a:gd name="connsiteY204" fmla="*/ 251 h 1085"/>
                  <a:gd name="connsiteX205" fmla="*/ 2932 w 5810"/>
                  <a:gd name="connsiteY205" fmla="*/ 303 h 1085"/>
                  <a:gd name="connsiteX206" fmla="*/ 2969 w 5810"/>
                  <a:gd name="connsiteY206" fmla="*/ 357 h 1085"/>
                  <a:gd name="connsiteX207" fmla="*/ 3004 w 5810"/>
                  <a:gd name="connsiteY207" fmla="*/ 413 h 1085"/>
                  <a:gd name="connsiteX208" fmla="*/ 3039 w 5810"/>
                  <a:gd name="connsiteY208" fmla="*/ 467 h 1085"/>
                  <a:gd name="connsiteX209" fmla="*/ 3073 w 5810"/>
                  <a:gd name="connsiteY209" fmla="*/ 523 h 1085"/>
                  <a:gd name="connsiteX210" fmla="*/ 3110 w 5810"/>
                  <a:gd name="connsiteY210" fmla="*/ 585 h 1085"/>
                  <a:gd name="connsiteX211" fmla="*/ 3147 w 5810"/>
                  <a:gd name="connsiteY211" fmla="*/ 643 h 1085"/>
                  <a:gd name="connsiteX212" fmla="*/ 3186 w 5810"/>
                  <a:gd name="connsiteY212" fmla="*/ 701 h 1085"/>
                  <a:gd name="connsiteX213" fmla="*/ 3223 w 5810"/>
                  <a:gd name="connsiteY213" fmla="*/ 755 h 1085"/>
                  <a:gd name="connsiteX214" fmla="*/ 3265 w 5810"/>
                  <a:gd name="connsiteY214" fmla="*/ 805 h 1085"/>
                  <a:gd name="connsiteX215" fmla="*/ 3306 w 5810"/>
                  <a:gd name="connsiteY215" fmla="*/ 848 h 1085"/>
                  <a:gd name="connsiteX216" fmla="*/ 3349 w 5810"/>
                  <a:gd name="connsiteY216" fmla="*/ 886 h 1085"/>
                  <a:gd name="connsiteX217" fmla="*/ 3395 w 5810"/>
                  <a:gd name="connsiteY217" fmla="*/ 917 h 1085"/>
                  <a:gd name="connsiteX218" fmla="*/ 3444 w 5810"/>
                  <a:gd name="connsiteY218" fmla="*/ 939 h 1085"/>
                  <a:gd name="connsiteX219" fmla="*/ 3498 w 5810"/>
                  <a:gd name="connsiteY219" fmla="*/ 952 h 1085"/>
                  <a:gd name="connsiteX220" fmla="*/ 3554 w 5810"/>
                  <a:gd name="connsiteY220" fmla="*/ 956 h 1085"/>
                  <a:gd name="connsiteX221" fmla="*/ 3609 w 5810"/>
                  <a:gd name="connsiteY221" fmla="*/ 950 h 1085"/>
                  <a:gd name="connsiteX222" fmla="*/ 3659 w 5810"/>
                  <a:gd name="connsiteY222" fmla="*/ 935 h 1085"/>
                  <a:gd name="connsiteX223" fmla="*/ 3706 w 5810"/>
                  <a:gd name="connsiteY223" fmla="*/ 915 h 1085"/>
                  <a:gd name="connsiteX224" fmla="*/ 3750 w 5810"/>
                  <a:gd name="connsiteY224" fmla="*/ 884 h 1085"/>
                  <a:gd name="connsiteX225" fmla="*/ 3789 w 5810"/>
                  <a:gd name="connsiteY225" fmla="*/ 848 h 1085"/>
                  <a:gd name="connsiteX226" fmla="*/ 3826 w 5810"/>
                  <a:gd name="connsiteY226" fmla="*/ 807 h 1085"/>
                  <a:gd name="connsiteX227" fmla="*/ 3861 w 5810"/>
                  <a:gd name="connsiteY227" fmla="*/ 759 h 1085"/>
                  <a:gd name="connsiteX228" fmla="*/ 3894 w 5810"/>
                  <a:gd name="connsiteY228" fmla="*/ 709 h 1085"/>
                  <a:gd name="connsiteX229" fmla="*/ 3927 w 5810"/>
                  <a:gd name="connsiteY229" fmla="*/ 655 h 1085"/>
                  <a:gd name="connsiteX230" fmla="*/ 3960 w 5810"/>
                  <a:gd name="connsiteY230" fmla="*/ 597 h 1085"/>
                  <a:gd name="connsiteX231" fmla="*/ 3993 w 5810"/>
                  <a:gd name="connsiteY231" fmla="*/ 537 h 1085"/>
                  <a:gd name="connsiteX232" fmla="*/ 4022 w 5810"/>
                  <a:gd name="connsiteY232" fmla="*/ 483 h 1085"/>
                  <a:gd name="connsiteX233" fmla="*/ 4084 w 5810"/>
                  <a:gd name="connsiteY233" fmla="*/ 375 h 1085"/>
                  <a:gd name="connsiteX234" fmla="*/ 4154 w 5810"/>
                  <a:gd name="connsiteY234" fmla="*/ 272 h 1085"/>
                  <a:gd name="connsiteX235" fmla="*/ 4192 w 5810"/>
                  <a:gd name="connsiteY235" fmla="*/ 224 h 1085"/>
                  <a:gd name="connsiteX236" fmla="*/ 4233 w 5810"/>
                  <a:gd name="connsiteY236" fmla="*/ 178 h 1085"/>
                  <a:gd name="connsiteX237" fmla="*/ 4276 w 5810"/>
                  <a:gd name="connsiteY237" fmla="*/ 137 h 1085"/>
                  <a:gd name="connsiteX238" fmla="*/ 4324 w 5810"/>
                  <a:gd name="connsiteY238" fmla="*/ 100 h 1085"/>
                  <a:gd name="connsiteX239" fmla="*/ 4375 w 5810"/>
                  <a:gd name="connsiteY239" fmla="*/ 66 h 1085"/>
                  <a:gd name="connsiteX240" fmla="*/ 4433 w 5810"/>
                  <a:gd name="connsiteY240" fmla="*/ 39 h 1085"/>
                  <a:gd name="connsiteX241" fmla="*/ 4493 w 5810"/>
                  <a:gd name="connsiteY241" fmla="*/ 19 h 1085"/>
                  <a:gd name="connsiteX242" fmla="*/ 4559 w 5810"/>
                  <a:gd name="connsiteY242" fmla="*/ 6 h 1085"/>
                  <a:gd name="connsiteX243" fmla="*/ 4631 w 5810"/>
                  <a:gd name="connsiteY243" fmla="*/ 0 h 1085"/>
                  <a:gd name="connsiteX0" fmla="*/ 4631 w 5810"/>
                  <a:gd name="connsiteY0" fmla="*/ 0 h 1085"/>
                  <a:gd name="connsiteX1" fmla="*/ 4681 w 5810"/>
                  <a:gd name="connsiteY1" fmla="*/ 0 h 1085"/>
                  <a:gd name="connsiteX2" fmla="*/ 4710 w 5810"/>
                  <a:gd name="connsiteY2" fmla="*/ 4 h 1085"/>
                  <a:gd name="connsiteX3" fmla="*/ 4741 w 5810"/>
                  <a:gd name="connsiteY3" fmla="*/ 13 h 1085"/>
                  <a:gd name="connsiteX4" fmla="*/ 4778 w 5810"/>
                  <a:gd name="connsiteY4" fmla="*/ 23 h 1085"/>
                  <a:gd name="connsiteX5" fmla="*/ 4819 w 5810"/>
                  <a:gd name="connsiteY5" fmla="*/ 39 h 1085"/>
                  <a:gd name="connsiteX6" fmla="*/ 4863 w 5810"/>
                  <a:gd name="connsiteY6" fmla="*/ 60 h 1085"/>
                  <a:gd name="connsiteX7" fmla="*/ 4910 w 5810"/>
                  <a:gd name="connsiteY7" fmla="*/ 89 h 1085"/>
                  <a:gd name="connsiteX8" fmla="*/ 4960 w 5810"/>
                  <a:gd name="connsiteY8" fmla="*/ 124 h 1085"/>
                  <a:gd name="connsiteX9" fmla="*/ 5009 w 5810"/>
                  <a:gd name="connsiteY9" fmla="*/ 170 h 1085"/>
                  <a:gd name="connsiteX10" fmla="*/ 5061 w 5810"/>
                  <a:gd name="connsiteY10" fmla="*/ 224 h 1085"/>
                  <a:gd name="connsiteX11" fmla="*/ 5112 w 5810"/>
                  <a:gd name="connsiteY11" fmla="*/ 286 h 1085"/>
                  <a:gd name="connsiteX12" fmla="*/ 5164 w 5810"/>
                  <a:gd name="connsiteY12" fmla="*/ 361 h 1085"/>
                  <a:gd name="connsiteX13" fmla="*/ 5216 w 5810"/>
                  <a:gd name="connsiteY13" fmla="*/ 448 h 1085"/>
                  <a:gd name="connsiteX14" fmla="*/ 5267 w 5810"/>
                  <a:gd name="connsiteY14" fmla="*/ 548 h 1085"/>
                  <a:gd name="connsiteX15" fmla="*/ 5313 w 5810"/>
                  <a:gd name="connsiteY15" fmla="*/ 633 h 1085"/>
                  <a:gd name="connsiteX16" fmla="*/ 5358 w 5810"/>
                  <a:gd name="connsiteY16" fmla="*/ 707 h 1085"/>
                  <a:gd name="connsiteX17" fmla="*/ 5408 w 5810"/>
                  <a:gd name="connsiteY17" fmla="*/ 769 h 1085"/>
                  <a:gd name="connsiteX18" fmla="*/ 5455 w 5810"/>
                  <a:gd name="connsiteY18" fmla="*/ 821 h 1085"/>
                  <a:gd name="connsiteX19" fmla="*/ 5503 w 5810"/>
                  <a:gd name="connsiteY19" fmla="*/ 865 h 1085"/>
                  <a:gd name="connsiteX20" fmla="*/ 5550 w 5810"/>
                  <a:gd name="connsiteY20" fmla="*/ 900 h 1085"/>
                  <a:gd name="connsiteX21" fmla="*/ 5593 w 5810"/>
                  <a:gd name="connsiteY21" fmla="*/ 927 h 1085"/>
                  <a:gd name="connsiteX22" fmla="*/ 5637 w 5810"/>
                  <a:gd name="connsiteY22" fmla="*/ 948 h 1085"/>
                  <a:gd name="connsiteX23" fmla="*/ 5676 w 5810"/>
                  <a:gd name="connsiteY23" fmla="*/ 962 h 1085"/>
                  <a:gd name="connsiteX24" fmla="*/ 5711 w 5810"/>
                  <a:gd name="connsiteY24" fmla="*/ 973 h 1085"/>
                  <a:gd name="connsiteX25" fmla="*/ 5742 w 5810"/>
                  <a:gd name="connsiteY25" fmla="*/ 981 h 1085"/>
                  <a:gd name="connsiteX26" fmla="*/ 5767 w 5810"/>
                  <a:gd name="connsiteY26" fmla="*/ 983 h 1085"/>
                  <a:gd name="connsiteX27" fmla="*/ 5785 w 5810"/>
                  <a:gd name="connsiteY27" fmla="*/ 985 h 1085"/>
                  <a:gd name="connsiteX28" fmla="*/ 5802 w 5810"/>
                  <a:gd name="connsiteY28" fmla="*/ 985 h 1085"/>
                  <a:gd name="connsiteX29" fmla="*/ 5810 w 5810"/>
                  <a:gd name="connsiteY29" fmla="*/ 1072 h 1085"/>
                  <a:gd name="connsiteX30" fmla="*/ 5717 w 5810"/>
                  <a:gd name="connsiteY30" fmla="*/ 1064 h 1085"/>
                  <a:gd name="connsiteX31" fmla="*/ 5639 w 5810"/>
                  <a:gd name="connsiteY31" fmla="*/ 1043 h 1085"/>
                  <a:gd name="connsiteX32" fmla="*/ 5546 w 5810"/>
                  <a:gd name="connsiteY32" fmla="*/ 1002 h 1085"/>
                  <a:gd name="connsiteX33" fmla="*/ 5496 w 5810"/>
                  <a:gd name="connsiteY33" fmla="*/ 971 h 1085"/>
                  <a:gd name="connsiteX34" fmla="*/ 5141 w 5810"/>
                  <a:gd name="connsiteY34" fmla="*/ 489 h 1085"/>
                  <a:gd name="connsiteX35" fmla="*/ 5092 w 5810"/>
                  <a:gd name="connsiteY35" fmla="*/ 407 h 1085"/>
                  <a:gd name="connsiteX36" fmla="*/ 5042 w 5810"/>
                  <a:gd name="connsiteY36" fmla="*/ 336 h 1085"/>
                  <a:gd name="connsiteX37" fmla="*/ 4993 w 5810"/>
                  <a:gd name="connsiteY37" fmla="*/ 276 h 1085"/>
                  <a:gd name="connsiteX38" fmla="*/ 4945 w 5810"/>
                  <a:gd name="connsiteY38" fmla="*/ 228 h 1085"/>
                  <a:gd name="connsiteX39" fmla="*/ 4900 w 5810"/>
                  <a:gd name="connsiteY39" fmla="*/ 189 h 1085"/>
                  <a:gd name="connsiteX40" fmla="*/ 4858 w 5810"/>
                  <a:gd name="connsiteY40" fmla="*/ 158 h 1085"/>
                  <a:gd name="connsiteX41" fmla="*/ 4819 w 5810"/>
                  <a:gd name="connsiteY41" fmla="*/ 135 h 1085"/>
                  <a:gd name="connsiteX42" fmla="*/ 4770 w 5810"/>
                  <a:gd name="connsiteY42" fmla="*/ 112 h 1085"/>
                  <a:gd name="connsiteX43" fmla="*/ 4726 w 5810"/>
                  <a:gd name="connsiteY43" fmla="*/ 98 h 1085"/>
                  <a:gd name="connsiteX44" fmla="*/ 4691 w 5810"/>
                  <a:gd name="connsiteY44" fmla="*/ 89 h 1085"/>
                  <a:gd name="connsiteX45" fmla="*/ 4662 w 5810"/>
                  <a:gd name="connsiteY45" fmla="*/ 87 h 1085"/>
                  <a:gd name="connsiteX46" fmla="*/ 4635 w 5810"/>
                  <a:gd name="connsiteY46" fmla="*/ 87 h 1085"/>
                  <a:gd name="connsiteX47" fmla="*/ 4569 w 5810"/>
                  <a:gd name="connsiteY47" fmla="*/ 93 h 1085"/>
                  <a:gd name="connsiteX48" fmla="*/ 4507 w 5810"/>
                  <a:gd name="connsiteY48" fmla="*/ 106 h 1085"/>
                  <a:gd name="connsiteX49" fmla="*/ 4452 w 5810"/>
                  <a:gd name="connsiteY49" fmla="*/ 127 h 1085"/>
                  <a:gd name="connsiteX50" fmla="*/ 4400 w 5810"/>
                  <a:gd name="connsiteY50" fmla="*/ 154 h 1085"/>
                  <a:gd name="connsiteX51" fmla="*/ 4353 w 5810"/>
                  <a:gd name="connsiteY51" fmla="*/ 187 h 1085"/>
                  <a:gd name="connsiteX52" fmla="*/ 4309 w 5810"/>
                  <a:gd name="connsiteY52" fmla="*/ 224 h 1085"/>
                  <a:gd name="connsiteX53" fmla="*/ 4270 w 5810"/>
                  <a:gd name="connsiteY53" fmla="*/ 268 h 1085"/>
                  <a:gd name="connsiteX54" fmla="*/ 4231 w 5810"/>
                  <a:gd name="connsiteY54" fmla="*/ 313 h 1085"/>
                  <a:gd name="connsiteX55" fmla="*/ 4196 w 5810"/>
                  <a:gd name="connsiteY55" fmla="*/ 363 h 1085"/>
                  <a:gd name="connsiteX56" fmla="*/ 4163 w 5810"/>
                  <a:gd name="connsiteY56" fmla="*/ 415 h 1085"/>
                  <a:gd name="connsiteX57" fmla="*/ 4101 w 5810"/>
                  <a:gd name="connsiteY57" fmla="*/ 523 h 1085"/>
                  <a:gd name="connsiteX58" fmla="*/ 4008 w 5810"/>
                  <a:gd name="connsiteY58" fmla="*/ 691 h 1085"/>
                  <a:gd name="connsiteX59" fmla="*/ 3975 w 5810"/>
                  <a:gd name="connsiteY59" fmla="*/ 747 h 1085"/>
                  <a:gd name="connsiteX60" fmla="*/ 3940 w 5810"/>
                  <a:gd name="connsiteY60" fmla="*/ 798 h 1085"/>
                  <a:gd name="connsiteX61" fmla="*/ 3905 w 5810"/>
                  <a:gd name="connsiteY61" fmla="*/ 848 h 1085"/>
                  <a:gd name="connsiteX62" fmla="*/ 3865 w 5810"/>
                  <a:gd name="connsiteY62" fmla="*/ 894 h 1085"/>
                  <a:gd name="connsiteX63" fmla="*/ 3824 w 5810"/>
                  <a:gd name="connsiteY63" fmla="*/ 935 h 1085"/>
                  <a:gd name="connsiteX64" fmla="*/ 3779 w 5810"/>
                  <a:gd name="connsiteY64" fmla="*/ 971 h 1085"/>
                  <a:gd name="connsiteX65" fmla="*/ 3729 w 5810"/>
                  <a:gd name="connsiteY65" fmla="*/ 1000 h 1085"/>
                  <a:gd name="connsiteX66" fmla="*/ 3677 w 5810"/>
                  <a:gd name="connsiteY66" fmla="*/ 1022 h 1085"/>
                  <a:gd name="connsiteX67" fmla="*/ 3620 w 5810"/>
                  <a:gd name="connsiteY67" fmla="*/ 1037 h 1085"/>
                  <a:gd name="connsiteX68" fmla="*/ 3556 w 5810"/>
                  <a:gd name="connsiteY68" fmla="*/ 1043 h 1085"/>
                  <a:gd name="connsiteX69" fmla="*/ 3547 w 5810"/>
                  <a:gd name="connsiteY69" fmla="*/ 1043 h 1085"/>
                  <a:gd name="connsiteX70" fmla="*/ 3485 w 5810"/>
                  <a:gd name="connsiteY70" fmla="*/ 1039 h 1085"/>
                  <a:gd name="connsiteX71" fmla="*/ 3426 w 5810"/>
                  <a:gd name="connsiteY71" fmla="*/ 1025 h 1085"/>
                  <a:gd name="connsiteX72" fmla="*/ 3372 w 5810"/>
                  <a:gd name="connsiteY72" fmla="*/ 1002 h 1085"/>
                  <a:gd name="connsiteX73" fmla="*/ 3320 w 5810"/>
                  <a:gd name="connsiteY73" fmla="*/ 973 h 1085"/>
                  <a:gd name="connsiteX74" fmla="*/ 3273 w 5810"/>
                  <a:gd name="connsiteY74" fmla="*/ 935 h 1085"/>
                  <a:gd name="connsiteX75" fmla="*/ 3229 w 5810"/>
                  <a:gd name="connsiteY75" fmla="*/ 894 h 1085"/>
                  <a:gd name="connsiteX76" fmla="*/ 3186 w 5810"/>
                  <a:gd name="connsiteY76" fmla="*/ 846 h 1085"/>
                  <a:gd name="connsiteX77" fmla="*/ 3147 w 5810"/>
                  <a:gd name="connsiteY77" fmla="*/ 796 h 1085"/>
                  <a:gd name="connsiteX78" fmla="*/ 3108 w 5810"/>
                  <a:gd name="connsiteY78" fmla="*/ 740 h 1085"/>
                  <a:gd name="connsiteX79" fmla="*/ 3070 w 5810"/>
                  <a:gd name="connsiteY79" fmla="*/ 684 h 1085"/>
                  <a:gd name="connsiteX80" fmla="*/ 2965 w 5810"/>
                  <a:gd name="connsiteY80" fmla="*/ 510 h 1085"/>
                  <a:gd name="connsiteX81" fmla="*/ 2928 w 5810"/>
                  <a:gd name="connsiteY81" fmla="*/ 452 h 1085"/>
                  <a:gd name="connsiteX82" fmla="*/ 2891 w 5810"/>
                  <a:gd name="connsiteY82" fmla="*/ 396 h 1085"/>
                  <a:gd name="connsiteX83" fmla="*/ 2854 w 5810"/>
                  <a:gd name="connsiteY83" fmla="*/ 342 h 1085"/>
                  <a:gd name="connsiteX84" fmla="*/ 2814 w 5810"/>
                  <a:gd name="connsiteY84" fmla="*/ 292 h 1085"/>
                  <a:gd name="connsiteX85" fmla="*/ 2773 w 5810"/>
                  <a:gd name="connsiteY85" fmla="*/ 247 h 1085"/>
                  <a:gd name="connsiteX86" fmla="*/ 2732 w 5810"/>
                  <a:gd name="connsiteY86" fmla="*/ 205 h 1085"/>
                  <a:gd name="connsiteX87" fmla="*/ 2686 w 5810"/>
                  <a:gd name="connsiteY87" fmla="*/ 168 h 1085"/>
                  <a:gd name="connsiteX88" fmla="*/ 2639 w 5810"/>
                  <a:gd name="connsiteY88" fmla="*/ 139 h 1085"/>
                  <a:gd name="connsiteX89" fmla="*/ 2587 w 5810"/>
                  <a:gd name="connsiteY89" fmla="*/ 116 h 1085"/>
                  <a:gd name="connsiteX90" fmla="*/ 2532 w 5810"/>
                  <a:gd name="connsiteY90" fmla="*/ 100 h 1085"/>
                  <a:gd name="connsiteX91" fmla="*/ 2474 w 5810"/>
                  <a:gd name="connsiteY91" fmla="*/ 91 h 1085"/>
                  <a:gd name="connsiteX92" fmla="*/ 2410 w 5810"/>
                  <a:gd name="connsiteY92" fmla="*/ 93 h 1085"/>
                  <a:gd name="connsiteX93" fmla="*/ 2342 w 5810"/>
                  <a:gd name="connsiteY93" fmla="*/ 104 h 1085"/>
                  <a:gd name="connsiteX94" fmla="*/ 2280 w 5810"/>
                  <a:gd name="connsiteY94" fmla="*/ 122 h 1085"/>
                  <a:gd name="connsiteX95" fmla="*/ 2222 w 5810"/>
                  <a:gd name="connsiteY95" fmla="*/ 147 h 1085"/>
                  <a:gd name="connsiteX96" fmla="*/ 2168 w 5810"/>
                  <a:gd name="connsiteY96" fmla="*/ 180 h 1085"/>
                  <a:gd name="connsiteX97" fmla="*/ 2117 w 5810"/>
                  <a:gd name="connsiteY97" fmla="*/ 218 h 1085"/>
                  <a:gd name="connsiteX98" fmla="*/ 2071 w 5810"/>
                  <a:gd name="connsiteY98" fmla="*/ 261 h 1085"/>
                  <a:gd name="connsiteX99" fmla="*/ 2026 w 5810"/>
                  <a:gd name="connsiteY99" fmla="*/ 307 h 1085"/>
                  <a:gd name="connsiteX100" fmla="*/ 1984 w 5810"/>
                  <a:gd name="connsiteY100" fmla="*/ 359 h 1085"/>
                  <a:gd name="connsiteX101" fmla="*/ 1945 w 5810"/>
                  <a:gd name="connsiteY101" fmla="*/ 413 h 1085"/>
                  <a:gd name="connsiteX102" fmla="*/ 1908 w 5810"/>
                  <a:gd name="connsiteY102" fmla="*/ 467 h 1085"/>
                  <a:gd name="connsiteX103" fmla="*/ 1871 w 5810"/>
                  <a:gd name="connsiteY103" fmla="*/ 523 h 1085"/>
                  <a:gd name="connsiteX104" fmla="*/ 1834 w 5810"/>
                  <a:gd name="connsiteY104" fmla="*/ 581 h 1085"/>
                  <a:gd name="connsiteX105" fmla="*/ 1799 w 5810"/>
                  <a:gd name="connsiteY105" fmla="*/ 637 h 1085"/>
                  <a:gd name="connsiteX106" fmla="*/ 1724 w 5810"/>
                  <a:gd name="connsiteY106" fmla="*/ 749 h 1085"/>
                  <a:gd name="connsiteX107" fmla="*/ 1685 w 5810"/>
                  <a:gd name="connsiteY107" fmla="*/ 801 h 1085"/>
                  <a:gd name="connsiteX108" fmla="*/ 1644 w 5810"/>
                  <a:gd name="connsiteY108" fmla="*/ 850 h 1085"/>
                  <a:gd name="connsiteX109" fmla="*/ 1600 w 5810"/>
                  <a:gd name="connsiteY109" fmla="*/ 896 h 1085"/>
                  <a:gd name="connsiteX110" fmla="*/ 1553 w 5810"/>
                  <a:gd name="connsiteY110" fmla="*/ 937 h 1085"/>
                  <a:gd name="connsiteX111" fmla="*/ 1503 w 5810"/>
                  <a:gd name="connsiteY111" fmla="*/ 973 h 1085"/>
                  <a:gd name="connsiteX112" fmla="*/ 1450 w 5810"/>
                  <a:gd name="connsiteY112" fmla="*/ 1002 h 1085"/>
                  <a:gd name="connsiteX113" fmla="*/ 1394 w 5810"/>
                  <a:gd name="connsiteY113" fmla="*/ 1025 h 1085"/>
                  <a:gd name="connsiteX114" fmla="*/ 1330 w 5810"/>
                  <a:gd name="connsiteY114" fmla="*/ 1037 h 1085"/>
                  <a:gd name="connsiteX115" fmla="*/ 1264 w 5810"/>
                  <a:gd name="connsiteY115" fmla="*/ 1043 h 1085"/>
                  <a:gd name="connsiteX116" fmla="*/ 1258 w 5810"/>
                  <a:gd name="connsiteY116" fmla="*/ 1043 h 1085"/>
                  <a:gd name="connsiteX117" fmla="*/ 1190 w 5810"/>
                  <a:gd name="connsiteY117" fmla="*/ 1039 h 1085"/>
                  <a:gd name="connsiteX118" fmla="*/ 1128 w 5810"/>
                  <a:gd name="connsiteY118" fmla="*/ 1027 h 1085"/>
                  <a:gd name="connsiteX119" fmla="*/ 1070 w 5810"/>
                  <a:gd name="connsiteY119" fmla="*/ 1008 h 1085"/>
                  <a:gd name="connsiteX120" fmla="*/ 1018 w 5810"/>
                  <a:gd name="connsiteY120" fmla="*/ 983 h 1085"/>
                  <a:gd name="connsiteX121" fmla="*/ 971 w 5810"/>
                  <a:gd name="connsiteY121" fmla="*/ 952 h 1085"/>
                  <a:gd name="connsiteX122" fmla="*/ 925 w 5810"/>
                  <a:gd name="connsiteY122" fmla="*/ 915 h 1085"/>
                  <a:gd name="connsiteX123" fmla="*/ 884 w 5810"/>
                  <a:gd name="connsiteY123" fmla="*/ 873 h 1085"/>
                  <a:gd name="connsiteX124" fmla="*/ 847 w 5810"/>
                  <a:gd name="connsiteY124" fmla="*/ 828 h 1085"/>
                  <a:gd name="connsiteX125" fmla="*/ 810 w 5810"/>
                  <a:gd name="connsiteY125" fmla="*/ 780 h 1085"/>
                  <a:gd name="connsiteX126" fmla="*/ 777 w 5810"/>
                  <a:gd name="connsiteY126" fmla="*/ 728 h 1085"/>
                  <a:gd name="connsiteX127" fmla="*/ 742 w 5810"/>
                  <a:gd name="connsiteY127" fmla="*/ 674 h 1085"/>
                  <a:gd name="connsiteX128" fmla="*/ 711 w 5810"/>
                  <a:gd name="connsiteY128" fmla="*/ 618 h 1085"/>
                  <a:gd name="connsiteX129" fmla="*/ 678 w 5810"/>
                  <a:gd name="connsiteY129" fmla="*/ 560 h 1085"/>
                  <a:gd name="connsiteX130" fmla="*/ 616 w 5810"/>
                  <a:gd name="connsiteY130" fmla="*/ 448 h 1085"/>
                  <a:gd name="connsiteX131" fmla="*/ 547 w 5810"/>
                  <a:gd name="connsiteY131" fmla="*/ 340 h 1085"/>
                  <a:gd name="connsiteX132" fmla="*/ 504 w 5810"/>
                  <a:gd name="connsiteY132" fmla="*/ 284 h 1085"/>
                  <a:gd name="connsiteX133" fmla="*/ 457 w 5810"/>
                  <a:gd name="connsiteY133" fmla="*/ 239 h 1085"/>
                  <a:gd name="connsiteX134" fmla="*/ 409 w 5810"/>
                  <a:gd name="connsiteY134" fmla="*/ 199 h 1085"/>
                  <a:gd name="connsiteX135" fmla="*/ 358 w 5810"/>
                  <a:gd name="connsiteY135" fmla="*/ 168 h 1085"/>
                  <a:gd name="connsiteX136" fmla="*/ 308 w 5810"/>
                  <a:gd name="connsiteY136" fmla="*/ 145 h 1085"/>
                  <a:gd name="connsiteX137" fmla="*/ 256 w 5810"/>
                  <a:gd name="connsiteY137" fmla="*/ 127 h 1085"/>
                  <a:gd name="connsiteX138" fmla="*/ 209 w 5810"/>
                  <a:gd name="connsiteY138" fmla="*/ 112 h 1085"/>
                  <a:gd name="connsiteX139" fmla="*/ 163 w 5810"/>
                  <a:gd name="connsiteY139" fmla="*/ 104 h 1085"/>
                  <a:gd name="connsiteX140" fmla="*/ 122 w 5810"/>
                  <a:gd name="connsiteY140" fmla="*/ 100 h 1085"/>
                  <a:gd name="connsiteX141" fmla="*/ 85 w 5810"/>
                  <a:gd name="connsiteY141" fmla="*/ 95 h 1085"/>
                  <a:gd name="connsiteX142" fmla="*/ 31 w 5810"/>
                  <a:gd name="connsiteY142" fmla="*/ 95 h 1085"/>
                  <a:gd name="connsiteX143" fmla="*/ 17 w 5810"/>
                  <a:gd name="connsiteY143" fmla="*/ 98 h 1085"/>
                  <a:gd name="connsiteX144" fmla="*/ 11 w 5810"/>
                  <a:gd name="connsiteY144" fmla="*/ 98 h 1085"/>
                  <a:gd name="connsiteX145" fmla="*/ 0 w 5810"/>
                  <a:gd name="connsiteY145" fmla="*/ 13 h 1085"/>
                  <a:gd name="connsiteX146" fmla="*/ 9 w 5810"/>
                  <a:gd name="connsiteY146" fmla="*/ 13 h 1085"/>
                  <a:gd name="connsiteX147" fmla="*/ 29 w 5810"/>
                  <a:gd name="connsiteY147" fmla="*/ 10 h 1085"/>
                  <a:gd name="connsiteX148" fmla="*/ 91 w 5810"/>
                  <a:gd name="connsiteY148" fmla="*/ 10 h 1085"/>
                  <a:gd name="connsiteX149" fmla="*/ 135 w 5810"/>
                  <a:gd name="connsiteY149" fmla="*/ 13 h 1085"/>
                  <a:gd name="connsiteX150" fmla="*/ 182 w 5810"/>
                  <a:gd name="connsiteY150" fmla="*/ 19 h 1085"/>
                  <a:gd name="connsiteX151" fmla="*/ 234 w 5810"/>
                  <a:gd name="connsiteY151" fmla="*/ 29 h 1085"/>
                  <a:gd name="connsiteX152" fmla="*/ 287 w 5810"/>
                  <a:gd name="connsiteY152" fmla="*/ 46 h 1085"/>
                  <a:gd name="connsiteX153" fmla="*/ 345 w 5810"/>
                  <a:gd name="connsiteY153" fmla="*/ 66 h 1085"/>
                  <a:gd name="connsiteX154" fmla="*/ 403 w 5810"/>
                  <a:gd name="connsiteY154" fmla="*/ 93 h 1085"/>
                  <a:gd name="connsiteX155" fmla="*/ 459 w 5810"/>
                  <a:gd name="connsiteY155" fmla="*/ 131 h 1085"/>
                  <a:gd name="connsiteX156" fmla="*/ 514 w 5810"/>
                  <a:gd name="connsiteY156" fmla="*/ 174 h 1085"/>
                  <a:gd name="connsiteX157" fmla="*/ 568 w 5810"/>
                  <a:gd name="connsiteY157" fmla="*/ 228 h 1085"/>
                  <a:gd name="connsiteX158" fmla="*/ 618 w 5810"/>
                  <a:gd name="connsiteY158" fmla="*/ 292 h 1085"/>
                  <a:gd name="connsiteX159" fmla="*/ 667 w 5810"/>
                  <a:gd name="connsiteY159" fmla="*/ 367 h 1085"/>
                  <a:gd name="connsiteX160" fmla="*/ 754 w 5810"/>
                  <a:gd name="connsiteY160" fmla="*/ 516 h 1085"/>
                  <a:gd name="connsiteX161" fmla="*/ 787 w 5810"/>
                  <a:gd name="connsiteY161" fmla="*/ 575 h 1085"/>
                  <a:gd name="connsiteX162" fmla="*/ 820 w 5810"/>
                  <a:gd name="connsiteY162" fmla="*/ 631 h 1085"/>
                  <a:gd name="connsiteX163" fmla="*/ 853 w 5810"/>
                  <a:gd name="connsiteY163" fmla="*/ 684 h 1085"/>
                  <a:gd name="connsiteX164" fmla="*/ 886 w 5810"/>
                  <a:gd name="connsiteY164" fmla="*/ 736 h 1085"/>
                  <a:gd name="connsiteX165" fmla="*/ 921 w 5810"/>
                  <a:gd name="connsiteY165" fmla="*/ 782 h 1085"/>
                  <a:gd name="connsiteX166" fmla="*/ 958 w 5810"/>
                  <a:gd name="connsiteY166" fmla="*/ 825 h 1085"/>
                  <a:gd name="connsiteX167" fmla="*/ 1000 w 5810"/>
                  <a:gd name="connsiteY167" fmla="*/ 863 h 1085"/>
                  <a:gd name="connsiteX168" fmla="*/ 1043 w 5810"/>
                  <a:gd name="connsiteY168" fmla="*/ 894 h 1085"/>
                  <a:gd name="connsiteX169" fmla="*/ 1090 w 5810"/>
                  <a:gd name="connsiteY169" fmla="*/ 921 h 1085"/>
                  <a:gd name="connsiteX170" fmla="*/ 1140 w 5810"/>
                  <a:gd name="connsiteY170" fmla="*/ 939 h 1085"/>
                  <a:gd name="connsiteX171" fmla="*/ 1196 w 5810"/>
                  <a:gd name="connsiteY171" fmla="*/ 952 h 1085"/>
                  <a:gd name="connsiteX172" fmla="*/ 1258 w 5810"/>
                  <a:gd name="connsiteY172" fmla="*/ 956 h 1085"/>
                  <a:gd name="connsiteX173" fmla="*/ 1264 w 5810"/>
                  <a:gd name="connsiteY173" fmla="*/ 956 h 1085"/>
                  <a:gd name="connsiteX174" fmla="*/ 1324 w 5810"/>
                  <a:gd name="connsiteY174" fmla="*/ 950 h 1085"/>
                  <a:gd name="connsiteX175" fmla="*/ 1380 w 5810"/>
                  <a:gd name="connsiteY175" fmla="*/ 935 h 1085"/>
                  <a:gd name="connsiteX176" fmla="*/ 1433 w 5810"/>
                  <a:gd name="connsiteY176" fmla="*/ 913 h 1085"/>
                  <a:gd name="connsiteX177" fmla="*/ 1481 w 5810"/>
                  <a:gd name="connsiteY177" fmla="*/ 884 h 1085"/>
                  <a:gd name="connsiteX178" fmla="*/ 1526 w 5810"/>
                  <a:gd name="connsiteY178" fmla="*/ 846 h 1085"/>
                  <a:gd name="connsiteX179" fmla="*/ 1569 w 5810"/>
                  <a:gd name="connsiteY179" fmla="*/ 803 h 1085"/>
                  <a:gd name="connsiteX180" fmla="*/ 1609 w 5810"/>
                  <a:gd name="connsiteY180" fmla="*/ 755 h 1085"/>
                  <a:gd name="connsiteX181" fmla="*/ 1648 w 5810"/>
                  <a:gd name="connsiteY181" fmla="*/ 703 h 1085"/>
                  <a:gd name="connsiteX182" fmla="*/ 1687 w 5810"/>
                  <a:gd name="connsiteY182" fmla="*/ 649 h 1085"/>
                  <a:gd name="connsiteX183" fmla="*/ 1799 w 5810"/>
                  <a:gd name="connsiteY183" fmla="*/ 475 h 1085"/>
                  <a:gd name="connsiteX184" fmla="*/ 1838 w 5810"/>
                  <a:gd name="connsiteY184" fmla="*/ 415 h 1085"/>
                  <a:gd name="connsiteX185" fmla="*/ 1879 w 5810"/>
                  <a:gd name="connsiteY185" fmla="*/ 357 h 1085"/>
                  <a:gd name="connsiteX186" fmla="*/ 1923 w 5810"/>
                  <a:gd name="connsiteY186" fmla="*/ 299 h 1085"/>
                  <a:gd name="connsiteX187" fmla="*/ 1968 w 5810"/>
                  <a:gd name="connsiteY187" fmla="*/ 245 h 1085"/>
                  <a:gd name="connsiteX188" fmla="*/ 2015 w 5810"/>
                  <a:gd name="connsiteY188" fmla="*/ 193 h 1085"/>
                  <a:gd name="connsiteX189" fmla="*/ 2069 w 5810"/>
                  <a:gd name="connsiteY189" fmla="*/ 145 h 1085"/>
                  <a:gd name="connsiteX190" fmla="*/ 2125 w 5810"/>
                  <a:gd name="connsiteY190" fmla="*/ 104 h 1085"/>
                  <a:gd name="connsiteX191" fmla="*/ 2187 w 5810"/>
                  <a:gd name="connsiteY191" fmla="*/ 69 h 1085"/>
                  <a:gd name="connsiteX192" fmla="*/ 2253 w 5810"/>
                  <a:gd name="connsiteY192" fmla="*/ 39 h 1085"/>
                  <a:gd name="connsiteX193" fmla="*/ 2325 w 5810"/>
                  <a:gd name="connsiteY193" fmla="*/ 19 h 1085"/>
                  <a:gd name="connsiteX194" fmla="*/ 2404 w 5810"/>
                  <a:gd name="connsiteY194" fmla="*/ 6 h 1085"/>
                  <a:gd name="connsiteX195" fmla="*/ 2474 w 5810"/>
                  <a:gd name="connsiteY195" fmla="*/ 4 h 1085"/>
                  <a:gd name="connsiteX196" fmla="*/ 2540 w 5810"/>
                  <a:gd name="connsiteY196" fmla="*/ 13 h 1085"/>
                  <a:gd name="connsiteX197" fmla="*/ 2600 w 5810"/>
                  <a:gd name="connsiteY197" fmla="*/ 27 h 1085"/>
                  <a:gd name="connsiteX198" fmla="*/ 2658 w 5810"/>
                  <a:gd name="connsiteY198" fmla="*/ 50 h 1085"/>
                  <a:gd name="connsiteX199" fmla="*/ 2711 w 5810"/>
                  <a:gd name="connsiteY199" fmla="*/ 81 h 1085"/>
                  <a:gd name="connsiteX200" fmla="*/ 2761 w 5810"/>
                  <a:gd name="connsiteY200" fmla="*/ 116 h 1085"/>
                  <a:gd name="connsiteX201" fmla="*/ 2806 w 5810"/>
                  <a:gd name="connsiteY201" fmla="*/ 158 h 1085"/>
                  <a:gd name="connsiteX202" fmla="*/ 2852 w 5810"/>
                  <a:gd name="connsiteY202" fmla="*/ 203 h 1085"/>
                  <a:gd name="connsiteX203" fmla="*/ 2893 w 5810"/>
                  <a:gd name="connsiteY203" fmla="*/ 251 h 1085"/>
                  <a:gd name="connsiteX204" fmla="*/ 2932 w 5810"/>
                  <a:gd name="connsiteY204" fmla="*/ 303 h 1085"/>
                  <a:gd name="connsiteX205" fmla="*/ 2969 w 5810"/>
                  <a:gd name="connsiteY205" fmla="*/ 357 h 1085"/>
                  <a:gd name="connsiteX206" fmla="*/ 3004 w 5810"/>
                  <a:gd name="connsiteY206" fmla="*/ 413 h 1085"/>
                  <a:gd name="connsiteX207" fmla="*/ 3039 w 5810"/>
                  <a:gd name="connsiteY207" fmla="*/ 467 h 1085"/>
                  <a:gd name="connsiteX208" fmla="*/ 3073 w 5810"/>
                  <a:gd name="connsiteY208" fmla="*/ 523 h 1085"/>
                  <a:gd name="connsiteX209" fmla="*/ 3110 w 5810"/>
                  <a:gd name="connsiteY209" fmla="*/ 585 h 1085"/>
                  <a:gd name="connsiteX210" fmla="*/ 3147 w 5810"/>
                  <a:gd name="connsiteY210" fmla="*/ 643 h 1085"/>
                  <a:gd name="connsiteX211" fmla="*/ 3186 w 5810"/>
                  <a:gd name="connsiteY211" fmla="*/ 701 h 1085"/>
                  <a:gd name="connsiteX212" fmla="*/ 3223 w 5810"/>
                  <a:gd name="connsiteY212" fmla="*/ 755 h 1085"/>
                  <a:gd name="connsiteX213" fmla="*/ 3265 w 5810"/>
                  <a:gd name="connsiteY213" fmla="*/ 805 h 1085"/>
                  <a:gd name="connsiteX214" fmla="*/ 3306 w 5810"/>
                  <a:gd name="connsiteY214" fmla="*/ 848 h 1085"/>
                  <a:gd name="connsiteX215" fmla="*/ 3349 w 5810"/>
                  <a:gd name="connsiteY215" fmla="*/ 886 h 1085"/>
                  <a:gd name="connsiteX216" fmla="*/ 3395 w 5810"/>
                  <a:gd name="connsiteY216" fmla="*/ 917 h 1085"/>
                  <a:gd name="connsiteX217" fmla="*/ 3444 w 5810"/>
                  <a:gd name="connsiteY217" fmla="*/ 939 h 1085"/>
                  <a:gd name="connsiteX218" fmla="*/ 3498 w 5810"/>
                  <a:gd name="connsiteY218" fmla="*/ 952 h 1085"/>
                  <a:gd name="connsiteX219" fmla="*/ 3554 w 5810"/>
                  <a:gd name="connsiteY219" fmla="*/ 956 h 1085"/>
                  <a:gd name="connsiteX220" fmla="*/ 3609 w 5810"/>
                  <a:gd name="connsiteY220" fmla="*/ 950 h 1085"/>
                  <a:gd name="connsiteX221" fmla="*/ 3659 w 5810"/>
                  <a:gd name="connsiteY221" fmla="*/ 935 h 1085"/>
                  <a:gd name="connsiteX222" fmla="*/ 3706 w 5810"/>
                  <a:gd name="connsiteY222" fmla="*/ 915 h 1085"/>
                  <a:gd name="connsiteX223" fmla="*/ 3750 w 5810"/>
                  <a:gd name="connsiteY223" fmla="*/ 884 h 1085"/>
                  <a:gd name="connsiteX224" fmla="*/ 3789 w 5810"/>
                  <a:gd name="connsiteY224" fmla="*/ 848 h 1085"/>
                  <a:gd name="connsiteX225" fmla="*/ 3826 w 5810"/>
                  <a:gd name="connsiteY225" fmla="*/ 807 h 1085"/>
                  <a:gd name="connsiteX226" fmla="*/ 3861 w 5810"/>
                  <a:gd name="connsiteY226" fmla="*/ 759 h 1085"/>
                  <a:gd name="connsiteX227" fmla="*/ 3894 w 5810"/>
                  <a:gd name="connsiteY227" fmla="*/ 709 h 1085"/>
                  <a:gd name="connsiteX228" fmla="*/ 3927 w 5810"/>
                  <a:gd name="connsiteY228" fmla="*/ 655 h 1085"/>
                  <a:gd name="connsiteX229" fmla="*/ 3960 w 5810"/>
                  <a:gd name="connsiteY229" fmla="*/ 597 h 1085"/>
                  <a:gd name="connsiteX230" fmla="*/ 3993 w 5810"/>
                  <a:gd name="connsiteY230" fmla="*/ 537 h 1085"/>
                  <a:gd name="connsiteX231" fmla="*/ 4022 w 5810"/>
                  <a:gd name="connsiteY231" fmla="*/ 483 h 1085"/>
                  <a:gd name="connsiteX232" fmla="*/ 4084 w 5810"/>
                  <a:gd name="connsiteY232" fmla="*/ 375 h 1085"/>
                  <a:gd name="connsiteX233" fmla="*/ 4154 w 5810"/>
                  <a:gd name="connsiteY233" fmla="*/ 272 h 1085"/>
                  <a:gd name="connsiteX234" fmla="*/ 4192 w 5810"/>
                  <a:gd name="connsiteY234" fmla="*/ 224 h 1085"/>
                  <a:gd name="connsiteX235" fmla="*/ 4233 w 5810"/>
                  <a:gd name="connsiteY235" fmla="*/ 178 h 1085"/>
                  <a:gd name="connsiteX236" fmla="*/ 4276 w 5810"/>
                  <a:gd name="connsiteY236" fmla="*/ 137 h 1085"/>
                  <a:gd name="connsiteX237" fmla="*/ 4324 w 5810"/>
                  <a:gd name="connsiteY237" fmla="*/ 100 h 1085"/>
                  <a:gd name="connsiteX238" fmla="*/ 4375 w 5810"/>
                  <a:gd name="connsiteY238" fmla="*/ 66 h 1085"/>
                  <a:gd name="connsiteX239" fmla="*/ 4433 w 5810"/>
                  <a:gd name="connsiteY239" fmla="*/ 39 h 1085"/>
                  <a:gd name="connsiteX240" fmla="*/ 4493 w 5810"/>
                  <a:gd name="connsiteY240" fmla="*/ 19 h 1085"/>
                  <a:gd name="connsiteX241" fmla="*/ 4559 w 5810"/>
                  <a:gd name="connsiteY241" fmla="*/ 6 h 1085"/>
                  <a:gd name="connsiteX242" fmla="*/ 4631 w 5810"/>
                  <a:gd name="connsiteY242" fmla="*/ 0 h 1085"/>
                  <a:gd name="connsiteX0" fmla="*/ 4631 w 5810"/>
                  <a:gd name="connsiteY0" fmla="*/ 0 h 1085"/>
                  <a:gd name="connsiteX1" fmla="*/ 4681 w 5810"/>
                  <a:gd name="connsiteY1" fmla="*/ 0 h 1085"/>
                  <a:gd name="connsiteX2" fmla="*/ 4710 w 5810"/>
                  <a:gd name="connsiteY2" fmla="*/ 4 h 1085"/>
                  <a:gd name="connsiteX3" fmla="*/ 4741 w 5810"/>
                  <a:gd name="connsiteY3" fmla="*/ 13 h 1085"/>
                  <a:gd name="connsiteX4" fmla="*/ 4778 w 5810"/>
                  <a:gd name="connsiteY4" fmla="*/ 23 h 1085"/>
                  <a:gd name="connsiteX5" fmla="*/ 4819 w 5810"/>
                  <a:gd name="connsiteY5" fmla="*/ 39 h 1085"/>
                  <a:gd name="connsiteX6" fmla="*/ 4863 w 5810"/>
                  <a:gd name="connsiteY6" fmla="*/ 60 h 1085"/>
                  <a:gd name="connsiteX7" fmla="*/ 4910 w 5810"/>
                  <a:gd name="connsiteY7" fmla="*/ 89 h 1085"/>
                  <a:gd name="connsiteX8" fmla="*/ 4960 w 5810"/>
                  <a:gd name="connsiteY8" fmla="*/ 124 h 1085"/>
                  <a:gd name="connsiteX9" fmla="*/ 5009 w 5810"/>
                  <a:gd name="connsiteY9" fmla="*/ 170 h 1085"/>
                  <a:gd name="connsiteX10" fmla="*/ 5061 w 5810"/>
                  <a:gd name="connsiteY10" fmla="*/ 224 h 1085"/>
                  <a:gd name="connsiteX11" fmla="*/ 5112 w 5810"/>
                  <a:gd name="connsiteY11" fmla="*/ 286 h 1085"/>
                  <a:gd name="connsiteX12" fmla="*/ 5164 w 5810"/>
                  <a:gd name="connsiteY12" fmla="*/ 361 h 1085"/>
                  <a:gd name="connsiteX13" fmla="*/ 5216 w 5810"/>
                  <a:gd name="connsiteY13" fmla="*/ 448 h 1085"/>
                  <a:gd name="connsiteX14" fmla="*/ 5267 w 5810"/>
                  <a:gd name="connsiteY14" fmla="*/ 548 h 1085"/>
                  <a:gd name="connsiteX15" fmla="*/ 5313 w 5810"/>
                  <a:gd name="connsiteY15" fmla="*/ 633 h 1085"/>
                  <a:gd name="connsiteX16" fmla="*/ 5358 w 5810"/>
                  <a:gd name="connsiteY16" fmla="*/ 707 h 1085"/>
                  <a:gd name="connsiteX17" fmla="*/ 5408 w 5810"/>
                  <a:gd name="connsiteY17" fmla="*/ 769 h 1085"/>
                  <a:gd name="connsiteX18" fmla="*/ 5455 w 5810"/>
                  <a:gd name="connsiteY18" fmla="*/ 821 h 1085"/>
                  <a:gd name="connsiteX19" fmla="*/ 5503 w 5810"/>
                  <a:gd name="connsiteY19" fmla="*/ 865 h 1085"/>
                  <a:gd name="connsiteX20" fmla="*/ 5550 w 5810"/>
                  <a:gd name="connsiteY20" fmla="*/ 900 h 1085"/>
                  <a:gd name="connsiteX21" fmla="*/ 5593 w 5810"/>
                  <a:gd name="connsiteY21" fmla="*/ 927 h 1085"/>
                  <a:gd name="connsiteX22" fmla="*/ 5637 w 5810"/>
                  <a:gd name="connsiteY22" fmla="*/ 948 h 1085"/>
                  <a:gd name="connsiteX23" fmla="*/ 5676 w 5810"/>
                  <a:gd name="connsiteY23" fmla="*/ 962 h 1085"/>
                  <a:gd name="connsiteX24" fmla="*/ 5711 w 5810"/>
                  <a:gd name="connsiteY24" fmla="*/ 973 h 1085"/>
                  <a:gd name="connsiteX25" fmla="*/ 5742 w 5810"/>
                  <a:gd name="connsiteY25" fmla="*/ 981 h 1085"/>
                  <a:gd name="connsiteX26" fmla="*/ 5767 w 5810"/>
                  <a:gd name="connsiteY26" fmla="*/ 983 h 1085"/>
                  <a:gd name="connsiteX27" fmla="*/ 5785 w 5810"/>
                  <a:gd name="connsiteY27" fmla="*/ 985 h 1085"/>
                  <a:gd name="connsiteX28" fmla="*/ 5802 w 5810"/>
                  <a:gd name="connsiteY28" fmla="*/ 985 h 1085"/>
                  <a:gd name="connsiteX29" fmla="*/ 5810 w 5810"/>
                  <a:gd name="connsiteY29" fmla="*/ 1072 h 1085"/>
                  <a:gd name="connsiteX30" fmla="*/ 5717 w 5810"/>
                  <a:gd name="connsiteY30" fmla="*/ 1064 h 1085"/>
                  <a:gd name="connsiteX31" fmla="*/ 5639 w 5810"/>
                  <a:gd name="connsiteY31" fmla="*/ 1043 h 1085"/>
                  <a:gd name="connsiteX32" fmla="*/ 5546 w 5810"/>
                  <a:gd name="connsiteY32" fmla="*/ 1002 h 1085"/>
                  <a:gd name="connsiteX33" fmla="*/ 5496 w 5810"/>
                  <a:gd name="connsiteY33" fmla="*/ 971 h 1085"/>
                  <a:gd name="connsiteX34" fmla="*/ 5092 w 5810"/>
                  <a:gd name="connsiteY34" fmla="*/ 407 h 1085"/>
                  <a:gd name="connsiteX35" fmla="*/ 5042 w 5810"/>
                  <a:gd name="connsiteY35" fmla="*/ 336 h 1085"/>
                  <a:gd name="connsiteX36" fmla="*/ 4993 w 5810"/>
                  <a:gd name="connsiteY36" fmla="*/ 276 h 1085"/>
                  <a:gd name="connsiteX37" fmla="*/ 4945 w 5810"/>
                  <a:gd name="connsiteY37" fmla="*/ 228 h 1085"/>
                  <a:gd name="connsiteX38" fmla="*/ 4900 w 5810"/>
                  <a:gd name="connsiteY38" fmla="*/ 189 h 1085"/>
                  <a:gd name="connsiteX39" fmla="*/ 4858 w 5810"/>
                  <a:gd name="connsiteY39" fmla="*/ 158 h 1085"/>
                  <a:gd name="connsiteX40" fmla="*/ 4819 w 5810"/>
                  <a:gd name="connsiteY40" fmla="*/ 135 h 1085"/>
                  <a:gd name="connsiteX41" fmla="*/ 4770 w 5810"/>
                  <a:gd name="connsiteY41" fmla="*/ 112 h 1085"/>
                  <a:gd name="connsiteX42" fmla="*/ 4726 w 5810"/>
                  <a:gd name="connsiteY42" fmla="*/ 98 h 1085"/>
                  <a:gd name="connsiteX43" fmla="*/ 4691 w 5810"/>
                  <a:gd name="connsiteY43" fmla="*/ 89 h 1085"/>
                  <a:gd name="connsiteX44" fmla="*/ 4662 w 5810"/>
                  <a:gd name="connsiteY44" fmla="*/ 87 h 1085"/>
                  <a:gd name="connsiteX45" fmla="*/ 4635 w 5810"/>
                  <a:gd name="connsiteY45" fmla="*/ 87 h 1085"/>
                  <a:gd name="connsiteX46" fmla="*/ 4569 w 5810"/>
                  <a:gd name="connsiteY46" fmla="*/ 93 h 1085"/>
                  <a:gd name="connsiteX47" fmla="*/ 4507 w 5810"/>
                  <a:gd name="connsiteY47" fmla="*/ 106 h 1085"/>
                  <a:gd name="connsiteX48" fmla="*/ 4452 w 5810"/>
                  <a:gd name="connsiteY48" fmla="*/ 127 h 1085"/>
                  <a:gd name="connsiteX49" fmla="*/ 4400 w 5810"/>
                  <a:gd name="connsiteY49" fmla="*/ 154 h 1085"/>
                  <a:gd name="connsiteX50" fmla="*/ 4353 w 5810"/>
                  <a:gd name="connsiteY50" fmla="*/ 187 h 1085"/>
                  <a:gd name="connsiteX51" fmla="*/ 4309 w 5810"/>
                  <a:gd name="connsiteY51" fmla="*/ 224 h 1085"/>
                  <a:gd name="connsiteX52" fmla="*/ 4270 w 5810"/>
                  <a:gd name="connsiteY52" fmla="*/ 268 h 1085"/>
                  <a:gd name="connsiteX53" fmla="*/ 4231 w 5810"/>
                  <a:gd name="connsiteY53" fmla="*/ 313 h 1085"/>
                  <a:gd name="connsiteX54" fmla="*/ 4196 w 5810"/>
                  <a:gd name="connsiteY54" fmla="*/ 363 h 1085"/>
                  <a:gd name="connsiteX55" fmla="*/ 4163 w 5810"/>
                  <a:gd name="connsiteY55" fmla="*/ 415 h 1085"/>
                  <a:gd name="connsiteX56" fmla="*/ 4101 w 5810"/>
                  <a:gd name="connsiteY56" fmla="*/ 523 h 1085"/>
                  <a:gd name="connsiteX57" fmla="*/ 4008 w 5810"/>
                  <a:gd name="connsiteY57" fmla="*/ 691 h 1085"/>
                  <a:gd name="connsiteX58" fmla="*/ 3975 w 5810"/>
                  <a:gd name="connsiteY58" fmla="*/ 747 h 1085"/>
                  <a:gd name="connsiteX59" fmla="*/ 3940 w 5810"/>
                  <a:gd name="connsiteY59" fmla="*/ 798 h 1085"/>
                  <a:gd name="connsiteX60" fmla="*/ 3905 w 5810"/>
                  <a:gd name="connsiteY60" fmla="*/ 848 h 1085"/>
                  <a:gd name="connsiteX61" fmla="*/ 3865 w 5810"/>
                  <a:gd name="connsiteY61" fmla="*/ 894 h 1085"/>
                  <a:gd name="connsiteX62" fmla="*/ 3824 w 5810"/>
                  <a:gd name="connsiteY62" fmla="*/ 935 h 1085"/>
                  <a:gd name="connsiteX63" fmla="*/ 3779 w 5810"/>
                  <a:gd name="connsiteY63" fmla="*/ 971 h 1085"/>
                  <a:gd name="connsiteX64" fmla="*/ 3729 w 5810"/>
                  <a:gd name="connsiteY64" fmla="*/ 1000 h 1085"/>
                  <a:gd name="connsiteX65" fmla="*/ 3677 w 5810"/>
                  <a:gd name="connsiteY65" fmla="*/ 1022 h 1085"/>
                  <a:gd name="connsiteX66" fmla="*/ 3620 w 5810"/>
                  <a:gd name="connsiteY66" fmla="*/ 1037 h 1085"/>
                  <a:gd name="connsiteX67" fmla="*/ 3556 w 5810"/>
                  <a:gd name="connsiteY67" fmla="*/ 1043 h 1085"/>
                  <a:gd name="connsiteX68" fmla="*/ 3547 w 5810"/>
                  <a:gd name="connsiteY68" fmla="*/ 1043 h 1085"/>
                  <a:gd name="connsiteX69" fmla="*/ 3485 w 5810"/>
                  <a:gd name="connsiteY69" fmla="*/ 1039 h 1085"/>
                  <a:gd name="connsiteX70" fmla="*/ 3426 w 5810"/>
                  <a:gd name="connsiteY70" fmla="*/ 1025 h 1085"/>
                  <a:gd name="connsiteX71" fmla="*/ 3372 w 5810"/>
                  <a:gd name="connsiteY71" fmla="*/ 1002 h 1085"/>
                  <a:gd name="connsiteX72" fmla="*/ 3320 w 5810"/>
                  <a:gd name="connsiteY72" fmla="*/ 973 h 1085"/>
                  <a:gd name="connsiteX73" fmla="*/ 3273 w 5810"/>
                  <a:gd name="connsiteY73" fmla="*/ 935 h 1085"/>
                  <a:gd name="connsiteX74" fmla="*/ 3229 w 5810"/>
                  <a:gd name="connsiteY74" fmla="*/ 894 h 1085"/>
                  <a:gd name="connsiteX75" fmla="*/ 3186 w 5810"/>
                  <a:gd name="connsiteY75" fmla="*/ 846 h 1085"/>
                  <a:gd name="connsiteX76" fmla="*/ 3147 w 5810"/>
                  <a:gd name="connsiteY76" fmla="*/ 796 h 1085"/>
                  <a:gd name="connsiteX77" fmla="*/ 3108 w 5810"/>
                  <a:gd name="connsiteY77" fmla="*/ 740 h 1085"/>
                  <a:gd name="connsiteX78" fmla="*/ 3070 w 5810"/>
                  <a:gd name="connsiteY78" fmla="*/ 684 h 1085"/>
                  <a:gd name="connsiteX79" fmla="*/ 2965 w 5810"/>
                  <a:gd name="connsiteY79" fmla="*/ 510 h 1085"/>
                  <a:gd name="connsiteX80" fmla="*/ 2928 w 5810"/>
                  <a:gd name="connsiteY80" fmla="*/ 452 h 1085"/>
                  <a:gd name="connsiteX81" fmla="*/ 2891 w 5810"/>
                  <a:gd name="connsiteY81" fmla="*/ 396 h 1085"/>
                  <a:gd name="connsiteX82" fmla="*/ 2854 w 5810"/>
                  <a:gd name="connsiteY82" fmla="*/ 342 h 1085"/>
                  <a:gd name="connsiteX83" fmla="*/ 2814 w 5810"/>
                  <a:gd name="connsiteY83" fmla="*/ 292 h 1085"/>
                  <a:gd name="connsiteX84" fmla="*/ 2773 w 5810"/>
                  <a:gd name="connsiteY84" fmla="*/ 247 h 1085"/>
                  <a:gd name="connsiteX85" fmla="*/ 2732 w 5810"/>
                  <a:gd name="connsiteY85" fmla="*/ 205 h 1085"/>
                  <a:gd name="connsiteX86" fmla="*/ 2686 w 5810"/>
                  <a:gd name="connsiteY86" fmla="*/ 168 h 1085"/>
                  <a:gd name="connsiteX87" fmla="*/ 2639 w 5810"/>
                  <a:gd name="connsiteY87" fmla="*/ 139 h 1085"/>
                  <a:gd name="connsiteX88" fmla="*/ 2587 w 5810"/>
                  <a:gd name="connsiteY88" fmla="*/ 116 h 1085"/>
                  <a:gd name="connsiteX89" fmla="*/ 2532 w 5810"/>
                  <a:gd name="connsiteY89" fmla="*/ 100 h 1085"/>
                  <a:gd name="connsiteX90" fmla="*/ 2474 w 5810"/>
                  <a:gd name="connsiteY90" fmla="*/ 91 h 1085"/>
                  <a:gd name="connsiteX91" fmla="*/ 2410 w 5810"/>
                  <a:gd name="connsiteY91" fmla="*/ 93 h 1085"/>
                  <a:gd name="connsiteX92" fmla="*/ 2342 w 5810"/>
                  <a:gd name="connsiteY92" fmla="*/ 104 h 1085"/>
                  <a:gd name="connsiteX93" fmla="*/ 2280 w 5810"/>
                  <a:gd name="connsiteY93" fmla="*/ 122 h 1085"/>
                  <a:gd name="connsiteX94" fmla="*/ 2222 w 5810"/>
                  <a:gd name="connsiteY94" fmla="*/ 147 h 1085"/>
                  <a:gd name="connsiteX95" fmla="*/ 2168 w 5810"/>
                  <a:gd name="connsiteY95" fmla="*/ 180 h 1085"/>
                  <a:gd name="connsiteX96" fmla="*/ 2117 w 5810"/>
                  <a:gd name="connsiteY96" fmla="*/ 218 h 1085"/>
                  <a:gd name="connsiteX97" fmla="*/ 2071 w 5810"/>
                  <a:gd name="connsiteY97" fmla="*/ 261 h 1085"/>
                  <a:gd name="connsiteX98" fmla="*/ 2026 w 5810"/>
                  <a:gd name="connsiteY98" fmla="*/ 307 h 1085"/>
                  <a:gd name="connsiteX99" fmla="*/ 1984 w 5810"/>
                  <a:gd name="connsiteY99" fmla="*/ 359 h 1085"/>
                  <a:gd name="connsiteX100" fmla="*/ 1945 w 5810"/>
                  <a:gd name="connsiteY100" fmla="*/ 413 h 1085"/>
                  <a:gd name="connsiteX101" fmla="*/ 1908 w 5810"/>
                  <a:gd name="connsiteY101" fmla="*/ 467 h 1085"/>
                  <a:gd name="connsiteX102" fmla="*/ 1871 w 5810"/>
                  <a:gd name="connsiteY102" fmla="*/ 523 h 1085"/>
                  <a:gd name="connsiteX103" fmla="*/ 1834 w 5810"/>
                  <a:gd name="connsiteY103" fmla="*/ 581 h 1085"/>
                  <a:gd name="connsiteX104" fmla="*/ 1799 w 5810"/>
                  <a:gd name="connsiteY104" fmla="*/ 637 h 1085"/>
                  <a:gd name="connsiteX105" fmla="*/ 1724 w 5810"/>
                  <a:gd name="connsiteY105" fmla="*/ 749 h 1085"/>
                  <a:gd name="connsiteX106" fmla="*/ 1685 w 5810"/>
                  <a:gd name="connsiteY106" fmla="*/ 801 h 1085"/>
                  <a:gd name="connsiteX107" fmla="*/ 1644 w 5810"/>
                  <a:gd name="connsiteY107" fmla="*/ 850 h 1085"/>
                  <a:gd name="connsiteX108" fmla="*/ 1600 w 5810"/>
                  <a:gd name="connsiteY108" fmla="*/ 896 h 1085"/>
                  <a:gd name="connsiteX109" fmla="*/ 1553 w 5810"/>
                  <a:gd name="connsiteY109" fmla="*/ 937 h 1085"/>
                  <a:gd name="connsiteX110" fmla="*/ 1503 w 5810"/>
                  <a:gd name="connsiteY110" fmla="*/ 973 h 1085"/>
                  <a:gd name="connsiteX111" fmla="*/ 1450 w 5810"/>
                  <a:gd name="connsiteY111" fmla="*/ 1002 h 1085"/>
                  <a:gd name="connsiteX112" fmla="*/ 1394 w 5810"/>
                  <a:gd name="connsiteY112" fmla="*/ 1025 h 1085"/>
                  <a:gd name="connsiteX113" fmla="*/ 1330 w 5810"/>
                  <a:gd name="connsiteY113" fmla="*/ 1037 h 1085"/>
                  <a:gd name="connsiteX114" fmla="*/ 1264 w 5810"/>
                  <a:gd name="connsiteY114" fmla="*/ 1043 h 1085"/>
                  <a:gd name="connsiteX115" fmla="*/ 1258 w 5810"/>
                  <a:gd name="connsiteY115" fmla="*/ 1043 h 1085"/>
                  <a:gd name="connsiteX116" fmla="*/ 1190 w 5810"/>
                  <a:gd name="connsiteY116" fmla="*/ 1039 h 1085"/>
                  <a:gd name="connsiteX117" fmla="*/ 1128 w 5810"/>
                  <a:gd name="connsiteY117" fmla="*/ 1027 h 1085"/>
                  <a:gd name="connsiteX118" fmla="*/ 1070 w 5810"/>
                  <a:gd name="connsiteY118" fmla="*/ 1008 h 1085"/>
                  <a:gd name="connsiteX119" fmla="*/ 1018 w 5810"/>
                  <a:gd name="connsiteY119" fmla="*/ 983 h 1085"/>
                  <a:gd name="connsiteX120" fmla="*/ 971 w 5810"/>
                  <a:gd name="connsiteY120" fmla="*/ 952 h 1085"/>
                  <a:gd name="connsiteX121" fmla="*/ 925 w 5810"/>
                  <a:gd name="connsiteY121" fmla="*/ 915 h 1085"/>
                  <a:gd name="connsiteX122" fmla="*/ 884 w 5810"/>
                  <a:gd name="connsiteY122" fmla="*/ 873 h 1085"/>
                  <a:gd name="connsiteX123" fmla="*/ 847 w 5810"/>
                  <a:gd name="connsiteY123" fmla="*/ 828 h 1085"/>
                  <a:gd name="connsiteX124" fmla="*/ 810 w 5810"/>
                  <a:gd name="connsiteY124" fmla="*/ 780 h 1085"/>
                  <a:gd name="connsiteX125" fmla="*/ 777 w 5810"/>
                  <a:gd name="connsiteY125" fmla="*/ 728 h 1085"/>
                  <a:gd name="connsiteX126" fmla="*/ 742 w 5810"/>
                  <a:gd name="connsiteY126" fmla="*/ 674 h 1085"/>
                  <a:gd name="connsiteX127" fmla="*/ 711 w 5810"/>
                  <a:gd name="connsiteY127" fmla="*/ 618 h 1085"/>
                  <a:gd name="connsiteX128" fmla="*/ 678 w 5810"/>
                  <a:gd name="connsiteY128" fmla="*/ 560 h 1085"/>
                  <a:gd name="connsiteX129" fmla="*/ 616 w 5810"/>
                  <a:gd name="connsiteY129" fmla="*/ 448 h 1085"/>
                  <a:gd name="connsiteX130" fmla="*/ 547 w 5810"/>
                  <a:gd name="connsiteY130" fmla="*/ 340 h 1085"/>
                  <a:gd name="connsiteX131" fmla="*/ 504 w 5810"/>
                  <a:gd name="connsiteY131" fmla="*/ 284 h 1085"/>
                  <a:gd name="connsiteX132" fmla="*/ 457 w 5810"/>
                  <a:gd name="connsiteY132" fmla="*/ 239 h 1085"/>
                  <a:gd name="connsiteX133" fmla="*/ 409 w 5810"/>
                  <a:gd name="connsiteY133" fmla="*/ 199 h 1085"/>
                  <a:gd name="connsiteX134" fmla="*/ 358 w 5810"/>
                  <a:gd name="connsiteY134" fmla="*/ 168 h 1085"/>
                  <a:gd name="connsiteX135" fmla="*/ 308 w 5810"/>
                  <a:gd name="connsiteY135" fmla="*/ 145 h 1085"/>
                  <a:gd name="connsiteX136" fmla="*/ 256 w 5810"/>
                  <a:gd name="connsiteY136" fmla="*/ 127 h 1085"/>
                  <a:gd name="connsiteX137" fmla="*/ 209 w 5810"/>
                  <a:gd name="connsiteY137" fmla="*/ 112 h 1085"/>
                  <a:gd name="connsiteX138" fmla="*/ 163 w 5810"/>
                  <a:gd name="connsiteY138" fmla="*/ 104 h 1085"/>
                  <a:gd name="connsiteX139" fmla="*/ 122 w 5810"/>
                  <a:gd name="connsiteY139" fmla="*/ 100 h 1085"/>
                  <a:gd name="connsiteX140" fmla="*/ 85 w 5810"/>
                  <a:gd name="connsiteY140" fmla="*/ 95 h 1085"/>
                  <a:gd name="connsiteX141" fmla="*/ 31 w 5810"/>
                  <a:gd name="connsiteY141" fmla="*/ 95 h 1085"/>
                  <a:gd name="connsiteX142" fmla="*/ 17 w 5810"/>
                  <a:gd name="connsiteY142" fmla="*/ 98 h 1085"/>
                  <a:gd name="connsiteX143" fmla="*/ 11 w 5810"/>
                  <a:gd name="connsiteY143" fmla="*/ 98 h 1085"/>
                  <a:gd name="connsiteX144" fmla="*/ 0 w 5810"/>
                  <a:gd name="connsiteY144" fmla="*/ 13 h 1085"/>
                  <a:gd name="connsiteX145" fmla="*/ 9 w 5810"/>
                  <a:gd name="connsiteY145" fmla="*/ 13 h 1085"/>
                  <a:gd name="connsiteX146" fmla="*/ 29 w 5810"/>
                  <a:gd name="connsiteY146" fmla="*/ 10 h 1085"/>
                  <a:gd name="connsiteX147" fmla="*/ 91 w 5810"/>
                  <a:gd name="connsiteY147" fmla="*/ 10 h 1085"/>
                  <a:gd name="connsiteX148" fmla="*/ 135 w 5810"/>
                  <a:gd name="connsiteY148" fmla="*/ 13 h 1085"/>
                  <a:gd name="connsiteX149" fmla="*/ 182 w 5810"/>
                  <a:gd name="connsiteY149" fmla="*/ 19 h 1085"/>
                  <a:gd name="connsiteX150" fmla="*/ 234 w 5810"/>
                  <a:gd name="connsiteY150" fmla="*/ 29 h 1085"/>
                  <a:gd name="connsiteX151" fmla="*/ 287 w 5810"/>
                  <a:gd name="connsiteY151" fmla="*/ 46 h 1085"/>
                  <a:gd name="connsiteX152" fmla="*/ 345 w 5810"/>
                  <a:gd name="connsiteY152" fmla="*/ 66 h 1085"/>
                  <a:gd name="connsiteX153" fmla="*/ 403 w 5810"/>
                  <a:gd name="connsiteY153" fmla="*/ 93 h 1085"/>
                  <a:gd name="connsiteX154" fmla="*/ 459 w 5810"/>
                  <a:gd name="connsiteY154" fmla="*/ 131 h 1085"/>
                  <a:gd name="connsiteX155" fmla="*/ 514 w 5810"/>
                  <a:gd name="connsiteY155" fmla="*/ 174 h 1085"/>
                  <a:gd name="connsiteX156" fmla="*/ 568 w 5810"/>
                  <a:gd name="connsiteY156" fmla="*/ 228 h 1085"/>
                  <a:gd name="connsiteX157" fmla="*/ 618 w 5810"/>
                  <a:gd name="connsiteY157" fmla="*/ 292 h 1085"/>
                  <a:gd name="connsiteX158" fmla="*/ 667 w 5810"/>
                  <a:gd name="connsiteY158" fmla="*/ 367 h 1085"/>
                  <a:gd name="connsiteX159" fmla="*/ 754 w 5810"/>
                  <a:gd name="connsiteY159" fmla="*/ 516 h 1085"/>
                  <a:gd name="connsiteX160" fmla="*/ 787 w 5810"/>
                  <a:gd name="connsiteY160" fmla="*/ 575 h 1085"/>
                  <a:gd name="connsiteX161" fmla="*/ 820 w 5810"/>
                  <a:gd name="connsiteY161" fmla="*/ 631 h 1085"/>
                  <a:gd name="connsiteX162" fmla="*/ 853 w 5810"/>
                  <a:gd name="connsiteY162" fmla="*/ 684 h 1085"/>
                  <a:gd name="connsiteX163" fmla="*/ 886 w 5810"/>
                  <a:gd name="connsiteY163" fmla="*/ 736 h 1085"/>
                  <a:gd name="connsiteX164" fmla="*/ 921 w 5810"/>
                  <a:gd name="connsiteY164" fmla="*/ 782 h 1085"/>
                  <a:gd name="connsiteX165" fmla="*/ 958 w 5810"/>
                  <a:gd name="connsiteY165" fmla="*/ 825 h 1085"/>
                  <a:gd name="connsiteX166" fmla="*/ 1000 w 5810"/>
                  <a:gd name="connsiteY166" fmla="*/ 863 h 1085"/>
                  <a:gd name="connsiteX167" fmla="*/ 1043 w 5810"/>
                  <a:gd name="connsiteY167" fmla="*/ 894 h 1085"/>
                  <a:gd name="connsiteX168" fmla="*/ 1090 w 5810"/>
                  <a:gd name="connsiteY168" fmla="*/ 921 h 1085"/>
                  <a:gd name="connsiteX169" fmla="*/ 1140 w 5810"/>
                  <a:gd name="connsiteY169" fmla="*/ 939 h 1085"/>
                  <a:gd name="connsiteX170" fmla="*/ 1196 w 5810"/>
                  <a:gd name="connsiteY170" fmla="*/ 952 h 1085"/>
                  <a:gd name="connsiteX171" fmla="*/ 1258 w 5810"/>
                  <a:gd name="connsiteY171" fmla="*/ 956 h 1085"/>
                  <a:gd name="connsiteX172" fmla="*/ 1264 w 5810"/>
                  <a:gd name="connsiteY172" fmla="*/ 956 h 1085"/>
                  <a:gd name="connsiteX173" fmla="*/ 1324 w 5810"/>
                  <a:gd name="connsiteY173" fmla="*/ 950 h 1085"/>
                  <a:gd name="connsiteX174" fmla="*/ 1380 w 5810"/>
                  <a:gd name="connsiteY174" fmla="*/ 935 h 1085"/>
                  <a:gd name="connsiteX175" fmla="*/ 1433 w 5810"/>
                  <a:gd name="connsiteY175" fmla="*/ 913 h 1085"/>
                  <a:gd name="connsiteX176" fmla="*/ 1481 w 5810"/>
                  <a:gd name="connsiteY176" fmla="*/ 884 h 1085"/>
                  <a:gd name="connsiteX177" fmla="*/ 1526 w 5810"/>
                  <a:gd name="connsiteY177" fmla="*/ 846 h 1085"/>
                  <a:gd name="connsiteX178" fmla="*/ 1569 w 5810"/>
                  <a:gd name="connsiteY178" fmla="*/ 803 h 1085"/>
                  <a:gd name="connsiteX179" fmla="*/ 1609 w 5810"/>
                  <a:gd name="connsiteY179" fmla="*/ 755 h 1085"/>
                  <a:gd name="connsiteX180" fmla="*/ 1648 w 5810"/>
                  <a:gd name="connsiteY180" fmla="*/ 703 h 1085"/>
                  <a:gd name="connsiteX181" fmla="*/ 1687 w 5810"/>
                  <a:gd name="connsiteY181" fmla="*/ 649 h 1085"/>
                  <a:gd name="connsiteX182" fmla="*/ 1799 w 5810"/>
                  <a:gd name="connsiteY182" fmla="*/ 475 h 1085"/>
                  <a:gd name="connsiteX183" fmla="*/ 1838 w 5810"/>
                  <a:gd name="connsiteY183" fmla="*/ 415 h 1085"/>
                  <a:gd name="connsiteX184" fmla="*/ 1879 w 5810"/>
                  <a:gd name="connsiteY184" fmla="*/ 357 h 1085"/>
                  <a:gd name="connsiteX185" fmla="*/ 1923 w 5810"/>
                  <a:gd name="connsiteY185" fmla="*/ 299 h 1085"/>
                  <a:gd name="connsiteX186" fmla="*/ 1968 w 5810"/>
                  <a:gd name="connsiteY186" fmla="*/ 245 h 1085"/>
                  <a:gd name="connsiteX187" fmla="*/ 2015 w 5810"/>
                  <a:gd name="connsiteY187" fmla="*/ 193 h 1085"/>
                  <a:gd name="connsiteX188" fmla="*/ 2069 w 5810"/>
                  <a:gd name="connsiteY188" fmla="*/ 145 h 1085"/>
                  <a:gd name="connsiteX189" fmla="*/ 2125 w 5810"/>
                  <a:gd name="connsiteY189" fmla="*/ 104 h 1085"/>
                  <a:gd name="connsiteX190" fmla="*/ 2187 w 5810"/>
                  <a:gd name="connsiteY190" fmla="*/ 69 h 1085"/>
                  <a:gd name="connsiteX191" fmla="*/ 2253 w 5810"/>
                  <a:gd name="connsiteY191" fmla="*/ 39 h 1085"/>
                  <a:gd name="connsiteX192" fmla="*/ 2325 w 5810"/>
                  <a:gd name="connsiteY192" fmla="*/ 19 h 1085"/>
                  <a:gd name="connsiteX193" fmla="*/ 2404 w 5810"/>
                  <a:gd name="connsiteY193" fmla="*/ 6 h 1085"/>
                  <a:gd name="connsiteX194" fmla="*/ 2474 w 5810"/>
                  <a:gd name="connsiteY194" fmla="*/ 4 h 1085"/>
                  <a:gd name="connsiteX195" fmla="*/ 2540 w 5810"/>
                  <a:gd name="connsiteY195" fmla="*/ 13 h 1085"/>
                  <a:gd name="connsiteX196" fmla="*/ 2600 w 5810"/>
                  <a:gd name="connsiteY196" fmla="*/ 27 h 1085"/>
                  <a:gd name="connsiteX197" fmla="*/ 2658 w 5810"/>
                  <a:gd name="connsiteY197" fmla="*/ 50 h 1085"/>
                  <a:gd name="connsiteX198" fmla="*/ 2711 w 5810"/>
                  <a:gd name="connsiteY198" fmla="*/ 81 h 1085"/>
                  <a:gd name="connsiteX199" fmla="*/ 2761 w 5810"/>
                  <a:gd name="connsiteY199" fmla="*/ 116 h 1085"/>
                  <a:gd name="connsiteX200" fmla="*/ 2806 w 5810"/>
                  <a:gd name="connsiteY200" fmla="*/ 158 h 1085"/>
                  <a:gd name="connsiteX201" fmla="*/ 2852 w 5810"/>
                  <a:gd name="connsiteY201" fmla="*/ 203 h 1085"/>
                  <a:gd name="connsiteX202" fmla="*/ 2893 w 5810"/>
                  <a:gd name="connsiteY202" fmla="*/ 251 h 1085"/>
                  <a:gd name="connsiteX203" fmla="*/ 2932 w 5810"/>
                  <a:gd name="connsiteY203" fmla="*/ 303 h 1085"/>
                  <a:gd name="connsiteX204" fmla="*/ 2969 w 5810"/>
                  <a:gd name="connsiteY204" fmla="*/ 357 h 1085"/>
                  <a:gd name="connsiteX205" fmla="*/ 3004 w 5810"/>
                  <a:gd name="connsiteY205" fmla="*/ 413 h 1085"/>
                  <a:gd name="connsiteX206" fmla="*/ 3039 w 5810"/>
                  <a:gd name="connsiteY206" fmla="*/ 467 h 1085"/>
                  <a:gd name="connsiteX207" fmla="*/ 3073 w 5810"/>
                  <a:gd name="connsiteY207" fmla="*/ 523 h 1085"/>
                  <a:gd name="connsiteX208" fmla="*/ 3110 w 5810"/>
                  <a:gd name="connsiteY208" fmla="*/ 585 h 1085"/>
                  <a:gd name="connsiteX209" fmla="*/ 3147 w 5810"/>
                  <a:gd name="connsiteY209" fmla="*/ 643 h 1085"/>
                  <a:gd name="connsiteX210" fmla="*/ 3186 w 5810"/>
                  <a:gd name="connsiteY210" fmla="*/ 701 h 1085"/>
                  <a:gd name="connsiteX211" fmla="*/ 3223 w 5810"/>
                  <a:gd name="connsiteY211" fmla="*/ 755 h 1085"/>
                  <a:gd name="connsiteX212" fmla="*/ 3265 w 5810"/>
                  <a:gd name="connsiteY212" fmla="*/ 805 h 1085"/>
                  <a:gd name="connsiteX213" fmla="*/ 3306 w 5810"/>
                  <a:gd name="connsiteY213" fmla="*/ 848 h 1085"/>
                  <a:gd name="connsiteX214" fmla="*/ 3349 w 5810"/>
                  <a:gd name="connsiteY214" fmla="*/ 886 h 1085"/>
                  <a:gd name="connsiteX215" fmla="*/ 3395 w 5810"/>
                  <a:gd name="connsiteY215" fmla="*/ 917 h 1085"/>
                  <a:gd name="connsiteX216" fmla="*/ 3444 w 5810"/>
                  <a:gd name="connsiteY216" fmla="*/ 939 h 1085"/>
                  <a:gd name="connsiteX217" fmla="*/ 3498 w 5810"/>
                  <a:gd name="connsiteY217" fmla="*/ 952 h 1085"/>
                  <a:gd name="connsiteX218" fmla="*/ 3554 w 5810"/>
                  <a:gd name="connsiteY218" fmla="*/ 956 h 1085"/>
                  <a:gd name="connsiteX219" fmla="*/ 3609 w 5810"/>
                  <a:gd name="connsiteY219" fmla="*/ 950 h 1085"/>
                  <a:gd name="connsiteX220" fmla="*/ 3659 w 5810"/>
                  <a:gd name="connsiteY220" fmla="*/ 935 h 1085"/>
                  <a:gd name="connsiteX221" fmla="*/ 3706 w 5810"/>
                  <a:gd name="connsiteY221" fmla="*/ 915 h 1085"/>
                  <a:gd name="connsiteX222" fmla="*/ 3750 w 5810"/>
                  <a:gd name="connsiteY222" fmla="*/ 884 h 1085"/>
                  <a:gd name="connsiteX223" fmla="*/ 3789 w 5810"/>
                  <a:gd name="connsiteY223" fmla="*/ 848 h 1085"/>
                  <a:gd name="connsiteX224" fmla="*/ 3826 w 5810"/>
                  <a:gd name="connsiteY224" fmla="*/ 807 h 1085"/>
                  <a:gd name="connsiteX225" fmla="*/ 3861 w 5810"/>
                  <a:gd name="connsiteY225" fmla="*/ 759 h 1085"/>
                  <a:gd name="connsiteX226" fmla="*/ 3894 w 5810"/>
                  <a:gd name="connsiteY226" fmla="*/ 709 h 1085"/>
                  <a:gd name="connsiteX227" fmla="*/ 3927 w 5810"/>
                  <a:gd name="connsiteY227" fmla="*/ 655 h 1085"/>
                  <a:gd name="connsiteX228" fmla="*/ 3960 w 5810"/>
                  <a:gd name="connsiteY228" fmla="*/ 597 h 1085"/>
                  <a:gd name="connsiteX229" fmla="*/ 3993 w 5810"/>
                  <a:gd name="connsiteY229" fmla="*/ 537 h 1085"/>
                  <a:gd name="connsiteX230" fmla="*/ 4022 w 5810"/>
                  <a:gd name="connsiteY230" fmla="*/ 483 h 1085"/>
                  <a:gd name="connsiteX231" fmla="*/ 4084 w 5810"/>
                  <a:gd name="connsiteY231" fmla="*/ 375 h 1085"/>
                  <a:gd name="connsiteX232" fmla="*/ 4154 w 5810"/>
                  <a:gd name="connsiteY232" fmla="*/ 272 h 1085"/>
                  <a:gd name="connsiteX233" fmla="*/ 4192 w 5810"/>
                  <a:gd name="connsiteY233" fmla="*/ 224 h 1085"/>
                  <a:gd name="connsiteX234" fmla="*/ 4233 w 5810"/>
                  <a:gd name="connsiteY234" fmla="*/ 178 h 1085"/>
                  <a:gd name="connsiteX235" fmla="*/ 4276 w 5810"/>
                  <a:gd name="connsiteY235" fmla="*/ 137 h 1085"/>
                  <a:gd name="connsiteX236" fmla="*/ 4324 w 5810"/>
                  <a:gd name="connsiteY236" fmla="*/ 100 h 1085"/>
                  <a:gd name="connsiteX237" fmla="*/ 4375 w 5810"/>
                  <a:gd name="connsiteY237" fmla="*/ 66 h 1085"/>
                  <a:gd name="connsiteX238" fmla="*/ 4433 w 5810"/>
                  <a:gd name="connsiteY238" fmla="*/ 39 h 1085"/>
                  <a:gd name="connsiteX239" fmla="*/ 4493 w 5810"/>
                  <a:gd name="connsiteY239" fmla="*/ 19 h 1085"/>
                  <a:gd name="connsiteX240" fmla="*/ 4559 w 5810"/>
                  <a:gd name="connsiteY240" fmla="*/ 6 h 1085"/>
                  <a:gd name="connsiteX241" fmla="*/ 4631 w 5810"/>
                  <a:gd name="connsiteY241" fmla="*/ 0 h 1085"/>
                  <a:gd name="connsiteX0" fmla="*/ 4631 w 5810"/>
                  <a:gd name="connsiteY0" fmla="*/ 0 h 1085"/>
                  <a:gd name="connsiteX1" fmla="*/ 4681 w 5810"/>
                  <a:gd name="connsiteY1" fmla="*/ 0 h 1085"/>
                  <a:gd name="connsiteX2" fmla="*/ 4710 w 5810"/>
                  <a:gd name="connsiteY2" fmla="*/ 4 h 1085"/>
                  <a:gd name="connsiteX3" fmla="*/ 4741 w 5810"/>
                  <a:gd name="connsiteY3" fmla="*/ 13 h 1085"/>
                  <a:gd name="connsiteX4" fmla="*/ 4778 w 5810"/>
                  <a:gd name="connsiteY4" fmla="*/ 23 h 1085"/>
                  <a:gd name="connsiteX5" fmla="*/ 4819 w 5810"/>
                  <a:gd name="connsiteY5" fmla="*/ 39 h 1085"/>
                  <a:gd name="connsiteX6" fmla="*/ 4863 w 5810"/>
                  <a:gd name="connsiteY6" fmla="*/ 60 h 1085"/>
                  <a:gd name="connsiteX7" fmla="*/ 4910 w 5810"/>
                  <a:gd name="connsiteY7" fmla="*/ 89 h 1085"/>
                  <a:gd name="connsiteX8" fmla="*/ 4960 w 5810"/>
                  <a:gd name="connsiteY8" fmla="*/ 124 h 1085"/>
                  <a:gd name="connsiteX9" fmla="*/ 5009 w 5810"/>
                  <a:gd name="connsiteY9" fmla="*/ 170 h 1085"/>
                  <a:gd name="connsiteX10" fmla="*/ 5061 w 5810"/>
                  <a:gd name="connsiteY10" fmla="*/ 224 h 1085"/>
                  <a:gd name="connsiteX11" fmla="*/ 5112 w 5810"/>
                  <a:gd name="connsiteY11" fmla="*/ 286 h 1085"/>
                  <a:gd name="connsiteX12" fmla="*/ 5164 w 5810"/>
                  <a:gd name="connsiteY12" fmla="*/ 361 h 1085"/>
                  <a:gd name="connsiteX13" fmla="*/ 5216 w 5810"/>
                  <a:gd name="connsiteY13" fmla="*/ 448 h 1085"/>
                  <a:gd name="connsiteX14" fmla="*/ 5267 w 5810"/>
                  <a:gd name="connsiteY14" fmla="*/ 548 h 1085"/>
                  <a:gd name="connsiteX15" fmla="*/ 5313 w 5810"/>
                  <a:gd name="connsiteY15" fmla="*/ 633 h 1085"/>
                  <a:gd name="connsiteX16" fmla="*/ 5358 w 5810"/>
                  <a:gd name="connsiteY16" fmla="*/ 707 h 1085"/>
                  <a:gd name="connsiteX17" fmla="*/ 5408 w 5810"/>
                  <a:gd name="connsiteY17" fmla="*/ 769 h 1085"/>
                  <a:gd name="connsiteX18" fmla="*/ 5455 w 5810"/>
                  <a:gd name="connsiteY18" fmla="*/ 821 h 1085"/>
                  <a:gd name="connsiteX19" fmla="*/ 5503 w 5810"/>
                  <a:gd name="connsiteY19" fmla="*/ 865 h 1085"/>
                  <a:gd name="connsiteX20" fmla="*/ 5550 w 5810"/>
                  <a:gd name="connsiteY20" fmla="*/ 900 h 1085"/>
                  <a:gd name="connsiteX21" fmla="*/ 5593 w 5810"/>
                  <a:gd name="connsiteY21" fmla="*/ 927 h 1085"/>
                  <a:gd name="connsiteX22" fmla="*/ 5637 w 5810"/>
                  <a:gd name="connsiteY22" fmla="*/ 948 h 1085"/>
                  <a:gd name="connsiteX23" fmla="*/ 5676 w 5810"/>
                  <a:gd name="connsiteY23" fmla="*/ 962 h 1085"/>
                  <a:gd name="connsiteX24" fmla="*/ 5711 w 5810"/>
                  <a:gd name="connsiteY24" fmla="*/ 973 h 1085"/>
                  <a:gd name="connsiteX25" fmla="*/ 5742 w 5810"/>
                  <a:gd name="connsiteY25" fmla="*/ 981 h 1085"/>
                  <a:gd name="connsiteX26" fmla="*/ 5767 w 5810"/>
                  <a:gd name="connsiteY26" fmla="*/ 983 h 1085"/>
                  <a:gd name="connsiteX27" fmla="*/ 5785 w 5810"/>
                  <a:gd name="connsiteY27" fmla="*/ 985 h 1085"/>
                  <a:gd name="connsiteX28" fmla="*/ 5802 w 5810"/>
                  <a:gd name="connsiteY28" fmla="*/ 985 h 1085"/>
                  <a:gd name="connsiteX29" fmla="*/ 5810 w 5810"/>
                  <a:gd name="connsiteY29" fmla="*/ 1072 h 1085"/>
                  <a:gd name="connsiteX30" fmla="*/ 5717 w 5810"/>
                  <a:gd name="connsiteY30" fmla="*/ 1064 h 1085"/>
                  <a:gd name="connsiteX31" fmla="*/ 5639 w 5810"/>
                  <a:gd name="connsiteY31" fmla="*/ 1043 h 1085"/>
                  <a:gd name="connsiteX32" fmla="*/ 5546 w 5810"/>
                  <a:gd name="connsiteY32" fmla="*/ 1002 h 1085"/>
                  <a:gd name="connsiteX33" fmla="*/ 5496 w 5810"/>
                  <a:gd name="connsiteY33" fmla="*/ 971 h 1085"/>
                  <a:gd name="connsiteX34" fmla="*/ 5042 w 5810"/>
                  <a:gd name="connsiteY34" fmla="*/ 336 h 1085"/>
                  <a:gd name="connsiteX35" fmla="*/ 4993 w 5810"/>
                  <a:gd name="connsiteY35" fmla="*/ 276 h 1085"/>
                  <a:gd name="connsiteX36" fmla="*/ 4945 w 5810"/>
                  <a:gd name="connsiteY36" fmla="*/ 228 h 1085"/>
                  <a:gd name="connsiteX37" fmla="*/ 4900 w 5810"/>
                  <a:gd name="connsiteY37" fmla="*/ 189 h 1085"/>
                  <a:gd name="connsiteX38" fmla="*/ 4858 w 5810"/>
                  <a:gd name="connsiteY38" fmla="*/ 158 h 1085"/>
                  <a:gd name="connsiteX39" fmla="*/ 4819 w 5810"/>
                  <a:gd name="connsiteY39" fmla="*/ 135 h 1085"/>
                  <a:gd name="connsiteX40" fmla="*/ 4770 w 5810"/>
                  <a:gd name="connsiteY40" fmla="*/ 112 h 1085"/>
                  <a:gd name="connsiteX41" fmla="*/ 4726 w 5810"/>
                  <a:gd name="connsiteY41" fmla="*/ 98 h 1085"/>
                  <a:gd name="connsiteX42" fmla="*/ 4691 w 5810"/>
                  <a:gd name="connsiteY42" fmla="*/ 89 h 1085"/>
                  <a:gd name="connsiteX43" fmla="*/ 4662 w 5810"/>
                  <a:gd name="connsiteY43" fmla="*/ 87 h 1085"/>
                  <a:gd name="connsiteX44" fmla="*/ 4635 w 5810"/>
                  <a:gd name="connsiteY44" fmla="*/ 87 h 1085"/>
                  <a:gd name="connsiteX45" fmla="*/ 4569 w 5810"/>
                  <a:gd name="connsiteY45" fmla="*/ 93 h 1085"/>
                  <a:gd name="connsiteX46" fmla="*/ 4507 w 5810"/>
                  <a:gd name="connsiteY46" fmla="*/ 106 h 1085"/>
                  <a:gd name="connsiteX47" fmla="*/ 4452 w 5810"/>
                  <a:gd name="connsiteY47" fmla="*/ 127 h 1085"/>
                  <a:gd name="connsiteX48" fmla="*/ 4400 w 5810"/>
                  <a:gd name="connsiteY48" fmla="*/ 154 h 1085"/>
                  <a:gd name="connsiteX49" fmla="*/ 4353 w 5810"/>
                  <a:gd name="connsiteY49" fmla="*/ 187 h 1085"/>
                  <a:gd name="connsiteX50" fmla="*/ 4309 w 5810"/>
                  <a:gd name="connsiteY50" fmla="*/ 224 h 1085"/>
                  <a:gd name="connsiteX51" fmla="*/ 4270 w 5810"/>
                  <a:gd name="connsiteY51" fmla="*/ 268 h 1085"/>
                  <a:gd name="connsiteX52" fmla="*/ 4231 w 5810"/>
                  <a:gd name="connsiteY52" fmla="*/ 313 h 1085"/>
                  <a:gd name="connsiteX53" fmla="*/ 4196 w 5810"/>
                  <a:gd name="connsiteY53" fmla="*/ 363 h 1085"/>
                  <a:gd name="connsiteX54" fmla="*/ 4163 w 5810"/>
                  <a:gd name="connsiteY54" fmla="*/ 415 h 1085"/>
                  <a:gd name="connsiteX55" fmla="*/ 4101 w 5810"/>
                  <a:gd name="connsiteY55" fmla="*/ 523 h 1085"/>
                  <a:gd name="connsiteX56" fmla="*/ 4008 w 5810"/>
                  <a:gd name="connsiteY56" fmla="*/ 691 h 1085"/>
                  <a:gd name="connsiteX57" fmla="*/ 3975 w 5810"/>
                  <a:gd name="connsiteY57" fmla="*/ 747 h 1085"/>
                  <a:gd name="connsiteX58" fmla="*/ 3940 w 5810"/>
                  <a:gd name="connsiteY58" fmla="*/ 798 h 1085"/>
                  <a:gd name="connsiteX59" fmla="*/ 3905 w 5810"/>
                  <a:gd name="connsiteY59" fmla="*/ 848 h 1085"/>
                  <a:gd name="connsiteX60" fmla="*/ 3865 w 5810"/>
                  <a:gd name="connsiteY60" fmla="*/ 894 h 1085"/>
                  <a:gd name="connsiteX61" fmla="*/ 3824 w 5810"/>
                  <a:gd name="connsiteY61" fmla="*/ 935 h 1085"/>
                  <a:gd name="connsiteX62" fmla="*/ 3779 w 5810"/>
                  <a:gd name="connsiteY62" fmla="*/ 971 h 1085"/>
                  <a:gd name="connsiteX63" fmla="*/ 3729 w 5810"/>
                  <a:gd name="connsiteY63" fmla="*/ 1000 h 1085"/>
                  <a:gd name="connsiteX64" fmla="*/ 3677 w 5810"/>
                  <a:gd name="connsiteY64" fmla="*/ 1022 h 1085"/>
                  <a:gd name="connsiteX65" fmla="*/ 3620 w 5810"/>
                  <a:gd name="connsiteY65" fmla="*/ 1037 h 1085"/>
                  <a:gd name="connsiteX66" fmla="*/ 3556 w 5810"/>
                  <a:gd name="connsiteY66" fmla="*/ 1043 h 1085"/>
                  <a:gd name="connsiteX67" fmla="*/ 3547 w 5810"/>
                  <a:gd name="connsiteY67" fmla="*/ 1043 h 1085"/>
                  <a:gd name="connsiteX68" fmla="*/ 3485 w 5810"/>
                  <a:gd name="connsiteY68" fmla="*/ 1039 h 1085"/>
                  <a:gd name="connsiteX69" fmla="*/ 3426 w 5810"/>
                  <a:gd name="connsiteY69" fmla="*/ 1025 h 1085"/>
                  <a:gd name="connsiteX70" fmla="*/ 3372 w 5810"/>
                  <a:gd name="connsiteY70" fmla="*/ 1002 h 1085"/>
                  <a:gd name="connsiteX71" fmla="*/ 3320 w 5810"/>
                  <a:gd name="connsiteY71" fmla="*/ 973 h 1085"/>
                  <a:gd name="connsiteX72" fmla="*/ 3273 w 5810"/>
                  <a:gd name="connsiteY72" fmla="*/ 935 h 1085"/>
                  <a:gd name="connsiteX73" fmla="*/ 3229 w 5810"/>
                  <a:gd name="connsiteY73" fmla="*/ 894 h 1085"/>
                  <a:gd name="connsiteX74" fmla="*/ 3186 w 5810"/>
                  <a:gd name="connsiteY74" fmla="*/ 846 h 1085"/>
                  <a:gd name="connsiteX75" fmla="*/ 3147 w 5810"/>
                  <a:gd name="connsiteY75" fmla="*/ 796 h 1085"/>
                  <a:gd name="connsiteX76" fmla="*/ 3108 w 5810"/>
                  <a:gd name="connsiteY76" fmla="*/ 740 h 1085"/>
                  <a:gd name="connsiteX77" fmla="*/ 3070 w 5810"/>
                  <a:gd name="connsiteY77" fmla="*/ 684 h 1085"/>
                  <a:gd name="connsiteX78" fmla="*/ 2965 w 5810"/>
                  <a:gd name="connsiteY78" fmla="*/ 510 h 1085"/>
                  <a:gd name="connsiteX79" fmla="*/ 2928 w 5810"/>
                  <a:gd name="connsiteY79" fmla="*/ 452 h 1085"/>
                  <a:gd name="connsiteX80" fmla="*/ 2891 w 5810"/>
                  <a:gd name="connsiteY80" fmla="*/ 396 h 1085"/>
                  <a:gd name="connsiteX81" fmla="*/ 2854 w 5810"/>
                  <a:gd name="connsiteY81" fmla="*/ 342 h 1085"/>
                  <a:gd name="connsiteX82" fmla="*/ 2814 w 5810"/>
                  <a:gd name="connsiteY82" fmla="*/ 292 h 1085"/>
                  <a:gd name="connsiteX83" fmla="*/ 2773 w 5810"/>
                  <a:gd name="connsiteY83" fmla="*/ 247 h 1085"/>
                  <a:gd name="connsiteX84" fmla="*/ 2732 w 5810"/>
                  <a:gd name="connsiteY84" fmla="*/ 205 h 1085"/>
                  <a:gd name="connsiteX85" fmla="*/ 2686 w 5810"/>
                  <a:gd name="connsiteY85" fmla="*/ 168 h 1085"/>
                  <a:gd name="connsiteX86" fmla="*/ 2639 w 5810"/>
                  <a:gd name="connsiteY86" fmla="*/ 139 h 1085"/>
                  <a:gd name="connsiteX87" fmla="*/ 2587 w 5810"/>
                  <a:gd name="connsiteY87" fmla="*/ 116 h 1085"/>
                  <a:gd name="connsiteX88" fmla="*/ 2532 w 5810"/>
                  <a:gd name="connsiteY88" fmla="*/ 100 h 1085"/>
                  <a:gd name="connsiteX89" fmla="*/ 2474 w 5810"/>
                  <a:gd name="connsiteY89" fmla="*/ 91 h 1085"/>
                  <a:gd name="connsiteX90" fmla="*/ 2410 w 5810"/>
                  <a:gd name="connsiteY90" fmla="*/ 93 h 1085"/>
                  <a:gd name="connsiteX91" fmla="*/ 2342 w 5810"/>
                  <a:gd name="connsiteY91" fmla="*/ 104 h 1085"/>
                  <a:gd name="connsiteX92" fmla="*/ 2280 w 5810"/>
                  <a:gd name="connsiteY92" fmla="*/ 122 h 1085"/>
                  <a:gd name="connsiteX93" fmla="*/ 2222 w 5810"/>
                  <a:gd name="connsiteY93" fmla="*/ 147 h 1085"/>
                  <a:gd name="connsiteX94" fmla="*/ 2168 w 5810"/>
                  <a:gd name="connsiteY94" fmla="*/ 180 h 1085"/>
                  <a:gd name="connsiteX95" fmla="*/ 2117 w 5810"/>
                  <a:gd name="connsiteY95" fmla="*/ 218 h 1085"/>
                  <a:gd name="connsiteX96" fmla="*/ 2071 w 5810"/>
                  <a:gd name="connsiteY96" fmla="*/ 261 h 1085"/>
                  <a:gd name="connsiteX97" fmla="*/ 2026 w 5810"/>
                  <a:gd name="connsiteY97" fmla="*/ 307 h 1085"/>
                  <a:gd name="connsiteX98" fmla="*/ 1984 w 5810"/>
                  <a:gd name="connsiteY98" fmla="*/ 359 h 1085"/>
                  <a:gd name="connsiteX99" fmla="*/ 1945 w 5810"/>
                  <a:gd name="connsiteY99" fmla="*/ 413 h 1085"/>
                  <a:gd name="connsiteX100" fmla="*/ 1908 w 5810"/>
                  <a:gd name="connsiteY100" fmla="*/ 467 h 1085"/>
                  <a:gd name="connsiteX101" fmla="*/ 1871 w 5810"/>
                  <a:gd name="connsiteY101" fmla="*/ 523 h 1085"/>
                  <a:gd name="connsiteX102" fmla="*/ 1834 w 5810"/>
                  <a:gd name="connsiteY102" fmla="*/ 581 h 1085"/>
                  <a:gd name="connsiteX103" fmla="*/ 1799 w 5810"/>
                  <a:gd name="connsiteY103" fmla="*/ 637 h 1085"/>
                  <a:gd name="connsiteX104" fmla="*/ 1724 w 5810"/>
                  <a:gd name="connsiteY104" fmla="*/ 749 h 1085"/>
                  <a:gd name="connsiteX105" fmla="*/ 1685 w 5810"/>
                  <a:gd name="connsiteY105" fmla="*/ 801 h 1085"/>
                  <a:gd name="connsiteX106" fmla="*/ 1644 w 5810"/>
                  <a:gd name="connsiteY106" fmla="*/ 850 h 1085"/>
                  <a:gd name="connsiteX107" fmla="*/ 1600 w 5810"/>
                  <a:gd name="connsiteY107" fmla="*/ 896 h 1085"/>
                  <a:gd name="connsiteX108" fmla="*/ 1553 w 5810"/>
                  <a:gd name="connsiteY108" fmla="*/ 937 h 1085"/>
                  <a:gd name="connsiteX109" fmla="*/ 1503 w 5810"/>
                  <a:gd name="connsiteY109" fmla="*/ 973 h 1085"/>
                  <a:gd name="connsiteX110" fmla="*/ 1450 w 5810"/>
                  <a:gd name="connsiteY110" fmla="*/ 1002 h 1085"/>
                  <a:gd name="connsiteX111" fmla="*/ 1394 w 5810"/>
                  <a:gd name="connsiteY111" fmla="*/ 1025 h 1085"/>
                  <a:gd name="connsiteX112" fmla="*/ 1330 w 5810"/>
                  <a:gd name="connsiteY112" fmla="*/ 1037 h 1085"/>
                  <a:gd name="connsiteX113" fmla="*/ 1264 w 5810"/>
                  <a:gd name="connsiteY113" fmla="*/ 1043 h 1085"/>
                  <a:gd name="connsiteX114" fmla="*/ 1258 w 5810"/>
                  <a:gd name="connsiteY114" fmla="*/ 1043 h 1085"/>
                  <a:gd name="connsiteX115" fmla="*/ 1190 w 5810"/>
                  <a:gd name="connsiteY115" fmla="*/ 1039 h 1085"/>
                  <a:gd name="connsiteX116" fmla="*/ 1128 w 5810"/>
                  <a:gd name="connsiteY116" fmla="*/ 1027 h 1085"/>
                  <a:gd name="connsiteX117" fmla="*/ 1070 w 5810"/>
                  <a:gd name="connsiteY117" fmla="*/ 1008 h 1085"/>
                  <a:gd name="connsiteX118" fmla="*/ 1018 w 5810"/>
                  <a:gd name="connsiteY118" fmla="*/ 983 h 1085"/>
                  <a:gd name="connsiteX119" fmla="*/ 971 w 5810"/>
                  <a:gd name="connsiteY119" fmla="*/ 952 h 1085"/>
                  <a:gd name="connsiteX120" fmla="*/ 925 w 5810"/>
                  <a:gd name="connsiteY120" fmla="*/ 915 h 1085"/>
                  <a:gd name="connsiteX121" fmla="*/ 884 w 5810"/>
                  <a:gd name="connsiteY121" fmla="*/ 873 h 1085"/>
                  <a:gd name="connsiteX122" fmla="*/ 847 w 5810"/>
                  <a:gd name="connsiteY122" fmla="*/ 828 h 1085"/>
                  <a:gd name="connsiteX123" fmla="*/ 810 w 5810"/>
                  <a:gd name="connsiteY123" fmla="*/ 780 h 1085"/>
                  <a:gd name="connsiteX124" fmla="*/ 777 w 5810"/>
                  <a:gd name="connsiteY124" fmla="*/ 728 h 1085"/>
                  <a:gd name="connsiteX125" fmla="*/ 742 w 5810"/>
                  <a:gd name="connsiteY125" fmla="*/ 674 h 1085"/>
                  <a:gd name="connsiteX126" fmla="*/ 711 w 5810"/>
                  <a:gd name="connsiteY126" fmla="*/ 618 h 1085"/>
                  <a:gd name="connsiteX127" fmla="*/ 678 w 5810"/>
                  <a:gd name="connsiteY127" fmla="*/ 560 h 1085"/>
                  <a:gd name="connsiteX128" fmla="*/ 616 w 5810"/>
                  <a:gd name="connsiteY128" fmla="*/ 448 h 1085"/>
                  <a:gd name="connsiteX129" fmla="*/ 547 w 5810"/>
                  <a:gd name="connsiteY129" fmla="*/ 340 h 1085"/>
                  <a:gd name="connsiteX130" fmla="*/ 504 w 5810"/>
                  <a:gd name="connsiteY130" fmla="*/ 284 h 1085"/>
                  <a:gd name="connsiteX131" fmla="*/ 457 w 5810"/>
                  <a:gd name="connsiteY131" fmla="*/ 239 h 1085"/>
                  <a:gd name="connsiteX132" fmla="*/ 409 w 5810"/>
                  <a:gd name="connsiteY132" fmla="*/ 199 h 1085"/>
                  <a:gd name="connsiteX133" fmla="*/ 358 w 5810"/>
                  <a:gd name="connsiteY133" fmla="*/ 168 h 1085"/>
                  <a:gd name="connsiteX134" fmla="*/ 308 w 5810"/>
                  <a:gd name="connsiteY134" fmla="*/ 145 h 1085"/>
                  <a:gd name="connsiteX135" fmla="*/ 256 w 5810"/>
                  <a:gd name="connsiteY135" fmla="*/ 127 h 1085"/>
                  <a:gd name="connsiteX136" fmla="*/ 209 w 5810"/>
                  <a:gd name="connsiteY136" fmla="*/ 112 h 1085"/>
                  <a:gd name="connsiteX137" fmla="*/ 163 w 5810"/>
                  <a:gd name="connsiteY137" fmla="*/ 104 h 1085"/>
                  <a:gd name="connsiteX138" fmla="*/ 122 w 5810"/>
                  <a:gd name="connsiteY138" fmla="*/ 100 h 1085"/>
                  <a:gd name="connsiteX139" fmla="*/ 85 w 5810"/>
                  <a:gd name="connsiteY139" fmla="*/ 95 h 1085"/>
                  <a:gd name="connsiteX140" fmla="*/ 31 w 5810"/>
                  <a:gd name="connsiteY140" fmla="*/ 95 h 1085"/>
                  <a:gd name="connsiteX141" fmla="*/ 17 w 5810"/>
                  <a:gd name="connsiteY141" fmla="*/ 98 h 1085"/>
                  <a:gd name="connsiteX142" fmla="*/ 11 w 5810"/>
                  <a:gd name="connsiteY142" fmla="*/ 98 h 1085"/>
                  <a:gd name="connsiteX143" fmla="*/ 0 w 5810"/>
                  <a:gd name="connsiteY143" fmla="*/ 13 h 1085"/>
                  <a:gd name="connsiteX144" fmla="*/ 9 w 5810"/>
                  <a:gd name="connsiteY144" fmla="*/ 13 h 1085"/>
                  <a:gd name="connsiteX145" fmla="*/ 29 w 5810"/>
                  <a:gd name="connsiteY145" fmla="*/ 10 h 1085"/>
                  <a:gd name="connsiteX146" fmla="*/ 91 w 5810"/>
                  <a:gd name="connsiteY146" fmla="*/ 10 h 1085"/>
                  <a:gd name="connsiteX147" fmla="*/ 135 w 5810"/>
                  <a:gd name="connsiteY147" fmla="*/ 13 h 1085"/>
                  <a:gd name="connsiteX148" fmla="*/ 182 w 5810"/>
                  <a:gd name="connsiteY148" fmla="*/ 19 h 1085"/>
                  <a:gd name="connsiteX149" fmla="*/ 234 w 5810"/>
                  <a:gd name="connsiteY149" fmla="*/ 29 h 1085"/>
                  <a:gd name="connsiteX150" fmla="*/ 287 w 5810"/>
                  <a:gd name="connsiteY150" fmla="*/ 46 h 1085"/>
                  <a:gd name="connsiteX151" fmla="*/ 345 w 5810"/>
                  <a:gd name="connsiteY151" fmla="*/ 66 h 1085"/>
                  <a:gd name="connsiteX152" fmla="*/ 403 w 5810"/>
                  <a:gd name="connsiteY152" fmla="*/ 93 h 1085"/>
                  <a:gd name="connsiteX153" fmla="*/ 459 w 5810"/>
                  <a:gd name="connsiteY153" fmla="*/ 131 h 1085"/>
                  <a:gd name="connsiteX154" fmla="*/ 514 w 5810"/>
                  <a:gd name="connsiteY154" fmla="*/ 174 h 1085"/>
                  <a:gd name="connsiteX155" fmla="*/ 568 w 5810"/>
                  <a:gd name="connsiteY155" fmla="*/ 228 h 1085"/>
                  <a:gd name="connsiteX156" fmla="*/ 618 w 5810"/>
                  <a:gd name="connsiteY156" fmla="*/ 292 h 1085"/>
                  <a:gd name="connsiteX157" fmla="*/ 667 w 5810"/>
                  <a:gd name="connsiteY157" fmla="*/ 367 h 1085"/>
                  <a:gd name="connsiteX158" fmla="*/ 754 w 5810"/>
                  <a:gd name="connsiteY158" fmla="*/ 516 h 1085"/>
                  <a:gd name="connsiteX159" fmla="*/ 787 w 5810"/>
                  <a:gd name="connsiteY159" fmla="*/ 575 h 1085"/>
                  <a:gd name="connsiteX160" fmla="*/ 820 w 5810"/>
                  <a:gd name="connsiteY160" fmla="*/ 631 h 1085"/>
                  <a:gd name="connsiteX161" fmla="*/ 853 w 5810"/>
                  <a:gd name="connsiteY161" fmla="*/ 684 h 1085"/>
                  <a:gd name="connsiteX162" fmla="*/ 886 w 5810"/>
                  <a:gd name="connsiteY162" fmla="*/ 736 h 1085"/>
                  <a:gd name="connsiteX163" fmla="*/ 921 w 5810"/>
                  <a:gd name="connsiteY163" fmla="*/ 782 h 1085"/>
                  <a:gd name="connsiteX164" fmla="*/ 958 w 5810"/>
                  <a:gd name="connsiteY164" fmla="*/ 825 h 1085"/>
                  <a:gd name="connsiteX165" fmla="*/ 1000 w 5810"/>
                  <a:gd name="connsiteY165" fmla="*/ 863 h 1085"/>
                  <a:gd name="connsiteX166" fmla="*/ 1043 w 5810"/>
                  <a:gd name="connsiteY166" fmla="*/ 894 h 1085"/>
                  <a:gd name="connsiteX167" fmla="*/ 1090 w 5810"/>
                  <a:gd name="connsiteY167" fmla="*/ 921 h 1085"/>
                  <a:gd name="connsiteX168" fmla="*/ 1140 w 5810"/>
                  <a:gd name="connsiteY168" fmla="*/ 939 h 1085"/>
                  <a:gd name="connsiteX169" fmla="*/ 1196 w 5810"/>
                  <a:gd name="connsiteY169" fmla="*/ 952 h 1085"/>
                  <a:gd name="connsiteX170" fmla="*/ 1258 w 5810"/>
                  <a:gd name="connsiteY170" fmla="*/ 956 h 1085"/>
                  <a:gd name="connsiteX171" fmla="*/ 1264 w 5810"/>
                  <a:gd name="connsiteY171" fmla="*/ 956 h 1085"/>
                  <a:gd name="connsiteX172" fmla="*/ 1324 w 5810"/>
                  <a:gd name="connsiteY172" fmla="*/ 950 h 1085"/>
                  <a:gd name="connsiteX173" fmla="*/ 1380 w 5810"/>
                  <a:gd name="connsiteY173" fmla="*/ 935 h 1085"/>
                  <a:gd name="connsiteX174" fmla="*/ 1433 w 5810"/>
                  <a:gd name="connsiteY174" fmla="*/ 913 h 1085"/>
                  <a:gd name="connsiteX175" fmla="*/ 1481 w 5810"/>
                  <a:gd name="connsiteY175" fmla="*/ 884 h 1085"/>
                  <a:gd name="connsiteX176" fmla="*/ 1526 w 5810"/>
                  <a:gd name="connsiteY176" fmla="*/ 846 h 1085"/>
                  <a:gd name="connsiteX177" fmla="*/ 1569 w 5810"/>
                  <a:gd name="connsiteY177" fmla="*/ 803 h 1085"/>
                  <a:gd name="connsiteX178" fmla="*/ 1609 w 5810"/>
                  <a:gd name="connsiteY178" fmla="*/ 755 h 1085"/>
                  <a:gd name="connsiteX179" fmla="*/ 1648 w 5810"/>
                  <a:gd name="connsiteY179" fmla="*/ 703 h 1085"/>
                  <a:gd name="connsiteX180" fmla="*/ 1687 w 5810"/>
                  <a:gd name="connsiteY180" fmla="*/ 649 h 1085"/>
                  <a:gd name="connsiteX181" fmla="*/ 1799 w 5810"/>
                  <a:gd name="connsiteY181" fmla="*/ 475 h 1085"/>
                  <a:gd name="connsiteX182" fmla="*/ 1838 w 5810"/>
                  <a:gd name="connsiteY182" fmla="*/ 415 h 1085"/>
                  <a:gd name="connsiteX183" fmla="*/ 1879 w 5810"/>
                  <a:gd name="connsiteY183" fmla="*/ 357 h 1085"/>
                  <a:gd name="connsiteX184" fmla="*/ 1923 w 5810"/>
                  <a:gd name="connsiteY184" fmla="*/ 299 h 1085"/>
                  <a:gd name="connsiteX185" fmla="*/ 1968 w 5810"/>
                  <a:gd name="connsiteY185" fmla="*/ 245 h 1085"/>
                  <a:gd name="connsiteX186" fmla="*/ 2015 w 5810"/>
                  <a:gd name="connsiteY186" fmla="*/ 193 h 1085"/>
                  <a:gd name="connsiteX187" fmla="*/ 2069 w 5810"/>
                  <a:gd name="connsiteY187" fmla="*/ 145 h 1085"/>
                  <a:gd name="connsiteX188" fmla="*/ 2125 w 5810"/>
                  <a:gd name="connsiteY188" fmla="*/ 104 h 1085"/>
                  <a:gd name="connsiteX189" fmla="*/ 2187 w 5810"/>
                  <a:gd name="connsiteY189" fmla="*/ 69 h 1085"/>
                  <a:gd name="connsiteX190" fmla="*/ 2253 w 5810"/>
                  <a:gd name="connsiteY190" fmla="*/ 39 h 1085"/>
                  <a:gd name="connsiteX191" fmla="*/ 2325 w 5810"/>
                  <a:gd name="connsiteY191" fmla="*/ 19 h 1085"/>
                  <a:gd name="connsiteX192" fmla="*/ 2404 w 5810"/>
                  <a:gd name="connsiteY192" fmla="*/ 6 h 1085"/>
                  <a:gd name="connsiteX193" fmla="*/ 2474 w 5810"/>
                  <a:gd name="connsiteY193" fmla="*/ 4 h 1085"/>
                  <a:gd name="connsiteX194" fmla="*/ 2540 w 5810"/>
                  <a:gd name="connsiteY194" fmla="*/ 13 h 1085"/>
                  <a:gd name="connsiteX195" fmla="*/ 2600 w 5810"/>
                  <a:gd name="connsiteY195" fmla="*/ 27 h 1085"/>
                  <a:gd name="connsiteX196" fmla="*/ 2658 w 5810"/>
                  <a:gd name="connsiteY196" fmla="*/ 50 h 1085"/>
                  <a:gd name="connsiteX197" fmla="*/ 2711 w 5810"/>
                  <a:gd name="connsiteY197" fmla="*/ 81 h 1085"/>
                  <a:gd name="connsiteX198" fmla="*/ 2761 w 5810"/>
                  <a:gd name="connsiteY198" fmla="*/ 116 h 1085"/>
                  <a:gd name="connsiteX199" fmla="*/ 2806 w 5810"/>
                  <a:gd name="connsiteY199" fmla="*/ 158 h 1085"/>
                  <a:gd name="connsiteX200" fmla="*/ 2852 w 5810"/>
                  <a:gd name="connsiteY200" fmla="*/ 203 h 1085"/>
                  <a:gd name="connsiteX201" fmla="*/ 2893 w 5810"/>
                  <a:gd name="connsiteY201" fmla="*/ 251 h 1085"/>
                  <a:gd name="connsiteX202" fmla="*/ 2932 w 5810"/>
                  <a:gd name="connsiteY202" fmla="*/ 303 h 1085"/>
                  <a:gd name="connsiteX203" fmla="*/ 2969 w 5810"/>
                  <a:gd name="connsiteY203" fmla="*/ 357 h 1085"/>
                  <a:gd name="connsiteX204" fmla="*/ 3004 w 5810"/>
                  <a:gd name="connsiteY204" fmla="*/ 413 h 1085"/>
                  <a:gd name="connsiteX205" fmla="*/ 3039 w 5810"/>
                  <a:gd name="connsiteY205" fmla="*/ 467 h 1085"/>
                  <a:gd name="connsiteX206" fmla="*/ 3073 w 5810"/>
                  <a:gd name="connsiteY206" fmla="*/ 523 h 1085"/>
                  <a:gd name="connsiteX207" fmla="*/ 3110 w 5810"/>
                  <a:gd name="connsiteY207" fmla="*/ 585 h 1085"/>
                  <a:gd name="connsiteX208" fmla="*/ 3147 w 5810"/>
                  <a:gd name="connsiteY208" fmla="*/ 643 h 1085"/>
                  <a:gd name="connsiteX209" fmla="*/ 3186 w 5810"/>
                  <a:gd name="connsiteY209" fmla="*/ 701 h 1085"/>
                  <a:gd name="connsiteX210" fmla="*/ 3223 w 5810"/>
                  <a:gd name="connsiteY210" fmla="*/ 755 h 1085"/>
                  <a:gd name="connsiteX211" fmla="*/ 3265 w 5810"/>
                  <a:gd name="connsiteY211" fmla="*/ 805 h 1085"/>
                  <a:gd name="connsiteX212" fmla="*/ 3306 w 5810"/>
                  <a:gd name="connsiteY212" fmla="*/ 848 h 1085"/>
                  <a:gd name="connsiteX213" fmla="*/ 3349 w 5810"/>
                  <a:gd name="connsiteY213" fmla="*/ 886 h 1085"/>
                  <a:gd name="connsiteX214" fmla="*/ 3395 w 5810"/>
                  <a:gd name="connsiteY214" fmla="*/ 917 h 1085"/>
                  <a:gd name="connsiteX215" fmla="*/ 3444 w 5810"/>
                  <a:gd name="connsiteY215" fmla="*/ 939 h 1085"/>
                  <a:gd name="connsiteX216" fmla="*/ 3498 w 5810"/>
                  <a:gd name="connsiteY216" fmla="*/ 952 h 1085"/>
                  <a:gd name="connsiteX217" fmla="*/ 3554 w 5810"/>
                  <a:gd name="connsiteY217" fmla="*/ 956 h 1085"/>
                  <a:gd name="connsiteX218" fmla="*/ 3609 w 5810"/>
                  <a:gd name="connsiteY218" fmla="*/ 950 h 1085"/>
                  <a:gd name="connsiteX219" fmla="*/ 3659 w 5810"/>
                  <a:gd name="connsiteY219" fmla="*/ 935 h 1085"/>
                  <a:gd name="connsiteX220" fmla="*/ 3706 w 5810"/>
                  <a:gd name="connsiteY220" fmla="*/ 915 h 1085"/>
                  <a:gd name="connsiteX221" fmla="*/ 3750 w 5810"/>
                  <a:gd name="connsiteY221" fmla="*/ 884 h 1085"/>
                  <a:gd name="connsiteX222" fmla="*/ 3789 w 5810"/>
                  <a:gd name="connsiteY222" fmla="*/ 848 h 1085"/>
                  <a:gd name="connsiteX223" fmla="*/ 3826 w 5810"/>
                  <a:gd name="connsiteY223" fmla="*/ 807 h 1085"/>
                  <a:gd name="connsiteX224" fmla="*/ 3861 w 5810"/>
                  <a:gd name="connsiteY224" fmla="*/ 759 h 1085"/>
                  <a:gd name="connsiteX225" fmla="*/ 3894 w 5810"/>
                  <a:gd name="connsiteY225" fmla="*/ 709 h 1085"/>
                  <a:gd name="connsiteX226" fmla="*/ 3927 w 5810"/>
                  <a:gd name="connsiteY226" fmla="*/ 655 h 1085"/>
                  <a:gd name="connsiteX227" fmla="*/ 3960 w 5810"/>
                  <a:gd name="connsiteY227" fmla="*/ 597 h 1085"/>
                  <a:gd name="connsiteX228" fmla="*/ 3993 w 5810"/>
                  <a:gd name="connsiteY228" fmla="*/ 537 h 1085"/>
                  <a:gd name="connsiteX229" fmla="*/ 4022 w 5810"/>
                  <a:gd name="connsiteY229" fmla="*/ 483 h 1085"/>
                  <a:gd name="connsiteX230" fmla="*/ 4084 w 5810"/>
                  <a:gd name="connsiteY230" fmla="*/ 375 h 1085"/>
                  <a:gd name="connsiteX231" fmla="*/ 4154 w 5810"/>
                  <a:gd name="connsiteY231" fmla="*/ 272 h 1085"/>
                  <a:gd name="connsiteX232" fmla="*/ 4192 w 5810"/>
                  <a:gd name="connsiteY232" fmla="*/ 224 h 1085"/>
                  <a:gd name="connsiteX233" fmla="*/ 4233 w 5810"/>
                  <a:gd name="connsiteY233" fmla="*/ 178 h 1085"/>
                  <a:gd name="connsiteX234" fmla="*/ 4276 w 5810"/>
                  <a:gd name="connsiteY234" fmla="*/ 137 h 1085"/>
                  <a:gd name="connsiteX235" fmla="*/ 4324 w 5810"/>
                  <a:gd name="connsiteY235" fmla="*/ 100 h 1085"/>
                  <a:gd name="connsiteX236" fmla="*/ 4375 w 5810"/>
                  <a:gd name="connsiteY236" fmla="*/ 66 h 1085"/>
                  <a:gd name="connsiteX237" fmla="*/ 4433 w 5810"/>
                  <a:gd name="connsiteY237" fmla="*/ 39 h 1085"/>
                  <a:gd name="connsiteX238" fmla="*/ 4493 w 5810"/>
                  <a:gd name="connsiteY238" fmla="*/ 19 h 1085"/>
                  <a:gd name="connsiteX239" fmla="*/ 4559 w 5810"/>
                  <a:gd name="connsiteY239" fmla="*/ 6 h 1085"/>
                  <a:gd name="connsiteX240" fmla="*/ 4631 w 5810"/>
                  <a:gd name="connsiteY240" fmla="*/ 0 h 1085"/>
                  <a:gd name="connsiteX0" fmla="*/ 4631 w 5810"/>
                  <a:gd name="connsiteY0" fmla="*/ 0 h 1085"/>
                  <a:gd name="connsiteX1" fmla="*/ 4681 w 5810"/>
                  <a:gd name="connsiteY1" fmla="*/ 0 h 1085"/>
                  <a:gd name="connsiteX2" fmla="*/ 4710 w 5810"/>
                  <a:gd name="connsiteY2" fmla="*/ 4 h 1085"/>
                  <a:gd name="connsiteX3" fmla="*/ 4741 w 5810"/>
                  <a:gd name="connsiteY3" fmla="*/ 13 h 1085"/>
                  <a:gd name="connsiteX4" fmla="*/ 4778 w 5810"/>
                  <a:gd name="connsiteY4" fmla="*/ 23 h 1085"/>
                  <a:gd name="connsiteX5" fmla="*/ 4819 w 5810"/>
                  <a:gd name="connsiteY5" fmla="*/ 39 h 1085"/>
                  <a:gd name="connsiteX6" fmla="*/ 4863 w 5810"/>
                  <a:gd name="connsiteY6" fmla="*/ 60 h 1085"/>
                  <a:gd name="connsiteX7" fmla="*/ 4910 w 5810"/>
                  <a:gd name="connsiteY7" fmla="*/ 89 h 1085"/>
                  <a:gd name="connsiteX8" fmla="*/ 4960 w 5810"/>
                  <a:gd name="connsiteY8" fmla="*/ 124 h 1085"/>
                  <a:gd name="connsiteX9" fmla="*/ 5009 w 5810"/>
                  <a:gd name="connsiteY9" fmla="*/ 170 h 1085"/>
                  <a:gd name="connsiteX10" fmla="*/ 5061 w 5810"/>
                  <a:gd name="connsiteY10" fmla="*/ 224 h 1085"/>
                  <a:gd name="connsiteX11" fmla="*/ 5112 w 5810"/>
                  <a:gd name="connsiteY11" fmla="*/ 286 h 1085"/>
                  <a:gd name="connsiteX12" fmla="*/ 5216 w 5810"/>
                  <a:gd name="connsiteY12" fmla="*/ 448 h 1085"/>
                  <a:gd name="connsiteX13" fmla="*/ 5267 w 5810"/>
                  <a:gd name="connsiteY13" fmla="*/ 548 h 1085"/>
                  <a:gd name="connsiteX14" fmla="*/ 5313 w 5810"/>
                  <a:gd name="connsiteY14" fmla="*/ 633 h 1085"/>
                  <a:gd name="connsiteX15" fmla="*/ 5358 w 5810"/>
                  <a:gd name="connsiteY15" fmla="*/ 707 h 1085"/>
                  <a:gd name="connsiteX16" fmla="*/ 5408 w 5810"/>
                  <a:gd name="connsiteY16" fmla="*/ 769 h 1085"/>
                  <a:gd name="connsiteX17" fmla="*/ 5455 w 5810"/>
                  <a:gd name="connsiteY17" fmla="*/ 821 h 1085"/>
                  <a:gd name="connsiteX18" fmla="*/ 5503 w 5810"/>
                  <a:gd name="connsiteY18" fmla="*/ 865 h 1085"/>
                  <a:gd name="connsiteX19" fmla="*/ 5550 w 5810"/>
                  <a:gd name="connsiteY19" fmla="*/ 900 h 1085"/>
                  <a:gd name="connsiteX20" fmla="*/ 5593 w 5810"/>
                  <a:gd name="connsiteY20" fmla="*/ 927 h 1085"/>
                  <a:gd name="connsiteX21" fmla="*/ 5637 w 5810"/>
                  <a:gd name="connsiteY21" fmla="*/ 948 h 1085"/>
                  <a:gd name="connsiteX22" fmla="*/ 5676 w 5810"/>
                  <a:gd name="connsiteY22" fmla="*/ 962 h 1085"/>
                  <a:gd name="connsiteX23" fmla="*/ 5711 w 5810"/>
                  <a:gd name="connsiteY23" fmla="*/ 973 h 1085"/>
                  <a:gd name="connsiteX24" fmla="*/ 5742 w 5810"/>
                  <a:gd name="connsiteY24" fmla="*/ 981 h 1085"/>
                  <a:gd name="connsiteX25" fmla="*/ 5767 w 5810"/>
                  <a:gd name="connsiteY25" fmla="*/ 983 h 1085"/>
                  <a:gd name="connsiteX26" fmla="*/ 5785 w 5810"/>
                  <a:gd name="connsiteY26" fmla="*/ 985 h 1085"/>
                  <a:gd name="connsiteX27" fmla="*/ 5802 w 5810"/>
                  <a:gd name="connsiteY27" fmla="*/ 985 h 1085"/>
                  <a:gd name="connsiteX28" fmla="*/ 5810 w 5810"/>
                  <a:gd name="connsiteY28" fmla="*/ 1072 h 1085"/>
                  <a:gd name="connsiteX29" fmla="*/ 5717 w 5810"/>
                  <a:gd name="connsiteY29" fmla="*/ 1064 h 1085"/>
                  <a:gd name="connsiteX30" fmla="*/ 5639 w 5810"/>
                  <a:gd name="connsiteY30" fmla="*/ 1043 h 1085"/>
                  <a:gd name="connsiteX31" fmla="*/ 5546 w 5810"/>
                  <a:gd name="connsiteY31" fmla="*/ 1002 h 1085"/>
                  <a:gd name="connsiteX32" fmla="*/ 5496 w 5810"/>
                  <a:gd name="connsiteY32" fmla="*/ 971 h 1085"/>
                  <a:gd name="connsiteX33" fmla="*/ 5042 w 5810"/>
                  <a:gd name="connsiteY33" fmla="*/ 336 h 1085"/>
                  <a:gd name="connsiteX34" fmla="*/ 4993 w 5810"/>
                  <a:gd name="connsiteY34" fmla="*/ 276 h 1085"/>
                  <a:gd name="connsiteX35" fmla="*/ 4945 w 5810"/>
                  <a:gd name="connsiteY35" fmla="*/ 228 h 1085"/>
                  <a:gd name="connsiteX36" fmla="*/ 4900 w 5810"/>
                  <a:gd name="connsiteY36" fmla="*/ 189 h 1085"/>
                  <a:gd name="connsiteX37" fmla="*/ 4858 w 5810"/>
                  <a:gd name="connsiteY37" fmla="*/ 158 h 1085"/>
                  <a:gd name="connsiteX38" fmla="*/ 4819 w 5810"/>
                  <a:gd name="connsiteY38" fmla="*/ 135 h 1085"/>
                  <a:gd name="connsiteX39" fmla="*/ 4770 w 5810"/>
                  <a:gd name="connsiteY39" fmla="*/ 112 h 1085"/>
                  <a:gd name="connsiteX40" fmla="*/ 4726 w 5810"/>
                  <a:gd name="connsiteY40" fmla="*/ 98 h 1085"/>
                  <a:gd name="connsiteX41" fmla="*/ 4691 w 5810"/>
                  <a:gd name="connsiteY41" fmla="*/ 89 h 1085"/>
                  <a:gd name="connsiteX42" fmla="*/ 4662 w 5810"/>
                  <a:gd name="connsiteY42" fmla="*/ 87 h 1085"/>
                  <a:gd name="connsiteX43" fmla="*/ 4635 w 5810"/>
                  <a:gd name="connsiteY43" fmla="*/ 87 h 1085"/>
                  <a:gd name="connsiteX44" fmla="*/ 4569 w 5810"/>
                  <a:gd name="connsiteY44" fmla="*/ 93 h 1085"/>
                  <a:gd name="connsiteX45" fmla="*/ 4507 w 5810"/>
                  <a:gd name="connsiteY45" fmla="*/ 106 h 1085"/>
                  <a:gd name="connsiteX46" fmla="*/ 4452 w 5810"/>
                  <a:gd name="connsiteY46" fmla="*/ 127 h 1085"/>
                  <a:gd name="connsiteX47" fmla="*/ 4400 w 5810"/>
                  <a:gd name="connsiteY47" fmla="*/ 154 h 1085"/>
                  <a:gd name="connsiteX48" fmla="*/ 4353 w 5810"/>
                  <a:gd name="connsiteY48" fmla="*/ 187 h 1085"/>
                  <a:gd name="connsiteX49" fmla="*/ 4309 w 5810"/>
                  <a:gd name="connsiteY49" fmla="*/ 224 h 1085"/>
                  <a:gd name="connsiteX50" fmla="*/ 4270 w 5810"/>
                  <a:gd name="connsiteY50" fmla="*/ 268 h 1085"/>
                  <a:gd name="connsiteX51" fmla="*/ 4231 w 5810"/>
                  <a:gd name="connsiteY51" fmla="*/ 313 h 1085"/>
                  <a:gd name="connsiteX52" fmla="*/ 4196 w 5810"/>
                  <a:gd name="connsiteY52" fmla="*/ 363 h 1085"/>
                  <a:gd name="connsiteX53" fmla="*/ 4163 w 5810"/>
                  <a:gd name="connsiteY53" fmla="*/ 415 h 1085"/>
                  <a:gd name="connsiteX54" fmla="*/ 4101 w 5810"/>
                  <a:gd name="connsiteY54" fmla="*/ 523 h 1085"/>
                  <a:gd name="connsiteX55" fmla="*/ 4008 w 5810"/>
                  <a:gd name="connsiteY55" fmla="*/ 691 h 1085"/>
                  <a:gd name="connsiteX56" fmla="*/ 3975 w 5810"/>
                  <a:gd name="connsiteY56" fmla="*/ 747 h 1085"/>
                  <a:gd name="connsiteX57" fmla="*/ 3940 w 5810"/>
                  <a:gd name="connsiteY57" fmla="*/ 798 h 1085"/>
                  <a:gd name="connsiteX58" fmla="*/ 3905 w 5810"/>
                  <a:gd name="connsiteY58" fmla="*/ 848 h 1085"/>
                  <a:gd name="connsiteX59" fmla="*/ 3865 w 5810"/>
                  <a:gd name="connsiteY59" fmla="*/ 894 h 1085"/>
                  <a:gd name="connsiteX60" fmla="*/ 3824 w 5810"/>
                  <a:gd name="connsiteY60" fmla="*/ 935 h 1085"/>
                  <a:gd name="connsiteX61" fmla="*/ 3779 w 5810"/>
                  <a:gd name="connsiteY61" fmla="*/ 971 h 1085"/>
                  <a:gd name="connsiteX62" fmla="*/ 3729 w 5810"/>
                  <a:gd name="connsiteY62" fmla="*/ 1000 h 1085"/>
                  <a:gd name="connsiteX63" fmla="*/ 3677 w 5810"/>
                  <a:gd name="connsiteY63" fmla="*/ 1022 h 1085"/>
                  <a:gd name="connsiteX64" fmla="*/ 3620 w 5810"/>
                  <a:gd name="connsiteY64" fmla="*/ 1037 h 1085"/>
                  <a:gd name="connsiteX65" fmla="*/ 3556 w 5810"/>
                  <a:gd name="connsiteY65" fmla="*/ 1043 h 1085"/>
                  <a:gd name="connsiteX66" fmla="*/ 3547 w 5810"/>
                  <a:gd name="connsiteY66" fmla="*/ 1043 h 1085"/>
                  <a:gd name="connsiteX67" fmla="*/ 3485 w 5810"/>
                  <a:gd name="connsiteY67" fmla="*/ 1039 h 1085"/>
                  <a:gd name="connsiteX68" fmla="*/ 3426 w 5810"/>
                  <a:gd name="connsiteY68" fmla="*/ 1025 h 1085"/>
                  <a:gd name="connsiteX69" fmla="*/ 3372 w 5810"/>
                  <a:gd name="connsiteY69" fmla="*/ 1002 h 1085"/>
                  <a:gd name="connsiteX70" fmla="*/ 3320 w 5810"/>
                  <a:gd name="connsiteY70" fmla="*/ 973 h 1085"/>
                  <a:gd name="connsiteX71" fmla="*/ 3273 w 5810"/>
                  <a:gd name="connsiteY71" fmla="*/ 935 h 1085"/>
                  <a:gd name="connsiteX72" fmla="*/ 3229 w 5810"/>
                  <a:gd name="connsiteY72" fmla="*/ 894 h 1085"/>
                  <a:gd name="connsiteX73" fmla="*/ 3186 w 5810"/>
                  <a:gd name="connsiteY73" fmla="*/ 846 h 1085"/>
                  <a:gd name="connsiteX74" fmla="*/ 3147 w 5810"/>
                  <a:gd name="connsiteY74" fmla="*/ 796 h 1085"/>
                  <a:gd name="connsiteX75" fmla="*/ 3108 w 5810"/>
                  <a:gd name="connsiteY75" fmla="*/ 740 h 1085"/>
                  <a:gd name="connsiteX76" fmla="*/ 3070 w 5810"/>
                  <a:gd name="connsiteY76" fmla="*/ 684 h 1085"/>
                  <a:gd name="connsiteX77" fmla="*/ 2965 w 5810"/>
                  <a:gd name="connsiteY77" fmla="*/ 510 h 1085"/>
                  <a:gd name="connsiteX78" fmla="*/ 2928 w 5810"/>
                  <a:gd name="connsiteY78" fmla="*/ 452 h 1085"/>
                  <a:gd name="connsiteX79" fmla="*/ 2891 w 5810"/>
                  <a:gd name="connsiteY79" fmla="*/ 396 h 1085"/>
                  <a:gd name="connsiteX80" fmla="*/ 2854 w 5810"/>
                  <a:gd name="connsiteY80" fmla="*/ 342 h 1085"/>
                  <a:gd name="connsiteX81" fmla="*/ 2814 w 5810"/>
                  <a:gd name="connsiteY81" fmla="*/ 292 h 1085"/>
                  <a:gd name="connsiteX82" fmla="*/ 2773 w 5810"/>
                  <a:gd name="connsiteY82" fmla="*/ 247 h 1085"/>
                  <a:gd name="connsiteX83" fmla="*/ 2732 w 5810"/>
                  <a:gd name="connsiteY83" fmla="*/ 205 h 1085"/>
                  <a:gd name="connsiteX84" fmla="*/ 2686 w 5810"/>
                  <a:gd name="connsiteY84" fmla="*/ 168 h 1085"/>
                  <a:gd name="connsiteX85" fmla="*/ 2639 w 5810"/>
                  <a:gd name="connsiteY85" fmla="*/ 139 h 1085"/>
                  <a:gd name="connsiteX86" fmla="*/ 2587 w 5810"/>
                  <a:gd name="connsiteY86" fmla="*/ 116 h 1085"/>
                  <a:gd name="connsiteX87" fmla="*/ 2532 w 5810"/>
                  <a:gd name="connsiteY87" fmla="*/ 100 h 1085"/>
                  <a:gd name="connsiteX88" fmla="*/ 2474 w 5810"/>
                  <a:gd name="connsiteY88" fmla="*/ 91 h 1085"/>
                  <a:gd name="connsiteX89" fmla="*/ 2410 w 5810"/>
                  <a:gd name="connsiteY89" fmla="*/ 93 h 1085"/>
                  <a:gd name="connsiteX90" fmla="*/ 2342 w 5810"/>
                  <a:gd name="connsiteY90" fmla="*/ 104 h 1085"/>
                  <a:gd name="connsiteX91" fmla="*/ 2280 w 5810"/>
                  <a:gd name="connsiteY91" fmla="*/ 122 h 1085"/>
                  <a:gd name="connsiteX92" fmla="*/ 2222 w 5810"/>
                  <a:gd name="connsiteY92" fmla="*/ 147 h 1085"/>
                  <a:gd name="connsiteX93" fmla="*/ 2168 w 5810"/>
                  <a:gd name="connsiteY93" fmla="*/ 180 h 1085"/>
                  <a:gd name="connsiteX94" fmla="*/ 2117 w 5810"/>
                  <a:gd name="connsiteY94" fmla="*/ 218 h 1085"/>
                  <a:gd name="connsiteX95" fmla="*/ 2071 w 5810"/>
                  <a:gd name="connsiteY95" fmla="*/ 261 h 1085"/>
                  <a:gd name="connsiteX96" fmla="*/ 2026 w 5810"/>
                  <a:gd name="connsiteY96" fmla="*/ 307 h 1085"/>
                  <a:gd name="connsiteX97" fmla="*/ 1984 w 5810"/>
                  <a:gd name="connsiteY97" fmla="*/ 359 h 1085"/>
                  <a:gd name="connsiteX98" fmla="*/ 1945 w 5810"/>
                  <a:gd name="connsiteY98" fmla="*/ 413 h 1085"/>
                  <a:gd name="connsiteX99" fmla="*/ 1908 w 5810"/>
                  <a:gd name="connsiteY99" fmla="*/ 467 h 1085"/>
                  <a:gd name="connsiteX100" fmla="*/ 1871 w 5810"/>
                  <a:gd name="connsiteY100" fmla="*/ 523 h 1085"/>
                  <a:gd name="connsiteX101" fmla="*/ 1834 w 5810"/>
                  <a:gd name="connsiteY101" fmla="*/ 581 h 1085"/>
                  <a:gd name="connsiteX102" fmla="*/ 1799 w 5810"/>
                  <a:gd name="connsiteY102" fmla="*/ 637 h 1085"/>
                  <a:gd name="connsiteX103" fmla="*/ 1724 w 5810"/>
                  <a:gd name="connsiteY103" fmla="*/ 749 h 1085"/>
                  <a:gd name="connsiteX104" fmla="*/ 1685 w 5810"/>
                  <a:gd name="connsiteY104" fmla="*/ 801 h 1085"/>
                  <a:gd name="connsiteX105" fmla="*/ 1644 w 5810"/>
                  <a:gd name="connsiteY105" fmla="*/ 850 h 1085"/>
                  <a:gd name="connsiteX106" fmla="*/ 1600 w 5810"/>
                  <a:gd name="connsiteY106" fmla="*/ 896 h 1085"/>
                  <a:gd name="connsiteX107" fmla="*/ 1553 w 5810"/>
                  <a:gd name="connsiteY107" fmla="*/ 937 h 1085"/>
                  <a:gd name="connsiteX108" fmla="*/ 1503 w 5810"/>
                  <a:gd name="connsiteY108" fmla="*/ 973 h 1085"/>
                  <a:gd name="connsiteX109" fmla="*/ 1450 w 5810"/>
                  <a:gd name="connsiteY109" fmla="*/ 1002 h 1085"/>
                  <a:gd name="connsiteX110" fmla="*/ 1394 w 5810"/>
                  <a:gd name="connsiteY110" fmla="*/ 1025 h 1085"/>
                  <a:gd name="connsiteX111" fmla="*/ 1330 w 5810"/>
                  <a:gd name="connsiteY111" fmla="*/ 1037 h 1085"/>
                  <a:gd name="connsiteX112" fmla="*/ 1264 w 5810"/>
                  <a:gd name="connsiteY112" fmla="*/ 1043 h 1085"/>
                  <a:gd name="connsiteX113" fmla="*/ 1258 w 5810"/>
                  <a:gd name="connsiteY113" fmla="*/ 1043 h 1085"/>
                  <a:gd name="connsiteX114" fmla="*/ 1190 w 5810"/>
                  <a:gd name="connsiteY114" fmla="*/ 1039 h 1085"/>
                  <a:gd name="connsiteX115" fmla="*/ 1128 w 5810"/>
                  <a:gd name="connsiteY115" fmla="*/ 1027 h 1085"/>
                  <a:gd name="connsiteX116" fmla="*/ 1070 w 5810"/>
                  <a:gd name="connsiteY116" fmla="*/ 1008 h 1085"/>
                  <a:gd name="connsiteX117" fmla="*/ 1018 w 5810"/>
                  <a:gd name="connsiteY117" fmla="*/ 983 h 1085"/>
                  <a:gd name="connsiteX118" fmla="*/ 971 w 5810"/>
                  <a:gd name="connsiteY118" fmla="*/ 952 h 1085"/>
                  <a:gd name="connsiteX119" fmla="*/ 925 w 5810"/>
                  <a:gd name="connsiteY119" fmla="*/ 915 h 1085"/>
                  <a:gd name="connsiteX120" fmla="*/ 884 w 5810"/>
                  <a:gd name="connsiteY120" fmla="*/ 873 h 1085"/>
                  <a:gd name="connsiteX121" fmla="*/ 847 w 5810"/>
                  <a:gd name="connsiteY121" fmla="*/ 828 h 1085"/>
                  <a:gd name="connsiteX122" fmla="*/ 810 w 5810"/>
                  <a:gd name="connsiteY122" fmla="*/ 780 h 1085"/>
                  <a:gd name="connsiteX123" fmla="*/ 777 w 5810"/>
                  <a:gd name="connsiteY123" fmla="*/ 728 h 1085"/>
                  <a:gd name="connsiteX124" fmla="*/ 742 w 5810"/>
                  <a:gd name="connsiteY124" fmla="*/ 674 h 1085"/>
                  <a:gd name="connsiteX125" fmla="*/ 711 w 5810"/>
                  <a:gd name="connsiteY125" fmla="*/ 618 h 1085"/>
                  <a:gd name="connsiteX126" fmla="*/ 678 w 5810"/>
                  <a:gd name="connsiteY126" fmla="*/ 560 h 1085"/>
                  <a:gd name="connsiteX127" fmla="*/ 616 w 5810"/>
                  <a:gd name="connsiteY127" fmla="*/ 448 h 1085"/>
                  <a:gd name="connsiteX128" fmla="*/ 547 w 5810"/>
                  <a:gd name="connsiteY128" fmla="*/ 340 h 1085"/>
                  <a:gd name="connsiteX129" fmla="*/ 504 w 5810"/>
                  <a:gd name="connsiteY129" fmla="*/ 284 h 1085"/>
                  <a:gd name="connsiteX130" fmla="*/ 457 w 5810"/>
                  <a:gd name="connsiteY130" fmla="*/ 239 h 1085"/>
                  <a:gd name="connsiteX131" fmla="*/ 409 w 5810"/>
                  <a:gd name="connsiteY131" fmla="*/ 199 h 1085"/>
                  <a:gd name="connsiteX132" fmla="*/ 358 w 5810"/>
                  <a:gd name="connsiteY132" fmla="*/ 168 h 1085"/>
                  <a:gd name="connsiteX133" fmla="*/ 308 w 5810"/>
                  <a:gd name="connsiteY133" fmla="*/ 145 h 1085"/>
                  <a:gd name="connsiteX134" fmla="*/ 256 w 5810"/>
                  <a:gd name="connsiteY134" fmla="*/ 127 h 1085"/>
                  <a:gd name="connsiteX135" fmla="*/ 209 w 5810"/>
                  <a:gd name="connsiteY135" fmla="*/ 112 h 1085"/>
                  <a:gd name="connsiteX136" fmla="*/ 163 w 5810"/>
                  <a:gd name="connsiteY136" fmla="*/ 104 h 1085"/>
                  <a:gd name="connsiteX137" fmla="*/ 122 w 5810"/>
                  <a:gd name="connsiteY137" fmla="*/ 100 h 1085"/>
                  <a:gd name="connsiteX138" fmla="*/ 85 w 5810"/>
                  <a:gd name="connsiteY138" fmla="*/ 95 h 1085"/>
                  <a:gd name="connsiteX139" fmla="*/ 31 w 5810"/>
                  <a:gd name="connsiteY139" fmla="*/ 95 h 1085"/>
                  <a:gd name="connsiteX140" fmla="*/ 17 w 5810"/>
                  <a:gd name="connsiteY140" fmla="*/ 98 h 1085"/>
                  <a:gd name="connsiteX141" fmla="*/ 11 w 5810"/>
                  <a:gd name="connsiteY141" fmla="*/ 98 h 1085"/>
                  <a:gd name="connsiteX142" fmla="*/ 0 w 5810"/>
                  <a:gd name="connsiteY142" fmla="*/ 13 h 1085"/>
                  <a:gd name="connsiteX143" fmla="*/ 9 w 5810"/>
                  <a:gd name="connsiteY143" fmla="*/ 13 h 1085"/>
                  <a:gd name="connsiteX144" fmla="*/ 29 w 5810"/>
                  <a:gd name="connsiteY144" fmla="*/ 10 h 1085"/>
                  <a:gd name="connsiteX145" fmla="*/ 91 w 5810"/>
                  <a:gd name="connsiteY145" fmla="*/ 10 h 1085"/>
                  <a:gd name="connsiteX146" fmla="*/ 135 w 5810"/>
                  <a:gd name="connsiteY146" fmla="*/ 13 h 1085"/>
                  <a:gd name="connsiteX147" fmla="*/ 182 w 5810"/>
                  <a:gd name="connsiteY147" fmla="*/ 19 h 1085"/>
                  <a:gd name="connsiteX148" fmla="*/ 234 w 5810"/>
                  <a:gd name="connsiteY148" fmla="*/ 29 h 1085"/>
                  <a:gd name="connsiteX149" fmla="*/ 287 w 5810"/>
                  <a:gd name="connsiteY149" fmla="*/ 46 h 1085"/>
                  <a:gd name="connsiteX150" fmla="*/ 345 w 5810"/>
                  <a:gd name="connsiteY150" fmla="*/ 66 h 1085"/>
                  <a:gd name="connsiteX151" fmla="*/ 403 w 5810"/>
                  <a:gd name="connsiteY151" fmla="*/ 93 h 1085"/>
                  <a:gd name="connsiteX152" fmla="*/ 459 w 5810"/>
                  <a:gd name="connsiteY152" fmla="*/ 131 h 1085"/>
                  <a:gd name="connsiteX153" fmla="*/ 514 w 5810"/>
                  <a:gd name="connsiteY153" fmla="*/ 174 h 1085"/>
                  <a:gd name="connsiteX154" fmla="*/ 568 w 5810"/>
                  <a:gd name="connsiteY154" fmla="*/ 228 h 1085"/>
                  <a:gd name="connsiteX155" fmla="*/ 618 w 5810"/>
                  <a:gd name="connsiteY155" fmla="*/ 292 h 1085"/>
                  <a:gd name="connsiteX156" fmla="*/ 667 w 5810"/>
                  <a:gd name="connsiteY156" fmla="*/ 367 h 1085"/>
                  <a:gd name="connsiteX157" fmla="*/ 754 w 5810"/>
                  <a:gd name="connsiteY157" fmla="*/ 516 h 1085"/>
                  <a:gd name="connsiteX158" fmla="*/ 787 w 5810"/>
                  <a:gd name="connsiteY158" fmla="*/ 575 h 1085"/>
                  <a:gd name="connsiteX159" fmla="*/ 820 w 5810"/>
                  <a:gd name="connsiteY159" fmla="*/ 631 h 1085"/>
                  <a:gd name="connsiteX160" fmla="*/ 853 w 5810"/>
                  <a:gd name="connsiteY160" fmla="*/ 684 h 1085"/>
                  <a:gd name="connsiteX161" fmla="*/ 886 w 5810"/>
                  <a:gd name="connsiteY161" fmla="*/ 736 h 1085"/>
                  <a:gd name="connsiteX162" fmla="*/ 921 w 5810"/>
                  <a:gd name="connsiteY162" fmla="*/ 782 h 1085"/>
                  <a:gd name="connsiteX163" fmla="*/ 958 w 5810"/>
                  <a:gd name="connsiteY163" fmla="*/ 825 h 1085"/>
                  <a:gd name="connsiteX164" fmla="*/ 1000 w 5810"/>
                  <a:gd name="connsiteY164" fmla="*/ 863 h 1085"/>
                  <a:gd name="connsiteX165" fmla="*/ 1043 w 5810"/>
                  <a:gd name="connsiteY165" fmla="*/ 894 h 1085"/>
                  <a:gd name="connsiteX166" fmla="*/ 1090 w 5810"/>
                  <a:gd name="connsiteY166" fmla="*/ 921 h 1085"/>
                  <a:gd name="connsiteX167" fmla="*/ 1140 w 5810"/>
                  <a:gd name="connsiteY167" fmla="*/ 939 h 1085"/>
                  <a:gd name="connsiteX168" fmla="*/ 1196 w 5810"/>
                  <a:gd name="connsiteY168" fmla="*/ 952 h 1085"/>
                  <a:gd name="connsiteX169" fmla="*/ 1258 w 5810"/>
                  <a:gd name="connsiteY169" fmla="*/ 956 h 1085"/>
                  <a:gd name="connsiteX170" fmla="*/ 1264 w 5810"/>
                  <a:gd name="connsiteY170" fmla="*/ 956 h 1085"/>
                  <a:gd name="connsiteX171" fmla="*/ 1324 w 5810"/>
                  <a:gd name="connsiteY171" fmla="*/ 950 h 1085"/>
                  <a:gd name="connsiteX172" fmla="*/ 1380 w 5810"/>
                  <a:gd name="connsiteY172" fmla="*/ 935 h 1085"/>
                  <a:gd name="connsiteX173" fmla="*/ 1433 w 5810"/>
                  <a:gd name="connsiteY173" fmla="*/ 913 h 1085"/>
                  <a:gd name="connsiteX174" fmla="*/ 1481 w 5810"/>
                  <a:gd name="connsiteY174" fmla="*/ 884 h 1085"/>
                  <a:gd name="connsiteX175" fmla="*/ 1526 w 5810"/>
                  <a:gd name="connsiteY175" fmla="*/ 846 h 1085"/>
                  <a:gd name="connsiteX176" fmla="*/ 1569 w 5810"/>
                  <a:gd name="connsiteY176" fmla="*/ 803 h 1085"/>
                  <a:gd name="connsiteX177" fmla="*/ 1609 w 5810"/>
                  <a:gd name="connsiteY177" fmla="*/ 755 h 1085"/>
                  <a:gd name="connsiteX178" fmla="*/ 1648 w 5810"/>
                  <a:gd name="connsiteY178" fmla="*/ 703 h 1085"/>
                  <a:gd name="connsiteX179" fmla="*/ 1687 w 5810"/>
                  <a:gd name="connsiteY179" fmla="*/ 649 h 1085"/>
                  <a:gd name="connsiteX180" fmla="*/ 1799 w 5810"/>
                  <a:gd name="connsiteY180" fmla="*/ 475 h 1085"/>
                  <a:gd name="connsiteX181" fmla="*/ 1838 w 5810"/>
                  <a:gd name="connsiteY181" fmla="*/ 415 h 1085"/>
                  <a:gd name="connsiteX182" fmla="*/ 1879 w 5810"/>
                  <a:gd name="connsiteY182" fmla="*/ 357 h 1085"/>
                  <a:gd name="connsiteX183" fmla="*/ 1923 w 5810"/>
                  <a:gd name="connsiteY183" fmla="*/ 299 h 1085"/>
                  <a:gd name="connsiteX184" fmla="*/ 1968 w 5810"/>
                  <a:gd name="connsiteY184" fmla="*/ 245 h 1085"/>
                  <a:gd name="connsiteX185" fmla="*/ 2015 w 5810"/>
                  <a:gd name="connsiteY185" fmla="*/ 193 h 1085"/>
                  <a:gd name="connsiteX186" fmla="*/ 2069 w 5810"/>
                  <a:gd name="connsiteY186" fmla="*/ 145 h 1085"/>
                  <a:gd name="connsiteX187" fmla="*/ 2125 w 5810"/>
                  <a:gd name="connsiteY187" fmla="*/ 104 h 1085"/>
                  <a:gd name="connsiteX188" fmla="*/ 2187 w 5810"/>
                  <a:gd name="connsiteY188" fmla="*/ 69 h 1085"/>
                  <a:gd name="connsiteX189" fmla="*/ 2253 w 5810"/>
                  <a:gd name="connsiteY189" fmla="*/ 39 h 1085"/>
                  <a:gd name="connsiteX190" fmla="*/ 2325 w 5810"/>
                  <a:gd name="connsiteY190" fmla="*/ 19 h 1085"/>
                  <a:gd name="connsiteX191" fmla="*/ 2404 w 5810"/>
                  <a:gd name="connsiteY191" fmla="*/ 6 h 1085"/>
                  <a:gd name="connsiteX192" fmla="*/ 2474 w 5810"/>
                  <a:gd name="connsiteY192" fmla="*/ 4 h 1085"/>
                  <a:gd name="connsiteX193" fmla="*/ 2540 w 5810"/>
                  <a:gd name="connsiteY193" fmla="*/ 13 h 1085"/>
                  <a:gd name="connsiteX194" fmla="*/ 2600 w 5810"/>
                  <a:gd name="connsiteY194" fmla="*/ 27 h 1085"/>
                  <a:gd name="connsiteX195" fmla="*/ 2658 w 5810"/>
                  <a:gd name="connsiteY195" fmla="*/ 50 h 1085"/>
                  <a:gd name="connsiteX196" fmla="*/ 2711 w 5810"/>
                  <a:gd name="connsiteY196" fmla="*/ 81 h 1085"/>
                  <a:gd name="connsiteX197" fmla="*/ 2761 w 5810"/>
                  <a:gd name="connsiteY197" fmla="*/ 116 h 1085"/>
                  <a:gd name="connsiteX198" fmla="*/ 2806 w 5810"/>
                  <a:gd name="connsiteY198" fmla="*/ 158 h 1085"/>
                  <a:gd name="connsiteX199" fmla="*/ 2852 w 5810"/>
                  <a:gd name="connsiteY199" fmla="*/ 203 h 1085"/>
                  <a:gd name="connsiteX200" fmla="*/ 2893 w 5810"/>
                  <a:gd name="connsiteY200" fmla="*/ 251 h 1085"/>
                  <a:gd name="connsiteX201" fmla="*/ 2932 w 5810"/>
                  <a:gd name="connsiteY201" fmla="*/ 303 h 1085"/>
                  <a:gd name="connsiteX202" fmla="*/ 2969 w 5810"/>
                  <a:gd name="connsiteY202" fmla="*/ 357 h 1085"/>
                  <a:gd name="connsiteX203" fmla="*/ 3004 w 5810"/>
                  <a:gd name="connsiteY203" fmla="*/ 413 h 1085"/>
                  <a:gd name="connsiteX204" fmla="*/ 3039 w 5810"/>
                  <a:gd name="connsiteY204" fmla="*/ 467 h 1085"/>
                  <a:gd name="connsiteX205" fmla="*/ 3073 w 5810"/>
                  <a:gd name="connsiteY205" fmla="*/ 523 h 1085"/>
                  <a:gd name="connsiteX206" fmla="*/ 3110 w 5810"/>
                  <a:gd name="connsiteY206" fmla="*/ 585 h 1085"/>
                  <a:gd name="connsiteX207" fmla="*/ 3147 w 5810"/>
                  <a:gd name="connsiteY207" fmla="*/ 643 h 1085"/>
                  <a:gd name="connsiteX208" fmla="*/ 3186 w 5810"/>
                  <a:gd name="connsiteY208" fmla="*/ 701 h 1085"/>
                  <a:gd name="connsiteX209" fmla="*/ 3223 w 5810"/>
                  <a:gd name="connsiteY209" fmla="*/ 755 h 1085"/>
                  <a:gd name="connsiteX210" fmla="*/ 3265 w 5810"/>
                  <a:gd name="connsiteY210" fmla="*/ 805 h 1085"/>
                  <a:gd name="connsiteX211" fmla="*/ 3306 w 5810"/>
                  <a:gd name="connsiteY211" fmla="*/ 848 h 1085"/>
                  <a:gd name="connsiteX212" fmla="*/ 3349 w 5810"/>
                  <a:gd name="connsiteY212" fmla="*/ 886 h 1085"/>
                  <a:gd name="connsiteX213" fmla="*/ 3395 w 5810"/>
                  <a:gd name="connsiteY213" fmla="*/ 917 h 1085"/>
                  <a:gd name="connsiteX214" fmla="*/ 3444 w 5810"/>
                  <a:gd name="connsiteY214" fmla="*/ 939 h 1085"/>
                  <a:gd name="connsiteX215" fmla="*/ 3498 w 5810"/>
                  <a:gd name="connsiteY215" fmla="*/ 952 h 1085"/>
                  <a:gd name="connsiteX216" fmla="*/ 3554 w 5810"/>
                  <a:gd name="connsiteY216" fmla="*/ 956 h 1085"/>
                  <a:gd name="connsiteX217" fmla="*/ 3609 w 5810"/>
                  <a:gd name="connsiteY217" fmla="*/ 950 h 1085"/>
                  <a:gd name="connsiteX218" fmla="*/ 3659 w 5810"/>
                  <a:gd name="connsiteY218" fmla="*/ 935 h 1085"/>
                  <a:gd name="connsiteX219" fmla="*/ 3706 w 5810"/>
                  <a:gd name="connsiteY219" fmla="*/ 915 h 1085"/>
                  <a:gd name="connsiteX220" fmla="*/ 3750 w 5810"/>
                  <a:gd name="connsiteY220" fmla="*/ 884 h 1085"/>
                  <a:gd name="connsiteX221" fmla="*/ 3789 w 5810"/>
                  <a:gd name="connsiteY221" fmla="*/ 848 h 1085"/>
                  <a:gd name="connsiteX222" fmla="*/ 3826 w 5810"/>
                  <a:gd name="connsiteY222" fmla="*/ 807 h 1085"/>
                  <a:gd name="connsiteX223" fmla="*/ 3861 w 5810"/>
                  <a:gd name="connsiteY223" fmla="*/ 759 h 1085"/>
                  <a:gd name="connsiteX224" fmla="*/ 3894 w 5810"/>
                  <a:gd name="connsiteY224" fmla="*/ 709 h 1085"/>
                  <a:gd name="connsiteX225" fmla="*/ 3927 w 5810"/>
                  <a:gd name="connsiteY225" fmla="*/ 655 h 1085"/>
                  <a:gd name="connsiteX226" fmla="*/ 3960 w 5810"/>
                  <a:gd name="connsiteY226" fmla="*/ 597 h 1085"/>
                  <a:gd name="connsiteX227" fmla="*/ 3993 w 5810"/>
                  <a:gd name="connsiteY227" fmla="*/ 537 h 1085"/>
                  <a:gd name="connsiteX228" fmla="*/ 4022 w 5810"/>
                  <a:gd name="connsiteY228" fmla="*/ 483 h 1085"/>
                  <a:gd name="connsiteX229" fmla="*/ 4084 w 5810"/>
                  <a:gd name="connsiteY229" fmla="*/ 375 h 1085"/>
                  <a:gd name="connsiteX230" fmla="*/ 4154 w 5810"/>
                  <a:gd name="connsiteY230" fmla="*/ 272 h 1085"/>
                  <a:gd name="connsiteX231" fmla="*/ 4192 w 5810"/>
                  <a:gd name="connsiteY231" fmla="*/ 224 h 1085"/>
                  <a:gd name="connsiteX232" fmla="*/ 4233 w 5810"/>
                  <a:gd name="connsiteY232" fmla="*/ 178 h 1085"/>
                  <a:gd name="connsiteX233" fmla="*/ 4276 w 5810"/>
                  <a:gd name="connsiteY233" fmla="*/ 137 h 1085"/>
                  <a:gd name="connsiteX234" fmla="*/ 4324 w 5810"/>
                  <a:gd name="connsiteY234" fmla="*/ 100 h 1085"/>
                  <a:gd name="connsiteX235" fmla="*/ 4375 w 5810"/>
                  <a:gd name="connsiteY235" fmla="*/ 66 h 1085"/>
                  <a:gd name="connsiteX236" fmla="*/ 4433 w 5810"/>
                  <a:gd name="connsiteY236" fmla="*/ 39 h 1085"/>
                  <a:gd name="connsiteX237" fmla="*/ 4493 w 5810"/>
                  <a:gd name="connsiteY237" fmla="*/ 19 h 1085"/>
                  <a:gd name="connsiteX238" fmla="*/ 4559 w 5810"/>
                  <a:gd name="connsiteY238" fmla="*/ 6 h 1085"/>
                  <a:gd name="connsiteX239" fmla="*/ 4631 w 5810"/>
                  <a:gd name="connsiteY239" fmla="*/ 0 h 1085"/>
                  <a:gd name="connsiteX0" fmla="*/ 4631 w 5810"/>
                  <a:gd name="connsiteY0" fmla="*/ 0 h 1085"/>
                  <a:gd name="connsiteX1" fmla="*/ 4681 w 5810"/>
                  <a:gd name="connsiteY1" fmla="*/ 0 h 1085"/>
                  <a:gd name="connsiteX2" fmla="*/ 4710 w 5810"/>
                  <a:gd name="connsiteY2" fmla="*/ 4 h 1085"/>
                  <a:gd name="connsiteX3" fmla="*/ 4741 w 5810"/>
                  <a:gd name="connsiteY3" fmla="*/ 13 h 1085"/>
                  <a:gd name="connsiteX4" fmla="*/ 4778 w 5810"/>
                  <a:gd name="connsiteY4" fmla="*/ 23 h 1085"/>
                  <a:gd name="connsiteX5" fmla="*/ 4819 w 5810"/>
                  <a:gd name="connsiteY5" fmla="*/ 39 h 1085"/>
                  <a:gd name="connsiteX6" fmla="*/ 4863 w 5810"/>
                  <a:gd name="connsiteY6" fmla="*/ 60 h 1085"/>
                  <a:gd name="connsiteX7" fmla="*/ 4910 w 5810"/>
                  <a:gd name="connsiteY7" fmla="*/ 89 h 1085"/>
                  <a:gd name="connsiteX8" fmla="*/ 4960 w 5810"/>
                  <a:gd name="connsiteY8" fmla="*/ 124 h 1085"/>
                  <a:gd name="connsiteX9" fmla="*/ 5009 w 5810"/>
                  <a:gd name="connsiteY9" fmla="*/ 170 h 1085"/>
                  <a:gd name="connsiteX10" fmla="*/ 5061 w 5810"/>
                  <a:gd name="connsiteY10" fmla="*/ 224 h 1085"/>
                  <a:gd name="connsiteX11" fmla="*/ 5112 w 5810"/>
                  <a:gd name="connsiteY11" fmla="*/ 286 h 1085"/>
                  <a:gd name="connsiteX12" fmla="*/ 5267 w 5810"/>
                  <a:gd name="connsiteY12" fmla="*/ 548 h 1085"/>
                  <a:gd name="connsiteX13" fmla="*/ 5313 w 5810"/>
                  <a:gd name="connsiteY13" fmla="*/ 633 h 1085"/>
                  <a:gd name="connsiteX14" fmla="*/ 5358 w 5810"/>
                  <a:gd name="connsiteY14" fmla="*/ 707 h 1085"/>
                  <a:gd name="connsiteX15" fmla="*/ 5408 w 5810"/>
                  <a:gd name="connsiteY15" fmla="*/ 769 h 1085"/>
                  <a:gd name="connsiteX16" fmla="*/ 5455 w 5810"/>
                  <a:gd name="connsiteY16" fmla="*/ 821 h 1085"/>
                  <a:gd name="connsiteX17" fmla="*/ 5503 w 5810"/>
                  <a:gd name="connsiteY17" fmla="*/ 865 h 1085"/>
                  <a:gd name="connsiteX18" fmla="*/ 5550 w 5810"/>
                  <a:gd name="connsiteY18" fmla="*/ 900 h 1085"/>
                  <a:gd name="connsiteX19" fmla="*/ 5593 w 5810"/>
                  <a:gd name="connsiteY19" fmla="*/ 927 h 1085"/>
                  <a:gd name="connsiteX20" fmla="*/ 5637 w 5810"/>
                  <a:gd name="connsiteY20" fmla="*/ 948 h 1085"/>
                  <a:gd name="connsiteX21" fmla="*/ 5676 w 5810"/>
                  <a:gd name="connsiteY21" fmla="*/ 962 h 1085"/>
                  <a:gd name="connsiteX22" fmla="*/ 5711 w 5810"/>
                  <a:gd name="connsiteY22" fmla="*/ 973 h 1085"/>
                  <a:gd name="connsiteX23" fmla="*/ 5742 w 5810"/>
                  <a:gd name="connsiteY23" fmla="*/ 981 h 1085"/>
                  <a:gd name="connsiteX24" fmla="*/ 5767 w 5810"/>
                  <a:gd name="connsiteY24" fmla="*/ 983 h 1085"/>
                  <a:gd name="connsiteX25" fmla="*/ 5785 w 5810"/>
                  <a:gd name="connsiteY25" fmla="*/ 985 h 1085"/>
                  <a:gd name="connsiteX26" fmla="*/ 5802 w 5810"/>
                  <a:gd name="connsiteY26" fmla="*/ 985 h 1085"/>
                  <a:gd name="connsiteX27" fmla="*/ 5810 w 5810"/>
                  <a:gd name="connsiteY27" fmla="*/ 1072 h 1085"/>
                  <a:gd name="connsiteX28" fmla="*/ 5717 w 5810"/>
                  <a:gd name="connsiteY28" fmla="*/ 1064 h 1085"/>
                  <a:gd name="connsiteX29" fmla="*/ 5639 w 5810"/>
                  <a:gd name="connsiteY29" fmla="*/ 1043 h 1085"/>
                  <a:gd name="connsiteX30" fmla="*/ 5546 w 5810"/>
                  <a:gd name="connsiteY30" fmla="*/ 1002 h 1085"/>
                  <a:gd name="connsiteX31" fmla="*/ 5496 w 5810"/>
                  <a:gd name="connsiteY31" fmla="*/ 971 h 1085"/>
                  <a:gd name="connsiteX32" fmla="*/ 5042 w 5810"/>
                  <a:gd name="connsiteY32" fmla="*/ 336 h 1085"/>
                  <a:gd name="connsiteX33" fmla="*/ 4993 w 5810"/>
                  <a:gd name="connsiteY33" fmla="*/ 276 h 1085"/>
                  <a:gd name="connsiteX34" fmla="*/ 4945 w 5810"/>
                  <a:gd name="connsiteY34" fmla="*/ 228 h 1085"/>
                  <a:gd name="connsiteX35" fmla="*/ 4900 w 5810"/>
                  <a:gd name="connsiteY35" fmla="*/ 189 h 1085"/>
                  <a:gd name="connsiteX36" fmla="*/ 4858 w 5810"/>
                  <a:gd name="connsiteY36" fmla="*/ 158 h 1085"/>
                  <a:gd name="connsiteX37" fmla="*/ 4819 w 5810"/>
                  <a:gd name="connsiteY37" fmla="*/ 135 h 1085"/>
                  <a:gd name="connsiteX38" fmla="*/ 4770 w 5810"/>
                  <a:gd name="connsiteY38" fmla="*/ 112 h 1085"/>
                  <a:gd name="connsiteX39" fmla="*/ 4726 w 5810"/>
                  <a:gd name="connsiteY39" fmla="*/ 98 h 1085"/>
                  <a:gd name="connsiteX40" fmla="*/ 4691 w 5810"/>
                  <a:gd name="connsiteY40" fmla="*/ 89 h 1085"/>
                  <a:gd name="connsiteX41" fmla="*/ 4662 w 5810"/>
                  <a:gd name="connsiteY41" fmla="*/ 87 h 1085"/>
                  <a:gd name="connsiteX42" fmla="*/ 4635 w 5810"/>
                  <a:gd name="connsiteY42" fmla="*/ 87 h 1085"/>
                  <a:gd name="connsiteX43" fmla="*/ 4569 w 5810"/>
                  <a:gd name="connsiteY43" fmla="*/ 93 h 1085"/>
                  <a:gd name="connsiteX44" fmla="*/ 4507 w 5810"/>
                  <a:gd name="connsiteY44" fmla="*/ 106 h 1085"/>
                  <a:gd name="connsiteX45" fmla="*/ 4452 w 5810"/>
                  <a:gd name="connsiteY45" fmla="*/ 127 h 1085"/>
                  <a:gd name="connsiteX46" fmla="*/ 4400 w 5810"/>
                  <a:gd name="connsiteY46" fmla="*/ 154 h 1085"/>
                  <a:gd name="connsiteX47" fmla="*/ 4353 w 5810"/>
                  <a:gd name="connsiteY47" fmla="*/ 187 h 1085"/>
                  <a:gd name="connsiteX48" fmla="*/ 4309 w 5810"/>
                  <a:gd name="connsiteY48" fmla="*/ 224 h 1085"/>
                  <a:gd name="connsiteX49" fmla="*/ 4270 w 5810"/>
                  <a:gd name="connsiteY49" fmla="*/ 268 h 1085"/>
                  <a:gd name="connsiteX50" fmla="*/ 4231 w 5810"/>
                  <a:gd name="connsiteY50" fmla="*/ 313 h 1085"/>
                  <a:gd name="connsiteX51" fmla="*/ 4196 w 5810"/>
                  <a:gd name="connsiteY51" fmla="*/ 363 h 1085"/>
                  <a:gd name="connsiteX52" fmla="*/ 4163 w 5810"/>
                  <a:gd name="connsiteY52" fmla="*/ 415 h 1085"/>
                  <a:gd name="connsiteX53" fmla="*/ 4101 w 5810"/>
                  <a:gd name="connsiteY53" fmla="*/ 523 h 1085"/>
                  <a:gd name="connsiteX54" fmla="*/ 4008 w 5810"/>
                  <a:gd name="connsiteY54" fmla="*/ 691 h 1085"/>
                  <a:gd name="connsiteX55" fmla="*/ 3975 w 5810"/>
                  <a:gd name="connsiteY55" fmla="*/ 747 h 1085"/>
                  <a:gd name="connsiteX56" fmla="*/ 3940 w 5810"/>
                  <a:gd name="connsiteY56" fmla="*/ 798 h 1085"/>
                  <a:gd name="connsiteX57" fmla="*/ 3905 w 5810"/>
                  <a:gd name="connsiteY57" fmla="*/ 848 h 1085"/>
                  <a:gd name="connsiteX58" fmla="*/ 3865 w 5810"/>
                  <a:gd name="connsiteY58" fmla="*/ 894 h 1085"/>
                  <a:gd name="connsiteX59" fmla="*/ 3824 w 5810"/>
                  <a:gd name="connsiteY59" fmla="*/ 935 h 1085"/>
                  <a:gd name="connsiteX60" fmla="*/ 3779 w 5810"/>
                  <a:gd name="connsiteY60" fmla="*/ 971 h 1085"/>
                  <a:gd name="connsiteX61" fmla="*/ 3729 w 5810"/>
                  <a:gd name="connsiteY61" fmla="*/ 1000 h 1085"/>
                  <a:gd name="connsiteX62" fmla="*/ 3677 w 5810"/>
                  <a:gd name="connsiteY62" fmla="*/ 1022 h 1085"/>
                  <a:gd name="connsiteX63" fmla="*/ 3620 w 5810"/>
                  <a:gd name="connsiteY63" fmla="*/ 1037 h 1085"/>
                  <a:gd name="connsiteX64" fmla="*/ 3556 w 5810"/>
                  <a:gd name="connsiteY64" fmla="*/ 1043 h 1085"/>
                  <a:gd name="connsiteX65" fmla="*/ 3547 w 5810"/>
                  <a:gd name="connsiteY65" fmla="*/ 1043 h 1085"/>
                  <a:gd name="connsiteX66" fmla="*/ 3485 w 5810"/>
                  <a:gd name="connsiteY66" fmla="*/ 1039 h 1085"/>
                  <a:gd name="connsiteX67" fmla="*/ 3426 w 5810"/>
                  <a:gd name="connsiteY67" fmla="*/ 1025 h 1085"/>
                  <a:gd name="connsiteX68" fmla="*/ 3372 w 5810"/>
                  <a:gd name="connsiteY68" fmla="*/ 1002 h 1085"/>
                  <a:gd name="connsiteX69" fmla="*/ 3320 w 5810"/>
                  <a:gd name="connsiteY69" fmla="*/ 973 h 1085"/>
                  <a:gd name="connsiteX70" fmla="*/ 3273 w 5810"/>
                  <a:gd name="connsiteY70" fmla="*/ 935 h 1085"/>
                  <a:gd name="connsiteX71" fmla="*/ 3229 w 5810"/>
                  <a:gd name="connsiteY71" fmla="*/ 894 h 1085"/>
                  <a:gd name="connsiteX72" fmla="*/ 3186 w 5810"/>
                  <a:gd name="connsiteY72" fmla="*/ 846 h 1085"/>
                  <a:gd name="connsiteX73" fmla="*/ 3147 w 5810"/>
                  <a:gd name="connsiteY73" fmla="*/ 796 h 1085"/>
                  <a:gd name="connsiteX74" fmla="*/ 3108 w 5810"/>
                  <a:gd name="connsiteY74" fmla="*/ 740 h 1085"/>
                  <a:gd name="connsiteX75" fmla="*/ 3070 w 5810"/>
                  <a:gd name="connsiteY75" fmla="*/ 684 h 1085"/>
                  <a:gd name="connsiteX76" fmla="*/ 2965 w 5810"/>
                  <a:gd name="connsiteY76" fmla="*/ 510 h 1085"/>
                  <a:gd name="connsiteX77" fmla="*/ 2928 w 5810"/>
                  <a:gd name="connsiteY77" fmla="*/ 452 h 1085"/>
                  <a:gd name="connsiteX78" fmla="*/ 2891 w 5810"/>
                  <a:gd name="connsiteY78" fmla="*/ 396 h 1085"/>
                  <a:gd name="connsiteX79" fmla="*/ 2854 w 5810"/>
                  <a:gd name="connsiteY79" fmla="*/ 342 h 1085"/>
                  <a:gd name="connsiteX80" fmla="*/ 2814 w 5810"/>
                  <a:gd name="connsiteY80" fmla="*/ 292 h 1085"/>
                  <a:gd name="connsiteX81" fmla="*/ 2773 w 5810"/>
                  <a:gd name="connsiteY81" fmla="*/ 247 h 1085"/>
                  <a:gd name="connsiteX82" fmla="*/ 2732 w 5810"/>
                  <a:gd name="connsiteY82" fmla="*/ 205 h 1085"/>
                  <a:gd name="connsiteX83" fmla="*/ 2686 w 5810"/>
                  <a:gd name="connsiteY83" fmla="*/ 168 h 1085"/>
                  <a:gd name="connsiteX84" fmla="*/ 2639 w 5810"/>
                  <a:gd name="connsiteY84" fmla="*/ 139 h 1085"/>
                  <a:gd name="connsiteX85" fmla="*/ 2587 w 5810"/>
                  <a:gd name="connsiteY85" fmla="*/ 116 h 1085"/>
                  <a:gd name="connsiteX86" fmla="*/ 2532 w 5810"/>
                  <a:gd name="connsiteY86" fmla="*/ 100 h 1085"/>
                  <a:gd name="connsiteX87" fmla="*/ 2474 w 5810"/>
                  <a:gd name="connsiteY87" fmla="*/ 91 h 1085"/>
                  <a:gd name="connsiteX88" fmla="*/ 2410 w 5810"/>
                  <a:gd name="connsiteY88" fmla="*/ 93 h 1085"/>
                  <a:gd name="connsiteX89" fmla="*/ 2342 w 5810"/>
                  <a:gd name="connsiteY89" fmla="*/ 104 h 1085"/>
                  <a:gd name="connsiteX90" fmla="*/ 2280 w 5810"/>
                  <a:gd name="connsiteY90" fmla="*/ 122 h 1085"/>
                  <a:gd name="connsiteX91" fmla="*/ 2222 w 5810"/>
                  <a:gd name="connsiteY91" fmla="*/ 147 h 1085"/>
                  <a:gd name="connsiteX92" fmla="*/ 2168 w 5810"/>
                  <a:gd name="connsiteY92" fmla="*/ 180 h 1085"/>
                  <a:gd name="connsiteX93" fmla="*/ 2117 w 5810"/>
                  <a:gd name="connsiteY93" fmla="*/ 218 h 1085"/>
                  <a:gd name="connsiteX94" fmla="*/ 2071 w 5810"/>
                  <a:gd name="connsiteY94" fmla="*/ 261 h 1085"/>
                  <a:gd name="connsiteX95" fmla="*/ 2026 w 5810"/>
                  <a:gd name="connsiteY95" fmla="*/ 307 h 1085"/>
                  <a:gd name="connsiteX96" fmla="*/ 1984 w 5810"/>
                  <a:gd name="connsiteY96" fmla="*/ 359 h 1085"/>
                  <a:gd name="connsiteX97" fmla="*/ 1945 w 5810"/>
                  <a:gd name="connsiteY97" fmla="*/ 413 h 1085"/>
                  <a:gd name="connsiteX98" fmla="*/ 1908 w 5810"/>
                  <a:gd name="connsiteY98" fmla="*/ 467 h 1085"/>
                  <a:gd name="connsiteX99" fmla="*/ 1871 w 5810"/>
                  <a:gd name="connsiteY99" fmla="*/ 523 h 1085"/>
                  <a:gd name="connsiteX100" fmla="*/ 1834 w 5810"/>
                  <a:gd name="connsiteY100" fmla="*/ 581 h 1085"/>
                  <a:gd name="connsiteX101" fmla="*/ 1799 w 5810"/>
                  <a:gd name="connsiteY101" fmla="*/ 637 h 1085"/>
                  <a:gd name="connsiteX102" fmla="*/ 1724 w 5810"/>
                  <a:gd name="connsiteY102" fmla="*/ 749 h 1085"/>
                  <a:gd name="connsiteX103" fmla="*/ 1685 w 5810"/>
                  <a:gd name="connsiteY103" fmla="*/ 801 h 1085"/>
                  <a:gd name="connsiteX104" fmla="*/ 1644 w 5810"/>
                  <a:gd name="connsiteY104" fmla="*/ 850 h 1085"/>
                  <a:gd name="connsiteX105" fmla="*/ 1600 w 5810"/>
                  <a:gd name="connsiteY105" fmla="*/ 896 h 1085"/>
                  <a:gd name="connsiteX106" fmla="*/ 1553 w 5810"/>
                  <a:gd name="connsiteY106" fmla="*/ 937 h 1085"/>
                  <a:gd name="connsiteX107" fmla="*/ 1503 w 5810"/>
                  <a:gd name="connsiteY107" fmla="*/ 973 h 1085"/>
                  <a:gd name="connsiteX108" fmla="*/ 1450 w 5810"/>
                  <a:gd name="connsiteY108" fmla="*/ 1002 h 1085"/>
                  <a:gd name="connsiteX109" fmla="*/ 1394 w 5810"/>
                  <a:gd name="connsiteY109" fmla="*/ 1025 h 1085"/>
                  <a:gd name="connsiteX110" fmla="*/ 1330 w 5810"/>
                  <a:gd name="connsiteY110" fmla="*/ 1037 h 1085"/>
                  <a:gd name="connsiteX111" fmla="*/ 1264 w 5810"/>
                  <a:gd name="connsiteY111" fmla="*/ 1043 h 1085"/>
                  <a:gd name="connsiteX112" fmla="*/ 1258 w 5810"/>
                  <a:gd name="connsiteY112" fmla="*/ 1043 h 1085"/>
                  <a:gd name="connsiteX113" fmla="*/ 1190 w 5810"/>
                  <a:gd name="connsiteY113" fmla="*/ 1039 h 1085"/>
                  <a:gd name="connsiteX114" fmla="*/ 1128 w 5810"/>
                  <a:gd name="connsiteY114" fmla="*/ 1027 h 1085"/>
                  <a:gd name="connsiteX115" fmla="*/ 1070 w 5810"/>
                  <a:gd name="connsiteY115" fmla="*/ 1008 h 1085"/>
                  <a:gd name="connsiteX116" fmla="*/ 1018 w 5810"/>
                  <a:gd name="connsiteY116" fmla="*/ 983 h 1085"/>
                  <a:gd name="connsiteX117" fmla="*/ 971 w 5810"/>
                  <a:gd name="connsiteY117" fmla="*/ 952 h 1085"/>
                  <a:gd name="connsiteX118" fmla="*/ 925 w 5810"/>
                  <a:gd name="connsiteY118" fmla="*/ 915 h 1085"/>
                  <a:gd name="connsiteX119" fmla="*/ 884 w 5810"/>
                  <a:gd name="connsiteY119" fmla="*/ 873 h 1085"/>
                  <a:gd name="connsiteX120" fmla="*/ 847 w 5810"/>
                  <a:gd name="connsiteY120" fmla="*/ 828 h 1085"/>
                  <a:gd name="connsiteX121" fmla="*/ 810 w 5810"/>
                  <a:gd name="connsiteY121" fmla="*/ 780 h 1085"/>
                  <a:gd name="connsiteX122" fmla="*/ 777 w 5810"/>
                  <a:gd name="connsiteY122" fmla="*/ 728 h 1085"/>
                  <a:gd name="connsiteX123" fmla="*/ 742 w 5810"/>
                  <a:gd name="connsiteY123" fmla="*/ 674 h 1085"/>
                  <a:gd name="connsiteX124" fmla="*/ 711 w 5810"/>
                  <a:gd name="connsiteY124" fmla="*/ 618 h 1085"/>
                  <a:gd name="connsiteX125" fmla="*/ 678 w 5810"/>
                  <a:gd name="connsiteY125" fmla="*/ 560 h 1085"/>
                  <a:gd name="connsiteX126" fmla="*/ 616 w 5810"/>
                  <a:gd name="connsiteY126" fmla="*/ 448 h 1085"/>
                  <a:gd name="connsiteX127" fmla="*/ 547 w 5810"/>
                  <a:gd name="connsiteY127" fmla="*/ 340 h 1085"/>
                  <a:gd name="connsiteX128" fmla="*/ 504 w 5810"/>
                  <a:gd name="connsiteY128" fmla="*/ 284 h 1085"/>
                  <a:gd name="connsiteX129" fmla="*/ 457 w 5810"/>
                  <a:gd name="connsiteY129" fmla="*/ 239 h 1085"/>
                  <a:gd name="connsiteX130" fmla="*/ 409 w 5810"/>
                  <a:gd name="connsiteY130" fmla="*/ 199 h 1085"/>
                  <a:gd name="connsiteX131" fmla="*/ 358 w 5810"/>
                  <a:gd name="connsiteY131" fmla="*/ 168 h 1085"/>
                  <a:gd name="connsiteX132" fmla="*/ 308 w 5810"/>
                  <a:gd name="connsiteY132" fmla="*/ 145 h 1085"/>
                  <a:gd name="connsiteX133" fmla="*/ 256 w 5810"/>
                  <a:gd name="connsiteY133" fmla="*/ 127 h 1085"/>
                  <a:gd name="connsiteX134" fmla="*/ 209 w 5810"/>
                  <a:gd name="connsiteY134" fmla="*/ 112 h 1085"/>
                  <a:gd name="connsiteX135" fmla="*/ 163 w 5810"/>
                  <a:gd name="connsiteY135" fmla="*/ 104 h 1085"/>
                  <a:gd name="connsiteX136" fmla="*/ 122 w 5810"/>
                  <a:gd name="connsiteY136" fmla="*/ 100 h 1085"/>
                  <a:gd name="connsiteX137" fmla="*/ 85 w 5810"/>
                  <a:gd name="connsiteY137" fmla="*/ 95 h 1085"/>
                  <a:gd name="connsiteX138" fmla="*/ 31 w 5810"/>
                  <a:gd name="connsiteY138" fmla="*/ 95 h 1085"/>
                  <a:gd name="connsiteX139" fmla="*/ 17 w 5810"/>
                  <a:gd name="connsiteY139" fmla="*/ 98 h 1085"/>
                  <a:gd name="connsiteX140" fmla="*/ 11 w 5810"/>
                  <a:gd name="connsiteY140" fmla="*/ 98 h 1085"/>
                  <a:gd name="connsiteX141" fmla="*/ 0 w 5810"/>
                  <a:gd name="connsiteY141" fmla="*/ 13 h 1085"/>
                  <a:gd name="connsiteX142" fmla="*/ 9 w 5810"/>
                  <a:gd name="connsiteY142" fmla="*/ 13 h 1085"/>
                  <a:gd name="connsiteX143" fmla="*/ 29 w 5810"/>
                  <a:gd name="connsiteY143" fmla="*/ 10 h 1085"/>
                  <a:gd name="connsiteX144" fmla="*/ 91 w 5810"/>
                  <a:gd name="connsiteY144" fmla="*/ 10 h 1085"/>
                  <a:gd name="connsiteX145" fmla="*/ 135 w 5810"/>
                  <a:gd name="connsiteY145" fmla="*/ 13 h 1085"/>
                  <a:gd name="connsiteX146" fmla="*/ 182 w 5810"/>
                  <a:gd name="connsiteY146" fmla="*/ 19 h 1085"/>
                  <a:gd name="connsiteX147" fmla="*/ 234 w 5810"/>
                  <a:gd name="connsiteY147" fmla="*/ 29 h 1085"/>
                  <a:gd name="connsiteX148" fmla="*/ 287 w 5810"/>
                  <a:gd name="connsiteY148" fmla="*/ 46 h 1085"/>
                  <a:gd name="connsiteX149" fmla="*/ 345 w 5810"/>
                  <a:gd name="connsiteY149" fmla="*/ 66 h 1085"/>
                  <a:gd name="connsiteX150" fmla="*/ 403 w 5810"/>
                  <a:gd name="connsiteY150" fmla="*/ 93 h 1085"/>
                  <a:gd name="connsiteX151" fmla="*/ 459 w 5810"/>
                  <a:gd name="connsiteY151" fmla="*/ 131 h 1085"/>
                  <a:gd name="connsiteX152" fmla="*/ 514 w 5810"/>
                  <a:gd name="connsiteY152" fmla="*/ 174 h 1085"/>
                  <a:gd name="connsiteX153" fmla="*/ 568 w 5810"/>
                  <a:gd name="connsiteY153" fmla="*/ 228 h 1085"/>
                  <a:gd name="connsiteX154" fmla="*/ 618 w 5810"/>
                  <a:gd name="connsiteY154" fmla="*/ 292 h 1085"/>
                  <a:gd name="connsiteX155" fmla="*/ 667 w 5810"/>
                  <a:gd name="connsiteY155" fmla="*/ 367 h 1085"/>
                  <a:gd name="connsiteX156" fmla="*/ 754 w 5810"/>
                  <a:gd name="connsiteY156" fmla="*/ 516 h 1085"/>
                  <a:gd name="connsiteX157" fmla="*/ 787 w 5810"/>
                  <a:gd name="connsiteY157" fmla="*/ 575 h 1085"/>
                  <a:gd name="connsiteX158" fmla="*/ 820 w 5810"/>
                  <a:gd name="connsiteY158" fmla="*/ 631 h 1085"/>
                  <a:gd name="connsiteX159" fmla="*/ 853 w 5810"/>
                  <a:gd name="connsiteY159" fmla="*/ 684 h 1085"/>
                  <a:gd name="connsiteX160" fmla="*/ 886 w 5810"/>
                  <a:gd name="connsiteY160" fmla="*/ 736 h 1085"/>
                  <a:gd name="connsiteX161" fmla="*/ 921 w 5810"/>
                  <a:gd name="connsiteY161" fmla="*/ 782 h 1085"/>
                  <a:gd name="connsiteX162" fmla="*/ 958 w 5810"/>
                  <a:gd name="connsiteY162" fmla="*/ 825 h 1085"/>
                  <a:gd name="connsiteX163" fmla="*/ 1000 w 5810"/>
                  <a:gd name="connsiteY163" fmla="*/ 863 h 1085"/>
                  <a:gd name="connsiteX164" fmla="*/ 1043 w 5810"/>
                  <a:gd name="connsiteY164" fmla="*/ 894 h 1085"/>
                  <a:gd name="connsiteX165" fmla="*/ 1090 w 5810"/>
                  <a:gd name="connsiteY165" fmla="*/ 921 h 1085"/>
                  <a:gd name="connsiteX166" fmla="*/ 1140 w 5810"/>
                  <a:gd name="connsiteY166" fmla="*/ 939 h 1085"/>
                  <a:gd name="connsiteX167" fmla="*/ 1196 w 5810"/>
                  <a:gd name="connsiteY167" fmla="*/ 952 h 1085"/>
                  <a:gd name="connsiteX168" fmla="*/ 1258 w 5810"/>
                  <a:gd name="connsiteY168" fmla="*/ 956 h 1085"/>
                  <a:gd name="connsiteX169" fmla="*/ 1264 w 5810"/>
                  <a:gd name="connsiteY169" fmla="*/ 956 h 1085"/>
                  <a:gd name="connsiteX170" fmla="*/ 1324 w 5810"/>
                  <a:gd name="connsiteY170" fmla="*/ 950 h 1085"/>
                  <a:gd name="connsiteX171" fmla="*/ 1380 w 5810"/>
                  <a:gd name="connsiteY171" fmla="*/ 935 h 1085"/>
                  <a:gd name="connsiteX172" fmla="*/ 1433 w 5810"/>
                  <a:gd name="connsiteY172" fmla="*/ 913 h 1085"/>
                  <a:gd name="connsiteX173" fmla="*/ 1481 w 5810"/>
                  <a:gd name="connsiteY173" fmla="*/ 884 h 1085"/>
                  <a:gd name="connsiteX174" fmla="*/ 1526 w 5810"/>
                  <a:gd name="connsiteY174" fmla="*/ 846 h 1085"/>
                  <a:gd name="connsiteX175" fmla="*/ 1569 w 5810"/>
                  <a:gd name="connsiteY175" fmla="*/ 803 h 1085"/>
                  <a:gd name="connsiteX176" fmla="*/ 1609 w 5810"/>
                  <a:gd name="connsiteY176" fmla="*/ 755 h 1085"/>
                  <a:gd name="connsiteX177" fmla="*/ 1648 w 5810"/>
                  <a:gd name="connsiteY177" fmla="*/ 703 h 1085"/>
                  <a:gd name="connsiteX178" fmla="*/ 1687 w 5810"/>
                  <a:gd name="connsiteY178" fmla="*/ 649 h 1085"/>
                  <a:gd name="connsiteX179" fmla="*/ 1799 w 5810"/>
                  <a:gd name="connsiteY179" fmla="*/ 475 h 1085"/>
                  <a:gd name="connsiteX180" fmla="*/ 1838 w 5810"/>
                  <a:gd name="connsiteY180" fmla="*/ 415 h 1085"/>
                  <a:gd name="connsiteX181" fmla="*/ 1879 w 5810"/>
                  <a:gd name="connsiteY181" fmla="*/ 357 h 1085"/>
                  <a:gd name="connsiteX182" fmla="*/ 1923 w 5810"/>
                  <a:gd name="connsiteY182" fmla="*/ 299 h 1085"/>
                  <a:gd name="connsiteX183" fmla="*/ 1968 w 5810"/>
                  <a:gd name="connsiteY183" fmla="*/ 245 h 1085"/>
                  <a:gd name="connsiteX184" fmla="*/ 2015 w 5810"/>
                  <a:gd name="connsiteY184" fmla="*/ 193 h 1085"/>
                  <a:gd name="connsiteX185" fmla="*/ 2069 w 5810"/>
                  <a:gd name="connsiteY185" fmla="*/ 145 h 1085"/>
                  <a:gd name="connsiteX186" fmla="*/ 2125 w 5810"/>
                  <a:gd name="connsiteY186" fmla="*/ 104 h 1085"/>
                  <a:gd name="connsiteX187" fmla="*/ 2187 w 5810"/>
                  <a:gd name="connsiteY187" fmla="*/ 69 h 1085"/>
                  <a:gd name="connsiteX188" fmla="*/ 2253 w 5810"/>
                  <a:gd name="connsiteY188" fmla="*/ 39 h 1085"/>
                  <a:gd name="connsiteX189" fmla="*/ 2325 w 5810"/>
                  <a:gd name="connsiteY189" fmla="*/ 19 h 1085"/>
                  <a:gd name="connsiteX190" fmla="*/ 2404 w 5810"/>
                  <a:gd name="connsiteY190" fmla="*/ 6 h 1085"/>
                  <a:gd name="connsiteX191" fmla="*/ 2474 w 5810"/>
                  <a:gd name="connsiteY191" fmla="*/ 4 h 1085"/>
                  <a:gd name="connsiteX192" fmla="*/ 2540 w 5810"/>
                  <a:gd name="connsiteY192" fmla="*/ 13 h 1085"/>
                  <a:gd name="connsiteX193" fmla="*/ 2600 w 5810"/>
                  <a:gd name="connsiteY193" fmla="*/ 27 h 1085"/>
                  <a:gd name="connsiteX194" fmla="*/ 2658 w 5810"/>
                  <a:gd name="connsiteY194" fmla="*/ 50 h 1085"/>
                  <a:gd name="connsiteX195" fmla="*/ 2711 w 5810"/>
                  <a:gd name="connsiteY195" fmla="*/ 81 h 1085"/>
                  <a:gd name="connsiteX196" fmla="*/ 2761 w 5810"/>
                  <a:gd name="connsiteY196" fmla="*/ 116 h 1085"/>
                  <a:gd name="connsiteX197" fmla="*/ 2806 w 5810"/>
                  <a:gd name="connsiteY197" fmla="*/ 158 h 1085"/>
                  <a:gd name="connsiteX198" fmla="*/ 2852 w 5810"/>
                  <a:gd name="connsiteY198" fmla="*/ 203 h 1085"/>
                  <a:gd name="connsiteX199" fmla="*/ 2893 w 5810"/>
                  <a:gd name="connsiteY199" fmla="*/ 251 h 1085"/>
                  <a:gd name="connsiteX200" fmla="*/ 2932 w 5810"/>
                  <a:gd name="connsiteY200" fmla="*/ 303 h 1085"/>
                  <a:gd name="connsiteX201" fmla="*/ 2969 w 5810"/>
                  <a:gd name="connsiteY201" fmla="*/ 357 h 1085"/>
                  <a:gd name="connsiteX202" fmla="*/ 3004 w 5810"/>
                  <a:gd name="connsiteY202" fmla="*/ 413 h 1085"/>
                  <a:gd name="connsiteX203" fmla="*/ 3039 w 5810"/>
                  <a:gd name="connsiteY203" fmla="*/ 467 h 1085"/>
                  <a:gd name="connsiteX204" fmla="*/ 3073 w 5810"/>
                  <a:gd name="connsiteY204" fmla="*/ 523 h 1085"/>
                  <a:gd name="connsiteX205" fmla="*/ 3110 w 5810"/>
                  <a:gd name="connsiteY205" fmla="*/ 585 h 1085"/>
                  <a:gd name="connsiteX206" fmla="*/ 3147 w 5810"/>
                  <a:gd name="connsiteY206" fmla="*/ 643 h 1085"/>
                  <a:gd name="connsiteX207" fmla="*/ 3186 w 5810"/>
                  <a:gd name="connsiteY207" fmla="*/ 701 h 1085"/>
                  <a:gd name="connsiteX208" fmla="*/ 3223 w 5810"/>
                  <a:gd name="connsiteY208" fmla="*/ 755 h 1085"/>
                  <a:gd name="connsiteX209" fmla="*/ 3265 w 5810"/>
                  <a:gd name="connsiteY209" fmla="*/ 805 h 1085"/>
                  <a:gd name="connsiteX210" fmla="*/ 3306 w 5810"/>
                  <a:gd name="connsiteY210" fmla="*/ 848 h 1085"/>
                  <a:gd name="connsiteX211" fmla="*/ 3349 w 5810"/>
                  <a:gd name="connsiteY211" fmla="*/ 886 h 1085"/>
                  <a:gd name="connsiteX212" fmla="*/ 3395 w 5810"/>
                  <a:gd name="connsiteY212" fmla="*/ 917 h 1085"/>
                  <a:gd name="connsiteX213" fmla="*/ 3444 w 5810"/>
                  <a:gd name="connsiteY213" fmla="*/ 939 h 1085"/>
                  <a:gd name="connsiteX214" fmla="*/ 3498 w 5810"/>
                  <a:gd name="connsiteY214" fmla="*/ 952 h 1085"/>
                  <a:gd name="connsiteX215" fmla="*/ 3554 w 5810"/>
                  <a:gd name="connsiteY215" fmla="*/ 956 h 1085"/>
                  <a:gd name="connsiteX216" fmla="*/ 3609 w 5810"/>
                  <a:gd name="connsiteY216" fmla="*/ 950 h 1085"/>
                  <a:gd name="connsiteX217" fmla="*/ 3659 w 5810"/>
                  <a:gd name="connsiteY217" fmla="*/ 935 h 1085"/>
                  <a:gd name="connsiteX218" fmla="*/ 3706 w 5810"/>
                  <a:gd name="connsiteY218" fmla="*/ 915 h 1085"/>
                  <a:gd name="connsiteX219" fmla="*/ 3750 w 5810"/>
                  <a:gd name="connsiteY219" fmla="*/ 884 h 1085"/>
                  <a:gd name="connsiteX220" fmla="*/ 3789 w 5810"/>
                  <a:gd name="connsiteY220" fmla="*/ 848 h 1085"/>
                  <a:gd name="connsiteX221" fmla="*/ 3826 w 5810"/>
                  <a:gd name="connsiteY221" fmla="*/ 807 h 1085"/>
                  <a:gd name="connsiteX222" fmla="*/ 3861 w 5810"/>
                  <a:gd name="connsiteY222" fmla="*/ 759 h 1085"/>
                  <a:gd name="connsiteX223" fmla="*/ 3894 w 5810"/>
                  <a:gd name="connsiteY223" fmla="*/ 709 h 1085"/>
                  <a:gd name="connsiteX224" fmla="*/ 3927 w 5810"/>
                  <a:gd name="connsiteY224" fmla="*/ 655 h 1085"/>
                  <a:gd name="connsiteX225" fmla="*/ 3960 w 5810"/>
                  <a:gd name="connsiteY225" fmla="*/ 597 h 1085"/>
                  <a:gd name="connsiteX226" fmla="*/ 3993 w 5810"/>
                  <a:gd name="connsiteY226" fmla="*/ 537 h 1085"/>
                  <a:gd name="connsiteX227" fmla="*/ 4022 w 5810"/>
                  <a:gd name="connsiteY227" fmla="*/ 483 h 1085"/>
                  <a:gd name="connsiteX228" fmla="*/ 4084 w 5810"/>
                  <a:gd name="connsiteY228" fmla="*/ 375 h 1085"/>
                  <a:gd name="connsiteX229" fmla="*/ 4154 w 5810"/>
                  <a:gd name="connsiteY229" fmla="*/ 272 h 1085"/>
                  <a:gd name="connsiteX230" fmla="*/ 4192 w 5810"/>
                  <a:gd name="connsiteY230" fmla="*/ 224 h 1085"/>
                  <a:gd name="connsiteX231" fmla="*/ 4233 w 5810"/>
                  <a:gd name="connsiteY231" fmla="*/ 178 h 1085"/>
                  <a:gd name="connsiteX232" fmla="*/ 4276 w 5810"/>
                  <a:gd name="connsiteY232" fmla="*/ 137 h 1085"/>
                  <a:gd name="connsiteX233" fmla="*/ 4324 w 5810"/>
                  <a:gd name="connsiteY233" fmla="*/ 100 h 1085"/>
                  <a:gd name="connsiteX234" fmla="*/ 4375 w 5810"/>
                  <a:gd name="connsiteY234" fmla="*/ 66 h 1085"/>
                  <a:gd name="connsiteX235" fmla="*/ 4433 w 5810"/>
                  <a:gd name="connsiteY235" fmla="*/ 39 h 1085"/>
                  <a:gd name="connsiteX236" fmla="*/ 4493 w 5810"/>
                  <a:gd name="connsiteY236" fmla="*/ 19 h 1085"/>
                  <a:gd name="connsiteX237" fmla="*/ 4559 w 5810"/>
                  <a:gd name="connsiteY237" fmla="*/ 6 h 1085"/>
                  <a:gd name="connsiteX238" fmla="*/ 4631 w 5810"/>
                  <a:gd name="connsiteY238" fmla="*/ 0 h 1085"/>
                  <a:gd name="connsiteX0" fmla="*/ 4631 w 5810"/>
                  <a:gd name="connsiteY0" fmla="*/ 0 h 1085"/>
                  <a:gd name="connsiteX1" fmla="*/ 4681 w 5810"/>
                  <a:gd name="connsiteY1" fmla="*/ 0 h 1085"/>
                  <a:gd name="connsiteX2" fmla="*/ 4710 w 5810"/>
                  <a:gd name="connsiteY2" fmla="*/ 4 h 1085"/>
                  <a:gd name="connsiteX3" fmla="*/ 4741 w 5810"/>
                  <a:gd name="connsiteY3" fmla="*/ 13 h 1085"/>
                  <a:gd name="connsiteX4" fmla="*/ 4778 w 5810"/>
                  <a:gd name="connsiteY4" fmla="*/ 23 h 1085"/>
                  <a:gd name="connsiteX5" fmla="*/ 4819 w 5810"/>
                  <a:gd name="connsiteY5" fmla="*/ 39 h 1085"/>
                  <a:gd name="connsiteX6" fmla="*/ 4863 w 5810"/>
                  <a:gd name="connsiteY6" fmla="*/ 60 h 1085"/>
                  <a:gd name="connsiteX7" fmla="*/ 4910 w 5810"/>
                  <a:gd name="connsiteY7" fmla="*/ 89 h 1085"/>
                  <a:gd name="connsiteX8" fmla="*/ 4960 w 5810"/>
                  <a:gd name="connsiteY8" fmla="*/ 124 h 1085"/>
                  <a:gd name="connsiteX9" fmla="*/ 5009 w 5810"/>
                  <a:gd name="connsiteY9" fmla="*/ 170 h 1085"/>
                  <a:gd name="connsiteX10" fmla="*/ 5061 w 5810"/>
                  <a:gd name="connsiteY10" fmla="*/ 224 h 1085"/>
                  <a:gd name="connsiteX11" fmla="*/ 5112 w 5810"/>
                  <a:gd name="connsiteY11" fmla="*/ 286 h 1085"/>
                  <a:gd name="connsiteX12" fmla="*/ 5313 w 5810"/>
                  <a:gd name="connsiteY12" fmla="*/ 633 h 1085"/>
                  <a:gd name="connsiteX13" fmla="*/ 5358 w 5810"/>
                  <a:gd name="connsiteY13" fmla="*/ 707 h 1085"/>
                  <a:gd name="connsiteX14" fmla="*/ 5408 w 5810"/>
                  <a:gd name="connsiteY14" fmla="*/ 769 h 1085"/>
                  <a:gd name="connsiteX15" fmla="*/ 5455 w 5810"/>
                  <a:gd name="connsiteY15" fmla="*/ 821 h 1085"/>
                  <a:gd name="connsiteX16" fmla="*/ 5503 w 5810"/>
                  <a:gd name="connsiteY16" fmla="*/ 865 h 1085"/>
                  <a:gd name="connsiteX17" fmla="*/ 5550 w 5810"/>
                  <a:gd name="connsiteY17" fmla="*/ 900 h 1085"/>
                  <a:gd name="connsiteX18" fmla="*/ 5593 w 5810"/>
                  <a:gd name="connsiteY18" fmla="*/ 927 h 1085"/>
                  <a:gd name="connsiteX19" fmla="*/ 5637 w 5810"/>
                  <a:gd name="connsiteY19" fmla="*/ 948 h 1085"/>
                  <a:gd name="connsiteX20" fmla="*/ 5676 w 5810"/>
                  <a:gd name="connsiteY20" fmla="*/ 962 h 1085"/>
                  <a:gd name="connsiteX21" fmla="*/ 5711 w 5810"/>
                  <a:gd name="connsiteY21" fmla="*/ 973 h 1085"/>
                  <a:gd name="connsiteX22" fmla="*/ 5742 w 5810"/>
                  <a:gd name="connsiteY22" fmla="*/ 981 h 1085"/>
                  <a:gd name="connsiteX23" fmla="*/ 5767 w 5810"/>
                  <a:gd name="connsiteY23" fmla="*/ 983 h 1085"/>
                  <a:gd name="connsiteX24" fmla="*/ 5785 w 5810"/>
                  <a:gd name="connsiteY24" fmla="*/ 985 h 1085"/>
                  <a:gd name="connsiteX25" fmla="*/ 5802 w 5810"/>
                  <a:gd name="connsiteY25" fmla="*/ 985 h 1085"/>
                  <a:gd name="connsiteX26" fmla="*/ 5810 w 5810"/>
                  <a:gd name="connsiteY26" fmla="*/ 1072 h 1085"/>
                  <a:gd name="connsiteX27" fmla="*/ 5717 w 5810"/>
                  <a:gd name="connsiteY27" fmla="*/ 1064 h 1085"/>
                  <a:gd name="connsiteX28" fmla="*/ 5639 w 5810"/>
                  <a:gd name="connsiteY28" fmla="*/ 1043 h 1085"/>
                  <a:gd name="connsiteX29" fmla="*/ 5546 w 5810"/>
                  <a:gd name="connsiteY29" fmla="*/ 1002 h 1085"/>
                  <a:gd name="connsiteX30" fmla="*/ 5496 w 5810"/>
                  <a:gd name="connsiteY30" fmla="*/ 971 h 1085"/>
                  <a:gd name="connsiteX31" fmla="*/ 5042 w 5810"/>
                  <a:gd name="connsiteY31" fmla="*/ 336 h 1085"/>
                  <a:gd name="connsiteX32" fmla="*/ 4993 w 5810"/>
                  <a:gd name="connsiteY32" fmla="*/ 276 h 1085"/>
                  <a:gd name="connsiteX33" fmla="*/ 4945 w 5810"/>
                  <a:gd name="connsiteY33" fmla="*/ 228 h 1085"/>
                  <a:gd name="connsiteX34" fmla="*/ 4900 w 5810"/>
                  <a:gd name="connsiteY34" fmla="*/ 189 h 1085"/>
                  <a:gd name="connsiteX35" fmla="*/ 4858 w 5810"/>
                  <a:gd name="connsiteY35" fmla="*/ 158 h 1085"/>
                  <a:gd name="connsiteX36" fmla="*/ 4819 w 5810"/>
                  <a:gd name="connsiteY36" fmla="*/ 135 h 1085"/>
                  <a:gd name="connsiteX37" fmla="*/ 4770 w 5810"/>
                  <a:gd name="connsiteY37" fmla="*/ 112 h 1085"/>
                  <a:gd name="connsiteX38" fmla="*/ 4726 w 5810"/>
                  <a:gd name="connsiteY38" fmla="*/ 98 h 1085"/>
                  <a:gd name="connsiteX39" fmla="*/ 4691 w 5810"/>
                  <a:gd name="connsiteY39" fmla="*/ 89 h 1085"/>
                  <a:gd name="connsiteX40" fmla="*/ 4662 w 5810"/>
                  <a:gd name="connsiteY40" fmla="*/ 87 h 1085"/>
                  <a:gd name="connsiteX41" fmla="*/ 4635 w 5810"/>
                  <a:gd name="connsiteY41" fmla="*/ 87 h 1085"/>
                  <a:gd name="connsiteX42" fmla="*/ 4569 w 5810"/>
                  <a:gd name="connsiteY42" fmla="*/ 93 h 1085"/>
                  <a:gd name="connsiteX43" fmla="*/ 4507 w 5810"/>
                  <a:gd name="connsiteY43" fmla="*/ 106 h 1085"/>
                  <a:gd name="connsiteX44" fmla="*/ 4452 w 5810"/>
                  <a:gd name="connsiteY44" fmla="*/ 127 h 1085"/>
                  <a:gd name="connsiteX45" fmla="*/ 4400 w 5810"/>
                  <a:gd name="connsiteY45" fmla="*/ 154 h 1085"/>
                  <a:gd name="connsiteX46" fmla="*/ 4353 w 5810"/>
                  <a:gd name="connsiteY46" fmla="*/ 187 h 1085"/>
                  <a:gd name="connsiteX47" fmla="*/ 4309 w 5810"/>
                  <a:gd name="connsiteY47" fmla="*/ 224 h 1085"/>
                  <a:gd name="connsiteX48" fmla="*/ 4270 w 5810"/>
                  <a:gd name="connsiteY48" fmla="*/ 268 h 1085"/>
                  <a:gd name="connsiteX49" fmla="*/ 4231 w 5810"/>
                  <a:gd name="connsiteY49" fmla="*/ 313 h 1085"/>
                  <a:gd name="connsiteX50" fmla="*/ 4196 w 5810"/>
                  <a:gd name="connsiteY50" fmla="*/ 363 h 1085"/>
                  <a:gd name="connsiteX51" fmla="*/ 4163 w 5810"/>
                  <a:gd name="connsiteY51" fmla="*/ 415 h 1085"/>
                  <a:gd name="connsiteX52" fmla="*/ 4101 w 5810"/>
                  <a:gd name="connsiteY52" fmla="*/ 523 h 1085"/>
                  <a:gd name="connsiteX53" fmla="*/ 4008 w 5810"/>
                  <a:gd name="connsiteY53" fmla="*/ 691 h 1085"/>
                  <a:gd name="connsiteX54" fmla="*/ 3975 w 5810"/>
                  <a:gd name="connsiteY54" fmla="*/ 747 h 1085"/>
                  <a:gd name="connsiteX55" fmla="*/ 3940 w 5810"/>
                  <a:gd name="connsiteY55" fmla="*/ 798 h 1085"/>
                  <a:gd name="connsiteX56" fmla="*/ 3905 w 5810"/>
                  <a:gd name="connsiteY56" fmla="*/ 848 h 1085"/>
                  <a:gd name="connsiteX57" fmla="*/ 3865 w 5810"/>
                  <a:gd name="connsiteY57" fmla="*/ 894 h 1085"/>
                  <a:gd name="connsiteX58" fmla="*/ 3824 w 5810"/>
                  <a:gd name="connsiteY58" fmla="*/ 935 h 1085"/>
                  <a:gd name="connsiteX59" fmla="*/ 3779 w 5810"/>
                  <a:gd name="connsiteY59" fmla="*/ 971 h 1085"/>
                  <a:gd name="connsiteX60" fmla="*/ 3729 w 5810"/>
                  <a:gd name="connsiteY60" fmla="*/ 1000 h 1085"/>
                  <a:gd name="connsiteX61" fmla="*/ 3677 w 5810"/>
                  <a:gd name="connsiteY61" fmla="*/ 1022 h 1085"/>
                  <a:gd name="connsiteX62" fmla="*/ 3620 w 5810"/>
                  <a:gd name="connsiteY62" fmla="*/ 1037 h 1085"/>
                  <a:gd name="connsiteX63" fmla="*/ 3556 w 5810"/>
                  <a:gd name="connsiteY63" fmla="*/ 1043 h 1085"/>
                  <a:gd name="connsiteX64" fmla="*/ 3547 w 5810"/>
                  <a:gd name="connsiteY64" fmla="*/ 1043 h 1085"/>
                  <a:gd name="connsiteX65" fmla="*/ 3485 w 5810"/>
                  <a:gd name="connsiteY65" fmla="*/ 1039 h 1085"/>
                  <a:gd name="connsiteX66" fmla="*/ 3426 w 5810"/>
                  <a:gd name="connsiteY66" fmla="*/ 1025 h 1085"/>
                  <a:gd name="connsiteX67" fmla="*/ 3372 w 5810"/>
                  <a:gd name="connsiteY67" fmla="*/ 1002 h 1085"/>
                  <a:gd name="connsiteX68" fmla="*/ 3320 w 5810"/>
                  <a:gd name="connsiteY68" fmla="*/ 973 h 1085"/>
                  <a:gd name="connsiteX69" fmla="*/ 3273 w 5810"/>
                  <a:gd name="connsiteY69" fmla="*/ 935 h 1085"/>
                  <a:gd name="connsiteX70" fmla="*/ 3229 w 5810"/>
                  <a:gd name="connsiteY70" fmla="*/ 894 h 1085"/>
                  <a:gd name="connsiteX71" fmla="*/ 3186 w 5810"/>
                  <a:gd name="connsiteY71" fmla="*/ 846 h 1085"/>
                  <a:gd name="connsiteX72" fmla="*/ 3147 w 5810"/>
                  <a:gd name="connsiteY72" fmla="*/ 796 h 1085"/>
                  <a:gd name="connsiteX73" fmla="*/ 3108 w 5810"/>
                  <a:gd name="connsiteY73" fmla="*/ 740 h 1085"/>
                  <a:gd name="connsiteX74" fmla="*/ 3070 w 5810"/>
                  <a:gd name="connsiteY74" fmla="*/ 684 h 1085"/>
                  <a:gd name="connsiteX75" fmla="*/ 2965 w 5810"/>
                  <a:gd name="connsiteY75" fmla="*/ 510 h 1085"/>
                  <a:gd name="connsiteX76" fmla="*/ 2928 w 5810"/>
                  <a:gd name="connsiteY76" fmla="*/ 452 h 1085"/>
                  <a:gd name="connsiteX77" fmla="*/ 2891 w 5810"/>
                  <a:gd name="connsiteY77" fmla="*/ 396 h 1085"/>
                  <a:gd name="connsiteX78" fmla="*/ 2854 w 5810"/>
                  <a:gd name="connsiteY78" fmla="*/ 342 h 1085"/>
                  <a:gd name="connsiteX79" fmla="*/ 2814 w 5810"/>
                  <a:gd name="connsiteY79" fmla="*/ 292 h 1085"/>
                  <a:gd name="connsiteX80" fmla="*/ 2773 w 5810"/>
                  <a:gd name="connsiteY80" fmla="*/ 247 h 1085"/>
                  <a:gd name="connsiteX81" fmla="*/ 2732 w 5810"/>
                  <a:gd name="connsiteY81" fmla="*/ 205 h 1085"/>
                  <a:gd name="connsiteX82" fmla="*/ 2686 w 5810"/>
                  <a:gd name="connsiteY82" fmla="*/ 168 h 1085"/>
                  <a:gd name="connsiteX83" fmla="*/ 2639 w 5810"/>
                  <a:gd name="connsiteY83" fmla="*/ 139 h 1085"/>
                  <a:gd name="connsiteX84" fmla="*/ 2587 w 5810"/>
                  <a:gd name="connsiteY84" fmla="*/ 116 h 1085"/>
                  <a:gd name="connsiteX85" fmla="*/ 2532 w 5810"/>
                  <a:gd name="connsiteY85" fmla="*/ 100 h 1085"/>
                  <a:gd name="connsiteX86" fmla="*/ 2474 w 5810"/>
                  <a:gd name="connsiteY86" fmla="*/ 91 h 1085"/>
                  <a:gd name="connsiteX87" fmla="*/ 2410 w 5810"/>
                  <a:gd name="connsiteY87" fmla="*/ 93 h 1085"/>
                  <a:gd name="connsiteX88" fmla="*/ 2342 w 5810"/>
                  <a:gd name="connsiteY88" fmla="*/ 104 h 1085"/>
                  <a:gd name="connsiteX89" fmla="*/ 2280 w 5810"/>
                  <a:gd name="connsiteY89" fmla="*/ 122 h 1085"/>
                  <a:gd name="connsiteX90" fmla="*/ 2222 w 5810"/>
                  <a:gd name="connsiteY90" fmla="*/ 147 h 1085"/>
                  <a:gd name="connsiteX91" fmla="*/ 2168 w 5810"/>
                  <a:gd name="connsiteY91" fmla="*/ 180 h 1085"/>
                  <a:gd name="connsiteX92" fmla="*/ 2117 w 5810"/>
                  <a:gd name="connsiteY92" fmla="*/ 218 h 1085"/>
                  <a:gd name="connsiteX93" fmla="*/ 2071 w 5810"/>
                  <a:gd name="connsiteY93" fmla="*/ 261 h 1085"/>
                  <a:gd name="connsiteX94" fmla="*/ 2026 w 5810"/>
                  <a:gd name="connsiteY94" fmla="*/ 307 h 1085"/>
                  <a:gd name="connsiteX95" fmla="*/ 1984 w 5810"/>
                  <a:gd name="connsiteY95" fmla="*/ 359 h 1085"/>
                  <a:gd name="connsiteX96" fmla="*/ 1945 w 5810"/>
                  <a:gd name="connsiteY96" fmla="*/ 413 h 1085"/>
                  <a:gd name="connsiteX97" fmla="*/ 1908 w 5810"/>
                  <a:gd name="connsiteY97" fmla="*/ 467 h 1085"/>
                  <a:gd name="connsiteX98" fmla="*/ 1871 w 5810"/>
                  <a:gd name="connsiteY98" fmla="*/ 523 h 1085"/>
                  <a:gd name="connsiteX99" fmla="*/ 1834 w 5810"/>
                  <a:gd name="connsiteY99" fmla="*/ 581 h 1085"/>
                  <a:gd name="connsiteX100" fmla="*/ 1799 w 5810"/>
                  <a:gd name="connsiteY100" fmla="*/ 637 h 1085"/>
                  <a:gd name="connsiteX101" fmla="*/ 1724 w 5810"/>
                  <a:gd name="connsiteY101" fmla="*/ 749 h 1085"/>
                  <a:gd name="connsiteX102" fmla="*/ 1685 w 5810"/>
                  <a:gd name="connsiteY102" fmla="*/ 801 h 1085"/>
                  <a:gd name="connsiteX103" fmla="*/ 1644 w 5810"/>
                  <a:gd name="connsiteY103" fmla="*/ 850 h 1085"/>
                  <a:gd name="connsiteX104" fmla="*/ 1600 w 5810"/>
                  <a:gd name="connsiteY104" fmla="*/ 896 h 1085"/>
                  <a:gd name="connsiteX105" fmla="*/ 1553 w 5810"/>
                  <a:gd name="connsiteY105" fmla="*/ 937 h 1085"/>
                  <a:gd name="connsiteX106" fmla="*/ 1503 w 5810"/>
                  <a:gd name="connsiteY106" fmla="*/ 973 h 1085"/>
                  <a:gd name="connsiteX107" fmla="*/ 1450 w 5810"/>
                  <a:gd name="connsiteY107" fmla="*/ 1002 h 1085"/>
                  <a:gd name="connsiteX108" fmla="*/ 1394 w 5810"/>
                  <a:gd name="connsiteY108" fmla="*/ 1025 h 1085"/>
                  <a:gd name="connsiteX109" fmla="*/ 1330 w 5810"/>
                  <a:gd name="connsiteY109" fmla="*/ 1037 h 1085"/>
                  <a:gd name="connsiteX110" fmla="*/ 1264 w 5810"/>
                  <a:gd name="connsiteY110" fmla="*/ 1043 h 1085"/>
                  <a:gd name="connsiteX111" fmla="*/ 1258 w 5810"/>
                  <a:gd name="connsiteY111" fmla="*/ 1043 h 1085"/>
                  <a:gd name="connsiteX112" fmla="*/ 1190 w 5810"/>
                  <a:gd name="connsiteY112" fmla="*/ 1039 h 1085"/>
                  <a:gd name="connsiteX113" fmla="*/ 1128 w 5810"/>
                  <a:gd name="connsiteY113" fmla="*/ 1027 h 1085"/>
                  <a:gd name="connsiteX114" fmla="*/ 1070 w 5810"/>
                  <a:gd name="connsiteY114" fmla="*/ 1008 h 1085"/>
                  <a:gd name="connsiteX115" fmla="*/ 1018 w 5810"/>
                  <a:gd name="connsiteY115" fmla="*/ 983 h 1085"/>
                  <a:gd name="connsiteX116" fmla="*/ 971 w 5810"/>
                  <a:gd name="connsiteY116" fmla="*/ 952 h 1085"/>
                  <a:gd name="connsiteX117" fmla="*/ 925 w 5810"/>
                  <a:gd name="connsiteY117" fmla="*/ 915 h 1085"/>
                  <a:gd name="connsiteX118" fmla="*/ 884 w 5810"/>
                  <a:gd name="connsiteY118" fmla="*/ 873 h 1085"/>
                  <a:gd name="connsiteX119" fmla="*/ 847 w 5810"/>
                  <a:gd name="connsiteY119" fmla="*/ 828 h 1085"/>
                  <a:gd name="connsiteX120" fmla="*/ 810 w 5810"/>
                  <a:gd name="connsiteY120" fmla="*/ 780 h 1085"/>
                  <a:gd name="connsiteX121" fmla="*/ 777 w 5810"/>
                  <a:gd name="connsiteY121" fmla="*/ 728 h 1085"/>
                  <a:gd name="connsiteX122" fmla="*/ 742 w 5810"/>
                  <a:gd name="connsiteY122" fmla="*/ 674 h 1085"/>
                  <a:gd name="connsiteX123" fmla="*/ 711 w 5810"/>
                  <a:gd name="connsiteY123" fmla="*/ 618 h 1085"/>
                  <a:gd name="connsiteX124" fmla="*/ 678 w 5810"/>
                  <a:gd name="connsiteY124" fmla="*/ 560 h 1085"/>
                  <a:gd name="connsiteX125" fmla="*/ 616 w 5810"/>
                  <a:gd name="connsiteY125" fmla="*/ 448 h 1085"/>
                  <a:gd name="connsiteX126" fmla="*/ 547 w 5810"/>
                  <a:gd name="connsiteY126" fmla="*/ 340 h 1085"/>
                  <a:gd name="connsiteX127" fmla="*/ 504 w 5810"/>
                  <a:gd name="connsiteY127" fmla="*/ 284 h 1085"/>
                  <a:gd name="connsiteX128" fmla="*/ 457 w 5810"/>
                  <a:gd name="connsiteY128" fmla="*/ 239 h 1085"/>
                  <a:gd name="connsiteX129" fmla="*/ 409 w 5810"/>
                  <a:gd name="connsiteY129" fmla="*/ 199 h 1085"/>
                  <a:gd name="connsiteX130" fmla="*/ 358 w 5810"/>
                  <a:gd name="connsiteY130" fmla="*/ 168 h 1085"/>
                  <a:gd name="connsiteX131" fmla="*/ 308 w 5810"/>
                  <a:gd name="connsiteY131" fmla="*/ 145 h 1085"/>
                  <a:gd name="connsiteX132" fmla="*/ 256 w 5810"/>
                  <a:gd name="connsiteY132" fmla="*/ 127 h 1085"/>
                  <a:gd name="connsiteX133" fmla="*/ 209 w 5810"/>
                  <a:gd name="connsiteY133" fmla="*/ 112 h 1085"/>
                  <a:gd name="connsiteX134" fmla="*/ 163 w 5810"/>
                  <a:gd name="connsiteY134" fmla="*/ 104 h 1085"/>
                  <a:gd name="connsiteX135" fmla="*/ 122 w 5810"/>
                  <a:gd name="connsiteY135" fmla="*/ 100 h 1085"/>
                  <a:gd name="connsiteX136" fmla="*/ 85 w 5810"/>
                  <a:gd name="connsiteY136" fmla="*/ 95 h 1085"/>
                  <a:gd name="connsiteX137" fmla="*/ 31 w 5810"/>
                  <a:gd name="connsiteY137" fmla="*/ 95 h 1085"/>
                  <a:gd name="connsiteX138" fmla="*/ 17 w 5810"/>
                  <a:gd name="connsiteY138" fmla="*/ 98 h 1085"/>
                  <a:gd name="connsiteX139" fmla="*/ 11 w 5810"/>
                  <a:gd name="connsiteY139" fmla="*/ 98 h 1085"/>
                  <a:gd name="connsiteX140" fmla="*/ 0 w 5810"/>
                  <a:gd name="connsiteY140" fmla="*/ 13 h 1085"/>
                  <a:gd name="connsiteX141" fmla="*/ 9 w 5810"/>
                  <a:gd name="connsiteY141" fmla="*/ 13 h 1085"/>
                  <a:gd name="connsiteX142" fmla="*/ 29 w 5810"/>
                  <a:gd name="connsiteY142" fmla="*/ 10 h 1085"/>
                  <a:gd name="connsiteX143" fmla="*/ 91 w 5810"/>
                  <a:gd name="connsiteY143" fmla="*/ 10 h 1085"/>
                  <a:gd name="connsiteX144" fmla="*/ 135 w 5810"/>
                  <a:gd name="connsiteY144" fmla="*/ 13 h 1085"/>
                  <a:gd name="connsiteX145" fmla="*/ 182 w 5810"/>
                  <a:gd name="connsiteY145" fmla="*/ 19 h 1085"/>
                  <a:gd name="connsiteX146" fmla="*/ 234 w 5810"/>
                  <a:gd name="connsiteY146" fmla="*/ 29 h 1085"/>
                  <a:gd name="connsiteX147" fmla="*/ 287 w 5810"/>
                  <a:gd name="connsiteY147" fmla="*/ 46 h 1085"/>
                  <a:gd name="connsiteX148" fmla="*/ 345 w 5810"/>
                  <a:gd name="connsiteY148" fmla="*/ 66 h 1085"/>
                  <a:gd name="connsiteX149" fmla="*/ 403 w 5810"/>
                  <a:gd name="connsiteY149" fmla="*/ 93 h 1085"/>
                  <a:gd name="connsiteX150" fmla="*/ 459 w 5810"/>
                  <a:gd name="connsiteY150" fmla="*/ 131 h 1085"/>
                  <a:gd name="connsiteX151" fmla="*/ 514 w 5810"/>
                  <a:gd name="connsiteY151" fmla="*/ 174 h 1085"/>
                  <a:gd name="connsiteX152" fmla="*/ 568 w 5810"/>
                  <a:gd name="connsiteY152" fmla="*/ 228 h 1085"/>
                  <a:gd name="connsiteX153" fmla="*/ 618 w 5810"/>
                  <a:gd name="connsiteY153" fmla="*/ 292 h 1085"/>
                  <a:gd name="connsiteX154" fmla="*/ 667 w 5810"/>
                  <a:gd name="connsiteY154" fmla="*/ 367 h 1085"/>
                  <a:gd name="connsiteX155" fmla="*/ 754 w 5810"/>
                  <a:gd name="connsiteY155" fmla="*/ 516 h 1085"/>
                  <a:gd name="connsiteX156" fmla="*/ 787 w 5810"/>
                  <a:gd name="connsiteY156" fmla="*/ 575 h 1085"/>
                  <a:gd name="connsiteX157" fmla="*/ 820 w 5810"/>
                  <a:gd name="connsiteY157" fmla="*/ 631 h 1085"/>
                  <a:gd name="connsiteX158" fmla="*/ 853 w 5810"/>
                  <a:gd name="connsiteY158" fmla="*/ 684 h 1085"/>
                  <a:gd name="connsiteX159" fmla="*/ 886 w 5810"/>
                  <a:gd name="connsiteY159" fmla="*/ 736 h 1085"/>
                  <a:gd name="connsiteX160" fmla="*/ 921 w 5810"/>
                  <a:gd name="connsiteY160" fmla="*/ 782 h 1085"/>
                  <a:gd name="connsiteX161" fmla="*/ 958 w 5810"/>
                  <a:gd name="connsiteY161" fmla="*/ 825 h 1085"/>
                  <a:gd name="connsiteX162" fmla="*/ 1000 w 5810"/>
                  <a:gd name="connsiteY162" fmla="*/ 863 h 1085"/>
                  <a:gd name="connsiteX163" fmla="*/ 1043 w 5810"/>
                  <a:gd name="connsiteY163" fmla="*/ 894 h 1085"/>
                  <a:gd name="connsiteX164" fmla="*/ 1090 w 5810"/>
                  <a:gd name="connsiteY164" fmla="*/ 921 h 1085"/>
                  <a:gd name="connsiteX165" fmla="*/ 1140 w 5810"/>
                  <a:gd name="connsiteY165" fmla="*/ 939 h 1085"/>
                  <a:gd name="connsiteX166" fmla="*/ 1196 w 5810"/>
                  <a:gd name="connsiteY166" fmla="*/ 952 h 1085"/>
                  <a:gd name="connsiteX167" fmla="*/ 1258 w 5810"/>
                  <a:gd name="connsiteY167" fmla="*/ 956 h 1085"/>
                  <a:gd name="connsiteX168" fmla="*/ 1264 w 5810"/>
                  <a:gd name="connsiteY168" fmla="*/ 956 h 1085"/>
                  <a:gd name="connsiteX169" fmla="*/ 1324 w 5810"/>
                  <a:gd name="connsiteY169" fmla="*/ 950 h 1085"/>
                  <a:gd name="connsiteX170" fmla="*/ 1380 w 5810"/>
                  <a:gd name="connsiteY170" fmla="*/ 935 h 1085"/>
                  <a:gd name="connsiteX171" fmla="*/ 1433 w 5810"/>
                  <a:gd name="connsiteY171" fmla="*/ 913 h 1085"/>
                  <a:gd name="connsiteX172" fmla="*/ 1481 w 5810"/>
                  <a:gd name="connsiteY172" fmla="*/ 884 h 1085"/>
                  <a:gd name="connsiteX173" fmla="*/ 1526 w 5810"/>
                  <a:gd name="connsiteY173" fmla="*/ 846 h 1085"/>
                  <a:gd name="connsiteX174" fmla="*/ 1569 w 5810"/>
                  <a:gd name="connsiteY174" fmla="*/ 803 h 1085"/>
                  <a:gd name="connsiteX175" fmla="*/ 1609 w 5810"/>
                  <a:gd name="connsiteY175" fmla="*/ 755 h 1085"/>
                  <a:gd name="connsiteX176" fmla="*/ 1648 w 5810"/>
                  <a:gd name="connsiteY176" fmla="*/ 703 h 1085"/>
                  <a:gd name="connsiteX177" fmla="*/ 1687 w 5810"/>
                  <a:gd name="connsiteY177" fmla="*/ 649 h 1085"/>
                  <a:gd name="connsiteX178" fmla="*/ 1799 w 5810"/>
                  <a:gd name="connsiteY178" fmla="*/ 475 h 1085"/>
                  <a:gd name="connsiteX179" fmla="*/ 1838 w 5810"/>
                  <a:gd name="connsiteY179" fmla="*/ 415 h 1085"/>
                  <a:gd name="connsiteX180" fmla="*/ 1879 w 5810"/>
                  <a:gd name="connsiteY180" fmla="*/ 357 h 1085"/>
                  <a:gd name="connsiteX181" fmla="*/ 1923 w 5810"/>
                  <a:gd name="connsiteY181" fmla="*/ 299 h 1085"/>
                  <a:gd name="connsiteX182" fmla="*/ 1968 w 5810"/>
                  <a:gd name="connsiteY182" fmla="*/ 245 h 1085"/>
                  <a:gd name="connsiteX183" fmla="*/ 2015 w 5810"/>
                  <a:gd name="connsiteY183" fmla="*/ 193 h 1085"/>
                  <a:gd name="connsiteX184" fmla="*/ 2069 w 5810"/>
                  <a:gd name="connsiteY184" fmla="*/ 145 h 1085"/>
                  <a:gd name="connsiteX185" fmla="*/ 2125 w 5810"/>
                  <a:gd name="connsiteY185" fmla="*/ 104 h 1085"/>
                  <a:gd name="connsiteX186" fmla="*/ 2187 w 5810"/>
                  <a:gd name="connsiteY186" fmla="*/ 69 h 1085"/>
                  <a:gd name="connsiteX187" fmla="*/ 2253 w 5810"/>
                  <a:gd name="connsiteY187" fmla="*/ 39 h 1085"/>
                  <a:gd name="connsiteX188" fmla="*/ 2325 w 5810"/>
                  <a:gd name="connsiteY188" fmla="*/ 19 h 1085"/>
                  <a:gd name="connsiteX189" fmla="*/ 2404 w 5810"/>
                  <a:gd name="connsiteY189" fmla="*/ 6 h 1085"/>
                  <a:gd name="connsiteX190" fmla="*/ 2474 w 5810"/>
                  <a:gd name="connsiteY190" fmla="*/ 4 h 1085"/>
                  <a:gd name="connsiteX191" fmla="*/ 2540 w 5810"/>
                  <a:gd name="connsiteY191" fmla="*/ 13 h 1085"/>
                  <a:gd name="connsiteX192" fmla="*/ 2600 w 5810"/>
                  <a:gd name="connsiteY192" fmla="*/ 27 h 1085"/>
                  <a:gd name="connsiteX193" fmla="*/ 2658 w 5810"/>
                  <a:gd name="connsiteY193" fmla="*/ 50 h 1085"/>
                  <a:gd name="connsiteX194" fmla="*/ 2711 w 5810"/>
                  <a:gd name="connsiteY194" fmla="*/ 81 h 1085"/>
                  <a:gd name="connsiteX195" fmla="*/ 2761 w 5810"/>
                  <a:gd name="connsiteY195" fmla="*/ 116 h 1085"/>
                  <a:gd name="connsiteX196" fmla="*/ 2806 w 5810"/>
                  <a:gd name="connsiteY196" fmla="*/ 158 h 1085"/>
                  <a:gd name="connsiteX197" fmla="*/ 2852 w 5810"/>
                  <a:gd name="connsiteY197" fmla="*/ 203 h 1085"/>
                  <a:gd name="connsiteX198" fmla="*/ 2893 w 5810"/>
                  <a:gd name="connsiteY198" fmla="*/ 251 h 1085"/>
                  <a:gd name="connsiteX199" fmla="*/ 2932 w 5810"/>
                  <a:gd name="connsiteY199" fmla="*/ 303 h 1085"/>
                  <a:gd name="connsiteX200" fmla="*/ 2969 w 5810"/>
                  <a:gd name="connsiteY200" fmla="*/ 357 h 1085"/>
                  <a:gd name="connsiteX201" fmla="*/ 3004 w 5810"/>
                  <a:gd name="connsiteY201" fmla="*/ 413 h 1085"/>
                  <a:gd name="connsiteX202" fmla="*/ 3039 w 5810"/>
                  <a:gd name="connsiteY202" fmla="*/ 467 h 1085"/>
                  <a:gd name="connsiteX203" fmla="*/ 3073 w 5810"/>
                  <a:gd name="connsiteY203" fmla="*/ 523 h 1085"/>
                  <a:gd name="connsiteX204" fmla="*/ 3110 w 5810"/>
                  <a:gd name="connsiteY204" fmla="*/ 585 h 1085"/>
                  <a:gd name="connsiteX205" fmla="*/ 3147 w 5810"/>
                  <a:gd name="connsiteY205" fmla="*/ 643 h 1085"/>
                  <a:gd name="connsiteX206" fmla="*/ 3186 w 5810"/>
                  <a:gd name="connsiteY206" fmla="*/ 701 h 1085"/>
                  <a:gd name="connsiteX207" fmla="*/ 3223 w 5810"/>
                  <a:gd name="connsiteY207" fmla="*/ 755 h 1085"/>
                  <a:gd name="connsiteX208" fmla="*/ 3265 w 5810"/>
                  <a:gd name="connsiteY208" fmla="*/ 805 h 1085"/>
                  <a:gd name="connsiteX209" fmla="*/ 3306 w 5810"/>
                  <a:gd name="connsiteY209" fmla="*/ 848 h 1085"/>
                  <a:gd name="connsiteX210" fmla="*/ 3349 w 5810"/>
                  <a:gd name="connsiteY210" fmla="*/ 886 h 1085"/>
                  <a:gd name="connsiteX211" fmla="*/ 3395 w 5810"/>
                  <a:gd name="connsiteY211" fmla="*/ 917 h 1085"/>
                  <a:gd name="connsiteX212" fmla="*/ 3444 w 5810"/>
                  <a:gd name="connsiteY212" fmla="*/ 939 h 1085"/>
                  <a:gd name="connsiteX213" fmla="*/ 3498 w 5810"/>
                  <a:gd name="connsiteY213" fmla="*/ 952 h 1085"/>
                  <a:gd name="connsiteX214" fmla="*/ 3554 w 5810"/>
                  <a:gd name="connsiteY214" fmla="*/ 956 h 1085"/>
                  <a:gd name="connsiteX215" fmla="*/ 3609 w 5810"/>
                  <a:gd name="connsiteY215" fmla="*/ 950 h 1085"/>
                  <a:gd name="connsiteX216" fmla="*/ 3659 w 5810"/>
                  <a:gd name="connsiteY216" fmla="*/ 935 h 1085"/>
                  <a:gd name="connsiteX217" fmla="*/ 3706 w 5810"/>
                  <a:gd name="connsiteY217" fmla="*/ 915 h 1085"/>
                  <a:gd name="connsiteX218" fmla="*/ 3750 w 5810"/>
                  <a:gd name="connsiteY218" fmla="*/ 884 h 1085"/>
                  <a:gd name="connsiteX219" fmla="*/ 3789 w 5810"/>
                  <a:gd name="connsiteY219" fmla="*/ 848 h 1085"/>
                  <a:gd name="connsiteX220" fmla="*/ 3826 w 5810"/>
                  <a:gd name="connsiteY220" fmla="*/ 807 h 1085"/>
                  <a:gd name="connsiteX221" fmla="*/ 3861 w 5810"/>
                  <a:gd name="connsiteY221" fmla="*/ 759 h 1085"/>
                  <a:gd name="connsiteX222" fmla="*/ 3894 w 5810"/>
                  <a:gd name="connsiteY222" fmla="*/ 709 h 1085"/>
                  <a:gd name="connsiteX223" fmla="*/ 3927 w 5810"/>
                  <a:gd name="connsiteY223" fmla="*/ 655 h 1085"/>
                  <a:gd name="connsiteX224" fmla="*/ 3960 w 5810"/>
                  <a:gd name="connsiteY224" fmla="*/ 597 h 1085"/>
                  <a:gd name="connsiteX225" fmla="*/ 3993 w 5810"/>
                  <a:gd name="connsiteY225" fmla="*/ 537 h 1085"/>
                  <a:gd name="connsiteX226" fmla="*/ 4022 w 5810"/>
                  <a:gd name="connsiteY226" fmla="*/ 483 h 1085"/>
                  <a:gd name="connsiteX227" fmla="*/ 4084 w 5810"/>
                  <a:gd name="connsiteY227" fmla="*/ 375 h 1085"/>
                  <a:gd name="connsiteX228" fmla="*/ 4154 w 5810"/>
                  <a:gd name="connsiteY228" fmla="*/ 272 h 1085"/>
                  <a:gd name="connsiteX229" fmla="*/ 4192 w 5810"/>
                  <a:gd name="connsiteY229" fmla="*/ 224 h 1085"/>
                  <a:gd name="connsiteX230" fmla="*/ 4233 w 5810"/>
                  <a:gd name="connsiteY230" fmla="*/ 178 h 1085"/>
                  <a:gd name="connsiteX231" fmla="*/ 4276 w 5810"/>
                  <a:gd name="connsiteY231" fmla="*/ 137 h 1085"/>
                  <a:gd name="connsiteX232" fmla="*/ 4324 w 5810"/>
                  <a:gd name="connsiteY232" fmla="*/ 100 h 1085"/>
                  <a:gd name="connsiteX233" fmla="*/ 4375 w 5810"/>
                  <a:gd name="connsiteY233" fmla="*/ 66 h 1085"/>
                  <a:gd name="connsiteX234" fmla="*/ 4433 w 5810"/>
                  <a:gd name="connsiteY234" fmla="*/ 39 h 1085"/>
                  <a:gd name="connsiteX235" fmla="*/ 4493 w 5810"/>
                  <a:gd name="connsiteY235" fmla="*/ 19 h 1085"/>
                  <a:gd name="connsiteX236" fmla="*/ 4559 w 5810"/>
                  <a:gd name="connsiteY236" fmla="*/ 6 h 1085"/>
                  <a:gd name="connsiteX237" fmla="*/ 4631 w 5810"/>
                  <a:gd name="connsiteY237" fmla="*/ 0 h 1085"/>
                  <a:gd name="connsiteX0" fmla="*/ 4631 w 5810"/>
                  <a:gd name="connsiteY0" fmla="*/ 0 h 1085"/>
                  <a:gd name="connsiteX1" fmla="*/ 4681 w 5810"/>
                  <a:gd name="connsiteY1" fmla="*/ 0 h 1085"/>
                  <a:gd name="connsiteX2" fmla="*/ 4710 w 5810"/>
                  <a:gd name="connsiteY2" fmla="*/ 4 h 1085"/>
                  <a:gd name="connsiteX3" fmla="*/ 4741 w 5810"/>
                  <a:gd name="connsiteY3" fmla="*/ 13 h 1085"/>
                  <a:gd name="connsiteX4" fmla="*/ 4778 w 5810"/>
                  <a:gd name="connsiteY4" fmla="*/ 23 h 1085"/>
                  <a:gd name="connsiteX5" fmla="*/ 4819 w 5810"/>
                  <a:gd name="connsiteY5" fmla="*/ 39 h 1085"/>
                  <a:gd name="connsiteX6" fmla="*/ 4863 w 5810"/>
                  <a:gd name="connsiteY6" fmla="*/ 60 h 1085"/>
                  <a:gd name="connsiteX7" fmla="*/ 4910 w 5810"/>
                  <a:gd name="connsiteY7" fmla="*/ 89 h 1085"/>
                  <a:gd name="connsiteX8" fmla="*/ 4960 w 5810"/>
                  <a:gd name="connsiteY8" fmla="*/ 124 h 1085"/>
                  <a:gd name="connsiteX9" fmla="*/ 5009 w 5810"/>
                  <a:gd name="connsiteY9" fmla="*/ 170 h 1085"/>
                  <a:gd name="connsiteX10" fmla="*/ 5061 w 5810"/>
                  <a:gd name="connsiteY10" fmla="*/ 224 h 1085"/>
                  <a:gd name="connsiteX11" fmla="*/ 5112 w 5810"/>
                  <a:gd name="connsiteY11" fmla="*/ 286 h 1085"/>
                  <a:gd name="connsiteX12" fmla="*/ 5313 w 5810"/>
                  <a:gd name="connsiteY12" fmla="*/ 633 h 1085"/>
                  <a:gd name="connsiteX13" fmla="*/ 5408 w 5810"/>
                  <a:gd name="connsiteY13" fmla="*/ 769 h 1085"/>
                  <a:gd name="connsiteX14" fmla="*/ 5455 w 5810"/>
                  <a:gd name="connsiteY14" fmla="*/ 821 h 1085"/>
                  <a:gd name="connsiteX15" fmla="*/ 5503 w 5810"/>
                  <a:gd name="connsiteY15" fmla="*/ 865 h 1085"/>
                  <a:gd name="connsiteX16" fmla="*/ 5550 w 5810"/>
                  <a:gd name="connsiteY16" fmla="*/ 900 h 1085"/>
                  <a:gd name="connsiteX17" fmla="*/ 5593 w 5810"/>
                  <a:gd name="connsiteY17" fmla="*/ 927 h 1085"/>
                  <a:gd name="connsiteX18" fmla="*/ 5637 w 5810"/>
                  <a:gd name="connsiteY18" fmla="*/ 948 h 1085"/>
                  <a:gd name="connsiteX19" fmla="*/ 5676 w 5810"/>
                  <a:gd name="connsiteY19" fmla="*/ 962 h 1085"/>
                  <a:gd name="connsiteX20" fmla="*/ 5711 w 5810"/>
                  <a:gd name="connsiteY20" fmla="*/ 973 h 1085"/>
                  <a:gd name="connsiteX21" fmla="*/ 5742 w 5810"/>
                  <a:gd name="connsiteY21" fmla="*/ 981 h 1085"/>
                  <a:gd name="connsiteX22" fmla="*/ 5767 w 5810"/>
                  <a:gd name="connsiteY22" fmla="*/ 983 h 1085"/>
                  <a:gd name="connsiteX23" fmla="*/ 5785 w 5810"/>
                  <a:gd name="connsiteY23" fmla="*/ 985 h 1085"/>
                  <a:gd name="connsiteX24" fmla="*/ 5802 w 5810"/>
                  <a:gd name="connsiteY24" fmla="*/ 985 h 1085"/>
                  <a:gd name="connsiteX25" fmla="*/ 5810 w 5810"/>
                  <a:gd name="connsiteY25" fmla="*/ 1072 h 1085"/>
                  <a:gd name="connsiteX26" fmla="*/ 5717 w 5810"/>
                  <a:gd name="connsiteY26" fmla="*/ 1064 h 1085"/>
                  <a:gd name="connsiteX27" fmla="*/ 5639 w 5810"/>
                  <a:gd name="connsiteY27" fmla="*/ 1043 h 1085"/>
                  <a:gd name="connsiteX28" fmla="*/ 5546 w 5810"/>
                  <a:gd name="connsiteY28" fmla="*/ 1002 h 1085"/>
                  <a:gd name="connsiteX29" fmla="*/ 5496 w 5810"/>
                  <a:gd name="connsiteY29" fmla="*/ 971 h 1085"/>
                  <a:gd name="connsiteX30" fmla="*/ 5042 w 5810"/>
                  <a:gd name="connsiteY30" fmla="*/ 336 h 1085"/>
                  <a:gd name="connsiteX31" fmla="*/ 4993 w 5810"/>
                  <a:gd name="connsiteY31" fmla="*/ 276 h 1085"/>
                  <a:gd name="connsiteX32" fmla="*/ 4945 w 5810"/>
                  <a:gd name="connsiteY32" fmla="*/ 228 h 1085"/>
                  <a:gd name="connsiteX33" fmla="*/ 4900 w 5810"/>
                  <a:gd name="connsiteY33" fmla="*/ 189 h 1085"/>
                  <a:gd name="connsiteX34" fmla="*/ 4858 w 5810"/>
                  <a:gd name="connsiteY34" fmla="*/ 158 h 1085"/>
                  <a:gd name="connsiteX35" fmla="*/ 4819 w 5810"/>
                  <a:gd name="connsiteY35" fmla="*/ 135 h 1085"/>
                  <a:gd name="connsiteX36" fmla="*/ 4770 w 5810"/>
                  <a:gd name="connsiteY36" fmla="*/ 112 h 1085"/>
                  <a:gd name="connsiteX37" fmla="*/ 4726 w 5810"/>
                  <a:gd name="connsiteY37" fmla="*/ 98 h 1085"/>
                  <a:gd name="connsiteX38" fmla="*/ 4691 w 5810"/>
                  <a:gd name="connsiteY38" fmla="*/ 89 h 1085"/>
                  <a:gd name="connsiteX39" fmla="*/ 4662 w 5810"/>
                  <a:gd name="connsiteY39" fmla="*/ 87 h 1085"/>
                  <a:gd name="connsiteX40" fmla="*/ 4635 w 5810"/>
                  <a:gd name="connsiteY40" fmla="*/ 87 h 1085"/>
                  <a:gd name="connsiteX41" fmla="*/ 4569 w 5810"/>
                  <a:gd name="connsiteY41" fmla="*/ 93 h 1085"/>
                  <a:gd name="connsiteX42" fmla="*/ 4507 w 5810"/>
                  <a:gd name="connsiteY42" fmla="*/ 106 h 1085"/>
                  <a:gd name="connsiteX43" fmla="*/ 4452 w 5810"/>
                  <a:gd name="connsiteY43" fmla="*/ 127 h 1085"/>
                  <a:gd name="connsiteX44" fmla="*/ 4400 w 5810"/>
                  <a:gd name="connsiteY44" fmla="*/ 154 h 1085"/>
                  <a:gd name="connsiteX45" fmla="*/ 4353 w 5810"/>
                  <a:gd name="connsiteY45" fmla="*/ 187 h 1085"/>
                  <a:gd name="connsiteX46" fmla="*/ 4309 w 5810"/>
                  <a:gd name="connsiteY46" fmla="*/ 224 h 1085"/>
                  <a:gd name="connsiteX47" fmla="*/ 4270 w 5810"/>
                  <a:gd name="connsiteY47" fmla="*/ 268 h 1085"/>
                  <a:gd name="connsiteX48" fmla="*/ 4231 w 5810"/>
                  <a:gd name="connsiteY48" fmla="*/ 313 h 1085"/>
                  <a:gd name="connsiteX49" fmla="*/ 4196 w 5810"/>
                  <a:gd name="connsiteY49" fmla="*/ 363 h 1085"/>
                  <a:gd name="connsiteX50" fmla="*/ 4163 w 5810"/>
                  <a:gd name="connsiteY50" fmla="*/ 415 h 1085"/>
                  <a:gd name="connsiteX51" fmla="*/ 4101 w 5810"/>
                  <a:gd name="connsiteY51" fmla="*/ 523 h 1085"/>
                  <a:gd name="connsiteX52" fmla="*/ 4008 w 5810"/>
                  <a:gd name="connsiteY52" fmla="*/ 691 h 1085"/>
                  <a:gd name="connsiteX53" fmla="*/ 3975 w 5810"/>
                  <a:gd name="connsiteY53" fmla="*/ 747 h 1085"/>
                  <a:gd name="connsiteX54" fmla="*/ 3940 w 5810"/>
                  <a:gd name="connsiteY54" fmla="*/ 798 h 1085"/>
                  <a:gd name="connsiteX55" fmla="*/ 3905 w 5810"/>
                  <a:gd name="connsiteY55" fmla="*/ 848 h 1085"/>
                  <a:gd name="connsiteX56" fmla="*/ 3865 w 5810"/>
                  <a:gd name="connsiteY56" fmla="*/ 894 h 1085"/>
                  <a:gd name="connsiteX57" fmla="*/ 3824 w 5810"/>
                  <a:gd name="connsiteY57" fmla="*/ 935 h 1085"/>
                  <a:gd name="connsiteX58" fmla="*/ 3779 w 5810"/>
                  <a:gd name="connsiteY58" fmla="*/ 971 h 1085"/>
                  <a:gd name="connsiteX59" fmla="*/ 3729 w 5810"/>
                  <a:gd name="connsiteY59" fmla="*/ 1000 h 1085"/>
                  <a:gd name="connsiteX60" fmla="*/ 3677 w 5810"/>
                  <a:gd name="connsiteY60" fmla="*/ 1022 h 1085"/>
                  <a:gd name="connsiteX61" fmla="*/ 3620 w 5810"/>
                  <a:gd name="connsiteY61" fmla="*/ 1037 h 1085"/>
                  <a:gd name="connsiteX62" fmla="*/ 3556 w 5810"/>
                  <a:gd name="connsiteY62" fmla="*/ 1043 h 1085"/>
                  <a:gd name="connsiteX63" fmla="*/ 3547 w 5810"/>
                  <a:gd name="connsiteY63" fmla="*/ 1043 h 1085"/>
                  <a:gd name="connsiteX64" fmla="*/ 3485 w 5810"/>
                  <a:gd name="connsiteY64" fmla="*/ 1039 h 1085"/>
                  <a:gd name="connsiteX65" fmla="*/ 3426 w 5810"/>
                  <a:gd name="connsiteY65" fmla="*/ 1025 h 1085"/>
                  <a:gd name="connsiteX66" fmla="*/ 3372 w 5810"/>
                  <a:gd name="connsiteY66" fmla="*/ 1002 h 1085"/>
                  <a:gd name="connsiteX67" fmla="*/ 3320 w 5810"/>
                  <a:gd name="connsiteY67" fmla="*/ 973 h 1085"/>
                  <a:gd name="connsiteX68" fmla="*/ 3273 w 5810"/>
                  <a:gd name="connsiteY68" fmla="*/ 935 h 1085"/>
                  <a:gd name="connsiteX69" fmla="*/ 3229 w 5810"/>
                  <a:gd name="connsiteY69" fmla="*/ 894 h 1085"/>
                  <a:gd name="connsiteX70" fmla="*/ 3186 w 5810"/>
                  <a:gd name="connsiteY70" fmla="*/ 846 h 1085"/>
                  <a:gd name="connsiteX71" fmla="*/ 3147 w 5810"/>
                  <a:gd name="connsiteY71" fmla="*/ 796 h 1085"/>
                  <a:gd name="connsiteX72" fmla="*/ 3108 w 5810"/>
                  <a:gd name="connsiteY72" fmla="*/ 740 h 1085"/>
                  <a:gd name="connsiteX73" fmla="*/ 3070 w 5810"/>
                  <a:gd name="connsiteY73" fmla="*/ 684 h 1085"/>
                  <a:gd name="connsiteX74" fmla="*/ 2965 w 5810"/>
                  <a:gd name="connsiteY74" fmla="*/ 510 h 1085"/>
                  <a:gd name="connsiteX75" fmla="*/ 2928 w 5810"/>
                  <a:gd name="connsiteY75" fmla="*/ 452 h 1085"/>
                  <a:gd name="connsiteX76" fmla="*/ 2891 w 5810"/>
                  <a:gd name="connsiteY76" fmla="*/ 396 h 1085"/>
                  <a:gd name="connsiteX77" fmla="*/ 2854 w 5810"/>
                  <a:gd name="connsiteY77" fmla="*/ 342 h 1085"/>
                  <a:gd name="connsiteX78" fmla="*/ 2814 w 5810"/>
                  <a:gd name="connsiteY78" fmla="*/ 292 h 1085"/>
                  <a:gd name="connsiteX79" fmla="*/ 2773 w 5810"/>
                  <a:gd name="connsiteY79" fmla="*/ 247 h 1085"/>
                  <a:gd name="connsiteX80" fmla="*/ 2732 w 5810"/>
                  <a:gd name="connsiteY80" fmla="*/ 205 h 1085"/>
                  <a:gd name="connsiteX81" fmla="*/ 2686 w 5810"/>
                  <a:gd name="connsiteY81" fmla="*/ 168 h 1085"/>
                  <a:gd name="connsiteX82" fmla="*/ 2639 w 5810"/>
                  <a:gd name="connsiteY82" fmla="*/ 139 h 1085"/>
                  <a:gd name="connsiteX83" fmla="*/ 2587 w 5810"/>
                  <a:gd name="connsiteY83" fmla="*/ 116 h 1085"/>
                  <a:gd name="connsiteX84" fmla="*/ 2532 w 5810"/>
                  <a:gd name="connsiteY84" fmla="*/ 100 h 1085"/>
                  <a:gd name="connsiteX85" fmla="*/ 2474 w 5810"/>
                  <a:gd name="connsiteY85" fmla="*/ 91 h 1085"/>
                  <a:gd name="connsiteX86" fmla="*/ 2410 w 5810"/>
                  <a:gd name="connsiteY86" fmla="*/ 93 h 1085"/>
                  <a:gd name="connsiteX87" fmla="*/ 2342 w 5810"/>
                  <a:gd name="connsiteY87" fmla="*/ 104 h 1085"/>
                  <a:gd name="connsiteX88" fmla="*/ 2280 w 5810"/>
                  <a:gd name="connsiteY88" fmla="*/ 122 h 1085"/>
                  <a:gd name="connsiteX89" fmla="*/ 2222 w 5810"/>
                  <a:gd name="connsiteY89" fmla="*/ 147 h 1085"/>
                  <a:gd name="connsiteX90" fmla="*/ 2168 w 5810"/>
                  <a:gd name="connsiteY90" fmla="*/ 180 h 1085"/>
                  <a:gd name="connsiteX91" fmla="*/ 2117 w 5810"/>
                  <a:gd name="connsiteY91" fmla="*/ 218 h 1085"/>
                  <a:gd name="connsiteX92" fmla="*/ 2071 w 5810"/>
                  <a:gd name="connsiteY92" fmla="*/ 261 h 1085"/>
                  <a:gd name="connsiteX93" fmla="*/ 2026 w 5810"/>
                  <a:gd name="connsiteY93" fmla="*/ 307 h 1085"/>
                  <a:gd name="connsiteX94" fmla="*/ 1984 w 5810"/>
                  <a:gd name="connsiteY94" fmla="*/ 359 h 1085"/>
                  <a:gd name="connsiteX95" fmla="*/ 1945 w 5810"/>
                  <a:gd name="connsiteY95" fmla="*/ 413 h 1085"/>
                  <a:gd name="connsiteX96" fmla="*/ 1908 w 5810"/>
                  <a:gd name="connsiteY96" fmla="*/ 467 h 1085"/>
                  <a:gd name="connsiteX97" fmla="*/ 1871 w 5810"/>
                  <a:gd name="connsiteY97" fmla="*/ 523 h 1085"/>
                  <a:gd name="connsiteX98" fmla="*/ 1834 w 5810"/>
                  <a:gd name="connsiteY98" fmla="*/ 581 h 1085"/>
                  <a:gd name="connsiteX99" fmla="*/ 1799 w 5810"/>
                  <a:gd name="connsiteY99" fmla="*/ 637 h 1085"/>
                  <a:gd name="connsiteX100" fmla="*/ 1724 w 5810"/>
                  <a:gd name="connsiteY100" fmla="*/ 749 h 1085"/>
                  <a:gd name="connsiteX101" fmla="*/ 1685 w 5810"/>
                  <a:gd name="connsiteY101" fmla="*/ 801 h 1085"/>
                  <a:gd name="connsiteX102" fmla="*/ 1644 w 5810"/>
                  <a:gd name="connsiteY102" fmla="*/ 850 h 1085"/>
                  <a:gd name="connsiteX103" fmla="*/ 1600 w 5810"/>
                  <a:gd name="connsiteY103" fmla="*/ 896 h 1085"/>
                  <a:gd name="connsiteX104" fmla="*/ 1553 w 5810"/>
                  <a:gd name="connsiteY104" fmla="*/ 937 h 1085"/>
                  <a:gd name="connsiteX105" fmla="*/ 1503 w 5810"/>
                  <a:gd name="connsiteY105" fmla="*/ 973 h 1085"/>
                  <a:gd name="connsiteX106" fmla="*/ 1450 w 5810"/>
                  <a:gd name="connsiteY106" fmla="*/ 1002 h 1085"/>
                  <a:gd name="connsiteX107" fmla="*/ 1394 w 5810"/>
                  <a:gd name="connsiteY107" fmla="*/ 1025 h 1085"/>
                  <a:gd name="connsiteX108" fmla="*/ 1330 w 5810"/>
                  <a:gd name="connsiteY108" fmla="*/ 1037 h 1085"/>
                  <a:gd name="connsiteX109" fmla="*/ 1264 w 5810"/>
                  <a:gd name="connsiteY109" fmla="*/ 1043 h 1085"/>
                  <a:gd name="connsiteX110" fmla="*/ 1258 w 5810"/>
                  <a:gd name="connsiteY110" fmla="*/ 1043 h 1085"/>
                  <a:gd name="connsiteX111" fmla="*/ 1190 w 5810"/>
                  <a:gd name="connsiteY111" fmla="*/ 1039 h 1085"/>
                  <a:gd name="connsiteX112" fmla="*/ 1128 w 5810"/>
                  <a:gd name="connsiteY112" fmla="*/ 1027 h 1085"/>
                  <a:gd name="connsiteX113" fmla="*/ 1070 w 5810"/>
                  <a:gd name="connsiteY113" fmla="*/ 1008 h 1085"/>
                  <a:gd name="connsiteX114" fmla="*/ 1018 w 5810"/>
                  <a:gd name="connsiteY114" fmla="*/ 983 h 1085"/>
                  <a:gd name="connsiteX115" fmla="*/ 971 w 5810"/>
                  <a:gd name="connsiteY115" fmla="*/ 952 h 1085"/>
                  <a:gd name="connsiteX116" fmla="*/ 925 w 5810"/>
                  <a:gd name="connsiteY116" fmla="*/ 915 h 1085"/>
                  <a:gd name="connsiteX117" fmla="*/ 884 w 5810"/>
                  <a:gd name="connsiteY117" fmla="*/ 873 h 1085"/>
                  <a:gd name="connsiteX118" fmla="*/ 847 w 5810"/>
                  <a:gd name="connsiteY118" fmla="*/ 828 h 1085"/>
                  <a:gd name="connsiteX119" fmla="*/ 810 w 5810"/>
                  <a:gd name="connsiteY119" fmla="*/ 780 h 1085"/>
                  <a:gd name="connsiteX120" fmla="*/ 777 w 5810"/>
                  <a:gd name="connsiteY120" fmla="*/ 728 h 1085"/>
                  <a:gd name="connsiteX121" fmla="*/ 742 w 5810"/>
                  <a:gd name="connsiteY121" fmla="*/ 674 h 1085"/>
                  <a:gd name="connsiteX122" fmla="*/ 711 w 5810"/>
                  <a:gd name="connsiteY122" fmla="*/ 618 h 1085"/>
                  <a:gd name="connsiteX123" fmla="*/ 678 w 5810"/>
                  <a:gd name="connsiteY123" fmla="*/ 560 h 1085"/>
                  <a:gd name="connsiteX124" fmla="*/ 616 w 5810"/>
                  <a:gd name="connsiteY124" fmla="*/ 448 h 1085"/>
                  <a:gd name="connsiteX125" fmla="*/ 547 w 5810"/>
                  <a:gd name="connsiteY125" fmla="*/ 340 h 1085"/>
                  <a:gd name="connsiteX126" fmla="*/ 504 w 5810"/>
                  <a:gd name="connsiteY126" fmla="*/ 284 h 1085"/>
                  <a:gd name="connsiteX127" fmla="*/ 457 w 5810"/>
                  <a:gd name="connsiteY127" fmla="*/ 239 h 1085"/>
                  <a:gd name="connsiteX128" fmla="*/ 409 w 5810"/>
                  <a:gd name="connsiteY128" fmla="*/ 199 h 1085"/>
                  <a:gd name="connsiteX129" fmla="*/ 358 w 5810"/>
                  <a:gd name="connsiteY129" fmla="*/ 168 h 1085"/>
                  <a:gd name="connsiteX130" fmla="*/ 308 w 5810"/>
                  <a:gd name="connsiteY130" fmla="*/ 145 h 1085"/>
                  <a:gd name="connsiteX131" fmla="*/ 256 w 5810"/>
                  <a:gd name="connsiteY131" fmla="*/ 127 h 1085"/>
                  <a:gd name="connsiteX132" fmla="*/ 209 w 5810"/>
                  <a:gd name="connsiteY132" fmla="*/ 112 h 1085"/>
                  <a:gd name="connsiteX133" fmla="*/ 163 w 5810"/>
                  <a:gd name="connsiteY133" fmla="*/ 104 h 1085"/>
                  <a:gd name="connsiteX134" fmla="*/ 122 w 5810"/>
                  <a:gd name="connsiteY134" fmla="*/ 100 h 1085"/>
                  <a:gd name="connsiteX135" fmla="*/ 85 w 5810"/>
                  <a:gd name="connsiteY135" fmla="*/ 95 h 1085"/>
                  <a:gd name="connsiteX136" fmla="*/ 31 w 5810"/>
                  <a:gd name="connsiteY136" fmla="*/ 95 h 1085"/>
                  <a:gd name="connsiteX137" fmla="*/ 17 w 5810"/>
                  <a:gd name="connsiteY137" fmla="*/ 98 h 1085"/>
                  <a:gd name="connsiteX138" fmla="*/ 11 w 5810"/>
                  <a:gd name="connsiteY138" fmla="*/ 98 h 1085"/>
                  <a:gd name="connsiteX139" fmla="*/ 0 w 5810"/>
                  <a:gd name="connsiteY139" fmla="*/ 13 h 1085"/>
                  <a:gd name="connsiteX140" fmla="*/ 9 w 5810"/>
                  <a:gd name="connsiteY140" fmla="*/ 13 h 1085"/>
                  <a:gd name="connsiteX141" fmla="*/ 29 w 5810"/>
                  <a:gd name="connsiteY141" fmla="*/ 10 h 1085"/>
                  <a:gd name="connsiteX142" fmla="*/ 91 w 5810"/>
                  <a:gd name="connsiteY142" fmla="*/ 10 h 1085"/>
                  <a:gd name="connsiteX143" fmla="*/ 135 w 5810"/>
                  <a:gd name="connsiteY143" fmla="*/ 13 h 1085"/>
                  <a:gd name="connsiteX144" fmla="*/ 182 w 5810"/>
                  <a:gd name="connsiteY144" fmla="*/ 19 h 1085"/>
                  <a:gd name="connsiteX145" fmla="*/ 234 w 5810"/>
                  <a:gd name="connsiteY145" fmla="*/ 29 h 1085"/>
                  <a:gd name="connsiteX146" fmla="*/ 287 w 5810"/>
                  <a:gd name="connsiteY146" fmla="*/ 46 h 1085"/>
                  <a:gd name="connsiteX147" fmla="*/ 345 w 5810"/>
                  <a:gd name="connsiteY147" fmla="*/ 66 h 1085"/>
                  <a:gd name="connsiteX148" fmla="*/ 403 w 5810"/>
                  <a:gd name="connsiteY148" fmla="*/ 93 h 1085"/>
                  <a:gd name="connsiteX149" fmla="*/ 459 w 5810"/>
                  <a:gd name="connsiteY149" fmla="*/ 131 h 1085"/>
                  <a:gd name="connsiteX150" fmla="*/ 514 w 5810"/>
                  <a:gd name="connsiteY150" fmla="*/ 174 h 1085"/>
                  <a:gd name="connsiteX151" fmla="*/ 568 w 5810"/>
                  <a:gd name="connsiteY151" fmla="*/ 228 h 1085"/>
                  <a:gd name="connsiteX152" fmla="*/ 618 w 5810"/>
                  <a:gd name="connsiteY152" fmla="*/ 292 h 1085"/>
                  <a:gd name="connsiteX153" fmla="*/ 667 w 5810"/>
                  <a:gd name="connsiteY153" fmla="*/ 367 h 1085"/>
                  <a:gd name="connsiteX154" fmla="*/ 754 w 5810"/>
                  <a:gd name="connsiteY154" fmla="*/ 516 h 1085"/>
                  <a:gd name="connsiteX155" fmla="*/ 787 w 5810"/>
                  <a:gd name="connsiteY155" fmla="*/ 575 h 1085"/>
                  <a:gd name="connsiteX156" fmla="*/ 820 w 5810"/>
                  <a:gd name="connsiteY156" fmla="*/ 631 h 1085"/>
                  <a:gd name="connsiteX157" fmla="*/ 853 w 5810"/>
                  <a:gd name="connsiteY157" fmla="*/ 684 h 1085"/>
                  <a:gd name="connsiteX158" fmla="*/ 886 w 5810"/>
                  <a:gd name="connsiteY158" fmla="*/ 736 h 1085"/>
                  <a:gd name="connsiteX159" fmla="*/ 921 w 5810"/>
                  <a:gd name="connsiteY159" fmla="*/ 782 h 1085"/>
                  <a:gd name="connsiteX160" fmla="*/ 958 w 5810"/>
                  <a:gd name="connsiteY160" fmla="*/ 825 h 1085"/>
                  <a:gd name="connsiteX161" fmla="*/ 1000 w 5810"/>
                  <a:gd name="connsiteY161" fmla="*/ 863 h 1085"/>
                  <a:gd name="connsiteX162" fmla="*/ 1043 w 5810"/>
                  <a:gd name="connsiteY162" fmla="*/ 894 h 1085"/>
                  <a:gd name="connsiteX163" fmla="*/ 1090 w 5810"/>
                  <a:gd name="connsiteY163" fmla="*/ 921 h 1085"/>
                  <a:gd name="connsiteX164" fmla="*/ 1140 w 5810"/>
                  <a:gd name="connsiteY164" fmla="*/ 939 h 1085"/>
                  <a:gd name="connsiteX165" fmla="*/ 1196 w 5810"/>
                  <a:gd name="connsiteY165" fmla="*/ 952 h 1085"/>
                  <a:gd name="connsiteX166" fmla="*/ 1258 w 5810"/>
                  <a:gd name="connsiteY166" fmla="*/ 956 h 1085"/>
                  <a:gd name="connsiteX167" fmla="*/ 1264 w 5810"/>
                  <a:gd name="connsiteY167" fmla="*/ 956 h 1085"/>
                  <a:gd name="connsiteX168" fmla="*/ 1324 w 5810"/>
                  <a:gd name="connsiteY168" fmla="*/ 950 h 1085"/>
                  <a:gd name="connsiteX169" fmla="*/ 1380 w 5810"/>
                  <a:gd name="connsiteY169" fmla="*/ 935 h 1085"/>
                  <a:gd name="connsiteX170" fmla="*/ 1433 w 5810"/>
                  <a:gd name="connsiteY170" fmla="*/ 913 h 1085"/>
                  <a:gd name="connsiteX171" fmla="*/ 1481 w 5810"/>
                  <a:gd name="connsiteY171" fmla="*/ 884 h 1085"/>
                  <a:gd name="connsiteX172" fmla="*/ 1526 w 5810"/>
                  <a:gd name="connsiteY172" fmla="*/ 846 h 1085"/>
                  <a:gd name="connsiteX173" fmla="*/ 1569 w 5810"/>
                  <a:gd name="connsiteY173" fmla="*/ 803 h 1085"/>
                  <a:gd name="connsiteX174" fmla="*/ 1609 w 5810"/>
                  <a:gd name="connsiteY174" fmla="*/ 755 h 1085"/>
                  <a:gd name="connsiteX175" fmla="*/ 1648 w 5810"/>
                  <a:gd name="connsiteY175" fmla="*/ 703 h 1085"/>
                  <a:gd name="connsiteX176" fmla="*/ 1687 w 5810"/>
                  <a:gd name="connsiteY176" fmla="*/ 649 h 1085"/>
                  <a:gd name="connsiteX177" fmla="*/ 1799 w 5810"/>
                  <a:gd name="connsiteY177" fmla="*/ 475 h 1085"/>
                  <a:gd name="connsiteX178" fmla="*/ 1838 w 5810"/>
                  <a:gd name="connsiteY178" fmla="*/ 415 h 1085"/>
                  <a:gd name="connsiteX179" fmla="*/ 1879 w 5810"/>
                  <a:gd name="connsiteY179" fmla="*/ 357 h 1085"/>
                  <a:gd name="connsiteX180" fmla="*/ 1923 w 5810"/>
                  <a:gd name="connsiteY180" fmla="*/ 299 h 1085"/>
                  <a:gd name="connsiteX181" fmla="*/ 1968 w 5810"/>
                  <a:gd name="connsiteY181" fmla="*/ 245 h 1085"/>
                  <a:gd name="connsiteX182" fmla="*/ 2015 w 5810"/>
                  <a:gd name="connsiteY182" fmla="*/ 193 h 1085"/>
                  <a:gd name="connsiteX183" fmla="*/ 2069 w 5810"/>
                  <a:gd name="connsiteY183" fmla="*/ 145 h 1085"/>
                  <a:gd name="connsiteX184" fmla="*/ 2125 w 5810"/>
                  <a:gd name="connsiteY184" fmla="*/ 104 h 1085"/>
                  <a:gd name="connsiteX185" fmla="*/ 2187 w 5810"/>
                  <a:gd name="connsiteY185" fmla="*/ 69 h 1085"/>
                  <a:gd name="connsiteX186" fmla="*/ 2253 w 5810"/>
                  <a:gd name="connsiteY186" fmla="*/ 39 h 1085"/>
                  <a:gd name="connsiteX187" fmla="*/ 2325 w 5810"/>
                  <a:gd name="connsiteY187" fmla="*/ 19 h 1085"/>
                  <a:gd name="connsiteX188" fmla="*/ 2404 w 5810"/>
                  <a:gd name="connsiteY188" fmla="*/ 6 h 1085"/>
                  <a:gd name="connsiteX189" fmla="*/ 2474 w 5810"/>
                  <a:gd name="connsiteY189" fmla="*/ 4 h 1085"/>
                  <a:gd name="connsiteX190" fmla="*/ 2540 w 5810"/>
                  <a:gd name="connsiteY190" fmla="*/ 13 h 1085"/>
                  <a:gd name="connsiteX191" fmla="*/ 2600 w 5810"/>
                  <a:gd name="connsiteY191" fmla="*/ 27 h 1085"/>
                  <a:gd name="connsiteX192" fmla="*/ 2658 w 5810"/>
                  <a:gd name="connsiteY192" fmla="*/ 50 h 1085"/>
                  <a:gd name="connsiteX193" fmla="*/ 2711 w 5810"/>
                  <a:gd name="connsiteY193" fmla="*/ 81 h 1085"/>
                  <a:gd name="connsiteX194" fmla="*/ 2761 w 5810"/>
                  <a:gd name="connsiteY194" fmla="*/ 116 h 1085"/>
                  <a:gd name="connsiteX195" fmla="*/ 2806 w 5810"/>
                  <a:gd name="connsiteY195" fmla="*/ 158 h 1085"/>
                  <a:gd name="connsiteX196" fmla="*/ 2852 w 5810"/>
                  <a:gd name="connsiteY196" fmla="*/ 203 h 1085"/>
                  <a:gd name="connsiteX197" fmla="*/ 2893 w 5810"/>
                  <a:gd name="connsiteY197" fmla="*/ 251 h 1085"/>
                  <a:gd name="connsiteX198" fmla="*/ 2932 w 5810"/>
                  <a:gd name="connsiteY198" fmla="*/ 303 h 1085"/>
                  <a:gd name="connsiteX199" fmla="*/ 2969 w 5810"/>
                  <a:gd name="connsiteY199" fmla="*/ 357 h 1085"/>
                  <a:gd name="connsiteX200" fmla="*/ 3004 w 5810"/>
                  <a:gd name="connsiteY200" fmla="*/ 413 h 1085"/>
                  <a:gd name="connsiteX201" fmla="*/ 3039 w 5810"/>
                  <a:gd name="connsiteY201" fmla="*/ 467 h 1085"/>
                  <a:gd name="connsiteX202" fmla="*/ 3073 w 5810"/>
                  <a:gd name="connsiteY202" fmla="*/ 523 h 1085"/>
                  <a:gd name="connsiteX203" fmla="*/ 3110 w 5810"/>
                  <a:gd name="connsiteY203" fmla="*/ 585 h 1085"/>
                  <a:gd name="connsiteX204" fmla="*/ 3147 w 5810"/>
                  <a:gd name="connsiteY204" fmla="*/ 643 h 1085"/>
                  <a:gd name="connsiteX205" fmla="*/ 3186 w 5810"/>
                  <a:gd name="connsiteY205" fmla="*/ 701 h 1085"/>
                  <a:gd name="connsiteX206" fmla="*/ 3223 w 5810"/>
                  <a:gd name="connsiteY206" fmla="*/ 755 h 1085"/>
                  <a:gd name="connsiteX207" fmla="*/ 3265 w 5810"/>
                  <a:gd name="connsiteY207" fmla="*/ 805 h 1085"/>
                  <a:gd name="connsiteX208" fmla="*/ 3306 w 5810"/>
                  <a:gd name="connsiteY208" fmla="*/ 848 h 1085"/>
                  <a:gd name="connsiteX209" fmla="*/ 3349 w 5810"/>
                  <a:gd name="connsiteY209" fmla="*/ 886 h 1085"/>
                  <a:gd name="connsiteX210" fmla="*/ 3395 w 5810"/>
                  <a:gd name="connsiteY210" fmla="*/ 917 h 1085"/>
                  <a:gd name="connsiteX211" fmla="*/ 3444 w 5810"/>
                  <a:gd name="connsiteY211" fmla="*/ 939 h 1085"/>
                  <a:gd name="connsiteX212" fmla="*/ 3498 w 5810"/>
                  <a:gd name="connsiteY212" fmla="*/ 952 h 1085"/>
                  <a:gd name="connsiteX213" fmla="*/ 3554 w 5810"/>
                  <a:gd name="connsiteY213" fmla="*/ 956 h 1085"/>
                  <a:gd name="connsiteX214" fmla="*/ 3609 w 5810"/>
                  <a:gd name="connsiteY214" fmla="*/ 950 h 1085"/>
                  <a:gd name="connsiteX215" fmla="*/ 3659 w 5810"/>
                  <a:gd name="connsiteY215" fmla="*/ 935 h 1085"/>
                  <a:gd name="connsiteX216" fmla="*/ 3706 w 5810"/>
                  <a:gd name="connsiteY216" fmla="*/ 915 h 1085"/>
                  <a:gd name="connsiteX217" fmla="*/ 3750 w 5810"/>
                  <a:gd name="connsiteY217" fmla="*/ 884 h 1085"/>
                  <a:gd name="connsiteX218" fmla="*/ 3789 w 5810"/>
                  <a:gd name="connsiteY218" fmla="*/ 848 h 1085"/>
                  <a:gd name="connsiteX219" fmla="*/ 3826 w 5810"/>
                  <a:gd name="connsiteY219" fmla="*/ 807 h 1085"/>
                  <a:gd name="connsiteX220" fmla="*/ 3861 w 5810"/>
                  <a:gd name="connsiteY220" fmla="*/ 759 h 1085"/>
                  <a:gd name="connsiteX221" fmla="*/ 3894 w 5810"/>
                  <a:gd name="connsiteY221" fmla="*/ 709 h 1085"/>
                  <a:gd name="connsiteX222" fmla="*/ 3927 w 5810"/>
                  <a:gd name="connsiteY222" fmla="*/ 655 h 1085"/>
                  <a:gd name="connsiteX223" fmla="*/ 3960 w 5810"/>
                  <a:gd name="connsiteY223" fmla="*/ 597 h 1085"/>
                  <a:gd name="connsiteX224" fmla="*/ 3993 w 5810"/>
                  <a:gd name="connsiteY224" fmla="*/ 537 h 1085"/>
                  <a:gd name="connsiteX225" fmla="*/ 4022 w 5810"/>
                  <a:gd name="connsiteY225" fmla="*/ 483 h 1085"/>
                  <a:gd name="connsiteX226" fmla="*/ 4084 w 5810"/>
                  <a:gd name="connsiteY226" fmla="*/ 375 h 1085"/>
                  <a:gd name="connsiteX227" fmla="*/ 4154 w 5810"/>
                  <a:gd name="connsiteY227" fmla="*/ 272 h 1085"/>
                  <a:gd name="connsiteX228" fmla="*/ 4192 w 5810"/>
                  <a:gd name="connsiteY228" fmla="*/ 224 h 1085"/>
                  <a:gd name="connsiteX229" fmla="*/ 4233 w 5810"/>
                  <a:gd name="connsiteY229" fmla="*/ 178 h 1085"/>
                  <a:gd name="connsiteX230" fmla="*/ 4276 w 5810"/>
                  <a:gd name="connsiteY230" fmla="*/ 137 h 1085"/>
                  <a:gd name="connsiteX231" fmla="*/ 4324 w 5810"/>
                  <a:gd name="connsiteY231" fmla="*/ 100 h 1085"/>
                  <a:gd name="connsiteX232" fmla="*/ 4375 w 5810"/>
                  <a:gd name="connsiteY232" fmla="*/ 66 h 1085"/>
                  <a:gd name="connsiteX233" fmla="*/ 4433 w 5810"/>
                  <a:gd name="connsiteY233" fmla="*/ 39 h 1085"/>
                  <a:gd name="connsiteX234" fmla="*/ 4493 w 5810"/>
                  <a:gd name="connsiteY234" fmla="*/ 19 h 1085"/>
                  <a:gd name="connsiteX235" fmla="*/ 4559 w 5810"/>
                  <a:gd name="connsiteY235" fmla="*/ 6 h 1085"/>
                  <a:gd name="connsiteX236" fmla="*/ 4631 w 5810"/>
                  <a:gd name="connsiteY236" fmla="*/ 0 h 1085"/>
                  <a:gd name="connsiteX0" fmla="*/ 4631 w 5810"/>
                  <a:gd name="connsiteY0" fmla="*/ 0 h 1085"/>
                  <a:gd name="connsiteX1" fmla="*/ 4681 w 5810"/>
                  <a:gd name="connsiteY1" fmla="*/ 0 h 1085"/>
                  <a:gd name="connsiteX2" fmla="*/ 4710 w 5810"/>
                  <a:gd name="connsiteY2" fmla="*/ 4 h 1085"/>
                  <a:gd name="connsiteX3" fmla="*/ 4741 w 5810"/>
                  <a:gd name="connsiteY3" fmla="*/ 13 h 1085"/>
                  <a:gd name="connsiteX4" fmla="*/ 4778 w 5810"/>
                  <a:gd name="connsiteY4" fmla="*/ 23 h 1085"/>
                  <a:gd name="connsiteX5" fmla="*/ 4819 w 5810"/>
                  <a:gd name="connsiteY5" fmla="*/ 39 h 1085"/>
                  <a:gd name="connsiteX6" fmla="*/ 4863 w 5810"/>
                  <a:gd name="connsiteY6" fmla="*/ 60 h 1085"/>
                  <a:gd name="connsiteX7" fmla="*/ 4910 w 5810"/>
                  <a:gd name="connsiteY7" fmla="*/ 89 h 1085"/>
                  <a:gd name="connsiteX8" fmla="*/ 4960 w 5810"/>
                  <a:gd name="connsiteY8" fmla="*/ 124 h 1085"/>
                  <a:gd name="connsiteX9" fmla="*/ 5009 w 5810"/>
                  <a:gd name="connsiteY9" fmla="*/ 170 h 1085"/>
                  <a:gd name="connsiteX10" fmla="*/ 5061 w 5810"/>
                  <a:gd name="connsiteY10" fmla="*/ 224 h 1085"/>
                  <a:gd name="connsiteX11" fmla="*/ 5112 w 5810"/>
                  <a:gd name="connsiteY11" fmla="*/ 286 h 1085"/>
                  <a:gd name="connsiteX12" fmla="*/ 5313 w 5810"/>
                  <a:gd name="connsiteY12" fmla="*/ 633 h 1085"/>
                  <a:gd name="connsiteX13" fmla="*/ 5408 w 5810"/>
                  <a:gd name="connsiteY13" fmla="*/ 769 h 1085"/>
                  <a:gd name="connsiteX14" fmla="*/ 5503 w 5810"/>
                  <a:gd name="connsiteY14" fmla="*/ 865 h 1085"/>
                  <a:gd name="connsiteX15" fmla="*/ 5550 w 5810"/>
                  <a:gd name="connsiteY15" fmla="*/ 900 h 1085"/>
                  <a:gd name="connsiteX16" fmla="*/ 5593 w 5810"/>
                  <a:gd name="connsiteY16" fmla="*/ 927 h 1085"/>
                  <a:gd name="connsiteX17" fmla="*/ 5637 w 5810"/>
                  <a:gd name="connsiteY17" fmla="*/ 948 h 1085"/>
                  <a:gd name="connsiteX18" fmla="*/ 5676 w 5810"/>
                  <a:gd name="connsiteY18" fmla="*/ 962 h 1085"/>
                  <a:gd name="connsiteX19" fmla="*/ 5711 w 5810"/>
                  <a:gd name="connsiteY19" fmla="*/ 973 h 1085"/>
                  <a:gd name="connsiteX20" fmla="*/ 5742 w 5810"/>
                  <a:gd name="connsiteY20" fmla="*/ 981 h 1085"/>
                  <a:gd name="connsiteX21" fmla="*/ 5767 w 5810"/>
                  <a:gd name="connsiteY21" fmla="*/ 983 h 1085"/>
                  <a:gd name="connsiteX22" fmla="*/ 5785 w 5810"/>
                  <a:gd name="connsiteY22" fmla="*/ 985 h 1085"/>
                  <a:gd name="connsiteX23" fmla="*/ 5802 w 5810"/>
                  <a:gd name="connsiteY23" fmla="*/ 985 h 1085"/>
                  <a:gd name="connsiteX24" fmla="*/ 5810 w 5810"/>
                  <a:gd name="connsiteY24" fmla="*/ 1072 h 1085"/>
                  <a:gd name="connsiteX25" fmla="*/ 5717 w 5810"/>
                  <a:gd name="connsiteY25" fmla="*/ 1064 h 1085"/>
                  <a:gd name="connsiteX26" fmla="*/ 5639 w 5810"/>
                  <a:gd name="connsiteY26" fmla="*/ 1043 h 1085"/>
                  <a:gd name="connsiteX27" fmla="*/ 5546 w 5810"/>
                  <a:gd name="connsiteY27" fmla="*/ 1002 h 1085"/>
                  <a:gd name="connsiteX28" fmla="*/ 5496 w 5810"/>
                  <a:gd name="connsiteY28" fmla="*/ 971 h 1085"/>
                  <a:gd name="connsiteX29" fmla="*/ 5042 w 5810"/>
                  <a:gd name="connsiteY29" fmla="*/ 336 h 1085"/>
                  <a:gd name="connsiteX30" fmla="*/ 4993 w 5810"/>
                  <a:gd name="connsiteY30" fmla="*/ 276 h 1085"/>
                  <a:gd name="connsiteX31" fmla="*/ 4945 w 5810"/>
                  <a:gd name="connsiteY31" fmla="*/ 228 h 1085"/>
                  <a:gd name="connsiteX32" fmla="*/ 4900 w 5810"/>
                  <a:gd name="connsiteY32" fmla="*/ 189 h 1085"/>
                  <a:gd name="connsiteX33" fmla="*/ 4858 w 5810"/>
                  <a:gd name="connsiteY33" fmla="*/ 158 h 1085"/>
                  <a:gd name="connsiteX34" fmla="*/ 4819 w 5810"/>
                  <a:gd name="connsiteY34" fmla="*/ 135 h 1085"/>
                  <a:gd name="connsiteX35" fmla="*/ 4770 w 5810"/>
                  <a:gd name="connsiteY35" fmla="*/ 112 h 1085"/>
                  <a:gd name="connsiteX36" fmla="*/ 4726 w 5810"/>
                  <a:gd name="connsiteY36" fmla="*/ 98 h 1085"/>
                  <a:gd name="connsiteX37" fmla="*/ 4691 w 5810"/>
                  <a:gd name="connsiteY37" fmla="*/ 89 h 1085"/>
                  <a:gd name="connsiteX38" fmla="*/ 4662 w 5810"/>
                  <a:gd name="connsiteY38" fmla="*/ 87 h 1085"/>
                  <a:gd name="connsiteX39" fmla="*/ 4635 w 5810"/>
                  <a:gd name="connsiteY39" fmla="*/ 87 h 1085"/>
                  <a:gd name="connsiteX40" fmla="*/ 4569 w 5810"/>
                  <a:gd name="connsiteY40" fmla="*/ 93 h 1085"/>
                  <a:gd name="connsiteX41" fmla="*/ 4507 w 5810"/>
                  <a:gd name="connsiteY41" fmla="*/ 106 h 1085"/>
                  <a:gd name="connsiteX42" fmla="*/ 4452 w 5810"/>
                  <a:gd name="connsiteY42" fmla="*/ 127 h 1085"/>
                  <a:gd name="connsiteX43" fmla="*/ 4400 w 5810"/>
                  <a:gd name="connsiteY43" fmla="*/ 154 h 1085"/>
                  <a:gd name="connsiteX44" fmla="*/ 4353 w 5810"/>
                  <a:gd name="connsiteY44" fmla="*/ 187 h 1085"/>
                  <a:gd name="connsiteX45" fmla="*/ 4309 w 5810"/>
                  <a:gd name="connsiteY45" fmla="*/ 224 h 1085"/>
                  <a:gd name="connsiteX46" fmla="*/ 4270 w 5810"/>
                  <a:gd name="connsiteY46" fmla="*/ 268 h 1085"/>
                  <a:gd name="connsiteX47" fmla="*/ 4231 w 5810"/>
                  <a:gd name="connsiteY47" fmla="*/ 313 h 1085"/>
                  <a:gd name="connsiteX48" fmla="*/ 4196 w 5810"/>
                  <a:gd name="connsiteY48" fmla="*/ 363 h 1085"/>
                  <a:gd name="connsiteX49" fmla="*/ 4163 w 5810"/>
                  <a:gd name="connsiteY49" fmla="*/ 415 h 1085"/>
                  <a:gd name="connsiteX50" fmla="*/ 4101 w 5810"/>
                  <a:gd name="connsiteY50" fmla="*/ 523 h 1085"/>
                  <a:gd name="connsiteX51" fmla="*/ 4008 w 5810"/>
                  <a:gd name="connsiteY51" fmla="*/ 691 h 1085"/>
                  <a:gd name="connsiteX52" fmla="*/ 3975 w 5810"/>
                  <a:gd name="connsiteY52" fmla="*/ 747 h 1085"/>
                  <a:gd name="connsiteX53" fmla="*/ 3940 w 5810"/>
                  <a:gd name="connsiteY53" fmla="*/ 798 h 1085"/>
                  <a:gd name="connsiteX54" fmla="*/ 3905 w 5810"/>
                  <a:gd name="connsiteY54" fmla="*/ 848 h 1085"/>
                  <a:gd name="connsiteX55" fmla="*/ 3865 w 5810"/>
                  <a:gd name="connsiteY55" fmla="*/ 894 h 1085"/>
                  <a:gd name="connsiteX56" fmla="*/ 3824 w 5810"/>
                  <a:gd name="connsiteY56" fmla="*/ 935 h 1085"/>
                  <a:gd name="connsiteX57" fmla="*/ 3779 w 5810"/>
                  <a:gd name="connsiteY57" fmla="*/ 971 h 1085"/>
                  <a:gd name="connsiteX58" fmla="*/ 3729 w 5810"/>
                  <a:gd name="connsiteY58" fmla="*/ 1000 h 1085"/>
                  <a:gd name="connsiteX59" fmla="*/ 3677 w 5810"/>
                  <a:gd name="connsiteY59" fmla="*/ 1022 h 1085"/>
                  <a:gd name="connsiteX60" fmla="*/ 3620 w 5810"/>
                  <a:gd name="connsiteY60" fmla="*/ 1037 h 1085"/>
                  <a:gd name="connsiteX61" fmla="*/ 3556 w 5810"/>
                  <a:gd name="connsiteY61" fmla="*/ 1043 h 1085"/>
                  <a:gd name="connsiteX62" fmla="*/ 3547 w 5810"/>
                  <a:gd name="connsiteY62" fmla="*/ 1043 h 1085"/>
                  <a:gd name="connsiteX63" fmla="*/ 3485 w 5810"/>
                  <a:gd name="connsiteY63" fmla="*/ 1039 h 1085"/>
                  <a:gd name="connsiteX64" fmla="*/ 3426 w 5810"/>
                  <a:gd name="connsiteY64" fmla="*/ 1025 h 1085"/>
                  <a:gd name="connsiteX65" fmla="*/ 3372 w 5810"/>
                  <a:gd name="connsiteY65" fmla="*/ 1002 h 1085"/>
                  <a:gd name="connsiteX66" fmla="*/ 3320 w 5810"/>
                  <a:gd name="connsiteY66" fmla="*/ 973 h 1085"/>
                  <a:gd name="connsiteX67" fmla="*/ 3273 w 5810"/>
                  <a:gd name="connsiteY67" fmla="*/ 935 h 1085"/>
                  <a:gd name="connsiteX68" fmla="*/ 3229 w 5810"/>
                  <a:gd name="connsiteY68" fmla="*/ 894 h 1085"/>
                  <a:gd name="connsiteX69" fmla="*/ 3186 w 5810"/>
                  <a:gd name="connsiteY69" fmla="*/ 846 h 1085"/>
                  <a:gd name="connsiteX70" fmla="*/ 3147 w 5810"/>
                  <a:gd name="connsiteY70" fmla="*/ 796 h 1085"/>
                  <a:gd name="connsiteX71" fmla="*/ 3108 w 5810"/>
                  <a:gd name="connsiteY71" fmla="*/ 740 h 1085"/>
                  <a:gd name="connsiteX72" fmla="*/ 3070 w 5810"/>
                  <a:gd name="connsiteY72" fmla="*/ 684 h 1085"/>
                  <a:gd name="connsiteX73" fmla="*/ 2965 w 5810"/>
                  <a:gd name="connsiteY73" fmla="*/ 510 h 1085"/>
                  <a:gd name="connsiteX74" fmla="*/ 2928 w 5810"/>
                  <a:gd name="connsiteY74" fmla="*/ 452 h 1085"/>
                  <a:gd name="connsiteX75" fmla="*/ 2891 w 5810"/>
                  <a:gd name="connsiteY75" fmla="*/ 396 h 1085"/>
                  <a:gd name="connsiteX76" fmla="*/ 2854 w 5810"/>
                  <a:gd name="connsiteY76" fmla="*/ 342 h 1085"/>
                  <a:gd name="connsiteX77" fmla="*/ 2814 w 5810"/>
                  <a:gd name="connsiteY77" fmla="*/ 292 h 1085"/>
                  <a:gd name="connsiteX78" fmla="*/ 2773 w 5810"/>
                  <a:gd name="connsiteY78" fmla="*/ 247 h 1085"/>
                  <a:gd name="connsiteX79" fmla="*/ 2732 w 5810"/>
                  <a:gd name="connsiteY79" fmla="*/ 205 h 1085"/>
                  <a:gd name="connsiteX80" fmla="*/ 2686 w 5810"/>
                  <a:gd name="connsiteY80" fmla="*/ 168 h 1085"/>
                  <a:gd name="connsiteX81" fmla="*/ 2639 w 5810"/>
                  <a:gd name="connsiteY81" fmla="*/ 139 h 1085"/>
                  <a:gd name="connsiteX82" fmla="*/ 2587 w 5810"/>
                  <a:gd name="connsiteY82" fmla="*/ 116 h 1085"/>
                  <a:gd name="connsiteX83" fmla="*/ 2532 w 5810"/>
                  <a:gd name="connsiteY83" fmla="*/ 100 h 1085"/>
                  <a:gd name="connsiteX84" fmla="*/ 2474 w 5810"/>
                  <a:gd name="connsiteY84" fmla="*/ 91 h 1085"/>
                  <a:gd name="connsiteX85" fmla="*/ 2410 w 5810"/>
                  <a:gd name="connsiteY85" fmla="*/ 93 h 1085"/>
                  <a:gd name="connsiteX86" fmla="*/ 2342 w 5810"/>
                  <a:gd name="connsiteY86" fmla="*/ 104 h 1085"/>
                  <a:gd name="connsiteX87" fmla="*/ 2280 w 5810"/>
                  <a:gd name="connsiteY87" fmla="*/ 122 h 1085"/>
                  <a:gd name="connsiteX88" fmla="*/ 2222 w 5810"/>
                  <a:gd name="connsiteY88" fmla="*/ 147 h 1085"/>
                  <a:gd name="connsiteX89" fmla="*/ 2168 w 5810"/>
                  <a:gd name="connsiteY89" fmla="*/ 180 h 1085"/>
                  <a:gd name="connsiteX90" fmla="*/ 2117 w 5810"/>
                  <a:gd name="connsiteY90" fmla="*/ 218 h 1085"/>
                  <a:gd name="connsiteX91" fmla="*/ 2071 w 5810"/>
                  <a:gd name="connsiteY91" fmla="*/ 261 h 1085"/>
                  <a:gd name="connsiteX92" fmla="*/ 2026 w 5810"/>
                  <a:gd name="connsiteY92" fmla="*/ 307 h 1085"/>
                  <a:gd name="connsiteX93" fmla="*/ 1984 w 5810"/>
                  <a:gd name="connsiteY93" fmla="*/ 359 h 1085"/>
                  <a:gd name="connsiteX94" fmla="*/ 1945 w 5810"/>
                  <a:gd name="connsiteY94" fmla="*/ 413 h 1085"/>
                  <a:gd name="connsiteX95" fmla="*/ 1908 w 5810"/>
                  <a:gd name="connsiteY95" fmla="*/ 467 h 1085"/>
                  <a:gd name="connsiteX96" fmla="*/ 1871 w 5810"/>
                  <a:gd name="connsiteY96" fmla="*/ 523 h 1085"/>
                  <a:gd name="connsiteX97" fmla="*/ 1834 w 5810"/>
                  <a:gd name="connsiteY97" fmla="*/ 581 h 1085"/>
                  <a:gd name="connsiteX98" fmla="*/ 1799 w 5810"/>
                  <a:gd name="connsiteY98" fmla="*/ 637 h 1085"/>
                  <a:gd name="connsiteX99" fmla="*/ 1724 w 5810"/>
                  <a:gd name="connsiteY99" fmla="*/ 749 h 1085"/>
                  <a:gd name="connsiteX100" fmla="*/ 1685 w 5810"/>
                  <a:gd name="connsiteY100" fmla="*/ 801 h 1085"/>
                  <a:gd name="connsiteX101" fmla="*/ 1644 w 5810"/>
                  <a:gd name="connsiteY101" fmla="*/ 850 h 1085"/>
                  <a:gd name="connsiteX102" fmla="*/ 1600 w 5810"/>
                  <a:gd name="connsiteY102" fmla="*/ 896 h 1085"/>
                  <a:gd name="connsiteX103" fmla="*/ 1553 w 5810"/>
                  <a:gd name="connsiteY103" fmla="*/ 937 h 1085"/>
                  <a:gd name="connsiteX104" fmla="*/ 1503 w 5810"/>
                  <a:gd name="connsiteY104" fmla="*/ 973 h 1085"/>
                  <a:gd name="connsiteX105" fmla="*/ 1450 w 5810"/>
                  <a:gd name="connsiteY105" fmla="*/ 1002 h 1085"/>
                  <a:gd name="connsiteX106" fmla="*/ 1394 w 5810"/>
                  <a:gd name="connsiteY106" fmla="*/ 1025 h 1085"/>
                  <a:gd name="connsiteX107" fmla="*/ 1330 w 5810"/>
                  <a:gd name="connsiteY107" fmla="*/ 1037 h 1085"/>
                  <a:gd name="connsiteX108" fmla="*/ 1264 w 5810"/>
                  <a:gd name="connsiteY108" fmla="*/ 1043 h 1085"/>
                  <a:gd name="connsiteX109" fmla="*/ 1258 w 5810"/>
                  <a:gd name="connsiteY109" fmla="*/ 1043 h 1085"/>
                  <a:gd name="connsiteX110" fmla="*/ 1190 w 5810"/>
                  <a:gd name="connsiteY110" fmla="*/ 1039 h 1085"/>
                  <a:gd name="connsiteX111" fmla="*/ 1128 w 5810"/>
                  <a:gd name="connsiteY111" fmla="*/ 1027 h 1085"/>
                  <a:gd name="connsiteX112" fmla="*/ 1070 w 5810"/>
                  <a:gd name="connsiteY112" fmla="*/ 1008 h 1085"/>
                  <a:gd name="connsiteX113" fmla="*/ 1018 w 5810"/>
                  <a:gd name="connsiteY113" fmla="*/ 983 h 1085"/>
                  <a:gd name="connsiteX114" fmla="*/ 971 w 5810"/>
                  <a:gd name="connsiteY114" fmla="*/ 952 h 1085"/>
                  <a:gd name="connsiteX115" fmla="*/ 925 w 5810"/>
                  <a:gd name="connsiteY115" fmla="*/ 915 h 1085"/>
                  <a:gd name="connsiteX116" fmla="*/ 884 w 5810"/>
                  <a:gd name="connsiteY116" fmla="*/ 873 h 1085"/>
                  <a:gd name="connsiteX117" fmla="*/ 847 w 5810"/>
                  <a:gd name="connsiteY117" fmla="*/ 828 h 1085"/>
                  <a:gd name="connsiteX118" fmla="*/ 810 w 5810"/>
                  <a:gd name="connsiteY118" fmla="*/ 780 h 1085"/>
                  <a:gd name="connsiteX119" fmla="*/ 777 w 5810"/>
                  <a:gd name="connsiteY119" fmla="*/ 728 h 1085"/>
                  <a:gd name="connsiteX120" fmla="*/ 742 w 5810"/>
                  <a:gd name="connsiteY120" fmla="*/ 674 h 1085"/>
                  <a:gd name="connsiteX121" fmla="*/ 711 w 5810"/>
                  <a:gd name="connsiteY121" fmla="*/ 618 h 1085"/>
                  <a:gd name="connsiteX122" fmla="*/ 678 w 5810"/>
                  <a:gd name="connsiteY122" fmla="*/ 560 h 1085"/>
                  <a:gd name="connsiteX123" fmla="*/ 616 w 5810"/>
                  <a:gd name="connsiteY123" fmla="*/ 448 h 1085"/>
                  <a:gd name="connsiteX124" fmla="*/ 547 w 5810"/>
                  <a:gd name="connsiteY124" fmla="*/ 340 h 1085"/>
                  <a:gd name="connsiteX125" fmla="*/ 504 w 5810"/>
                  <a:gd name="connsiteY125" fmla="*/ 284 h 1085"/>
                  <a:gd name="connsiteX126" fmla="*/ 457 w 5810"/>
                  <a:gd name="connsiteY126" fmla="*/ 239 h 1085"/>
                  <a:gd name="connsiteX127" fmla="*/ 409 w 5810"/>
                  <a:gd name="connsiteY127" fmla="*/ 199 h 1085"/>
                  <a:gd name="connsiteX128" fmla="*/ 358 w 5810"/>
                  <a:gd name="connsiteY128" fmla="*/ 168 h 1085"/>
                  <a:gd name="connsiteX129" fmla="*/ 308 w 5810"/>
                  <a:gd name="connsiteY129" fmla="*/ 145 h 1085"/>
                  <a:gd name="connsiteX130" fmla="*/ 256 w 5810"/>
                  <a:gd name="connsiteY130" fmla="*/ 127 h 1085"/>
                  <a:gd name="connsiteX131" fmla="*/ 209 w 5810"/>
                  <a:gd name="connsiteY131" fmla="*/ 112 h 1085"/>
                  <a:gd name="connsiteX132" fmla="*/ 163 w 5810"/>
                  <a:gd name="connsiteY132" fmla="*/ 104 h 1085"/>
                  <a:gd name="connsiteX133" fmla="*/ 122 w 5810"/>
                  <a:gd name="connsiteY133" fmla="*/ 100 h 1085"/>
                  <a:gd name="connsiteX134" fmla="*/ 85 w 5810"/>
                  <a:gd name="connsiteY134" fmla="*/ 95 h 1085"/>
                  <a:gd name="connsiteX135" fmla="*/ 31 w 5810"/>
                  <a:gd name="connsiteY135" fmla="*/ 95 h 1085"/>
                  <a:gd name="connsiteX136" fmla="*/ 17 w 5810"/>
                  <a:gd name="connsiteY136" fmla="*/ 98 h 1085"/>
                  <a:gd name="connsiteX137" fmla="*/ 11 w 5810"/>
                  <a:gd name="connsiteY137" fmla="*/ 98 h 1085"/>
                  <a:gd name="connsiteX138" fmla="*/ 0 w 5810"/>
                  <a:gd name="connsiteY138" fmla="*/ 13 h 1085"/>
                  <a:gd name="connsiteX139" fmla="*/ 9 w 5810"/>
                  <a:gd name="connsiteY139" fmla="*/ 13 h 1085"/>
                  <a:gd name="connsiteX140" fmla="*/ 29 w 5810"/>
                  <a:gd name="connsiteY140" fmla="*/ 10 h 1085"/>
                  <a:gd name="connsiteX141" fmla="*/ 91 w 5810"/>
                  <a:gd name="connsiteY141" fmla="*/ 10 h 1085"/>
                  <a:gd name="connsiteX142" fmla="*/ 135 w 5810"/>
                  <a:gd name="connsiteY142" fmla="*/ 13 h 1085"/>
                  <a:gd name="connsiteX143" fmla="*/ 182 w 5810"/>
                  <a:gd name="connsiteY143" fmla="*/ 19 h 1085"/>
                  <a:gd name="connsiteX144" fmla="*/ 234 w 5810"/>
                  <a:gd name="connsiteY144" fmla="*/ 29 h 1085"/>
                  <a:gd name="connsiteX145" fmla="*/ 287 w 5810"/>
                  <a:gd name="connsiteY145" fmla="*/ 46 h 1085"/>
                  <a:gd name="connsiteX146" fmla="*/ 345 w 5810"/>
                  <a:gd name="connsiteY146" fmla="*/ 66 h 1085"/>
                  <a:gd name="connsiteX147" fmla="*/ 403 w 5810"/>
                  <a:gd name="connsiteY147" fmla="*/ 93 h 1085"/>
                  <a:gd name="connsiteX148" fmla="*/ 459 w 5810"/>
                  <a:gd name="connsiteY148" fmla="*/ 131 h 1085"/>
                  <a:gd name="connsiteX149" fmla="*/ 514 w 5810"/>
                  <a:gd name="connsiteY149" fmla="*/ 174 h 1085"/>
                  <a:gd name="connsiteX150" fmla="*/ 568 w 5810"/>
                  <a:gd name="connsiteY150" fmla="*/ 228 h 1085"/>
                  <a:gd name="connsiteX151" fmla="*/ 618 w 5810"/>
                  <a:gd name="connsiteY151" fmla="*/ 292 h 1085"/>
                  <a:gd name="connsiteX152" fmla="*/ 667 w 5810"/>
                  <a:gd name="connsiteY152" fmla="*/ 367 h 1085"/>
                  <a:gd name="connsiteX153" fmla="*/ 754 w 5810"/>
                  <a:gd name="connsiteY153" fmla="*/ 516 h 1085"/>
                  <a:gd name="connsiteX154" fmla="*/ 787 w 5810"/>
                  <a:gd name="connsiteY154" fmla="*/ 575 h 1085"/>
                  <a:gd name="connsiteX155" fmla="*/ 820 w 5810"/>
                  <a:gd name="connsiteY155" fmla="*/ 631 h 1085"/>
                  <a:gd name="connsiteX156" fmla="*/ 853 w 5810"/>
                  <a:gd name="connsiteY156" fmla="*/ 684 h 1085"/>
                  <a:gd name="connsiteX157" fmla="*/ 886 w 5810"/>
                  <a:gd name="connsiteY157" fmla="*/ 736 h 1085"/>
                  <a:gd name="connsiteX158" fmla="*/ 921 w 5810"/>
                  <a:gd name="connsiteY158" fmla="*/ 782 h 1085"/>
                  <a:gd name="connsiteX159" fmla="*/ 958 w 5810"/>
                  <a:gd name="connsiteY159" fmla="*/ 825 h 1085"/>
                  <a:gd name="connsiteX160" fmla="*/ 1000 w 5810"/>
                  <a:gd name="connsiteY160" fmla="*/ 863 h 1085"/>
                  <a:gd name="connsiteX161" fmla="*/ 1043 w 5810"/>
                  <a:gd name="connsiteY161" fmla="*/ 894 h 1085"/>
                  <a:gd name="connsiteX162" fmla="*/ 1090 w 5810"/>
                  <a:gd name="connsiteY162" fmla="*/ 921 h 1085"/>
                  <a:gd name="connsiteX163" fmla="*/ 1140 w 5810"/>
                  <a:gd name="connsiteY163" fmla="*/ 939 h 1085"/>
                  <a:gd name="connsiteX164" fmla="*/ 1196 w 5810"/>
                  <a:gd name="connsiteY164" fmla="*/ 952 h 1085"/>
                  <a:gd name="connsiteX165" fmla="*/ 1258 w 5810"/>
                  <a:gd name="connsiteY165" fmla="*/ 956 h 1085"/>
                  <a:gd name="connsiteX166" fmla="*/ 1264 w 5810"/>
                  <a:gd name="connsiteY166" fmla="*/ 956 h 1085"/>
                  <a:gd name="connsiteX167" fmla="*/ 1324 w 5810"/>
                  <a:gd name="connsiteY167" fmla="*/ 950 h 1085"/>
                  <a:gd name="connsiteX168" fmla="*/ 1380 w 5810"/>
                  <a:gd name="connsiteY168" fmla="*/ 935 h 1085"/>
                  <a:gd name="connsiteX169" fmla="*/ 1433 w 5810"/>
                  <a:gd name="connsiteY169" fmla="*/ 913 h 1085"/>
                  <a:gd name="connsiteX170" fmla="*/ 1481 w 5810"/>
                  <a:gd name="connsiteY170" fmla="*/ 884 h 1085"/>
                  <a:gd name="connsiteX171" fmla="*/ 1526 w 5810"/>
                  <a:gd name="connsiteY171" fmla="*/ 846 h 1085"/>
                  <a:gd name="connsiteX172" fmla="*/ 1569 w 5810"/>
                  <a:gd name="connsiteY172" fmla="*/ 803 h 1085"/>
                  <a:gd name="connsiteX173" fmla="*/ 1609 w 5810"/>
                  <a:gd name="connsiteY173" fmla="*/ 755 h 1085"/>
                  <a:gd name="connsiteX174" fmla="*/ 1648 w 5810"/>
                  <a:gd name="connsiteY174" fmla="*/ 703 h 1085"/>
                  <a:gd name="connsiteX175" fmla="*/ 1687 w 5810"/>
                  <a:gd name="connsiteY175" fmla="*/ 649 h 1085"/>
                  <a:gd name="connsiteX176" fmla="*/ 1799 w 5810"/>
                  <a:gd name="connsiteY176" fmla="*/ 475 h 1085"/>
                  <a:gd name="connsiteX177" fmla="*/ 1838 w 5810"/>
                  <a:gd name="connsiteY177" fmla="*/ 415 h 1085"/>
                  <a:gd name="connsiteX178" fmla="*/ 1879 w 5810"/>
                  <a:gd name="connsiteY178" fmla="*/ 357 h 1085"/>
                  <a:gd name="connsiteX179" fmla="*/ 1923 w 5810"/>
                  <a:gd name="connsiteY179" fmla="*/ 299 h 1085"/>
                  <a:gd name="connsiteX180" fmla="*/ 1968 w 5810"/>
                  <a:gd name="connsiteY180" fmla="*/ 245 h 1085"/>
                  <a:gd name="connsiteX181" fmla="*/ 2015 w 5810"/>
                  <a:gd name="connsiteY181" fmla="*/ 193 h 1085"/>
                  <a:gd name="connsiteX182" fmla="*/ 2069 w 5810"/>
                  <a:gd name="connsiteY182" fmla="*/ 145 h 1085"/>
                  <a:gd name="connsiteX183" fmla="*/ 2125 w 5810"/>
                  <a:gd name="connsiteY183" fmla="*/ 104 h 1085"/>
                  <a:gd name="connsiteX184" fmla="*/ 2187 w 5810"/>
                  <a:gd name="connsiteY184" fmla="*/ 69 h 1085"/>
                  <a:gd name="connsiteX185" fmla="*/ 2253 w 5810"/>
                  <a:gd name="connsiteY185" fmla="*/ 39 h 1085"/>
                  <a:gd name="connsiteX186" fmla="*/ 2325 w 5810"/>
                  <a:gd name="connsiteY186" fmla="*/ 19 h 1085"/>
                  <a:gd name="connsiteX187" fmla="*/ 2404 w 5810"/>
                  <a:gd name="connsiteY187" fmla="*/ 6 h 1085"/>
                  <a:gd name="connsiteX188" fmla="*/ 2474 w 5810"/>
                  <a:gd name="connsiteY188" fmla="*/ 4 h 1085"/>
                  <a:gd name="connsiteX189" fmla="*/ 2540 w 5810"/>
                  <a:gd name="connsiteY189" fmla="*/ 13 h 1085"/>
                  <a:gd name="connsiteX190" fmla="*/ 2600 w 5810"/>
                  <a:gd name="connsiteY190" fmla="*/ 27 h 1085"/>
                  <a:gd name="connsiteX191" fmla="*/ 2658 w 5810"/>
                  <a:gd name="connsiteY191" fmla="*/ 50 h 1085"/>
                  <a:gd name="connsiteX192" fmla="*/ 2711 w 5810"/>
                  <a:gd name="connsiteY192" fmla="*/ 81 h 1085"/>
                  <a:gd name="connsiteX193" fmla="*/ 2761 w 5810"/>
                  <a:gd name="connsiteY193" fmla="*/ 116 h 1085"/>
                  <a:gd name="connsiteX194" fmla="*/ 2806 w 5810"/>
                  <a:gd name="connsiteY194" fmla="*/ 158 h 1085"/>
                  <a:gd name="connsiteX195" fmla="*/ 2852 w 5810"/>
                  <a:gd name="connsiteY195" fmla="*/ 203 h 1085"/>
                  <a:gd name="connsiteX196" fmla="*/ 2893 w 5810"/>
                  <a:gd name="connsiteY196" fmla="*/ 251 h 1085"/>
                  <a:gd name="connsiteX197" fmla="*/ 2932 w 5810"/>
                  <a:gd name="connsiteY197" fmla="*/ 303 h 1085"/>
                  <a:gd name="connsiteX198" fmla="*/ 2969 w 5810"/>
                  <a:gd name="connsiteY198" fmla="*/ 357 h 1085"/>
                  <a:gd name="connsiteX199" fmla="*/ 3004 w 5810"/>
                  <a:gd name="connsiteY199" fmla="*/ 413 h 1085"/>
                  <a:gd name="connsiteX200" fmla="*/ 3039 w 5810"/>
                  <a:gd name="connsiteY200" fmla="*/ 467 h 1085"/>
                  <a:gd name="connsiteX201" fmla="*/ 3073 w 5810"/>
                  <a:gd name="connsiteY201" fmla="*/ 523 h 1085"/>
                  <a:gd name="connsiteX202" fmla="*/ 3110 w 5810"/>
                  <a:gd name="connsiteY202" fmla="*/ 585 h 1085"/>
                  <a:gd name="connsiteX203" fmla="*/ 3147 w 5810"/>
                  <a:gd name="connsiteY203" fmla="*/ 643 h 1085"/>
                  <a:gd name="connsiteX204" fmla="*/ 3186 w 5810"/>
                  <a:gd name="connsiteY204" fmla="*/ 701 h 1085"/>
                  <a:gd name="connsiteX205" fmla="*/ 3223 w 5810"/>
                  <a:gd name="connsiteY205" fmla="*/ 755 h 1085"/>
                  <a:gd name="connsiteX206" fmla="*/ 3265 w 5810"/>
                  <a:gd name="connsiteY206" fmla="*/ 805 h 1085"/>
                  <a:gd name="connsiteX207" fmla="*/ 3306 w 5810"/>
                  <a:gd name="connsiteY207" fmla="*/ 848 h 1085"/>
                  <a:gd name="connsiteX208" fmla="*/ 3349 w 5810"/>
                  <a:gd name="connsiteY208" fmla="*/ 886 h 1085"/>
                  <a:gd name="connsiteX209" fmla="*/ 3395 w 5810"/>
                  <a:gd name="connsiteY209" fmla="*/ 917 h 1085"/>
                  <a:gd name="connsiteX210" fmla="*/ 3444 w 5810"/>
                  <a:gd name="connsiteY210" fmla="*/ 939 h 1085"/>
                  <a:gd name="connsiteX211" fmla="*/ 3498 w 5810"/>
                  <a:gd name="connsiteY211" fmla="*/ 952 h 1085"/>
                  <a:gd name="connsiteX212" fmla="*/ 3554 w 5810"/>
                  <a:gd name="connsiteY212" fmla="*/ 956 h 1085"/>
                  <a:gd name="connsiteX213" fmla="*/ 3609 w 5810"/>
                  <a:gd name="connsiteY213" fmla="*/ 950 h 1085"/>
                  <a:gd name="connsiteX214" fmla="*/ 3659 w 5810"/>
                  <a:gd name="connsiteY214" fmla="*/ 935 h 1085"/>
                  <a:gd name="connsiteX215" fmla="*/ 3706 w 5810"/>
                  <a:gd name="connsiteY215" fmla="*/ 915 h 1085"/>
                  <a:gd name="connsiteX216" fmla="*/ 3750 w 5810"/>
                  <a:gd name="connsiteY216" fmla="*/ 884 h 1085"/>
                  <a:gd name="connsiteX217" fmla="*/ 3789 w 5810"/>
                  <a:gd name="connsiteY217" fmla="*/ 848 h 1085"/>
                  <a:gd name="connsiteX218" fmla="*/ 3826 w 5810"/>
                  <a:gd name="connsiteY218" fmla="*/ 807 h 1085"/>
                  <a:gd name="connsiteX219" fmla="*/ 3861 w 5810"/>
                  <a:gd name="connsiteY219" fmla="*/ 759 h 1085"/>
                  <a:gd name="connsiteX220" fmla="*/ 3894 w 5810"/>
                  <a:gd name="connsiteY220" fmla="*/ 709 h 1085"/>
                  <a:gd name="connsiteX221" fmla="*/ 3927 w 5810"/>
                  <a:gd name="connsiteY221" fmla="*/ 655 h 1085"/>
                  <a:gd name="connsiteX222" fmla="*/ 3960 w 5810"/>
                  <a:gd name="connsiteY222" fmla="*/ 597 h 1085"/>
                  <a:gd name="connsiteX223" fmla="*/ 3993 w 5810"/>
                  <a:gd name="connsiteY223" fmla="*/ 537 h 1085"/>
                  <a:gd name="connsiteX224" fmla="*/ 4022 w 5810"/>
                  <a:gd name="connsiteY224" fmla="*/ 483 h 1085"/>
                  <a:gd name="connsiteX225" fmla="*/ 4084 w 5810"/>
                  <a:gd name="connsiteY225" fmla="*/ 375 h 1085"/>
                  <a:gd name="connsiteX226" fmla="*/ 4154 w 5810"/>
                  <a:gd name="connsiteY226" fmla="*/ 272 h 1085"/>
                  <a:gd name="connsiteX227" fmla="*/ 4192 w 5810"/>
                  <a:gd name="connsiteY227" fmla="*/ 224 h 1085"/>
                  <a:gd name="connsiteX228" fmla="*/ 4233 w 5810"/>
                  <a:gd name="connsiteY228" fmla="*/ 178 h 1085"/>
                  <a:gd name="connsiteX229" fmla="*/ 4276 w 5810"/>
                  <a:gd name="connsiteY229" fmla="*/ 137 h 1085"/>
                  <a:gd name="connsiteX230" fmla="*/ 4324 w 5810"/>
                  <a:gd name="connsiteY230" fmla="*/ 100 h 1085"/>
                  <a:gd name="connsiteX231" fmla="*/ 4375 w 5810"/>
                  <a:gd name="connsiteY231" fmla="*/ 66 h 1085"/>
                  <a:gd name="connsiteX232" fmla="*/ 4433 w 5810"/>
                  <a:gd name="connsiteY232" fmla="*/ 39 h 1085"/>
                  <a:gd name="connsiteX233" fmla="*/ 4493 w 5810"/>
                  <a:gd name="connsiteY233" fmla="*/ 19 h 1085"/>
                  <a:gd name="connsiteX234" fmla="*/ 4559 w 5810"/>
                  <a:gd name="connsiteY234" fmla="*/ 6 h 1085"/>
                  <a:gd name="connsiteX235" fmla="*/ 4631 w 5810"/>
                  <a:gd name="connsiteY235" fmla="*/ 0 h 1085"/>
                  <a:gd name="connsiteX0" fmla="*/ 4631 w 5810"/>
                  <a:gd name="connsiteY0" fmla="*/ 0 h 1085"/>
                  <a:gd name="connsiteX1" fmla="*/ 4681 w 5810"/>
                  <a:gd name="connsiteY1" fmla="*/ 0 h 1085"/>
                  <a:gd name="connsiteX2" fmla="*/ 4710 w 5810"/>
                  <a:gd name="connsiteY2" fmla="*/ 4 h 1085"/>
                  <a:gd name="connsiteX3" fmla="*/ 4741 w 5810"/>
                  <a:gd name="connsiteY3" fmla="*/ 13 h 1085"/>
                  <a:gd name="connsiteX4" fmla="*/ 4778 w 5810"/>
                  <a:gd name="connsiteY4" fmla="*/ 23 h 1085"/>
                  <a:gd name="connsiteX5" fmla="*/ 4819 w 5810"/>
                  <a:gd name="connsiteY5" fmla="*/ 39 h 1085"/>
                  <a:gd name="connsiteX6" fmla="*/ 4863 w 5810"/>
                  <a:gd name="connsiteY6" fmla="*/ 60 h 1085"/>
                  <a:gd name="connsiteX7" fmla="*/ 4910 w 5810"/>
                  <a:gd name="connsiteY7" fmla="*/ 89 h 1085"/>
                  <a:gd name="connsiteX8" fmla="*/ 4960 w 5810"/>
                  <a:gd name="connsiteY8" fmla="*/ 124 h 1085"/>
                  <a:gd name="connsiteX9" fmla="*/ 5009 w 5810"/>
                  <a:gd name="connsiteY9" fmla="*/ 170 h 1085"/>
                  <a:gd name="connsiteX10" fmla="*/ 5061 w 5810"/>
                  <a:gd name="connsiteY10" fmla="*/ 224 h 1085"/>
                  <a:gd name="connsiteX11" fmla="*/ 5112 w 5810"/>
                  <a:gd name="connsiteY11" fmla="*/ 286 h 1085"/>
                  <a:gd name="connsiteX12" fmla="*/ 5313 w 5810"/>
                  <a:gd name="connsiteY12" fmla="*/ 633 h 1085"/>
                  <a:gd name="connsiteX13" fmla="*/ 5408 w 5810"/>
                  <a:gd name="connsiteY13" fmla="*/ 769 h 1085"/>
                  <a:gd name="connsiteX14" fmla="*/ 5550 w 5810"/>
                  <a:gd name="connsiteY14" fmla="*/ 900 h 1085"/>
                  <a:gd name="connsiteX15" fmla="*/ 5593 w 5810"/>
                  <a:gd name="connsiteY15" fmla="*/ 927 h 1085"/>
                  <a:gd name="connsiteX16" fmla="*/ 5637 w 5810"/>
                  <a:gd name="connsiteY16" fmla="*/ 948 h 1085"/>
                  <a:gd name="connsiteX17" fmla="*/ 5676 w 5810"/>
                  <a:gd name="connsiteY17" fmla="*/ 962 h 1085"/>
                  <a:gd name="connsiteX18" fmla="*/ 5711 w 5810"/>
                  <a:gd name="connsiteY18" fmla="*/ 973 h 1085"/>
                  <a:gd name="connsiteX19" fmla="*/ 5742 w 5810"/>
                  <a:gd name="connsiteY19" fmla="*/ 981 h 1085"/>
                  <a:gd name="connsiteX20" fmla="*/ 5767 w 5810"/>
                  <a:gd name="connsiteY20" fmla="*/ 983 h 1085"/>
                  <a:gd name="connsiteX21" fmla="*/ 5785 w 5810"/>
                  <a:gd name="connsiteY21" fmla="*/ 985 h 1085"/>
                  <a:gd name="connsiteX22" fmla="*/ 5802 w 5810"/>
                  <a:gd name="connsiteY22" fmla="*/ 985 h 1085"/>
                  <a:gd name="connsiteX23" fmla="*/ 5810 w 5810"/>
                  <a:gd name="connsiteY23" fmla="*/ 1072 h 1085"/>
                  <a:gd name="connsiteX24" fmla="*/ 5717 w 5810"/>
                  <a:gd name="connsiteY24" fmla="*/ 1064 h 1085"/>
                  <a:gd name="connsiteX25" fmla="*/ 5639 w 5810"/>
                  <a:gd name="connsiteY25" fmla="*/ 1043 h 1085"/>
                  <a:gd name="connsiteX26" fmla="*/ 5546 w 5810"/>
                  <a:gd name="connsiteY26" fmla="*/ 1002 h 1085"/>
                  <a:gd name="connsiteX27" fmla="*/ 5496 w 5810"/>
                  <a:gd name="connsiteY27" fmla="*/ 971 h 1085"/>
                  <a:gd name="connsiteX28" fmla="*/ 5042 w 5810"/>
                  <a:gd name="connsiteY28" fmla="*/ 336 h 1085"/>
                  <a:gd name="connsiteX29" fmla="*/ 4993 w 5810"/>
                  <a:gd name="connsiteY29" fmla="*/ 276 h 1085"/>
                  <a:gd name="connsiteX30" fmla="*/ 4945 w 5810"/>
                  <a:gd name="connsiteY30" fmla="*/ 228 h 1085"/>
                  <a:gd name="connsiteX31" fmla="*/ 4900 w 5810"/>
                  <a:gd name="connsiteY31" fmla="*/ 189 h 1085"/>
                  <a:gd name="connsiteX32" fmla="*/ 4858 w 5810"/>
                  <a:gd name="connsiteY32" fmla="*/ 158 h 1085"/>
                  <a:gd name="connsiteX33" fmla="*/ 4819 w 5810"/>
                  <a:gd name="connsiteY33" fmla="*/ 135 h 1085"/>
                  <a:gd name="connsiteX34" fmla="*/ 4770 w 5810"/>
                  <a:gd name="connsiteY34" fmla="*/ 112 h 1085"/>
                  <a:gd name="connsiteX35" fmla="*/ 4726 w 5810"/>
                  <a:gd name="connsiteY35" fmla="*/ 98 h 1085"/>
                  <a:gd name="connsiteX36" fmla="*/ 4691 w 5810"/>
                  <a:gd name="connsiteY36" fmla="*/ 89 h 1085"/>
                  <a:gd name="connsiteX37" fmla="*/ 4662 w 5810"/>
                  <a:gd name="connsiteY37" fmla="*/ 87 h 1085"/>
                  <a:gd name="connsiteX38" fmla="*/ 4635 w 5810"/>
                  <a:gd name="connsiteY38" fmla="*/ 87 h 1085"/>
                  <a:gd name="connsiteX39" fmla="*/ 4569 w 5810"/>
                  <a:gd name="connsiteY39" fmla="*/ 93 h 1085"/>
                  <a:gd name="connsiteX40" fmla="*/ 4507 w 5810"/>
                  <a:gd name="connsiteY40" fmla="*/ 106 h 1085"/>
                  <a:gd name="connsiteX41" fmla="*/ 4452 w 5810"/>
                  <a:gd name="connsiteY41" fmla="*/ 127 h 1085"/>
                  <a:gd name="connsiteX42" fmla="*/ 4400 w 5810"/>
                  <a:gd name="connsiteY42" fmla="*/ 154 h 1085"/>
                  <a:gd name="connsiteX43" fmla="*/ 4353 w 5810"/>
                  <a:gd name="connsiteY43" fmla="*/ 187 h 1085"/>
                  <a:gd name="connsiteX44" fmla="*/ 4309 w 5810"/>
                  <a:gd name="connsiteY44" fmla="*/ 224 h 1085"/>
                  <a:gd name="connsiteX45" fmla="*/ 4270 w 5810"/>
                  <a:gd name="connsiteY45" fmla="*/ 268 h 1085"/>
                  <a:gd name="connsiteX46" fmla="*/ 4231 w 5810"/>
                  <a:gd name="connsiteY46" fmla="*/ 313 h 1085"/>
                  <a:gd name="connsiteX47" fmla="*/ 4196 w 5810"/>
                  <a:gd name="connsiteY47" fmla="*/ 363 h 1085"/>
                  <a:gd name="connsiteX48" fmla="*/ 4163 w 5810"/>
                  <a:gd name="connsiteY48" fmla="*/ 415 h 1085"/>
                  <a:gd name="connsiteX49" fmla="*/ 4101 w 5810"/>
                  <a:gd name="connsiteY49" fmla="*/ 523 h 1085"/>
                  <a:gd name="connsiteX50" fmla="*/ 4008 w 5810"/>
                  <a:gd name="connsiteY50" fmla="*/ 691 h 1085"/>
                  <a:gd name="connsiteX51" fmla="*/ 3975 w 5810"/>
                  <a:gd name="connsiteY51" fmla="*/ 747 h 1085"/>
                  <a:gd name="connsiteX52" fmla="*/ 3940 w 5810"/>
                  <a:gd name="connsiteY52" fmla="*/ 798 h 1085"/>
                  <a:gd name="connsiteX53" fmla="*/ 3905 w 5810"/>
                  <a:gd name="connsiteY53" fmla="*/ 848 h 1085"/>
                  <a:gd name="connsiteX54" fmla="*/ 3865 w 5810"/>
                  <a:gd name="connsiteY54" fmla="*/ 894 h 1085"/>
                  <a:gd name="connsiteX55" fmla="*/ 3824 w 5810"/>
                  <a:gd name="connsiteY55" fmla="*/ 935 h 1085"/>
                  <a:gd name="connsiteX56" fmla="*/ 3779 w 5810"/>
                  <a:gd name="connsiteY56" fmla="*/ 971 h 1085"/>
                  <a:gd name="connsiteX57" fmla="*/ 3729 w 5810"/>
                  <a:gd name="connsiteY57" fmla="*/ 1000 h 1085"/>
                  <a:gd name="connsiteX58" fmla="*/ 3677 w 5810"/>
                  <a:gd name="connsiteY58" fmla="*/ 1022 h 1085"/>
                  <a:gd name="connsiteX59" fmla="*/ 3620 w 5810"/>
                  <a:gd name="connsiteY59" fmla="*/ 1037 h 1085"/>
                  <a:gd name="connsiteX60" fmla="*/ 3556 w 5810"/>
                  <a:gd name="connsiteY60" fmla="*/ 1043 h 1085"/>
                  <a:gd name="connsiteX61" fmla="*/ 3547 w 5810"/>
                  <a:gd name="connsiteY61" fmla="*/ 1043 h 1085"/>
                  <a:gd name="connsiteX62" fmla="*/ 3485 w 5810"/>
                  <a:gd name="connsiteY62" fmla="*/ 1039 h 1085"/>
                  <a:gd name="connsiteX63" fmla="*/ 3426 w 5810"/>
                  <a:gd name="connsiteY63" fmla="*/ 1025 h 1085"/>
                  <a:gd name="connsiteX64" fmla="*/ 3372 w 5810"/>
                  <a:gd name="connsiteY64" fmla="*/ 1002 h 1085"/>
                  <a:gd name="connsiteX65" fmla="*/ 3320 w 5810"/>
                  <a:gd name="connsiteY65" fmla="*/ 973 h 1085"/>
                  <a:gd name="connsiteX66" fmla="*/ 3273 w 5810"/>
                  <a:gd name="connsiteY66" fmla="*/ 935 h 1085"/>
                  <a:gd name="connsiteX67" fmla="*/ 3229 w 5810"/>
                  <a:gd name="connsiteY67" fmla="*/ 894 h 1085"/>
                  <a:gd name="connsiteX68" fmla="*/ 3186 w 5810"/>
                  <a:gd name="connsiteY68" fmla="*/ 846 h 1085"/>
                  <a:gd name="connsiteX69" fmla="*/ 3147 w 5810"/>
                  <a:gd name="connsiteY69" fmla="*/ 796 h 1085"/>
                  <a:gd name="connsiteX70" fmla="*/ 3108 w 5810"/>
                  <a:gd name="connsiteY70" fmla="*/ 740 h 1085"/>
                  <a:gd name="connsiteX71" fmla="*/ 3070 w 5810"/>
                  <a:gd name="connsiteY71" fmla="*/ 684 h 1085"/>
                  <a:gd name="connsiteX72" fmla="*/ 2965 w 5810"/>
                  <a:gd name="connsiteY72" fmla="*/ 510 h 1085"/>
                  <a:gd name="connsiteX73" fmla="*/ 2928 w 5810"/>
                  <a:gd name="connsiteY73" fmla="*/ 452 h 1085"/>
                  <a:gd name="connsiteX74" fmla="*/ 2891 w 5810"/>
                  <a:gd name="connsiteY74" fmla="*/ 396 h 1085"/>
                  <a:gd name="connsiteX75" fmla="*/ 2854 w 5810"/>
                  <a:gd name="connsiteY75" fmla="*/ 342 h 1085"/>
                  <a:gd name="connsiteX76" fmla="*/ 2814 w 5810"/>
                  <a:gd name="connsiteY76" fmla="*/ 292 h 1085"/>
                  <a:gd name="connsiteX77" fmla="*/ 2773 w 5810"/>
                  <a:gd name="connsiteY77" fmla="*/ 247 h 1085"/>
                  <a:gd name="connsiteX78" fmla="*/ 2732 w 5810"/>
                  <a:gd name="connsiteY78" fmla="*/ 205 h 1085"/>
                  <a:gd name="connsiteX79" fmla="*/ 2686 w 5810"/>
                  <a:gd name="connsiteY79" fmla="*/ 168 h 1085"/>
                  <a:gd name="connsiteX80" fmla="*/ 2639 w 5810"/>
                  <a:gd name="connsiteY80" fmla="*/ 139 h 1085"/>
                  <a:gd name="connsiteX81" fmla="*/ 2587 w 5810"/>
                  <a:gd name="connsiteY81" fmla="*/ 116 h 1085"/>
                  <a:gd name="connsiteX82" fmla="*/ 2532 w 5810"/>
                  <a:gd name="connsiteY82" fmla="*/ 100 h 1085"/>
                  <a:gd name="connsiteX83" fmla="*/ 2474 w 5810"/>
                  <a:gd name="connsiteY83" fmla="*/ 91 h 1085"/>
                  <a:gd name="connsiteX84" fmla="*/ 2410 w 5810"/>
                  <a:gd name="connsiteY84" fmla="*/ 93 h 1085"/>
                  <a:gd name="connsiteX85" fmla="*/ 2342 w 5810"/>
                  <a:gd name="connsiteY85" fmla="*/ 104 h 1085"/>
                  <a:gd name="connsiteX86" fmla="*/ 2280 w 5810"/>
                  <a:gd name="connsiteY86" fmla="*/ 122 h 1085"/>
                  <a:gd name="connsiteX87" fmla="*/ 2222 w 5810"/>
                  <a:gd name="connsiteY87" fmla="*/ 147 h 1085"/>
                  <a:gd name="connsiteX88" fmla="*/ 2168 w 5810"/>
                  <a:gd name="connsiteY88" fmla="*/ 180 h 1085"/>
                  <a:gd name="connsiteX89" fmla="*/ 2117 w 5810"/>
                  <a:gd name="connsiteY89" fmla="*/ 218 h 1085"/>
                  <a:gd name="connsiteX90" fmla="*/ 2071 w 5810"/>
                  <a:gd name="connsiteY90" fmla="*/ 261 h 1085"/>
                  <a:gd name="connsiteX91" fmla="*/ 2026 w 5810"/>
                  <a:gd name="connsiteY91" fmla="*/ 307 h 1085"/>
                  <a:gd name="connsiteX92" fmla="*/ 1984 w 5810"/>
                  <a:gd name="connsiteY92" fmla="*/ 359 h 1085"/>
                  <a:gd name="connsiteX93" fmla="*/ 1945 w 5810"/>
                  <a:gd name="connsiteY93" fmla="*/ 413 h 1085"/>
                  <a:gd name="connsiteX94" fmla="*/ 1908 w 5810"/>
                  <a:gd name="connsiteY94" fmla="*/ 467 h 1085"/>
                  <a:gd name="connsiteX95" fmla="*/ 1871 w 5810"/>
                  <a:gd name="connsiteY95" fmla="*/ 523 h 1085"/>
                  <a:gd name="connsiteX96" fmla="*/ 1834 w 5810"/>
                  <a:gd name="connsiteY96" fmla="*/ 581 h 1085"/>
                  <a:gd name="connsiteX97" fmla="*/ 1799 w 5810"/>
                  <a:gd name="connsiteY97" fmla="*/ 637 h 1085"/>
                  <a:gd name="connsiteX98" fmla="*/ 1724 w 5810"/>
                  <a:gd name="connsiteY98" fmla="*/ 749 h 1085"/>
                  <a:gd name="connsiteX99" fmla="*/ 1685 w 5810"/>
                  <a:gd name="connsiteY99" fmla="*/ 801 h 1085"/>
                  <a:gd name="connsiteX100" fmla="*/ 1644 w 5810"/>
                  <a:gd name="connsiteY100" fmla="*/ 850 h 1085"/>
                  <a:gd name="connsiteX101" fmla="*/ 1600 w 5810"/>
                  <a:gd name="connsiteY101" fmla="*/ 896 h 1085"/>
                  <a:gd name="connsiteX102" fmla="*/ 1553 w 5810"/>
                  <a:gd name="connsiteY102" fmla="*/ 937 h 1085"/>
                  <a:gd name="connsiteX103" fmla="*/ 1503 w 5810"/>
                  <a:gd name="connsiteY103" fmla="*/ 973 h 1085"/>
                  <a:gd name="connsiteX104" fmla="*/ 1450 w 5810"/>
                  <a:gd name="connsiteY104" fmla="*/ 1002 h 1085"/>
                  <a:gd name="connsiteX105" fmla="*/ 1394 w 5810"/>
                  <a:gd name="connsiteY105" fmla="*/ 1025 h 1085"/>
                  <a:gd name="connsiteX106" fmla="*/ 1330 w 5810"/>
                  <a:gd name="connsiteY106" fmla="*/ 1037 h 1085"/>
                  <a:gd name="connsiteX107" fmla="*/ 1264 w 5810"/>
                  <a:gd name="connsiteY107" fmla="*/ 1043 h 1085"/>
                  <a:gd name="connsiteX108" fmla="*/ 1258 w 5810"/>
                  <a:gd name="connsiteY108" fmla="*/ 1043 h 1085"/>
                  <a:gd name="connsiteX109" fmla="*/ 1190 w 5810"/>
                  <a:gd name="connsiteY109" fmla="*/ 1039 h 1085"/>
                  <a:gd name="connsiteX110" fmla="*/ 1128 w 5810"/>
                  <a:gd name="connsiteY110" fmla="*/ 1027 h 1085"/>
                  <a:gd name="connsiteX111" fmla="*/ 1070 w 5810"/>
                  <a:gd name="connsiteY111" fmla="*/ 1008 h 1085"/>
                  <a:gd name="connsiteX112" fmla="*/ 1018 w 5810"/>
                  <a:gd name="connsiteY112" fmla="*/ 983 h 1085"/>
                  <a:gd name="connsiteX113" fmla="*/ 971 w 5810"/>
                  <a:gd name="connsiteY113" fmla="*/ 952 h 1085"/>
                  <a:gd name="connsiteX114" fmla="*/ 925 w 5810"/>
                  <a:gd name="connsiteY114" fmla="*/ 915 h 1085"/>
                  <a:gd name="connsiteX115" fmla="*/ 884 w 5810"/>
                  <a:gd name="connsiteY115" fmla="*/ 873 h 1085"/>
                  <a:gd name="connsiteX116" fmla="*/ 847 w 5810"/>
                  <a:gd name="connsiteY116" fmla="*/ 828 h 1085"/>
                  <a:gd name="connsiteX117" fmla="*/ 810 w 5810"/>
                  <a:gd name="connsiteY117" fmla="*/ 780 h 1085"/>
                  <a:gd name="connsiteX118" fmla="*/ 777 w 5810"/>
                  <a:gd name="connsiteY118" fmla="*/ 728 h 1085"/>
                  <a:gd name="connsiteX119" fmla="*/ 742 w 5810"/>
                  <a:gd name="connsiteY119" fmla="*/ 674 h 1085"/>
                  <a:gd name="connsiteX120" fmla="*/ 711 w 5810"/>
                  <a:gd name="connsiteY120" fmla="*/ 618 h 1085"/>
                  <a:gd name="connsiteX121" fmla="*/ 678 w 5810"/>
                  <a:gd name="connsiteY121" fmla="*/ 560 h 1085"/>
                  <a:gd name="connsiteX122" fmla="*/ 616 w 5810"/>
                  <a:gd name="connsiteY122" fmla="*/ 448 h 1085"/>
                  <a:gd name="connsiteX123" fmla="*/ 547 w 5810"/>
                  <a:gd name="connsiteY123" fmla="*/ 340 h 1085"/>
                  <a:gd name="connsiteX124" fmla="*/ 504 w 5810"/>
                  <a:gd name="connsiteY124" fmla="*/ 284 h 1085"/>
                  <a:gd name="connsiteX125" fmla="*/ 457 w 5810"/>
                  <a:gd name="connsiteY125" fmla="*/ 239 h 1085"/>
                  <a:gd name="connsiteX126" fmla="*/ 409 w 5810"/>
                  <a:gd name="connsiteY126" fmla="*/ 199 h 1085"/>
                  <a:gd name="connsiteX127" fmla="*/ 358 w 5810"/>
                  <a:gd name="connsiteY127" fmla="*/ 168 h 1085"/>
                  <a:gd name="connsiteX128" fmla="*/ 308 w 5810"/>
                  <a:gd name="connsiteY128" fmla="*/ 145 h 1085"/>
                  <a:gd name="connsiteX129" fmla="*/ 256 w 5810"/>
                  <a:gd name="connsiteY129" fmla="*/ 127 h 1085"/>
                  <a:gd name="connsiteX130" fmla="*/ 209 w 5810"/>
                  <a:gd name="connsiteY130" fmla="*/ 112 h 1085"/>
                  <a:gd name="connsiteX131" fmla="*/ 163 w 5810"/>
                  <a:gd name="connsiteY131" fmla="*/ 104 h 1085"/>
                  <a:gd name="connsiteX132" fmla="*/ 122 w 5810"/>
                  <a:gd name="connsiteY132" fmla="*/ 100 h 1085"/>
                  <a:gd name="connsiteX133" fmla="*/ 85 w 5810"/>
                  <a:gd name="connsiteY133" fmla="*/ 95 h 1085"/>
                  <a:gd name="connsiteX134" fmla="*/ 31 w 5810"/>
                  <a:gd name="connsiteY134" fmla="*/ 95 h 1085"/>
                  <a:gd name="connsiteX135" fmla="*/ 17 w 5810"/>
                  <a:gd name="connsiteY135" fmla="*/ 98 h 1085"/>
                  <a:gd name="connsiteX136" fmla="*/ 11 w 5810"/>
                  <a:gd name="connsiteY136" fmla="*/ 98 h 1085"/>
                  <a:gd name="connsiteX137" fmla="*/ 0 w 5810"/>
                  <a:gd name="connsiteY137" fmla="*/ 13 h 1085"/>
                  <a:gd name="connsiteX138" fmla="*/ 9 w 5810"/>
                  <a:gd name="connsiteY138" fmla="*/ 13 h 1085"/>
                  <a:gd name="connsiteX139" fmla="*/ 29 w 5810"/>
                  <a:gd name="connsiteY139" fmla="*/ 10 h 1085"/>
                  <a:gd name="connsiteX140" fmla="*/ 91 w 5810"/>
                  <a:gd name="connsiteY140" fmla="*/ 10 h 1085"/>
                  <a:gd name="connsiteX141" fmla="*/ 135 w 5810"/>
                  <a:gd name="connsiteY141" fmla="*/ 13 h 1085"/>
                  <a:gd name="connsiteX142" fmla="*/ 182 w 5810"/>
                  <a:gd name="connsiteY142" fmla="*/ 19 h 1085"/>
                  <a:gd name="connsiteX143" fmla="*/ 234 w 5810"/>
                  <a:gd name="connsiteY143" fmla="*/ 29 h 1085"/>
                  <a:gd name="connsiteX144" fmla="*/ 287 w 5810"/>
                  <a:gd name="connsiteY144" fmla="*/ 46 h 1085"/>
                  <a:gd name="connsiteX145" fmla="*/ 345 w 5810"/>
                  <a:gd name="connsiteY145" fmla="*/ 66 h 1085"/>
                  <a:gd name="connsiteX146" fmla="*/ 403 w 5810"/>
                  <a:gd name="connsiteY146" fmla="*/ 93 h 1085"/>
                  <a:gd name="connsiteX147" fmla="*/ 459 w 5810"/>
                  <a:gd name="connsiteY147" fmla="*/ 131 h 1085"/>
                  <a:gd name="connsiteX148" fmla="*/ 514 w 5810"/>
                  <a:gd name="connsiteY148" fmla="*/ 174 h 1085"/>
                  <a:gd name="connsiteX149" fmla="*/ 568 w 5810"/>
                  <a:gd name="connsiteY149" fmla="*/ 228 h 1085"/>
                  <a:gd name="connsiteX150" fmla="*/ 618 w 5810"/>
                  <a:gd name="connsiteY150" fmla="*/ 292 h 1085"/>
                  <a:gd name="connsiteX151" fmla="*/ 667 w 5810"/>
                  <a:gd name="connsiteY151" fmla="*/ 367 h 1085"/>
                  <a:gd name="connsiteX152" fmla="*/ 754 w 5810"/>
                  <a:gd name="connsiteY152" fmla="*/ 516 h 1085"/>
                  <a:gd name="connsiteX153" fmla="*/ 787 w 5810"/>
                  <a:gd name="connsiteY153" fmla="*/ 575 h 1085"/>
                  <a:gd name="connsiteX154" fmla="*/ 820 w 5810"/>
                  <a:gd name="connsiteY154" fmla="*/ 631 h 1085"/>
                  <a:gd name="connsiteX155" fmla="*/ 853 w 5810"/>
                  <a:gd name="connsiteY155" fmla="*/ 684 h 1085"/>
                  <a:gd name="connsiteX156" fmla="*/ 886 w 5810"/>
                  <a:gd name="connsiteY156" fmla="*/ 736 h 1085"/>
                  <a:gd name="connsiteX157" fmla="*/ 921 w 5810"/>
                  <a:gd name="connsiteY157" fmla="*/ 782 h 1085"/>
                  <a:gd name="connsiteX158" fmla="*/ 958 w 5810"/>
                  <a:gd name="connsiteY158" fmla="*/ 825 h 1085"/>
                  <a:gd name="connsiteX159" fmla="*/ 1000 w 5810"/>
                  <a:gd name="connsiteY159" fmla="*/ 863 h 1085"/>
                  <a:gd name="connsiteX160" fmla="*/ 1043 w 5810"/>
                  <a:gd name="connsiteY160" fmla="*/ 894 h 1085"/>
                  <a:gd name="connsiteX161" fmla="*/ 1090 w 5810"/>
                  <a:gd name="connsiteY161" fmla="*/ 921 h 1085"/>
                  <a:gd name="connsiteX162" fmla="*/ 1140 w 5810"/>
                  <a:gd name="connsiteY162" fmla="*/ 939 h 1085"/>
                  <a:gd name="connsiteX163" fmla="*/ 1196 w 5810"/>
                  <a:gd name="connsiteY163" fmla="*/ 952 h 1085"/>
                  <a:gd name="connsiteX164" fmla="*/ 1258 w 5810"/>
                  <a:gd name="connsiteY164" fmla="*/ 956 h 1085"/>
                  <a:gd name="connsiteX165" fmla="*/ 1264 w 5810"/>
                  <a:gd name="connsiteY165" fmla="*/ 956 h 1085"/>
                  <a:gd name="connsiteX166" fmla="*/ 1324 w 5810"/>
                  <a:gd name="connsiteY166" fmla="*/ 950 h 1085"/>
                  <a:gd name="connsiteX167" fmla="*/ 1380 w 5810"/>
                  <a:gd name="connsiteY167" fmla="*/ 935 h 1085"/>
                  <a:gd name="connsiteX168" fmla="*/ 1433 w 5810"/>
                  <a:gd name="connsiteY168" fmla="*/ 913 h 1085"/>
                  <a:gd name="connsiteX169" fmla="*/ 1481 w 5810"/>
                  <a:gd name="connsiteY169" fmla="*/ 884 h 1085"/>
                  <a:gd name="connsiteX170" fmla="*/ 1526 w 5810"/>
                  <a:gd name="connsiteY170" fmla="*/ 846 h 1085"/>
                  <a:gd name="connsiteX171" fmla="*/ 1569 w 5810"/>
                  <a:gd name="connsiteY171" fmla="*/ 803 h 1085"/>
                  <a:gd name="connsiteX172" fmla="*/ 1609 w 5810"/>
                  <a:gd name="connsiteY172" fmla="*/ 755 h 1085"/>
                  <a:gd name="connsiteX173" fmla="*/ 1648 w 5810"/>
                  <a:gd name="connsiteY173" fmla="*/ 703 h 1085"/>
                  <a:gd name="connsiteX174" fmla="*/ 1687 w 5810"/>
                  <a:gd name="connsiteY174" fmla="*/ 649 h 1085"/>
                  <a:gd name="connsiteX175" fmla="*/ 1799 w 5810"/>
                  <a:gd name="connsiteY175" fmla="*/ 475 h 1085"/>
                  <a:gd name="connsiteX176" fmla="*/ 1838 w 5810"/>
                  <a:gd name="connsiteY176" fmla="*/ 415 h 1085"/>
                  <a:gd name="connsiteX177" fmla="*/ 1879 w 5810"/>
                  <a:gd name="connsiteY177" fmla="*/ 357 h 1085"/>
                  <a:gd name="connsiteX178" fmla="*/ 1923 w 5810"/>
                  <a:gd name="connsiteY178" fmla="*/ 299 h 1085"/>
                  <a:gd name="connsiteX179" fmla="*/ 1968 w 5810"/>
                  <a:gd name="connsiteY179" fmla="*/ 245 h 1085"/>
                  <a:gd name="connsiteX180" fmla="*/ 2015 w 5810"/>
                  <a:gd name="connsiteY180" fmla="*/ 193 h 1085"/>
                  <a:gd name="connsiteX181" fmla="*/ 2069 w 5810"/>
                  <a:gd name="connsiteY181" fmla="*/ 145 h 1085"/>
                  <a:gd name="connsiteX182" fmla="*/ 2125 w 5810"/>
                  <a:gd name="connsiteY182" fmla="*/ 104 h 1085"/>
                  <a:gd name="connsiteX183" fmla="*/ 2187 w 5810"/>
                  <a:gd name="connsiteY183" fmla="*/ 69 h 1085"/>
                  <a:gd name="connsiteX184" fmla="*/ 2253 w 5810"/>
                  <a:gd name="connsiteY184" fmla="*/ 39 h 1085"/>
                  <a:gd name="connsiteX185" fmla="*/ 2325 w 5810"/>
                  <a:gd name="connsiteY185" fmla="*/ 19 h 1085"/>
                  <a:gd name="connsiteX186" fmla="*/ 2404 w 5810"/>
                  <a:gd name="connsiteY186" fmla="*/ 6 h 1085"/>
                  <a:gd name="connsiteX187" fmla="*/ 2474 w 5810"/>
                  <a:gd name="connsiteY187" fmla="*/ 4 h 1085"/>
                  <a:gd name="connsiteX188" fmla="*/ 2540 w 5810"/>
                  <a:gd name="connsiteY188" fmla="*/ 13 h 1085"/>
                  <a:gd name="connsiteX189" fmla="*/ 2600 w 5810"/>
                  <a:gd name="connsiteY189" fmla="*/ 27 h 1085"/>
                  <a:gd name="connsiteX190" fmla="*/ 2658 w 5810"/>
                  <a:gd name="connsiteY190" fmla="*/ 50 h 1085"/>
                  <a:gd name="connsiteX191" fmla="*/ 2711 w 5810"/>
                  <a:gd name="connsiteY191" fmla="*/ 81 h 1085"/>
                  <a:gd name="connsiteX192" fmla="*/ 2761 w 5810"/>
                  <a:gd name="connsiteY192" fmla="*/ 116 h 1085"/>
                  <a:gd name="connsiteX193" fmla="*/ 2806 w 5810"/>
                  <a:gd name="connsiteY193" fmla="*/ 158 h 1085"/>
                  <a:gd name="connsiteX194" fmla="*/ 2852 w 5810"/>
                  <a:gd name="connsiteY194" fmla="*/ 203 h 1085"/>
                  <a:gd name="connsiteX195" fmla="*/ 2893 w 5810"/>
                  <a:gd name="connsiteY195" fmla="*/ 251 h 1085"/>
                  <a:gd name="connsiteX196" fmla="*/ 2932 w 5810"/>
                  <a:gd name="connsiteY196" fmla="*/ 303 h 1085"/>
                  <a:gd name="connsiteX197" fmla="*/ 2969 w 5810"/>
                  <a:gd name="connsiteY197" fmla="*/ 357 h 1085"/>
                  <a:gd name="connsiteX198" fmla="*/ 3004 w 5810"/>
                  <a:gd name="connsiteY198" fmla="*/ 413 h 1085"/>
                  <a:gd name="connsiteX199" fmla="*/ 3039 w 5810"/>
                  <a:gd name="connsiteY199" fmla="*/ 467 h 1085"/>
                  <a:gd name="connsiteX200" fmla="*/ 3073 w 5810"/>
                  <a:gd name="connsiteY200" fmla="*/ 523 h 1085"/>
                  <a:gd name="connsiteX201" fmla="*/ 3110 w 5810"/>
                  <a:gd name="connsiteY201" fmla="*/ 585 h 1085"/>
                  <a:gd name="connsiteX202" fmla="*/ 3147 w 5810"/>
                  <a:gd name="connsiteY202" fmla="*/ 643 h 1085"/>
                  <a:gd name="connsiteX203" fmla="*/ 3186 w 5810"/>
                  <a:gd name="connsiteY203" fmla="*/ 701 h 1085"/>
                  <a:gd name="connsiteX204" fmla="*/ 3223 w 5810"/>
                  <a:gd name="connsiteY204" fmla="*/ 755 h 1085"/>
                  <a:gd name="connsiteX205" fmla="*/ 3265 w 5810"/>
                  <a:gd name="connsiteY205" fmla="*/ 805 h 1085"/>
                  <a:gd name="connsiteX206" fmla="*/ 3306 w 5810"/>
                  <a:gd name="connsiteY206" fmla="*/ 848 h 1085"/>
                  <a:gd name="connsiteX207" fmla="*/ 3349 w 5810"/>
                  <a:gd name="connsiteY207" fmla="*/ 886 h 1085"/>
                  <a:gd name="connsiteX208" fmla="*/ 3395 w 5810"/>
                  <a:gd name="connsiteY208" fmla="*/ 917 h 1085"/>
                  <a:gd name="connsiteX209" fmla="*/ 3444 w 5810"/>
                  <a:gd name="connsiteY209" fmla="*/ 939 h 1085"/>
                  <a:gd name="connsiteX210" fmla="*/ 3498 w 5810"/>
                  <a:gd name="connsiteY210" fmla="*/ 952 h 1085"/>
                  <a:gd name="connsiteX211" fmla="*/ 3554 w 5810"/>
                  <a:gd name="connsiteY211" fmla="*/ 956 h 1085"/>
                  <a:gd name="connsiteX212" fmla="*/ 3609 w 5810"/>
                  <a:gd name="connsiteY212" fmla="*/ 950 h 1085"/>
                  <a:gd name="connsiteX213" fmla="*/ 3659 w 5810"/>
                  <a:gd name="connsiteY213" fmla="*/ 935 h 1085"/>
                  <a:gd name="connsiteX214" fmla="*/ 3706 w 5810"/>
                  <a:gd name="connsiteY214" fmla="*/ 915 h 1085"/>
                  <a:gd name="connsiteX215" fmla="*/ 3750 w 5810"/>
                  <a:gd name="connsiteY215" fmla="*/ 884 h 1085"/>
                  <a:gd name="connsiteX216" fmla="*/ 3789 w 5810"/>
                  <a:gd name="connsiteY216" fmla="*/ 848 h 1085"/>
                  <a:gd name="connsiteX217" fmla="*/ 3826 w 5810"/>
                  <a:gd name="connsiteY217" fmla="*/ 807 h 1085"/>
                  <a:gd name="connsiteX218" fmla="*/ 3861 w 5810"/>
                  <a:gd name="connsiteY218" fmla="*/ 759 h 1085"/>
                  <a:gd name="connsiteX219" fmla="*/ 3894 w 5810"/>
                  <a:gd name="connsiteY219" fmla="*/ 709 h 1085"/>
                  <a:gd name="connsiteX220" fmla="*/ 3927 w 5810"/>
                  <a:gd name="connsiteY220" fmla="*/ 655 h 1085"/>
                  <a:gd name="connsiteX221" fmla="*/ 3960 w 5810"/>
                  <a:gd name="connsiteY221" fmla="*/ 597 h 1085"/>
                  <a:gd name="connsiteX222" fmla="*/ 3993 w 5810"/>
                  <a:gd name="connsiteY222" fmla="*/ 537 h 1085"/>
                  <a:gd name="connsiteX223" fmla="*/ 4022 w 5810"/>
                  <a:gd name="connsiteY223" fmla="*/ 483 h 1085"/>
                  <a:gd name="connsiteX224" fmla="*/ 4084 w 5810"/>
                  <a:gd name="connsiteY224" fmla="*/ 375 h 1085"/>
                  <a:gd name="connsiteX225" fmla="*/ 4154 w 5810"/>
                  <a:gd name="connsiteY225" fmla="*/ 272 h 1085"/>
                  <a:gd name="connsiteX226" fmla="*/ 4192 w 5810"/>
                  <a:gd name="connsiteY226" fmla="*/ 224 h 1085"/>
                  <a:gd name="connsiteX227" fmla="*/ 4233 w 5810"/>
                  <a:gd name="connsiteY227" fmla="*/ 178 h 1085"/>
                  <a:gd name="connsiteX228" fmla="*/ 4276 w 5810"/>
                  <a:gd name="connsiteY228" fmla="*/ 137 h 1085"/>
                  <a:gd name="connsiteX229" fmla="*/ 4324 w 5810"/>
                  <a:gd name="connsiteY229" fmla="*/ 100 h 1085"/>
                  <a:gd name="connsiteX230" fmla="*/ 4375 w 5810"/>
                  <a:gd name="connsiteY230" fmla="*/ 66 h 1085"/>
                  <a:gd name="connsiteX231" fmla="*/ 4433 w 5810"/>
                  <a:gd name="connsiteY231" fmla="*/ 39 h 1085"/>
                  <a:gd name="connsiteX232" fmla="*/ 4493 w 5810"/>
                  <a:gd name="connsiteY232" fmla="*/ 19 h 1085"/>
                  <a:gd name="connsiteX233" fmla="*/ 4559 w 5810"/>
                  <a:gd name="connsiteY233" fmla="*/ 6 h 1085"/>
                  <a:gd name="connsiteX234" fmla="*/ 4631 w 5810"/>
                  <a:gd name="connsiteY234" fmla="*/ 0 h 1085"/>
                  <a:gd name="connsiteX0" fmla="*/ 4631 w 5810"/>
                  <a:gd name="connsiteY0" fmla="*/ 0 h 1085"/>
                  <a:gd name="connsiteX1" fmla="*/ 4681 w 5810"/>
                  <a:gd name="connsiteY1" fmla="*/ 0 h 1085"/>
                  <a:gd name="connsiteX2" fmla="*/ 4710 w 5810"/>
                  <a:gd name="connsiteY2" fmla="*/ 4 h 1085"/>
                  <a:gd name="connsiteX3" fmla="*/ 4741 w 5810"/>
                  <a:gd name="connsiteY3" fmla="*/ 13 h 1085"/>
                  <a:gd name="connsiteX4" fmla="*/ 4778 w 5810"/>
                  <a:gd name="connsiteY4" fmla="*/ 23 h 1085"/>
                  <a:gd name="connsiteX5" fmla="*/ 4819 w 5810"/>
                  <a:gd name="connsiteY5" fmla="*/ 39 h 1085"/>
                  <a:gd name="connsiteX6" fmla="*/ 4863 w 5810"/>
                  <a:gd name="connsiteY6" fmla="*/ 60 h 1085"/>
                  <a:gd name="connsiteX7" fmla="*/ 4910 w 5810"/>
                  <a:gd name="connsiteY7" fmla="*/ 89 h 1085"/>
                  <a:gd name="connsiteX8" fmla="*/ 4960 w 5810"/>
                  <a:gd name="connsiteY8" fmla="*/ 124 h 1085"/>
                  <a:gd name="connsiteX9" fmla="*/ 5009 w 5810"/>
                  <a:gd name="connsiteY9" fmla="*/ 170 h 1085"/>
                  <a:gd name="connsiteX10" fmla="*/ 5061 w 5810"/>
                  <a:gd name="connsiteY10" fmla="*/ 224 h 1085"/>
                  <a:gd name="connsiteX11" fmla="*/ 5112 w 5810"/>
                  <a:gd name="connsiteY11" fmla="*/ 286 h 1085"/>
                  <a:gd name="connsiteX12" fmla="*/ 5313 w 5810"/>
                  <a:gd name="connsiteY12" fmla="*/ 633 h 1085"/>
                  <a:gd name="connsiteX13" fmla="*/ 5408 w 5810"/>
                  <a:gd name="connsiteY13" fmla="*/ 769 h 1085"/>
                  <a:gd name="connsiteX14" fmla="*/ 5593 w 5810"/>
                  <a:gd name="connsiteY14" fmla="*/ 927 h 1085"/>
                  <a:gd name="connsiteX15" fmla="*/ 5637 w 5810"/>
                  <a:gd name="connsiteY15" fmla="*/ 948 h 1085"/>
                  <a:gd name="connsiteX16" fmla="*/ 5676 w 5810"/>
                  <a:gd name="connsiteY16" fmla="*/ 962 h 1085"/>
                  <a:gd name="connsiteX17" fmla="*/ 5711 w 5810"/>
                  <a:gd name="connsiteY17" fmla="*/ 973 h 1085"/>
                  <a:gd name="connsiteX18" fmla="*/ 5742 w 5810"/>
                  <a:gd name="connsiteY18" fmla="*/ 981 h 1085"/>
                  <a:gd name="connsiteX19" fmla="*/ 5767 w 5810"/>
                  <a:gd name="connsiteY19" fmla="*/ 983 h 1085"/>
                  <a:gd name="connsiteX20" fmla="*/ 5785 w 5810"/>
                  <a:gd name="connsiteY20" fmla="*/ 985 h 1085"/>
                  <a:gd name="connsiteX21" fmla="*/ 5802 w 5810"/>
                  <a:gd name="connsiteY21" fmla="*/ 985 h 1085"/>
                  <a:gd name="connsiteX22" fmla="*/ 5810 w 5810"/>
                  <a:gd name="connsiteY22" fmla="*/ 1072 h 1085"/>
                  <a:gd name="connsiteX23" fmla="*/ 5717 w 5810"/>
                  <a:gd name="connsiteY23" fmla="*/ 1064 h 1085"/>
                  <a:gd name="connsiteX24" fmla="*/ 5639 w 5810"/>
                  <a:gd name="connsiteY24" fmla="*/ 1043 h 1085"/>
                  <a:gd name="connsiteX25" fmla="*/ 5546 w 5810"/>
                  <a:gd name="connsiteY25" fmla="*/ 1002 h 1085"/>
                  <a:gd name="connsiteX26" fmla="*/ 5496 w 5810"/>
                  <a:gd name="connsiteY26" fmla="*/ 971 h 1085"/>
                  <a:gd name="connsiteX27" fmla="*/ 5042 w 5810"/>
                  <a:gd name="connsiteY27" fmla="*/ 336 h 1085"/>
                  <a:gd name="connsiteX28" fmla="*/ 4993 w 5810"/>
                  <a:gd name="connsiteY28" fmla="*/ 276 h 1085"/>
                  <a:gd name="connsiteX29" fmla="*/ 4945 w 5810"/>
                  <a:gd name="connsiteY29" fmla="*/ 228 h 1085"/>
                  <a:gd name="connsiteX30" fmla="*/ 4900 w 5810"/>
                  <a:gd name="connsiteY30" fmla="*/ 189 h 1085"/>
                  <a:gd name="connsiteX31" fmla="*/ 4858 w 5810"/>
                  <a:gd name="connsiteY31" fmla="*/ 158 h 1085"/>
                  <a:gd name="connsiteX32" fmla="*/ 4819 w 5810"/>
                  <a:gd name="connsiteY32" fmla="*/ 135 h 1085"/>
                  <a:gd name="connsiteX33" fmla="*/ 4770 w 5810"/>
                  <a:gd name="connsiteY33" fmla="*/ 112 h 1085"/>
                  <a:gd name="connsiteX34" fmla="*/ 4726 w 5810"/>
                  <a:gd name="connsiteY34" fmla="*/ 98 h 1085"/>
                  <a:gd name="connsiteX35" fmla="*/ 4691 w 5810"/>
                  <a:gd name="connsiteY35" fmla="*/ 89 h 1085"/>
                  <a:gd name="connsiteX36" fmla="*/ 4662 w 5810"/>
                  <a:gd name="connsiteY36" fmla="*/ 87 h 1085"/>
                  <a:gd name="connsiteX37" fmla="*/ 4635 w 5810"/>
                  <a:gd name="connsiteY37" fmla="*/ 87 h 1085"/>
                  <a:gd name="connsiteX38" fmla="*/ 4569 w 5810"/>
                  <a:gd name="connsiteY38" fmla="*/ 93 h 1085"/>
                  <a:gd name="connsiteX39" fmla="*/ 4507 w 5810"/>
                  <a:gd name="connsiteY39" fmla="*/ 106 h 1085"/>
                  <a:gd name="connsiteX40" fmla="*/ 4452 w 5810"/>
                  <a:gd name="connsiteY40" fmla="*/ 127 h 1085"/>
                  <a:gd name="connsiteX41" fmla="*/ 4400 w 5810"/>
                  <a:gd name="connsiteY41" fmla="*/ 154 h 1085"/>
                  <a:gd name="connsiteX42" fmla="*/ 4353 w 5810"/>
                  <a:gd name="connsiteY42" fmla="*/ 187 h 1085"/>
                  <a:gd name="connsiteX43" fmla="*/ 4309 w 5810"/>
                  <a:gd name="connsiteY43" fmla="*/ 224 h 1085"/>
                  <a:gd name="connsiteX44" fmla="*/ 4270 w 5810"/>
                  <a:gd name="connsiteY44" fmla="*/ 268 h 1085"/>
                  <a:gd name="connsiteX45" fmla="*/ 4231 w 5810"/>
                  <a:gd name="connsiteY45" fmla="*/ 313 h 1085"/>
                  <a:gd name="connsiteX46" fmla="*/ 4196 w 5810"/>
                  <a:gd name="connsiteY46" fmla="*/ 363 h 1085"/>
                  <a:gd name="connsiteX47" fmla="*/ 4163 w 5810"/>
                  <a:gd name="connsiteY47" fmla="*/ 415 h 1085"/>
                  <a:gd name="connsiteX48" fmla="*/ 4101 w 5810"/>
                  <a:gd name="connsiteY48" fmla="*/ 523 h 1085"/>
                  <a:gd name="connsiteX49" fmla="*/ 4008 w 5810"/>
                  <a:gd name="connsiteY49" fmla="*/ 691 h 1085"/>
                  <a:gd name="connsiteX50" fmla="*/ 3975 w 5810"/>
                  <a:gd name="connsiteY50" fmla="*/ 747 h 1085"/>
                  <a:gd name="connsiteX51" fmla="*/ 3940 w 5810"/>
                  <a:gd name="connsiteY51" fmla="*/ 798 h 1085"/>
                  <a:gd name="connsiteX52" fmla="*/ 3905 w 5810"/>
                  <a:gd name="connsiteY52" fmla="*/ 848 h 1085"/>
                  <a:gd name="connsiteX53" fmla="*/ 3865 w 5810"/>
                  <a:gd name="connsiteY53" fmla="*/ 894 h 1085"/>
                  <a:gd name="connsiteX54" fmla="*/ 3824 w 5810"/>
                  <a:gd name="connsiteY54" fmla="*/ 935 h 1085"/>
                  <a:gd name="connsiteX55" fmla="*/ 3779 w 5810"/>
                  <a:gd name="connsiteY55" fmla="*/ 971 h 1085"/>
                  <a:gd name="connsiteX56" fmla="*/ 3729 w 5810"/>
                  <a:gd name="connsiteY56" fmla="*/ 1000 h 1085"/>
                  <a:gd name="connsiteX57" fmla="*/ 3677 w 5810"/>
                  <a:gd name="connsiteY57" fmla="*/ 1022 h 1085"/>
                  <a:gd name="connsiteX58" fmla="*/ 3620 w 5810"/>
                  <a:gd name="connsiteY58" fmla="*/ 1037 h 1085"/>
                  <a:gd name="connsiteX59" fmla="*/ 3556 w 5810"/>
                  <a:gd name="connsiteY59" fmla="*/ 1043 h 1085"/>
                  <a:gd name="connsiteX60" fmla="*/ 3547 w 5810"/>
                  <a:gd name="connsiteY60" fmla="*/ 1043 h 1085"/>
                  <a:gd name="connsiteX61" fmla="*/ 3485 w 5810"/>
                  <a:gd name="connsiteY61" fmla="*/ 1039 h 1085"/>
                  <a:gd name="connsiteX62" fmla="*/ 3426 w 5810"/>
                  <a:gd name="connsiteY62" fmla="*/ 1025 h 1085"/>
                  <a:gd name="connsiteX63" fmla="*/ 3372 w 5810"/>
                  <a:gd name="connsiteY63" fmla="*/ 1002 h 1085"/>
                  <a:gd name="connsiteX64" fmla="*/ 3320 w 5810"/>
                  <a:gd name="connsiteY64" fmla="*/ 973 h 1085"/>
                  <a:gd name="connsiteX65" fmla="*/ 3273 w 5810"/>
                  <a:gd name="connsiteY65" fmla="*/ 935 h 1085"/>
                  <a:gd name="connsiteX66" fmla="*/ 3229 w 5810"/>
                  <a:gd name="connsiteY66" fmla="*/ 894 h 1085"/>
                  <a:gd name="connsiteX67" fmla="*/ 3186 w 5810"/>
                  <a:gd name="connsiteY67" fmla="*/ 846 h 1085"/>
                  <a:gd name="connsiteX68" fmla="*/ 3147 w 5810"/>
                  <a:gd name="connsiteY68" fmla="*/ 796 h 1085"/>
                  <a:gd name="connsiteX69" fmla="*/ 3108 w 5810"/>
                  <a:gd name="connsiteY69" fmla="*/ 740 h 1085"/>
                  <a:gd name="connsiteX70" fmla="*/ 3070 w 5810"/>
                  <a:gd name="connsiteY70" fmla="*/ 684 h 1085"/>
                  <a:gd name="connsiteX71" fmla="*/ 2965 w 5810"/>
                  <a:gd name="connsiteY71" fmla="*/ 510 h 1085"/>
                  <a:gd name="connsiteX72" fmla="*/ 2928 w 5810"/>
                  <a:gd name="connsiteY72" fmla="*/ 452 h 1085"/>
                  <a:gd name="connsiteX73" fmla="*/ 2891 w 5810"/>
                  <a:gd name="connsiteY73" fmla="*/ 396 h 1085"/>
                  <a:gd name="connsiteX74" fmla="*/ 2854 w 5810"/>
                  <a:gd name="connsiteY74" fmla="*/ 342 h 1085"/>
                  <a:gd name="connsiteX75" fmla="*/ 2814 w 5810"/>
                  <a:gd name="connsiteY75" fmla="*/ 292 h 1085"/>
                  <a:gd name="connsiteX76" fmla="*/ 2773 w 5810"/>
                  <a:gd name="connsiteY76" fmla="*/ 247 h 1085"/>
                  <a:gd name="connsiteX77" fmla="*/ 2732 w 5810"/>
                  <a:gd name="connsiteY77" fmla="*/ 205 h 1085"/>
                  <a:gd name="connsiteX78" fmla="*/ 2686 w 5810"/>
                  <a:gd name="connsiteY78" fmla="*/ 168 h 1085"/>
                  <a:gd name="connsiteX79" fmla="*/ 2639 w 5810"/>
                  <a:gd name="connsiteY79" fmla="*/ 139 h 1085"/>
                  <a:gd name="connsiteX80" fmla="*/ 2587 w 5810"/>
                  <a:gd name="connsiteY80" fmla="*/ 116 h 1085"/>
                  <a:gd name="connsiteX81" fmla="*/ 2532 w 5810"/>
                  <a:gd name="connsiteY81" fmla="*/ 100 h 1085"/>
                  <a:gd name="connsiteX82" fmla="*/ 2474 w 5810"/>
                  <a:gd name="connsiteY82" fmla="*/ 91 h 1085"/>
                  <a:gd name="connsiteX83" fmla="*/ 2410 w 5810"/>
                  <a:gd name="connsiteY83" fmla="*/ 93 h 1085"/>
                  <a:gd name="connsiteX84" fmla="*/ 2342 w 5810"/>
                  <a:gd name="connsiteY84" fmla="*/ 104 h 1085"/>
                  <a:gd name="connsiteX85" fmla="*/ 2280 w 5810"/>
                  <a:gd name="connsiteY85" fmla="*/ 122 h 1085"/>
                  <a:gd name="connsiteX86" fmla="*/ 2222 w 5810"/>
                  <a:gd name="connsiteY86" fmla="*/ 147 h 1085"/>
                  <a:gd name="connsiteX87" fmla="*/ 2168 w 5810"/>
                  <a:gd name="connsiteY87" fmla="*/ 180 h 1085"/>
                  <a:gd name="connsiteX88" fmla="*/ 2117 w 5810"/>
                  <a:gd name="connsiteY88" fmla="*/ 218 h 1085"/>
                  <a:gd name="connsiteX89" fmla="*/ 2071 w 5810"/>
                  <a:gd name="connsiteY89" fmla="*/ 261 h 1085"/>
                  <a:gd name="connsiteX90" fmla="*/ 2026 w 5810"/>
                  <a:gd name="connsiteY90" fmla="*/ 307 h 1085"/>
                  <a:gd name="connsiteX91" fmla="*/ 1984 w 5810"/>
                  <a:gd name="connsiteY91" fmla="*/ 359 h 1085"/>
                  <a:gd name="connsiteX92" fmla="*/ 1945 w 5810"/>
                  <a:gd name="connsiteY92" fmla="*/ 413 h 1085"/>
                  <a:gd name="connsiteX93" fmla="*/ 1908 w 5810"/>
                  <a:gd name="connsiteY93" fmla="*/ 467 h 1085"/>
                  <a:gd name="connsiteX94" fmla="*/ 1871 w 5810"/>
                  <a:gd name="connsiteY94" fmla="*/ 523 h 1085"/>
                  <a:gd name="connsiteX95" fmla="*/ 1834 w 5810"/>
                  <a:gd name="connsiteY95" fmla="*/ 581 h 1085"/>
                  <a:gd name="connsiteX96" fmla="*/ 1799 w 5810"/>
                  <a:gd name="connsiteY96" fmla="*/ 637 h 1085"/>
                  <a:gd name="connsiteX97" fmla="*/ 1724 w 5810"/>
                  <a:gd name="connsiteY97" fmla="*/ 749 h 1085"/>
                  <a:gd name="connsiteX98" fmla="*/ 1685 w 5810"/>
                  <a:gd name="connsiteY98" fmla="*/ 801 h 1085"/>
                  <a:gd name="connsiteX99" fmla="*/ 1644 w 5810"/>
                  <a:gd name="connsiteY99" fmla="*/ 850 h 1085"/>
                  <a:gd name="connsiteX100" fmla="*/ 1600 w 5810"/>
                  <a:gd name="connsiteY100" fmla="*/ 896 h 1085"/>
                  <a:gd name="connsiteX101" fmla="*/ 1553 w 5810"/>
                  <a:gd name="connsiteY101" fmla="*/ 937 h 1085"/>
                  <a:gd name="connsiteX102" fmla="*/ 1503 w 5810"/>
                  <a:gd name="connsiteY102" fmla="*/ 973 h 1085"/>
                  <a:gd name="connsiteX103" fmla="*/ 1450 w 5810"/>
                  <a:gd name="connsiteY103" fmla="*/ 1002 h 1085"/>
                  <a:gd name="connsiteX104" fmla="*/ 1394 w 5810"/>
                  <a:gd name="connsiteY104" fmla="*/ 1025 h 1085"/>
                  <a:gd name="connsiteX105" fmla="*/ 1330 w 5810"/>
                  <a:gd name="connsiteY105" fmla="*/ 1037 h 1085"/>
                  <a:gd name="connsiteX106" fmla="*/ 1264 w 5810"/>
                  <a:gd name="connsiteY106" fmla="*/ 1043 h 1085"/>
                  <a:gd name="connsiteX107" fmla="*/ 1258 w 5810"/>
                  <a:gd name="connsiteY107" fmla="*/ 1043 h 1085"/>
                  <a:gd name="connsiteX108" fmla="*/ 1190 w 5810"/>
                  <a:gd name="connsiteY108" fmla="*/ 1039 h 1085"/>
                  <a:gd name="connsiteX109" fmla="*/ 1128 w 5810"/>
                  <a:gd name="connsiteY109" fmla="*/ 1027 h 1085"/>
                  <a:gd name="connsiteX110" fmla="*/ 1070 w 5810"/>
                  <a:gd name="connsiteY110" fmla="*/ 1008 h 1085"/>
                  <a:gd name="connsiteX111" fmla="*/ 1018 w 5810"/>
                  <a:gd name="connsiteY111" fmla="*/ 983 h 1085"/>
                  <a:gd name="connsiteX112" fmla="*/ 971 w 5810"/>
                  <a:gd name="connsiteY112" fmla="*/ 952 h 1085"/>
                  <a:gd name="connsiteX113" fmla="*/ 925 w 5810"/>
                  <a:gd name="connsiteY113" fmla="*/ 915 h 1085"/>
                  <a:gd name="connsiteX114" fmla="*/ 884 w 5810"/>
                  <a:gd name="connsiteY114" fmla="*/ 873 h 1085"/>
                  <a:gd name="connsiteX115" fmla="*/ 847 w 5810"/>
                  <a:gd name="connsiteY115" fmla="*/ 828 h 1085"/>
                  <a:gd name="connsiteX116" fmla="*/ 810 w 5810"/>
                  <a:gd name="connsiteY116" fmla="*/ 780 h 1085"/>
                  <a:gd name="connsiteX117" fmla="*/ 777 w 5810"/>
                  <a:gd name="connsiteY117" fmla="*/ 728 h 1085"/>
                  <a:gd name="connsiteX118" fmla="*/ 742 w 5810"/>
                  <a:gd name="connsiteY118" fmla="*/ 674 h 1085"/>
                  <a:gd name="connsiteX119" fmla="*/ 711 w 5810"/>
                  <a:gd name="connsiteY119" fmla="*/ 618 h 1085"/>
                  <a:gd name="connsiteX120" fmla="*/ 678 w 5810"/>
                  <a:gd name="connsiteY120" fmla="*/ 560 h 1085"/>
                  <a:gd name="connsiteX121" fmla="*/ 616 w 5810"/>
                  <a:gd name="connsiteY121" fmla="*/ 448 h 1085"/>
                  <a:gd name="connsiteX122" fmla="*/ 547 w 5810"/>
                  <a:gd name="connsiteY122" fmla="*/ 340 h 1085"/>
                  <a:gd name="connsiteX123" fmla="*/ 504 w 5810"/>
                  <a:gd name="connsiteY123" fmla="*/ 284 h 1085"/>
                  <a:gd name="connsiteX124" fmla="*/ 457 w 5810"/>
                  <a:gd name="connsiteY124" fmla="*/ 239 h 1085"/>
                  <a:gd name="connsiteX125" fmla="*/ 409 w 5810"/>
                  <a:gd name="connsiteY125" fmla="*/ 199 h 1085"/>
                  <a:gd name="connsiteX126" fmla="*/ 358 w 5810"/>
                  <a:gd name="connsiteY126" fmla="*/ 168 h 1085"/>
                  <a:gd name="connsiteX127" fmla="*/ 308 w 5810"/>
                  <a:gd name="connsiteY127" fmla="*/ 145 h 1085"/>
                  <a:gd name="connsiteX128" fmla="*/ 256 w 5810"/>
                  <a:gd name="connsiteY128" fmla="*/ 127 h 1085"/>
                  <a:gd name="connsiteX129" fmla="*/ 209 w 5810"/>
                  <a:gd name="connsiteY129" fmla="*/ 112 h 1085"/>
                  <a:gd name="connsiteX130" fmla="*/ 163 w 5810"/>
                  <a:gd name="connsiteY130" fmla="*/ 104 h 1085"/>
                  <a:gd name="connsiteX131" fmla="*/ 122 w 5810"/>
                  <a:gd name="connsiteY131" fmla="*/ 100 h 1085"/>
                  <a:gd name="connsiteX132" fmla="*/ 85 w 5810"/>
                  <a:gd name="connsiteY132" fmla="*/ 95 h 1085"/>
                  <a:gd name="connsiteX133" fmla="*/ 31 w 5810"/>
                  <a:gd name="connsiteY133" fmla="*/ 95 h 1085"/>
                  <a:gd name="connsiteX134" fmla="*/ 17 w 5810"/>
                  <a:gd name="connsiteY134" fmla="*/ 98 h 1085"/>
                  <a:gd name="connsiteX135" fmla="*/ 11 w 5810"/>
                  <a:gd name="connsiteY135" fmla="*/ 98 h 1085"/>
                  <a:gd name="connsiteX136" fmla="*/ 0 w 5810"/>
                  <a:gd name="connsiteY136" fmla="*/ 13 h 1085"/>
                  <a:gd name="connsiteX137" fmla="*/ 9 w 5810"/>
                  <a:gd name="connsiteY137" fmla="*/ 13 h 1085"/>
                  <a:gd name="connsiteX138" fmla="*/ 29 w 5810"/>
                  <a:gd name="connsiteY138" fmla="*/ 10 h 1085"/>
                  <a:gd name="connsiteX139" fmla="*/ 91 w 5810"/>
                  <a:gd name="connsiteY139" fmla="*/ 10 h 1085"/>
                  <a:gd name="connsiteX140" fmla="*/ 135 w 5810"/>
                  <a:gd name="connsiteY140" fmla="*/ 13 h 1085"/>
                  <a:gd name="connsiteX141" fmla="*/ 182 w 5810"/>
                  <a:gd name="connsiteY141" fmla="*/ 19 h 1085"/>
                  <a:gd name="connsiteX142" fmla="*/ 234 w 5810"/>
                  <a:gd name="connsiteY142" fmla="*/ 29 h 1085"/>
                  <a:gd name="connsiteX143" fmla="*/ 287 w 5810"/>
                  <a:gd name="connsiteY143" fmla="*/ 46 h 1085"/>
                  <a:gd name="connsiteX144" fmla="*/ 345 w 5810"/>
                  <a:gd name="connsiteY144" fmla="*/ 66 h 1085"/>
                  <a:gd name="connsiteX145" fmla="*/ 403 w 5810"/>
                  <a:gd name="connsiteY145" fmla="*/ 93 h 1085"/>
                  <a:gd name="connsiteX146" fmla="*/ 459 w 5810"/>
                  <a:gd name="connsiteY146" fmla="*/ 131 h 1085"/>
                  <a:gd name="connsiteX147" fmla="*/ 514 w 5810"/>
                  <a:gd name="connsiteY147" fmla="*/ 174 h 1085"/>
                  <a:gd name="connsiteX148" fmla="*/ 568 w 5810"/>
                  <a:gd name="connsiteY148" fmla="*/ 228 h 1085"/>
                  <a:gd name="connsiteX149" fmla="*/ 618 w 5810"/>
                  <a:gd name="connsiteY149" fmla="*/ 292 h 1085"/>
                  <a:gd name="connsiteX150" fmla="*/ 667 w 5810"/>
                  <a:gd name="connsiteY150" fmla="*/ 367 h 1085"/>
                  <a:gd name="connsiteX151" fmla="*/ 754 w 5810"/>
                  <a:gd name="connsiteY151" fmla="*/ 516 h 1085"/>
                  <a:gd name="connsiteX152" fmla="*/ 787 w 5810"/>
                  <a:gd name="connsiteY152" fmla="*/ 575 h 1085"/>
                  <a:gd name="connsiteX153" fmla="*/ 820 w 5810"/>
                  <a:gd name="connsiteY153" fmla="*/ 631 h 1085"/>
                  <a:gd name="connsiteX154" fmla="*/ 853 w 5810"/>
                  <a:gd name="connsiteY154" fmla="*/ 684 h 1085"/>
                  <a:gd name="connsiteX155" fmla="*/ 886 w 5810"/>
                  <a:gd name="connsiteY155" fmla="*/ 736 h 1085"/>
                  <a:gd name="connsiteX156" fmla="*/ 921 w 5810"/>
                  <a:gd name="connsiteY156" fmla="*/ 782 h 1085"/>
                  <a:gd name="connsiteX157" fmla="*/ 958 w 5810"/>
                  <a:gd name="connsiteY157" fmla="*/ 825 h 1085"/>
                  <a:gd name="connsiteX158" fmla="*/ 1000 w 5810"/>
                  <a:gd name="connsiteY158" fmla="*/ 863 h 1085"/>
                  <a:gd name="connsiteX159" fmla="*/ 1043 w 5810"/>
                  <a:gd name="connsiteY159" fmla="*/ 894 h 1085"/>
                  <a:gd name="connsiteX160" fmla="*/ 1090 w 5810"/>
                  <a:gd name="connsiteY160" fmla="*/ 921 h 1085"/>
                  <a:gd name="connsiteX161" fmla="*/ 1140 w 5810"/>
                  <a:gd name="connsiteY161" fmla="*/ 939 h 1085"/>
                  <a:gd name="connsiteX162" fmla="*/ 1196 w 5810"/>
                  <a:gd name="connsiteY162" fmla="*/ 952 h 1085"/>
                  <a:gd name="connsiteX163" fmla="*/ 1258 w 5810"/>
                  <a:gd name="connsiteY163" fmla="*/ 956 h 1085"/>
                  <a:gd name="connsiteX164" fmla="*/ 1264 w 5810"/>
                  <a:gd name="connsiteY164" fmla="*/ 956 h 1085"/>
                  <a:gd name="connsiteX165" fmla="*/ 1324 w 5810"/>
                  <a:gd name="connsiteY165" fmla="*/ 950 h 1085"/>
                  <a:gd name="connsiteX166" fmla="*/ 1380 w 5810"/>
                  <a:gd name="connsiteY166" fmla="*/ 935 h 1085"/>
                  <a:gd name="connsiteX167" fmla="*/ 1433 w 5810"/>
                  <a:gd name="connsiteY167" fmla="*/ 913 h 1085"/>
                  <a:gd name="connsiteX168" fmla="*/ 1481 w 5810"/>
                  <a:gd name="connsiteY168" fmla="*/ 884 h 1085"/>
                  <a:gd name="connsiteX169" fmla="*/ 1526 w 5810"/>
                  <a:gd name="connsiteY169" fmla="*/ 846 h 1085"/>
                  <a:gd name="connsiteX170" fmla="*/ 1569 w 5810"/>
                  <a:gd name="connsiteY170" fmla="*/ 803 h 1085"/>
                  <a:gd name="connsiteX171" fmla="*/ 1609 w 5810"/>
                  <a:gd name="connsiteY171" fmla="*/ 755 h 1085"/>
                  <a:gd name="connsiteX172" fmla="*/ 1648 w 5810"/>
                  <a:gd name="connsiteY172" fmla="*/ 703 h 1085"/>
                  <a:gd name="connsiteX173" fmla="*/ 1687 w 5810"/>
                  <a:gd name="connsiteY173" fmla="*/ 649 h 1085"/>
                  <a:gd name="connsiteX174" fmla="*/ 1799 w 5810"/>
                  <a:gd name="connsiteY174" fmla="*/ 475 h 1085"/>
                  <a:gd name="connsiteX175" fmla="*/ 1838 w 5810"/>
                  <a:gd name="connsiteY175" fmla="*/ 415 h 1085"/>
                  <a:gd name="connsiteX176" fmla="*/ 1879 w 5810"/>
                  <a:gd name="connsiteY176" fmla="*/ 357 h 1085"/>
                  <a:gd name="connsiteX177" fmla="*/ 1923 w 5810"/>
                  <a:gd name="connsiteY177" fmla="*/ 299 h 1085"/>
                  <a:gd name="connsiteX178" fmla="*/ 1968 w 5810"/>
                  <a:gd name="connsiteY178" fmla="*/ 245 h 1085"/>
                  <a:gd name="connsiteX179" fmla="*/ 2015 w 5810"/>
                  <a:gd name="connsiteY179" fmla="*/ 193 h 1085"/>
                  <a:gd name="connsiteX180" fmla="*/ 2069 w 5810"/>
                  <a:gd name="connsiteY180" fmla="*/ 145 h 1085"/>
                  <a:gd name="connsiteX181" fmla="*/ 2125 w 5810"/>
                  <a:gd name="connsiteY181" fmla="*/ 104 h 1085"/>
                  <a:gd name="connsiteX182" fmla="*/ 2187 w 5810"/>
                  <a:gd name="connsiteY182" fmla="*/ 69 h 1085"/>
                  <a:gd name="connsiteX183" fmla="*/ 2253 w 5810"/>
                  <a:gd name="connsiteY183" fmla="*/ 39 h 1085"/>
                  <a:gd name="connsiteX184" fmla="*/ 2325 w 5810"/>
                  <a:gd name="connsiteY184" fmla="*/ 19 h 1085"/>
                  <a:gd name="connsiteX185" fmla="*/ 2404 w 5810"/>
                  <a:gd name="connsiteY185" fmla="*/ 6 h 1085"/>
                  <a:gd name="connsiteX186" fmla="*/ 2474 w 5810"/>
                  <a:gd name="connsiteY186" fmla="*/ 4 h 1085"/>
                  <a:gd name="connsiteX187" fmla="*/ 2540 w 5810"/>
                  <a:gd name="connsiteY187" fmla="*/ 13 h 1085"/>
                  <a:gd name="connsiteX188" fmla="*/ 2600 w 5810"/>
                  <a:gd name="connsiteY188" fmla="*/ 27 h 1085"/>
                  <a:gd name="connsiteX189" fmla="*/ 2658 w 5810"/>
                  <a:gd name="connsiteY189" fmla="*/ 50 h 1085"/>
                  <a:gd name="connsiteX190" fmla="*/ 2711 w 5810"/>
                  <a:gd name="connsiteY190" fmla="*/ 81 h 1085"/>
                  <a:gd name="connsiteX191" fmla="*/ 2761 w 5810"/>
                  <a:gd name="connsiteY191" fmla="*/ 116 h 1085"/>
                  <a:gd name="connsiteX192" fmla="*/ 2806 w 5810"/>
                  <a:gd name="connsiteY192" fmla="*/ 158 h 1085"/>
                  <a:gd name="connsiteX193" fmla="*/ 2852 w 5810"/>
                  <a:gd name="connsiteY193" fmla="*/ 203 h 1085"/>
                  <a:gd name="connsiteX194" fmla="*/ 2893 w 5810"/>
                  <a:gd name="connsiteY194" fmla="*/ 251 h 1085"/>
                  <a:gd name="connsiteX195" fmla="*/ 2932 w 5810"/>
                  <a:gd name="connsiteY195" fmla="*/ 303 h 1085"/>
                  <a:gd name="connsiteX196" fmla="*/ 2969 w 5810"/>
                  <a:gd name="connsiteY196" fmla="*/ 357 h 1085"/>
                  <a:gd name="connsiteX197" fmla="*/ 3004 w 5810"/>
                  <a:gd name="connsiteY197" fmla="*/ 413 h 1085"/>
                  <a:gd name="connsiteX198" fmla="*/ 3039 w 5810"/>
                  <a:gd name="connsiteY198" fmla="*/ 467 h 1085"/>
                  <a:gd name="connsiteX199" fmla="*/ 3073 w 5810"/>
                  <a:gd name="connsiteY199" fmla="*/ 523 h 1085"/>
                  <a:gd name="connsiteX200" fmla="*/ 3110 w 5810"/>
                  <a:gd name="connsiteY200" fmla="*/ 585 h 1085"/>
                  <a:gd name="connsiteX201" fmla="*/ 3147 w 5810"/>
                  <a:gd name="connsiteY201" fmla="*/ 643 h 1085"/>
                  <a:gd name="connsiteX202" fmla="*/ 3186 w 5810"/>
                  <a:gd name="connsiteY202" fmla="*/ 701 h 1085"/>
                  <a:gd name="connsiteX203" fmla="*/ 3223 w 5810"/>
                  <a:gd name="connsiteY203" fmla="*/ 755 h 1085"/>
                  <a:gd name="connsiteX204" fmla="*/ 3265 w 5810"/>
                  <a:gd name="connsiteY204" fmla="*/ 805 h 1085"/>
                  <a:gd name="connsiteX205" fmla="*/ 3306 w 5810"/>
                  <a:gd name="connsiteY205" fmla="*/ 848 h 1085"/>
                  <a:gd name="connsiteX206" fmla="*/ 3349 w 5810"/>
                  <a:gd name="connsiteY206" fmla="*/ 886 h 1085"/>
                  <a:gd name="connsiteX207" fmla="*/ 3395 w 5810"/>
                  <a:gd name="connsiteY207" fmla="*/ 917 h 1085"/>
                  <a:gd name="connsiteX208" fmla="*/ 3444 w 5810"/>
                  <a:gd name="connsiteY208" fmla="*/ 939 h 1085"/>
                  <a:gd name="connsiteX209" fmla="*/ 3498 w 5810"/>
                  <a:gd name="connsiteY209" fmla="*/ 952 h 1085"/>
                  <a:gd name="connsiteX210" fmla="*/ 3554 w 5810"/>
                  <a:gd name="connsiteY210" fmla="*/ 956 h 1085"/>
                  <a:gd name="connsiteX211" fmla="*/ 3609 w 5810"/>
                  <a:gd name="connsiteY211" fmla="*/ 950 h 1085"/>
                  <a:gd name="connsiteX212" fmla="*/ 3659 w 5810"/>
                  <a:gd name="connsiteY212" fmla="*/ 935 h 1085"/>
                  <a:gd name="connsiteX213" fmla="*/ 3706 w 5810"/>
                  <a:gd name="connsiteY213" fmla="*/ 915 h 1085"/>
                  <a:gd name="connsiteX214" fmla="*/ 3750 w 5810"/>
                  <a:gd name="connsiteY214" fmla="*/ 884 h 1085"/>
                  <a:gd name="connsiteX215" fmla="*/ 3789 w 5810"/>
                  <a:gd name="connsiteY215" fmla="*/ 848 h 1085"/>
                  <a:gd name="connsiteX216" fmla="*/ 3826 w 5810"/>
                  <a:gd name="connsiteY216" fmla="*/ 807 h 1085"/>
                  <a:gd name="connsiteX217" fmla="*/ 3861 w 5810"/>
                  <a:gd name="connsiteY217" fmla="*/ 759 h 1085"/>
                  <a:gd name="connsiteX218" fmla="*/ 3894 w 5810"/>
                  <a:gd name="connsiteY218" fmla="*/ 709 h 1085"/>
                  <a:gd name="connsiteX219" fmla="*/ 3927 w 5810"/>
                  <a:gd name="connsiteY219" fmla="*/ 655 h 1085"/>
                  <a:gd name="connsiteX220" fmla="*/ 3960 w 5810"/>
                  <a:gd name="connsiteY220" fmla="*/ 597 h 1085"/>
                  <a:gd name="connsiteX221" fmla="*/ 3993 w 5810"/>
                  <a:gd name="connsiteY221" fmla="*/ 537 h 1085"/>
                  <a:gd name="connsiteX222" fmla="*/ 4022 w 5810"/>
                  <a:gd name="connsiteY222" fmla="*/ 483 h 1085"/>
                  <a:gd name="connsiteX223" fmla="*/ 4084 w 5810"/>
                  <a:gd name="connsiteY223" fmla="*/ 375 h 1085"/>
                  <a:gd name="connsiteX224" fmla="*/ 4154 w 5810"/>
                  <a:gd name="connsiteY224" fmla="*/ 272 h 1085"/>
                  <a:gd name="connsiteX225" fmla="*/ 4192 w 5810"/>
                  <a:gd name="connsiteY225" fmla="*/ 224 h 1085"/>
                  <a:gd name="connsiteX226" fmla="*/ 4233 w 5810"/>
                  <a:gd name="connsiteY226" fmla="*/ 178 h 1085"/>
                  <a:gd name="connsiteX227" fmla="*/ 4276 w 5810"/>
                  <a:gd name="connsiteY227" fmla="*/ 137 h 1085"/>
                  <a:gd name="connsiteX228" fmla="*/ 4324 w 5810"/>
                  <a:gd name="connsiteY228" fmla="*/ 100 h 1085"/>
                  <a:gd name="connsiteX229" fmla="*/ 4375 w 5810"/>
                  <a:gd name="connsiteY229" fmla="*/ 66 h 1085"/>
                  <a:gd name="connsiteX230" fmla="*/ 4433 w 5810"/>
                  <a:gd name="connsiteY230" fmla="*/ 39 h 1085"/>
                  <a:gd name="connsiteX231" fmla="*/ 4493 w 5810"/>
                  <a:gd name="connsiteY231" fmla="*/ 19 h 1085"/>
                  <a:gd name="connsiteX232" fmla="*/ 4559 w 5810"/>
                  <a:gd name="connsiteY232" fmla="*/ 6 h 1085"/>
                  <a:gd name="connsiteX233" fmla="*/ 4631 w 5810"/>
                  <a:gd name="connsiteY233" fmla="*/ 0 h 1085"/>
                  <a:gd name="connsiteX0" fmla="*/ 4631 w 5810"/>
                  <a:gd name="connsiteY0" fmla="*/ 0 h 1085"/>
                  <a:gd name="connsiteX1" fmla="*/ 4681 w 5810"/>
                  <a:gd name="connsiteY1" fmla="*/ 0 h 1085"/>
                  <a:gd name="connsiteX2" fmla="*/ 4710 w 5810"/>
                  <a:gd name="connsiteY2" fmla="*/ 4 h 1085"/>
                  <a:gd name="connsiteX3" fmla="*/ 4741 w 5810"/>
                  <a:gd name="connsiteY3" fmla="*/ 13 h 1085"/>
                  <a:gd name="connsiteX4" fmla="*/ 4778 w 5810"/>
                  <a:gd name="connsiteY4" fmla="*/ 23 h 1085"/>
                  <a:gd name="connsiteX5" fmla="*/ 4819 w 5810"/>
                  <a:gd name="connsiteY5" fmla="*/ 39 h 1085"/>
                  <a:gd name="connsiteX6" fmla="*/ 4863 w 5810"/>
                  <a:gd name="connsiteY6" fmla="*/ 60 h 1085"/>
                  <a:gd name="connsiteX7" fmla="*/ 4910 w 5810"/>
                  <a:gd name="connsiteY7" fmla="*/ 89 h 1085"/>
                  <a:gd name="connsiteX8" fmla="*/ 4960 w 5810"/>
                  <a:gd name="connsiteY8" fmla="*/ 124 h 1085"/>
                  <a:gd name="connsiteX9" fmla="*/ 5009 w 5810"/>
                  <a:gd name="connsiteY9" fmla="*/ 170 h 1085"/>
                  <a:gd name="connsiteX10" fmla="*/ 5061 w 5810"/>
                  <a:gd name="connsiteY10" fmla="*/ 224 h 1085"/>
                  <a:gd name="connsiteX11" fmla="*/ 5112 w 5810"/>
                  <a:gd name="connsiteY11" fmla="*/ 286 h 1085"/>
                  <a:gd name="connsiteX12" fmla="*/ 5313 w 5810"/>
                  <a:gd name="connsiteY12" fmla="*/ 633 h 1085"/>
                  <a:gd name="connsiteX13" fmla="*/ 5408 w 5810"/>
                  <a:gd name="connsiteY13" fmla="*/ 769 h 1085"/>
                  <a:gd name="connsiteX14" fmla="*/ 5637 w 5810"/>
                  <a:gd name="connsiteY14" fmla="*/ 948 h 1085"/>
                  <a:gd name="connsiteX15" fmla="*/ 5676 w 5810"/>
                  <a:gd name="connsiteY15" fmla="*/ 962 h 1085"/>
                  <a:gd name="connsiteX16" fmla="*/ 5711 w 5810"/>
                  <a:gd name="connsiteY16" fmla="*/ 973 h 1085"/>
                  <a:gd name="connsiteX17" fmla="*/ 5742 w 5810"/>
                  <a:gd name="connsiteY17" fmla="*/ 981 h 1085"/>
                  <a:gd name="connsiteX18" fmla="*/ 5767 w 5810"/>
                  <a:gd name="connsiteY18" fmla="*/ 983 h 1085"/>
                  <a:gd name="connsiteX19" fmla="*/ 5785 w 5810"/>
                  <a:gd name="connsiteY19" fmla="*/ 985 h 1085"/>
                  <a:gd name="connsiteX20" fmla="*/ 5802 w 5810"/>
                  <a:gd name="connsiteY20" fmla="*/ 985 h 1085"/>
                  <a:gd name="connsiteX21" fmla="*/ 5810 w 5810"/>
                  <a:gd name="connsiteY21" fmla="*/ 1072 h 1085"/>
                  <a:gd name="connsiteX22" fmla="*/ 5717 w 5810"/>
                  <a:gd name="connsiteY22" fmla="*/ 1064 h 1085"/>
                  <a:gd name="connsiteX23" fmla="*/ 5639 w 5810"/>
                  <a:gd name="connsiteY23" fmla="*/ 1043 h 1085"/>
                  <a:gd name="connsiteX24" fmla="*/ 5546 w 5810"/>
                  <a:gd name="connsiteY24" fmla="*/ 1002 h 1085"/>
                  <a:gd name="connsiteX25" fmla="*/ 5496 w 5810"/>
                  <a:gd name="connsiteY25" fmla="*/ 971 h 1085"/>
                  <a:gd name="connsiteX26" fmla="*/ 5042 w 5810"/>
                  <a:gd name="connsiteY26" fmla="*/ 336 h 1085"/>
                  <a:gd name="connsiteX27" fmla="*/ 4993 w 5810"/>
                  <a:gd name="connsiteY27" fmla="*/ 276 h 1085"/>
                  <a:gd name="connsiteX28" fmla="*/ 4945 w 5810"/>
                  <a:gd name="connsiteY28" fmla="*/ 228 h 1085"/>
                  <a:gd name="connsiteX29" fmla="*/ 4900 w 5810"/>
                  <a:gd name="connsiteY29" fmla="*/ 189 h 1085"/>
                  <a:gd name="connsiteX30" fmla="*/ 4858 w 5810"/>
                  <a:gd name="connsiteY30" fmla="*/ 158 h 1085"/>
                  <a:gd name="connsiteX31" fmla="*/ 4819 w 5810"/>
                  <a:gd name="connsiteY31" fmla="*/ 135 h 1085"/>
                  <a:gd name="connsiteX32" fmla="*/ 4770 w 5810"/>
                  <a:gd name="connsiteY32" fmla="*/ 112 h 1085"/>
                  <a:gd name="connsiteX33" fmla="*/ 4726 w 5810"/>
                  <a:gd name="connsiteY33" fmla="*/ 98 h 1085"/>
                  <a:gd name="connsiteX34" fmla="*/ 4691 w 5810"/>
                  <a:gd name="connsiteY34" fmla="*/ 89 h 1085"/>
                  <a:gd name="connsiteX35" fmla="*/ 4662 w 5810"/>
                  <a:gd name="connsiteY35" fmla="*/ 87 h 1085"/>
                  <a:gd name="connsiteX36" fmla="*/ 4635 w 5810"/>
                  <a:gd name="connsiteY36" fmla="*/ 87 h 1085"/>
                  <a:gd name="connsiteX37" fmla="*/ 4569 w 5810"/>
                  <a:gd name="connsiteY37" fmla="*/ 93 h 1085"/>
                  <a:gd name="connsiteX38" fmla="*/ 4507 w 5810"/>
                  <a:gd name="connsiteY38" fmla="*/ 106 h 1085"/>
                  <a:gd name="connsiteX39" fmla="*/ 4452 w 5810"/>
                  <a:gd name="connsiteY39" fmla="*/ 127 h 1085"/>
                  <a:gd name="connsiteX40" fmla="*/ 4400 w 5810"/>
                  <a:gd name="connsiteY40" fmla="*/ 154 h 1085"/>
                  <a:gd name="connsiteX41" fmla="*/ 4353 w 5810"/>
                  <a:gd name="connsiteY41" fmla="*/ 187 h 1085"/>
                  <a:gd name="connsiteX42" fmla="*/ 4309 w 5810"/>
                  <a:gd name="connsiteY42" fmla="*/ 224 h 1085"/>
                  <a:gd name="connsiteX43" fmla="*/ 4270 w 5810"/>
                  <a:gd name="connsiteY43" fmla="*/ 268 h 1085"/>
                  <a:gd name="connsiteX44" fmla="*/ 4231 w 5810"/>
                  <a:gd name="connsiteY44" fmla="*/ 313 h 1085"/>
                  <a:gd name="connsiteX45" fmla="*/ 4196 w 5810"/>
                  <a:gd name="connsiteY45" fmla="*/ 363 h 1085"/>
                  <a:gd name="connsiteX46" fmla="*/ 4163 w 5810"/>
                  <a:gd name="connsiteY46" fmla="*/ 415 h 1085"/>
                  <a:gd name="connsiteX47" fmla="*/ 4101 w 5810"/>
                  <a:gd name="connsiteY47" fmla="*/ 523 h 1085"/>
                  <a:gd name="connsiteX48" fmla="*/ 4008 w 5810"/>
                  <a:gd name="connsiteY48" fmla="*/ 691 h 1085"/>
                  <a:gd name="connsiteX49" fmla="*/ 3975 w 5810"/>
                  <a:gd name="connsiteY49" fmla="*/ 747 h 1085"/>
                  <a:gd name="connsiteX50" fmla="*/ 3940 w 5810"/>
                  <a:gd name="connsiteY50" fmla="*/ 798 h 1085"/>
                  <a:gd name="connsiteX51" fmla="*/ 3905 w 5810"/>
                  <a:gd name="connsiteY51" fmla="*/ 848 h 1085"/>
                  <a:gd name="connsiteX52" fmla="*/ 3865 w 5810"/>
                  <a:gd name="connsiteY52" fmla="*/ 894 h 1085"/>
                  <a:gd name="connsiteX53" fmla="*/ 3824 w 5810"/>
                  <a:gd name="connsiteY53" fmla="*/ 935 h 1085"/>
                  <a:gd name="connsiteX54" fmla="*/ 3779 w 5810"/>
                  <a:gd name="connsiteY54" fmla="*/ 971 h 1085"/>
                  <a:gd name="connsiteX55" fmla="*/ 3729 w 5810"/>
                  <a:gd name="connsiteY55" fmla="*/ 1000 h 1085"/>
                  <a:gd name="connsiteX56" fmla="*/ 3677 w 5810"/>
                  <a:gd name="connsiteY56" fmla="*/ 1022 h 1085"/>
                  <a:gd name="connsiteX57" fmla="*/ 3620 w 5810"/>
                  <a:gd name="connsiteY57" fmla="*/ 1037 h 1085"/>
                  <a:gd name="connsiteX58" fmla="*/ 3556 w 5810"/>
                  <a:gd name="connsiteY58" fmla="*/ 1043 h 1085"/>
                  <a:gd name="connsiteX59" fmla="*/ 3547 w 5810"/>
                  <a:gd name="connsiteY59" fmla="*/ 1043 h 1085"/>
                  <a:gd name="connsiteX60" fmla="*/ 3485 w 5810"/>
                  <a:gd name="connsiteY60" fmla="*/ 1039 h 1085"/>
                  <a:gd name="connsiteX61" fmla="*/ 3426 w 5810"/>
                  <a:gd name="connsiteY61" fmla="*/ 1025 h 1085"/>
                  <a:gd name="connsiteX62" fmla="*/ 3372 w 5810"/>
                  <a:gd name="connsiteY62" fmla="*/ 1002 h 1085"/>
                  <a:gd name="connsiteX63" fmla="*/ 3320 w 5810"/>
                  <a:gd name="connsiteY63" fmla="*/ 973 h 1085"/>
                  <a:gd name="connsiteX64" fmla="*/ 3273 w 5810"/>
                  <a:gd name="connsiteY64" fmla="*/ 935 h 1085"/>
                  <a:gd name="connsiteX65" fmla="*/ 3229 w 5810"/>
                  <a:gd name="connsiteY65" fmla="*/ 894 h 1085"/>
                  <a:gd name="connsiteX66" fmla="*/ 3186 w 5810"/>
                  <a:gd name="connsiteY66" fmla="*/ 846 h 1085"/>
                  <a:gd name="connsiteX67" fmla="*/ 3147 w 5810"/>
                  <a:gd name="connsiteY67" fmla="*/ 796 h 1085"/>
                  <a:gd name="connsiteX68" fmla="*/ 3108 w 5810"/>
                  <a:gd name="connsiteY68" fmla="*/ 740 h 1085"/>
                  <a:gd name="connsiteX69" fmla="*/ 3070 w 5810"/>
                  <a:gd name="connsiteY69" fmla="*/ 684 h 1085"/>
                  <a:gd name="connsiteX70" fmla="*/ 2965 w 5810"/>
                  <a:gd name="connsiteY70" fmla="*/ 510 h 1085"/>
                  <a:gd name="connsiteX71" fmla="*/ 2928 w 5810"/>
                  <a:gd name="connsiteY71" fmla="*/ 452 h 1085"/>
                  <a:gd name="connsiteX72" fmla="*/ 2891 w 5810"/>
                  <a:gd name="connsiteY72" fmla="*/ 396 h 1085"/>
                  <a:gd name="connsiteX73" fmla="*/ 2854 w 5810"/>
                  <a:gd name="connsiteY73" fmla="*/ 342 h 1085"/>
                  <a:gd name="connsiteX74" fmla="*/ 2814 w 5810"/>
                  <a:gd name="connsiteY74" fmla="*/ 292 h 1085"/>
                  <a:gd name="connsiteX75" fmla="*/ 2773 w 5810"/>
                  <a:gd name="connsiteY75" fmla="*/ 247 h 1085"/>
                  <a:gd name="connsiteX76" fmla="*/ 2732 w 5810"/>
                  <a:gd name="connsiteY76" fmla="*/ 205 h 1085"/>
                  <a:gd name="connsiteX77" fmla="*/ 2686 w 5810"/>
                  <a:gd name="connsiteY77" fmla="*/ 168 h 1085"/>
                  <a:gd name="connsiteX78" fmla="*/ 2639 w 5810"/>
                  <a:gd name="connsiteY78" fmla="*/ 139 h 1085"/>
                  <a:gd name="connsiteX79" fmla="*/ 2587 w 5810"/>
                  <a:gd name="connsiteY79" fmla="*/ 116 h 1085"/>
                  <a:gd name="connsiteX80" fmla="*/ 2532 w 5810"/>
                  <a:gd name="connsiteY80" fmla="*/ 100 h 1085"/>
                  <a:gd name="connsiteX81" fmla="*/ 2474 w 5810"/>
                  <a:gd name="connsiteY81" fmla="*/ 91 h 1085"/>
                  <a:gd name="connsiteX82" fmla="*/ 2410 w 5810"/>
                  <a:gd name="connsiteY82" fmla="*/ 93 h 1085"/>
                  <a:gd name="connsiteX83" fmla="*/ 2342 w 5810"/>
                  <a:gd name="connsiteY83" fmla="*/ 104 h 1085"/>
                  <a:gd name="connsiteX84" fmla="*/ 2280 w 5810"/>
                  <a:gd name="connsiteY84" fmla="*/ 122 h 1085"/>
                  <a:gd name="connsiteX85" fmla="*/ 2222 w 5810"/>
                  <a:gd name="connsiteY85" fmla="*/ 147 h 1085"/>
                  <a:gd name="connsiteX86" fmla="*/ 2168 w 5810"/>
                  <a:gd name="connsiteY86" fmla="*/ 180 h 1085"/>
                  <a:gd name="connsiteX87" fmla="*/ 2117 w 5810"/>
                  <a:gd name="connsiteY87" fmla="*/ 218 h 1085"/>
                  <a:gd name="connsiteX88" fmla="*/ 2071 w 5810"/>
                  <a:gd name="connsiteY88" fmla="*/ 261 h 1085"/>
                  <a:gd name="connsiteX89" fmla="*/ 2026 w 5810"/>
                  <a:gd name="connsiteY89" fmla="*/ 307 h 1085"/>
                  <a:gd name="connsiteX90" fmla="*/ 1984 w 5810"/>
                  <a:gd name="connsiteY90" fmla="*/ 359 h 1085"/>
                  <a:gd name="connsiteX91" fmla="*/ 1945 w 5810"/>
                  <a:gd name="connsiteY91" fmla="*/ 413 h 1085"/>
                  <a:gd name="connsiteX92" fmla="*/ 1908 w 5810"/>
                  <a:gd name="connsiteY92" fmla="*/ 467 h 1085"/>
                  <a:gd name="connsiteX93" fmla="*/ 1871 w 5810"/>
                  <a:gd name="connsiteY93" fmla="*/ 523 h 1085"/>
                  <a:gd name="connsiteX94" fmla="*/ 1834 w 5810"/>
                  <a:gd name="connsiteY94" fmla="*/ 581 h 1085"/>
                  <a:gd name="connsiteX95" fmla="*/ 1799 w 5810"/>
                  <a:gd name="connsiteY95" fmla="*/ 637 h 1085"/>
                  <a:gd name="connsiteX96" fmla="*/ 1724 w 5810"/>
                  <a:gd name="connsiteY96" fmla="*/ 749 h 1085"/>
                  <a:gd name="connsiteX97" fmla="*/ 1685 w 5810"/>
                  <a:gd name="connsiteY97" fmla="*/ 801 h 1085"/>
                  <a:gd name="connsiteX98" fmla="*/ 1644 w 5810"/>
                  <a:gd name="connsiteY98" fmla="*/ 850 h 1085"/>
                  <a:gd name="connsiteX99" fmla="*/ 1600 w 5810"/>
                  <a:gd name="connsiteY99" fmla="*/ 896 h 1085"/>
                  <a:gd name="connsiteX100" fmla="*/ 1553 w 5810"/>
                  <a:gd name="connsiteY100" fmla="*/ 937 h 1085"/>
                  <a:gd name="connsiteX101" fmla="*/ 1503 w 5810"/>
                  <a:gd name="connsiteY101" fmla="*/ 973 h 1085"/>
                  <a:gd name="connsiteX102" fmla="*/ 1450 w 5810"/>
                  <a:gd name="connsiteY102" fmla="*/ 1002 h 1085"/>
                  <a:gd name="connsiteX103" fmla="*/ 1394 w 5810"/>
                  <a:gd name="connsiteY103" fmla="*/ 1025 h 1085"/>
                  <a:gd name="connsiteX104" fmla="*/ 1330 w 5810"/>
                  <a:gd name="connsiteY104" fmla="*/ 1037 h 1085"/>
                  <a:gd name="connsiteX105" fmla="*/ 1264 w 5810"/>
                  <a:gd name="connsiteY105" fmla="*/ 1043 h 1085"/>
                  <a:gd name="connsiteX106" fmla="*/ 1258 w 5810"/>
                  <a:gd name="connsiteY106" fmla="*/ 1043 h 1085"/>
                  <a:gd name="connsiteX107" fmla="*/ 1190 w 5810"/>
                  <a:gd name="connsiteY107" fmla="*/ 1039 h 1085"/>
                  <a:gd name="connsiteX108" fmla="*/ 1128 w 5810"/>
                  <a:gd name="connsiteY108" fmla="*/ 1027 h 1085"/>
                  <a:gd name="connsiteX109" fmla="*/ 1070 w 5810"/>
                  <a:gd name="connsiteY109" fmla="*/ 1008 h 1085"/>
                  <a:gd name="connsiteX110" fmla="*/ 1018 w 5810"/>
                  <a:gd name="connsiteY110" fmla="*/ 983 h 1085"/>
                  <a:gd name="connsiteX111" fmla="*/ 971 w 5810"/>
                  <a:gd name="connsiteY111" fmla="*/ 952 h 1085"/>
                  <a:gd name="connsiteX112" fmla="*/ 925 w 5810"/>
                  <a:gd name="connsiteY112" fmla="*/ 915 h 1085"/>
                  <a:gd name="connsiteX113" fmla="*/ 884 w 5810"/>
                  <a:gd name="connsiteY113" fmla="*/ 873 h 1085"/>
                  <a:gd name="connsiteX114" fmla="*/ 847 w 5810"/>
                  <a:gd name="connsiteY114" fmla="*/ 828 h 1085"/>
                  <a:gd name="connsiteX115" fmla="*/ 810 w 5810"/>
                  <a:gd name="connsiteY115" fmla="*/ 780 h 1085"/>
                  <a:gd name="connsiteX116" fmla="*/ 777 w 5810"/>
                  <a:gd name="connsiteY116" fmla="*/ 728 h 1085"/>
                  <a:gd name="connsiteX117" fmla="*/ 742 w 5810"/>
                  <a:gd name="connsiteY117" fmla="*/ 674 h 1085"/>
                  <a:gd name="connsiteX118" fmla="*/ 711 w 5810"/>
                  <a:gd name="connsiteY118" fmla="*/ 618 h 1085"/>
                  <a:gd name="connsiteX119" fmla="*/ 678 w 5810"/>
                  <a:gd name="connsiteY119" fmla="*/ 560 h 1085"/>
                  <a:gd name="connsiteX120" fmla="*/ 616 w 5810"/>
                  <a:gd name="connsiteY120" fmla="*/ 448 h 1085"/>
                  <a:gd name="connsiteX121" fmla="*/ 547 w 5810"/>
                  <a:gd name="connsiteY121" fmla="*/ 340 h 1085"/>
                  <a:gd name="connsiteX122" fmla="*/ 504 w 5810"/>
                  <a:gd name="connsiteY122" fmla="*/ 284 h 1085"/>
                  <a:gd name="connsiteX123" fmla="*/ 457 w 5810"/>
                  <a:gd name="connsiteY123" fmla="*/ 239 h 1085"/>
                  <a:gd name="connsiteX124" fmla="*/ 409 w 5810"/>
                  <a:gd name="connsiteY124" fmla="*/ 199 h 1085"/>
                  <a:gd name="connsiteX125" fmla="*/ 358 w 5810"/>
                  <a:gd name="connsiteY125" fmla="*/ 168 h 1085"/>
                  <a:gd name="connsiteX126" fmla="*/ 308 w 5810"/>
                  <a:gd name="connsiteY126" fmla="*/ 145 h 1085"/>
                  <a:gd name="connsiteX127" fmla="*/ 256 w 5810"/>
                  <a:gd name="connsiteY127" fmla="*/ 127 h 1085"/>
                  <a:gd name="connsiteX128" fmla="*/ 209 w 5810"/>
                  <a:gd name="connsiteY128" fmla="*/ 112 h 1085"/>
                  <a:gd name="connsiteX129" fmla="*/ 163 w 5810"/>
                  <a:gd name="connsiteY129" fmla="*/ 104 h 1085"/>
                  <a:gd name="connsiteX130" fmla="*/ 122 w 5810"/>
                  <a:gd name="connsiteY130" fmla="*/ 100 h 1085"/>
                  <a:gd name="connsiteX131" fmla="*/ 85 w 5810"/>
                  <a:gd name="connsiteY131" fmla="*/ 95 h 1085"/>
                  <a:gd name="connsiteX132" fmla="*/ 31 w 5810"/>
                  <a:gd name="connsiteY132" fmla="*/ 95 h 1085"/>
                  <a:gd name="connsiteX133" fmla="*/ 17 w 5810"/>
                  <a:gd name="connsiteY133" fmla="*/ 98 h 1085"/>
                  <a:gd name="connsiteX134" fmla="*/ 11 w 5810"/>
                  <a:gd name="connsiteY134" fmla="*/ 98 h 1085"/>
                  <a:gd name="connsiteX135" fmla="*/ 0 w 5810"/>
                  <a:gd name="connsiteY135" fmla="*/ 13 h 1085"/>
                  <a:gd name="connsiteX136" fmla="*/ 9 w 5810"/>
                  <a:gd name="connsiteY136" fmla="*/ 13 h 1085"/>
                  <a:gd name="connsiteX137" fmla="*/ 29 w 5810"/>
                  <a:gd name="connsiteY137" fmla="*/ 10 h 1085"/>
                  <a:gd name="connsiteX138" fmla="*/ 91 w 5810"/>
                  <a:gd name="connsiteY138" fmla="*/ 10 h 1085"/>
                  <a:gd name="connsiteX139" fmla="*/ 135 w 5810"/>
                  <a:gd name="connsiteY139" fmla="*/ 13 h 1085"/>
                  <a:gd name="connsiteX140" fmla="*/ 182 w 5810"/>
                  <a:gd name="connsiteY140" fmla="*/ 19 h 1085"/>
                  <a:gd name="connsiteX141" fmla="*/ 234 w 5810"/>
                  <a:gd name="connsiteY141" fmla="*/ 29 h 1085"/>
                  <a:gd name="connsiteX142" fmla="*/ 287 w 5810"/>
                  <a:gd name="connsiteY142" fmla="*/ 46 h 1085"/>
                  <a:gd name="connsiteX143" fmla="*/ 345 w 5810"/>
                  <a:gd name="connsiteY143" fmla="*/ 66 h 1085"/>
                  <a:gd name="connsiteX144" fmla="*/ 403 w 5810"/>
                  <a:gd name="connsiteY144" fmla="*/ 93 h 1085"/>
                  <a:gd name="connsiteX145" fmla="*/ 459 w 5810"/>
                  <a:gd name="connsiteY145" fmla="*/ 131 h 1085"/>
                  <a:gd name="connsiteX146" fmla="*/ 514 w 5810"/>
                  <a:gd name="connsiteY146" fmla="*/ 174 h 1085"/>
                  <a:gd name="connsiteX147" fmla="*/ 568 w 5810"/>
                  <a:gd name="connsiteY147" fmla="*/ 228 h 1085"/>
                  <a:gd name="connsiteX148" fmla="*/ 618 w 5810"/>
                  <a:gd name="connsiteY148" fmla="*/ 292 h 1085"/>
                  <a:gd name="connsiteX149" fmla="*/ 667 w 5810"/>
                  <a:gd name="connsiteY149" fmla="*/ 367 h 1085"/>
                  <a:gd name="connsiteX150" fmla="*/ 754 w 5810"/>
                  <a:gd name="connsiteY150" fmla="*/ 516 h 1085"/>
                  <a:gd name="connsiteX151" fmla="*/ 787 w 5810"/>
                  <a:gd name="connsiteY151" fmla="*/ 575 h 1085"/>
                  <a:gd name="connsiteX152" fmla="*/ 820 w 5810"/>
                  <a:gd name="connsiteY152" fmla="*/ 631 h 1085"/>
                  <a:gd name="connsiteX153" fmla="*/ 853 w 5810"/>
                  <a:gd name="connsiteY153" fmla="*/ 684 h 1085"/>
                  <a:gd name="connsiteX154" fmla="*/ 886 w 5810"/>
                  <a:gd name="connsiteY154" fmla="*/ 736 h 1085"/>
                  <a:gd name="connsiteX155" fmla="*/ 921 w 5810"/>
                  <a:gd name="connsiteY155" fmla="*/ 782 h 1085"/>
                  <a:gd name="connsiteX156" fmla="*/ 958 w 5810"/>
                  <a:gd name="connsiteY156" fmla="*/ 825 h 1085"/>
                  <a:gd name="connsiteX157" fmla="*/ 1000 w 5810"/>
                  <a:gd name="connsiteY157" fmla="*/ 863 h 1085"/>
                  <a:gd name="connsiteX158" fmla="*/ 1043 w 5810"/>
                  <a:gd name="connsiteY158" fmla="*/ 894 h 1085"/>
                  <a:gd name="connsiteX159" fmla="*/ 1090 w 5810"/>
                  <a:gd name="connsiteY159" fmla="*/ 921 h 1085"/>
                  <a:gd name="connsiteX160" fmla="*/ 1140 w 5810"/>
                  <a:gd name="connsiteY160" fmla="*/ 939 h 1085"/>
                  <a:gd name="connsiteX161" fmla="*/ 1196 w 5810"/>
                  <a:gd name="connsiteY161" fmla="*/ 952 h 1085"/>
                  <a:gd name="connsiteX162" fmla="*/ 1258 w 5810"/>
                  <a:gd name="connsiteY162" fmla="*/ 956 h 1085"/>
                  <a:gd name="connsiteX163" fmla="*/ 1264 w 5810"/>
                  <a:gd name="connsiteY163" fmla="*/ 956 h 1085"/>
                  <a:gd name="connsiteX164" fmla="*/ 1324 w 5810"/>
                  <a:gd name="connsiteY164" fmla="*/ 950 h 1085"/>
                  <a:gd name="connsiteX165" fmla="*/ 1380 w 5810"/>
                  <a:gd name="connsiteY165" fmla="*/ 935 h 1085"/>
                  <a:gd name="connsiteX166" fmla="*/ 1433 w 5810"/>
                  <a:gd name="connsiteY166" fmla="*/ 913 h 1085"/>
                  <a:gd name="connsiteX167" fmla="*/ 1481 w 5810"/>
                  <a:gd name="connsiteY167" fmla="*/ 884 h 1085"/>
                  <a:gd name="connsiteX168" fmla="*/ 1526 w 5810"/>
                  <a:gd name="connsiteY168" fmla="*/ 846 h 1085"/>
                  <a:gd name="connsiteX169" fmla="*/ 1569 w 5810"/>
                  <a:gd name="connsiteY169" fmla="*/ 803 h 1085"/>
                  <a:gd name="connsiteX170" fmla="*/ 1609 w 5810"/>
                  <a:gd name="connsiteY170" fmla="*/ 755 h 1085"/>
                  <a:gd name="connsiteX171" fmla="*/ 1648 w 5810"/>
                  <a:gd name="connsiteY171" fmla="*/ 703 h 1085"/>
                  <a:gd name="connsiteX172" fmla="*/ 1687 w 5810"/>
                  <a:gd name="connsiteY172" fmla="*/ 649 h 1085"/>
                  <a:gd name="connsiteX173" fmla="*/ 1799 w 5810"/>
                  <a:gd name="connsiteY173" fmla="*/ 475 h 1085"/>
                  <a:gd name="connsiteX174" fmla="*/ 1838 w 5810"/>
                  <a:gd name="connsiteY174" fmla="*/ 415 h 1085"/>
                  <a:gd name="connsiteX175" fmla="*/ 1879 w 5810"/>
                  <a:gd name="connsiteY175" fmla="*/ 357 h 1085"/>
                  <a:gd name="connsiteX176" fmla="*/ 1923 w 5810"/>
                  <a:gd name="connsiteY176" fmla="*/ 299 h 1085"/>
                  <a:gd name="connsiteX177" fmla="*/ 1968 w 5810"/>
                  <a:gd name="connsiteY177" fmla="*/ 245 h 1085"/>
                  <a:gd name="connsiteX178" fmla="*/ 2015 w 5810"/>
                  <a:gd name="connsiteY178" fmla="*/ 193 h 1085"/>
                  <a:gd name="connsiteX179" fmla="*/ 2069 w 5810"/>
                  <a:gd name="connsiteY179" fmla="*/ 145 h 1085"/>
                  <a:gd name="connsiteX180" fmla="*/ 2125 w 5810"/>
                  <a:gd name="connsiteY180" fmla="*/ 104 h 1085"/>
                  <a:gd name="connsiteX181" fmla="*/ 2187 w 5810"/>
                  <a:gd name="connsiteY181" fmla="*/ 69 h 1085"/>
                  <a:gd name="connsiteX182" fmla="*/ 2253 w 5810"/>
                  <a:gd name="connsiteY182" fmla="*/ 39 h 1085"/>
                  <a:gd name="connsiteX183" fmla="*/ 2325 w 5810"/>
                  <a:gd name="connsiteY183" fmla="*/ 19 h 1085"/>
                  <a:gd name="connsiteX184" fmla="*/ 2404 w 5810"/>
                  <a:gd name="connsiteY184" fmla="*/ 6 h 1085"/>
                  <a:gd name="connsiteX185" fmla="*/ 2474 w 5810"/>
                  <a:gd name="connsiteY185" fmla="*/ 4 h 1085"/>
                  <a:gd name="connsiteX186" fmla="*/ 2540 w 5810"/>
                  <a:gd name="connsiteY186" fmla="*/ 13 h 1085"/>
                  <a:gd name="connsiteX187" fmla="*/ 2600 w 5810"/>
                  <a:gd name="connsiteY187" fmla="*/ 27 h 1085"/>
                  <a:gd name="connsiteX188" fmla="*/ 2658 w 5810"/>
                  <a:gd name="connsiteY188" fmla="*/ 50 h 1085"/>
                  <a:gd name="connsiteX189" fmla="*/ 2711 w 5810"/>
                  <a:gd name="connsiteY189" fmla="*/ 81 h 1085"/>
                  <a:gd name="connsiteX190" fmla="*/ 2761 w 5810"/>
                  <a:gd name="connsiteY190" fmla="*/ 116 h 1085"/>
                  <a:gd name="connsiteX191" fmla="*/ 2806 w 5810"/>
                  <a:gd name="connsiteY191" fmla="*/ 158 h 1085"/>
                  <a:gd name="connsiteX192" fmla="*/ 2852 w 5810"/>
                  <a:gd name="connsiteY192" fmla="*/ 203 h 1085"/>
                  <a:gd name="connsiteX193" fmla="*/ 2893 w 5810"/>
                  <a:gd name="connsiteY193" fmla="*/ 251 h 1085"/>
                  <a:gd name="connsiteX194" fmla="*/ 2932 w 5810"/>
                  <a:gd name="connsiteY194" fmla="*/ 303 h 1085"/>
                  <a:gd name="connsiteX195" fmla="*/ 2969 w 5810"/>
                  <a:gd name="connsiteY195" fmla="*/ 357 h 1085"/>
                  <a:gd name="connsiteX196" fmla="*/ 3004 w 5810"/>
                  <a:gd name="connsiteY196" fmla="*/ 413 h 1085"/>
                  <a:gd name="connsiteX197" fmla="*/ 3039 w 5810"/>
                  <a:gd name="connsiteY197" fmla="*/ 467 h 1085"/>
                  <a:gd name="connsiteX198" fmla="*/ 3073 w 5810"/>
                  <a:gd name="connsiteY198" fmla="*/ 523 h 1085"/>
                  <a:gd name="connsiteX199" fmla="*/ 3110 w 5810"/>
                  <a:gd name="connsiteY199" fmla="*/ 585 h 1085"/>
                  <a:gd name="connsiteX200" fmla="*/ 3147 w 5810"/>
                  <a:gd name="connsiteY200" fmla="*/ 643 h 1085"/>
                  <a:gd name="connsiteX201" fmla="*/ 3186 w 5810"/>
                  <a:gd name="connsiteY201" fmla="*/ 701 h 1085"/>
                  <a:gd name="connsiteX202" fmla="*/ 3223 w 5810"/>
                  <a:gd name="connsiteY202" fmla="*/ 755 h 1085"/>
                  <a:gd name="connsiteX203" fmla="*/ 3265 w 5810"/>
                  <a:gd name="connsiteY203" fmla="*/ 805 h 1085"/>
                  <a:gd name="connsiteX204" fmla="*/ 3306 w 5810"/>
                  <a:gd name="connsiteY204" fmla="*/ 848 h 1085"/>
                  <a:gd name="connsiteX205" fmla="*/ 3349 w 5810"/>
                  <a:gd name="connsiteY205" fmla="*/ 886 h 1085"/>
                  <a:gd name="connsiteX206" fmla="*/ 3395 w 5810"/>
                  <a:gd name="connsiteY206" fmla="*/ 917 h 1085"/>
                  <a:gd name="connsiteX207" fmla="*/ 3444 w 5810"/>
                  <a:gd name="connsiteY207" fmla="*/ 939 h 1085"/>
                  <a:gd name="connsiteX208" fmla="*/ 3498 w 5810"/>
                  <a:gd name="connsiteY208" fmla="*/ 952 h 1085"/>
                  <a:gd name="connsiteX209" fmla="*/ 3554 w 5810"/>
                  <a:gd name="connsiteY209" fmla="*/ 956 h 1085"/>
                  <a:gd name="connsiteX210" fmla="*/ 3609 w 5810"/>
                  <a:gd name="connsiteY210" fmla="*/ 950 h 1085"/>
                  <a:gd name="connsiteX211" fmla="*/ 3659 w 5810"/>
                  <a:gd name="connsiteY211" fmla="*/ 935 h 1085"/>
                  <a:gd name="connsiteX212" fmla="*/ 3706 w 5810"/>
                  <a:gd name="connsiteY212" fmla="*/ 915 h 1085"/>
                  <a:gd name="connsiteX213" fmla="*/ 3750 w 5810"/>
                  <a:gd name="connsiteY213" fmla="*/ 884 h 1085"/>
                  <a:gd name="connsiteX214" fmla="*/ 3789 w 5810"/>
                  <a:gd name="connsiteY214" fmla="*/ 848 h 1085"/>
                  <a:gd name="connsiteX215" fmla="*/ 3826 w 5810"/>
                  <a:gd name="connsiteY215" fmla="*/ 807 h 1085"/>
                  <a:gd name="connsiteX216" fmla="*/ 3861 w 5810"/>
                  <a:gd name="connsiteY216" fmla="*/ 759 h 1085"/>
                  <a:gd name="connsiteX217" fmla="*/ 3894 w 5810"/>
                  <a:gd name="connsiteY217" fmla="*/ 709 h 1085"/>
                  <a:gd name="connsiteX218" fmla="*/ 3927 w 5810"/>
                  <a:gd name="connsiteY218" fmla="*/ 655 h 1085"/>
                  <a:gd name="connsiteX219" fmla="*/ 3960 w 5810"/>
                  <a:gd name="connsiteY219" fmla="*/ 597 h 1085"/>
                  <a:gd name="connsiteX220" fmla="*/ 3993 w 5810"/>
                  <a:gd name="connsiteY220" fmla="*/ 537 h 1085"/>
                  <a:gd name="connsiteX221" fmla="*/ 4022 w 5810"/>
                  <a:gd name="connsiteY221" fmla="*/ 483 h 1085"/>
                  <a:gd name="connsiteX222" fmla="*/ 4084 w 5810"/>
                  <a:gd name="connsiteY222" fmla="*/ 375 h 1085"/>
                  <a:gd name="connsiteX223" fmla="*/ 4154 w 5810"/>
                  <a:gd name="connsiteY223" fmla="*/ 272 h 1085"/>
                  <a:gd name="connsiteX224" fmla="*/ 4192 w 5810"/>
                  <a:gd name="connsiteY224" fmla="*/ 224 h 1085"/>
                  <a:gd name="connsiteX225" fmla="*/ 4233 w 5810"/>
                  <a:gd name="connsiteY225" fmla="*/ 178 h 1085"/>
                  <a:gd name="connsiteX226" fmla="*/ 4276 w 5810"/>
                  <a:gd name="connsiteY226" fmla="*/ 137 h 1085"/>
                  <a:gd name="connsiteX227" fmla="*/ 4324 w 5810"/>
                  <a:gd name="connsiteY227" fmla="*/ 100 h 1085"/>
                  <a:gd name="connsiteX228" fmla="*/ 4375 w 5810"/>
                  <a:gd name="connsiteY228" fmla="*/ 66 h 1085"/>
                  <a:gd name="connsiteX229" fmla="*/ 4433 w 5810"/>
                  <a:gd name="connsiteY229" fmla="*/ 39 h 1085"/>
                  <a:gd name="connsiteX230" fmla="*/ 4493 w 5810"/>
                  <a:gd name="connsiteY230" fmla="*/ 19 h 1085"/>
                  <a:gd name="connsiteX231" fmla="*/ 4559 w 5810"/>
                  <a:gd name="connsiteY231" fmla="*/ 6 h 1085"/>
                  <a:gd name="connsiteX232" fmla="*/ 4631 w 5810"/>
                  <a:gd name="connsiteY232" fmla="*/ 0 h 1085"/>
                  <a:gd name="connsiteX0" fmla="*/ 4631 w 5810"/>
                  <a:gd name="connsiteY0" fmla="*/ 0 h 1085"/>
                  <a:gd name="connsiteX1" fmla="*/ 4681 w 5810"/>
                  <a:gd name="connsiteY1" fmla="*/ 0 h 1085"/>
                  <a:gd name="connsiteX2" fmla="*/ 4710 w 5810"/>
                  <a:gd name="connsiteY2" fmla="*/ 4 h 1085"/>
                  <a:gd name="connsiteX3" fmla="*/ 4741 w 5810"/>
                  <a:gd name="connsiteY3" fmla="*/ 13 h 1085"/>
                  <a:gd name="connsiteX4" fmla="*/ 4778 w 5810"/>
                  <a:gd name="connsiteY4" fmla="*/ 23 h 1085"/>
                  <a:gd name="connsiteX5" fmla="*/ 4819 w 5810"/>
                  <a:gd name="connsiteY5" fmla="*/ 39 h 1085"/>
                  <a:gd name="connsiteX6" fmla="*/ 4863 w 5810"/>
                  <a:gd name="connsiteY6" fmla="*/ 60 h 1085"/>
                  <a:gd name="connsiteX7" fmla="*/ 4910 w 5810"/>
                  <a:gd name="connsiteY7" fmla="*/ 89 h 1085"/>
                  <a:gd name="connsiteX8" fmla="*/ 4960 w 5810"/>
                  <a:gd name="connsiteY8" fmla="*/ 124 h 1085"/>
                  <a:gd name="connsiteX9" fmla="*/ 5009 w 5810"/>
                  <a:gd name="connsiteY9" fmla="*/ 170 h 1085"/>
                  <a:gd name="connsiteX10" fmla="*/ 5061 w 5810"/>
                  <a:gd name="connsiteY10" fmla="*/ 224 h 1085"/>
                  <a:gd name="connsiteX11" fmla="*/ 5112 w 5810"/>
                  <a:gd name="connsiteY11" fmla="*/ 286 h 1085"/>
                  <a:gd name="connsiteX12" fmla="*/ 5313 w 5810"/>
                  <a:gd name="connsiteY12" fmla="*/ 633 h 1085"/>
                  <a:gd name="connsiteX13" fmla="*/ 5408 w 5810"/>
                  <a:gd name="connsiteY13" fmla="*/ 769 h 1085"/>
                  <a:gd name="connsiteX14" fmla="*/ 5637 w 5810"/>
                  <a:gd name="connsiteY14" fmla="*/ 948 h 1085"/>
                  <a:gd name="connsiteX15" fmla="*/ 5711 w 5810"/>
                  <a:gd name="connsiteY15" fmla="*/ 973 h 1085"/>
                  <a:gd name="connsiteX16" fmla="*/ 5742 w 5810"/>
                  <a:gd name="connsiteY16" fmla="*/ 981 h 1085"/>
                  <a:gd name="connsiteX17" fmla="*/ 5767 w 5810"/>
                  <a:gd name="connsiteY17" fmla="*/ 983 h 1085"/>
                  <a:gd name="connsiteX18" fmla="*/ 5785 w 5810"/>
                  <a:gd name="connsiteY18" fmla="*/ 985 h 1085"/>
                  <a:gd name="connsiteX19" fmla="*/ 5802 w 5810"/>
                  <a:gd name="connsiteY19" fmla="*/ 985 h 1085"/>
                  <a:gd name="connsiteX20" fmla="*/ 5810 w 5810"/>
                  <a:gd name="connsiteY20" fmla="*/ 1072 h 1085"/>
                  <a:gd name="connsiteX21" fmla="*/ 5717 w 5810"/>
                  <a:gd name="connsiteY21" fmla="*/ 1064 h 1085"/>
                  <a:gd name="connsiteX22" fmla="*/ 5639 w 5810"/>
                  <a:gd name="connsiteY22" fmla="*/ 1043 h 1085"/>
                  <a:gd name="connsiteX23" fmla="*/ 5546 w 5810"/>
                  <a:gd name="connsiteY23" fmla="*/ 1002 h 1085"/>
                  <a:gd name="connsiteX24" fmla="*/ 5496 w 5810"/>
                  <a:gd name="connsiteY24" fmla="*/ 971 h 1085"/>
                  <a:gd name="connsiteX25" fmla="*/ 5042 w 5810"/>
                  <a:gd name="connsiteY25" fmla="*/ 336 h 1085"/>
                  <a:gd name="connsiteX26" fmla="*/ 4993 w 5810"/>
                  <a:gd name="connsiteY26" fmla="*/ 276 h 1085"/>
                  <a:gd name="connsiteX27" fmla="*/ 4945 w 5810"/>
                  <a:gd name="connsiteY27" fmla="*/ 228 h 1085"/>
                  <a:gd name="connsiteX28" fmla="*/ 4900 w 5810"/>
                  <a:gd name="connsiteY28" fmla="*/ 189 h 1085"/>
                  <a:gd name="connsiteX29" fmla="*/ 4858 w 5810"/>
                  <a:gd name="connsiteY29" fmla="*/ 158 h 1085"/>
                  <a:gd name="connsiteX30" fmla="*/ 4819 w 5810"/>
                  <a:gd name="connsiteY30" fmla="*/ 135 h 1085"/>
                  <a:gd name="connsiteX31" fmla="*/ 4770 w 5810"/>
                  <a:gd name="connsiteY31" fmla="*/ 112 h 1085"/>
                  <a:gd name="connsiteX32" fmla="*/ 4726 w 5810"/>
                  <a:gd name="connsiteY32" fmla="*/ 98 h 1085"/>
                  <a:gd name="connsiteX33" fmla="*/ 4691 w 5810"/>
                  <a:gd name="connsiteY33" fmla="*/ 89 h 1085"/>
                  <a:gd name="connsiteX34" fmla="*/ 4662 w 5810"/>
                  <a:gd name="connsiteY34" fmla="*/ 87 h 1085"/>
                  <a:gd name="connsiteX35" fmla="*/ 4635 w 5810"/>
                  <a:gd name="connsiteY35" fmla="*/ 87 h 1085"/>
                  <a:gd name="connsiteX36" fmla="*/ 4569 w 5810"/>
                  <a:gd name="connsiteY36" fmla="*/ 93 h 1085"/>
                  <a:gd name="connsiteX37" fmla="*/ 4507 w 5810"/>
                  <a:gd name="connsiteY37" fmla="*/ 106 h 1085"/>
                  <a:gd name="connsiteX38" fmla="*/ 4452 w 5810"/>
                  <a:gd name="connsiteY38" fmla="*/ 127 h 1085"/>
                  <a:gd name="connsiteX39" fmla="*/ 4400 w 5810"/>
                  <a:gd name="connsiteY39" fmla="*/ 154 h 1085"/>
                  <a:gd name="connsiteX40" fmla="*/ 4353 w 5810"/>
                  <a:gd name="connsiteY40" fmla="*/ 187 h 1085"/>
                  <a:gd name="connsiteX41" fmla="*/ 4309 w 5810"/>
                  <a:gd name="connsiteY41" fmla="*/ 224 h 1085"/>
                  <a:gd name="connsiteX42" fmla="*/ 4270 w 5810"/>
                  <a:gd name="connsiteY42" fmla="*/ 268 h 1085"/>
                  <a:gd name="connsiteX43" fmla="*/ 4231 w 5810"/>
                  <a:gd name="connsiteY43" fmla="*/ 313 h 1085"/>
                  <a:gd name="connsiteX44" fmla="*/ 4196 w 5810"/>
                  <a:gd name="connsiteY44" fmla="*/ 363 h 1085"/>
                  <a:gd name="connsiteX45" fmla="*/ 4163 w 5810"/>
                  <a:gd name="connsiteY45" fmla="*/ 415 h 1085"/>
                  <a:gd name="connsiteX46" fmla="*/ 4101 w 5810"/>
                  <a:gd name="connsiteY46" fmla="*/ 523 h 1085"/>
                  <a:gd name="connsiteX47" fmla="*/ 4008 w 5810"/>
                  <a:gd name="connsiteY47" fmla="*/ 691 h 1085"/>
                  <a:gd name="connsiteX48" fmla="*/ 3975 w 5810"/>
                  <a:gd name="connsiteY48" fmla="*/ 747 h 1085"/>
                  <a:gd name="connsiteX49" fmla="*/ 3940 w 5810"/>
                  <a:gd name="connsiteY49" fmla="*/ 798 h 1085"/>
                  <a:gd name="connsiteX50" fmla="*/ 3905 w 5810"/>
                  <a:gd name="connsiteY50" fmla="*/ 848 h 1085"/>
                  <a:gd name="connsiteX51" fmla="*/ 3865 w 5810"/>
                  <a:gd name="connsiteY51" fmla="*/ 894 h 1085"/>
                  <a:gd name="connsiteX52" fmla="*/ 3824 w 5810"/>
                  <a:gd name="connsiteY52" fmla="*/ 935 h 1085"/>
                  <a:gd name="connsiteX53" fmla="*/ 3779 w 5810"/>
                  <a:gd name="connsiteY53" fmla="*/ 971 h 1085"/>
                  <a:gd name="connsiteX54" fmla="*/ 3729 w 5810"/>
                  <a:gd name="connsiteY54" fmla="*/ 1000 h 1085"/>
                  <a:gd name="connsiteX55" fmla="*/ 3677 w 5810"/>
                  <a:gd name="connsiteY55" fmla="*/ 1022 h 1085"/>
                  <a:gd name="connsiteX56" fmla="*/ 3620 w 5810"/>
                  <a:gd name="connsiteY56" fmla="*/ 1037 h 1085"/>
                  <a:gd name="connsiteX57" fmla="*/ 3556 w 5810"/>
                  <a:gd name="connsiteY57" fmla="*/ 1043 h 1085"/>
                  <a:gd name="connsiteX58" fmla="*/ 3547 w 5810"/>
                  <a:gd name="connsiteY58" fmla="*/ 1043 h 1085"/>
                  <a:gd name="connsiteX59" fmla="*/ 3485 w 5810"/>
                  <a:gd name="connsiteY59" fmla="*/ 1039 h 1085"/>
                  <a:gd name="connsiteX60" fmla="*/ 3426 w 5810"/>
                  <a:gd name="connsiteY60" fmla="*/ 1025 h 1085"/>
                  <a:gd name="connsiteX61" fmla="*/ 3372 w 5810"/>
                  <a:gd name="connsiteY61" fmla="*/ 1002 h 1085"/>
                  <a:gd name="connsiteX62" fmla="*/ 3320 w 5810"/>
                  <a:gd name="connsiteY62" fmla="*/ 973 h 1085"/>
                  <a:gd name="connsiteX63" fmla="*/ 3273 w 5810"/>
                  <a:gd name="connsiteY63" fmla="*/ 935 h 1085"/>
                  <a:gd name="connsiteX64" fmla="*/ 3229 w 5810"/>
                  <a:gd name="connsiteY64" fmla="*/ 894 h 1085"/>
                  <a:gd name="connsiteX65" fmla="*/ 3186 w 5810"/>
                  <a:gd name="connsiteY65" fmla="*/ 846 h 1085"/>
                  <a:gd name="connsiteX66" fmla="*/ 3147 w 5810"/>
                  <a:gd name="connsiteY66" fmla="*/ 796 h 1085"/>
                  <a:gd name="connsiteX67" fmla="*/ 3108 w 5810"/>
                  <a:gd name="connsiteY67" fmla="*/ 740 h 1085"/>
                  <a:gd name="connsiteX68" fmla="*/ 3070 w 5810"/>
                  <a:gd name="connsiteY68" fmla="*/ 684 h 1085"/>
                  <a:gd name="connsiteX69" fmla="*/ 2965 w 5810"/>
                  <a:gd name="connsiteY69" fmla="*/ 510 h 1085"/>
                  <a:gd name="connsiteX70" fmla="*/ 2928 w 5810"/>
                  <a:gd name="connsiteY70" fmla="*/ 452 h 1085"/>
                  <a:gd name="connsiteX71" fmla="*/ 2891 w 5810"/>
                  <a:gd name="connsiteY71" fmla="*/ 396 h 1085"/>
                  <a:gd name="connsiteX72" fmla="*/ 2854 w 5810"/>
                  <a:gd name="connsiteY72" fmla="*/ 342 h 1085"/>
                  <a:gd name="connsiteX73" fmla="*/ 2814 w 5810"/>
                  <a:gd name="connsiteY73" fmla="*/ 292 h 1085"/>
                  <a:gd name="connsiteX74" fmla="*/ 2773 w 5810"/>
                  <a:gd name="connsiteY74" fmla="*/ 247 h 1085"/>
                  <a:gd name="connsiteX75" fmla="*/ 2732 w 5810"/>
                  <a:gd name="connsiteY75" fmla="*/ 205 h 1085"/>
                  <a:gd name="connsiteX76" fmla="*/ 2686 w 5810"/>
                  <a:gd name="connsiteY76" fmla="*/ 168 h 1085"/>
                  <a:gd name="connsiteX77" fmla="*/ 2639 w 5810"/>
                  <a:gd name="connsiteY77" fmla="*/ 139 h 1085"/>
                  <a:gd name="connsiteX78" fmla="*/ 2587 w 5810"/>
                  <a:gd name="connsiteY78" fmla="*/ 116 h 1085"/>
                  <a:gd name="connsiteX79" fmla="*/ 2532 w 5810"/>
                  <a:gd name="connsiteY79" fmla="*/ 100 h 1085"/>
                  <a:gd name="connsiteX80" fmla="*/ 2474 w 5810"/>
                  <a:gd name="connsiteY80" fmla="*/ 91 h 1085"/>
                  <a:gd name="connsiteX81" fmla="*/ 2410 w 5810"/>
                  <a:gd name="connsiteY81" fmla="*/ 93 h 1085"/>
                  <a:gd name="connsiteX82" fmla="*/ 2342 w 5810"/>
                  <a:gd name="connsiteY82" fmla="*/ 104 h 1085"/>
                  <a:gd name="connsiteX83" fmla="*/ 2280 w 5810"/>
                  <a:gd name="connsiteY83" fmla="*/ 122 h 1085"/>
                  <a:gd name="connsiteX84" fmla="*/ 2222 w 5810"/>
                  <a:gd name="connsiteY84" fmla="*/ 147 h 1085"/>
                  <a:gd name="connsiteX85" fmla="*/ 2168 w 5810"/>
                  <a:gd name="connsiteY85" fmla="*/ 180 h 1085"/>
                  <a:gd name="connsiteX86" fmla="*/ 2117 w 5810"/>
                  <a:gd name="connsiteY86" fmla="*/ 218 h 1085"/>
                  <a:gd name="connsiteX87" fmla="*/ 2071 w 5810"/>
                  <a:gd name="connsiteY87" fmla="*/ 261 h 1085"/>
                  <a:gd name="connsiteX88" fmla="*/ 2026 w 5810"/>
                  <a:gd name="connsiteY88" fmla="*/ 307 h 1085"/>
                  <a:gd name="connsiteX89" fmla="*/ 1984 w 5810"/>
                  <a:gd name="connsiteY89" fmla="*/ 359 h 1085"/>
                  <a:gd name="connsiteX90" fmla="*/ 1945 w 5810"/>
                  <a:gd name="connsiteY90" fmla="*/ 413 h 1085"/>
                  <a:gd name="connsiteX91" fmla="*/ 1908 w 5810"/>
                  <a:gd name="connsiteY91" fmla="*/ 467 h 1085"/>
                  <a:gd name="connsiteX92" fmla="*/ 1871 w 5810"/>
                  <a:gd name="connsiteY92" fmla="*/ 523 h 1085"/>
                  <a:gd name="connsiteX93" fmla="*/ 1834 w 5810"/>
                  <a:gd name="connsiteY93" fmla="*/ 581 h 1085"/>
                  <a:gd name="connsiteX94" fmla="*/ 1799 w 5810"/>
                  <a:gd name="connsiteY94" fmla="*/ 637 h 1085"/>
                  <a:gd name="connsiteX95" fmla="*/ 1724 w 5810"/>
                  <a:gd name="connsiteY95" fmla="*/ 749 h 1085"/>
                  <a:gd name="connsiteX96" fmla="*/ 1685 w 5810"/>
                  <a:gd name="connsiteY96" fmla="*/ 801 h 1085"/>
                  <a:gd name="connsiteX97" fmla="*/ 1644 w 5810"/>
                  <a:gd name="connsiteY97" fmla="*/ 850 h 1085"/>
                  <a:gd name="connsiteX98" fmla="*/ 1600 w 5810"/>
                  <a:gd name="connsiteY98" fmla="*/ 896 h 1085"/>
                  <a:gd name="connsiteX99" fmla="*/ 1553 w 5810"/>
                  <a:gd name="connsiteY99" fmla="*/ 937 h 1085"/>
                  <a:gd name="connsiteX100" fmla="*/ 1503 w 5810"/>
                  <a:gd name="connsiteY100" fmla="*/ 973 h 1085"/>
                  <a:gd name="connsiteX101" fmla="*/ 1450 w 5810"/>
                  <a:gd name="connsiteY101" fmla="*/ 1002 h 1085"/>
                  <a:gd name="connsiteX102" fmla="*/ 1394 w 5810"/>
                  <a:gd name="connsiteY102" fmla="*/ 1025 h 1085"/>
                  <a:gd name="connsiteX103" fmla="*/ 1330 w 5810"/>
                  <a:gd name="connsiteY103" fmla="*/ 1037 h 1085"/>
                  <a:gd name="connsiteX104" fmla="*/ 1264 w 5810"/>
                  <a:gd name="connsiteY104" fmla="*/ 1043 h 1085"/>
                  <a:gd name="connsiteX105" fmla="*/ 1258 w 5810"/>
                  <a:gd name="connsiteY105" fmla="*/ 1043 h 1085"/>
                  <a:gd name="connsiteX106" fmla="*/ 1190 w 5810"/>
                  <a:gd name="connsiteY106" fmla="*/ 1039 h 1085"/>
                  <a:gd name="connsiteX107" fmla="*/ 1128 w 5810"/>
                  <a:gd name="connsiteY107" fmla="*/ 1027 h 1085"/>
                  <a:gd name="connsiteX108" fmla="*/ 1070 w 5810"/>
                  <a:gd name="connsiteY108" fmla="*/ 1008 h 1085"/>
                  <a:gd name="connsiteX109" fmla="*/ 1018 w 5810"/>
                  <a:gd name="connsiteY109" fmla="*/ 983 h 1085"/>
                  <a:gd name="connsiteX110" fmla="*/ 971 w 5810"/>
                  <a:gd name="connsiteY110" fmla="*/ 952 h 1085"/>
                  <a:gd name="connsiteX111" fmla="*/ 925 w 5810"/>
                  <a:gd name="connsiteY111" fmla="*/ 915 h 1085"/>
                  <a:gd name="connsiteX112" fmla="*/ 884 w 5810"/>
                  <a:gd name="connsiteY112" fmla="*/ 873 h 1085"/>
                  <a:gd name="connsiteX113" fmla="*/ 847 w 5810"/>
                  <a:gd name="connsiteY113" fmla="*/ 828 h 1085"/>
                  <a:gd name="connsiteX114" fmla="*/ 810 w 5810"/>
                  <a:gd name="connsiteY114" fmla="*/ 780 h 1085"/>
                  <a:gd name="connsiteX115" fmla="*/ 777 w 5810"/>
                  <a:gd name="connsiteY115" fmla="*/ 728 h 1085"/>
                  <a:gd name="connsiteX116" fmla="*/ 742 w 5810"/>
                  <a:gd name="connsiteY116" fmla="*/ 674 h 1085"/>
                  <a:gd name="connsiteX117" fmla="*/ 711 w 5810"/>
                  <a:gd name="connsiteY117" fmla="*/ 618 h 1085"/>
                  <a:gd name="connsiteX118" fmla="*/ 678 w 5810"/>
                  <a:gd name="connsiteY118" fmla="*/ 560 h 1085"/>
                  <a:gd name="connsiteX119" fmla="*/ 616 w 5810"/>
                  <a:gd name="connsiteY119" fmla="*/ 448 h 1085"/>
                  <a:gd name="connsiteX120" fmla="*/ 547 w 5810"/>
                  <a:gd name="connsiteY120" fmla="*/ 340 h 1085"/>
                  <a:gd name="connsiteX121" fmla="*/ 504 w 5810"/>
                  <a:gd name="connsiteY121" fmla="*/ 284 h 1085"/>
                  <a:gd name="connsiteX122" fmla="*/ 457 w 5810"/>
                  <a:gd name="connsiteY122" fmla="*/ 239 h 1085"/>
                  <a:gd name="connsiteX123" fmla="*/ 409 w 5810"/>
                  <a:gd name="connsiteY123" fmla="*/ 199 h 1085"/>
                  <a:gd name="connsiteX124" fmla="*/ 358 w 5810"/>
                  <a:gd name="connsiteY124" fmla="*/ 168 h 1085"/>
                  <a:gd name="connsiteX125" fmla="*/ 308 w 5810"/>
                  <a:gd name="connsiteY125" fmla="*/ 145 h 1085"/>
                  <a:gd name="connsiteX126" fmla="*/ 256 w 5810"/>
                  <a:gd name="connsiteY126" fmla="*/ 127 h 1085"/>
                  <a:gd name="connsiteX127" fmla="*/ 209 w 5810"/>
                  <a:gd name="connsiteY127" fmla="*/ 112 h 1085"/>
                  <a:gd name="connsiteX128" fmla="*/ 163 w 5810"/>
                  <a:gd name="connsiteY128" fmla="*/ 104 h 1085"/>
                  <a:gd name="connsiteX129" fmla="*/ 122 w 5810"/>
                  <a:gd name="connsiteY129" fmla="*/ 100 h 1085"/>
                  <a:gd name="connsiteX130" fmla="*/ 85 w 5810"/>
                  <a:gd name="connsiteY130" fmla="*/ 95 h 1085"/>
                  <a:gd name="connsiteX131" fmla="*/ 31 w 5810"/>
                  <a:gd name="connsiteY131" fmla="*/ 95 h 1085"/>
                  <a:gd name="connsiteX132" fmla="*/ 17 w 5810"/>
                  <a:gd name="connsiteY132" fmla="*/ 98 h 1085"/>
                  <a:gd name="connsiteX133" fmla="*/ 11 w 5810"/>
                  <a:gd name="connsiteY133" fmla="*/ 98 h 1085"/>
                  <a:gd name="connsiteX134" fmla="*/ 0 w 5810"/>
                  <a:gd name="connsiteY134" fmla="*/ 13 h 1085"/>
                  <a:gd name="connsiteX135" fmla="*/ 9 w 5810"/>
                  <a:gd name="connsiteY135" fmla="*/ 13 h 1085"/>
                  <a:gd name="connsiteX136" fmla="*/ 29 w 5810"/>
                  <a:gd name="connsiteY136" fmla="*/ 10 h 1085"/>
                  <a:gd name="connsiteX137" fmla="*/ 91 w 5810"/>
                  <a:gd name="connsiteY137" fmla="*/ 10 h 1085"/>
                  <a:gd name="connsiteX138" fmla="*/ 135 w 5810"/>
                  <a:gd name="connsiteY138" fmla="*/ 13 h 1085"/>
                  <a:gd name="connsiteX139" fmla="*/ 182 w 5810"/>
                  <a:gd name="connsiteY139" fmla="*/ 19 h 1085"/>
                  <a:gd name="connsiteX140" fmla="*/ 234 w 5810"/>
                  <a:gd name="connsiteY140" fmla="*/ 29 h 1085"/>
                  <a:gd name="connsiteX141" fmla="*/ 287 w 5810"/>
                  <a:gd name="connsiteY141" fmla="*/ 46 h 1085"/>
                  <a:gd name="connsiteX142" fmla="*/ 345 w 5810"/>
                  <a:gd name="connsiteY142" fmla="*/ 66 h 1085"/>
                  <a:gd name="connsiteX143" fmla="*/ 403 w 5810"/>
                  <a:gd name="connsiteY143" fmla="*/ 93 h 1085"/>
                  <a:gd name="connsiteX144" fmla="*/ 459 w 5810"/>
                  <a:gd name="connsiteY144" fmla="*/ 131 h 1085"/>
                  <a:gd name="connsiteX145" fmla="*/ 514 w 5810"/>
                  <a:gd name="connsiteY145" fmla="*/ 174 h 1085"/>
                  <a:gd name="connsiteX146" fmla="*/ 568 w 5810"/>
                  <a:gd name="connsiteY146" fmla="*/ 228 h 1085"/>
                  <a:gd name="connsiteX147" fmla="*/ 618 w 5810"/>
                  <a:gd name="connsiteY147" fmla="*/ 292 h 1085"/>
                  <a:gd name="connsiteX148" fmla="*/ 667 w 5810"/>
                  <a:gd name="connsiteY148" fmla="*/ 367 h 1085"/>
                  <a:gd name="connsiteX149" fmla="*/ 754 w 5810"/>
                  <a:gd name="connsiteY149" fmla="*/ 516 h 1085"/>
                  <a:gd name="connsiteX150" fmla="*/ 787 w 5810"/>
                  <a:gd name="connsiteY150" fmla="*/ 575 h 1085"/>
                  <a:gd name="connsiteX151" fmla="*/ 820 w 5810"/>
                  <a:gd name="connsiteY151" fmla="*/ 631 h 1085"/>
                  <a:gd name="connsiteX152" fmla="*/ 853 w 5810"/>
                  <a:gd name="connsiteY152" fmla="*/ 684 h 1085"/>
                  <a:gd name="connsiteX153" fmla="*/ 886 w 5810"/>
                  <a:gd name="connsiteY153" fmla="*/ 736 h 1085"/>
                  <a:gd name="connsiteX154" fmla="*/ 921 w 5810"/>
                  <a:gd name="connsiteY154" fmla="*/ 782 h 1085"/>
                  <a:gd name="connsiteX155" fmla="*/ 958 w 5810"/>
                  <a:gd name="connsiteY155" fmla="*/ 825 h 1085"/>
                  <a:gd name="connsiteX156" fmla="*/ 1000 w 5810"/>
                  <a:gd name="connsiteY156" fmla="*/ 863 h 1085"/>
                  <a:gd name="connsiteX157" fmla="*/ 1043 w 5810"/>
                  <a:gd name="connsiteY157" fmla="*/ 894 h 1085"/>
                  <a:gd name="connsiteX158" fmla="*/ 1090 w 5810"/>
                  <a:gd name="connsiteY158" fmla="*/ 921 h 1085"/>
                  <a:gd name="connsiteX159" fmla="*/ 1140 w 5810"/>
                  <a:gd name="connsiteY159" fmla="*/ 939 h 1085"/>
                  <a:gd name="connsiteX160" fmla="*/ 1196 w 5810"/>
                  <a:gd name="connsiteY160" fmla="*/ 952 h 1085"/>
                  <a:gd name="connsiteX161" fmla="*/ 1258 w 5810"/>
                  <a:gd name="connsiteY161" fmla="*/ 956 h 1085"/>
                  <a:gd name="connsiteX162" fmla="*/ 1264 w 5810"/>
                  <a:gd name="connsiteY162" fmla="*/ 956 h 1085"/>
                  <a:gd name="connsiteX163" fmla="*/ 1324 w 5810"/>
                  <a:gd name="connsiteY163" fmla="*/ 950 h 1085"/>
                  <a:gd name="connsiteX164" fmla="*/ 1380 w 5810"/>
                  <a:gd name="connsiteY164" fmla="*/ 935 h 1085"/>
                  <a:gd name="connsiteX165" fmla="*/ 1433 w 5810"/>
                  <a:gd name="connsiteY165" fmla="*/ 913 h 1085"/>
                  <a:gd name="connsiteX166" fmla="*/ 1481 w 5810"/>
                  <a:gd name="connsiteY166" fmla="*/ 884 h 1085"/>
                  <a:gd name="connsiteX167" fmla="*/ 1526 w 5810"/>
                  <a:gd name="connsiteY167" fmla="*/ 846 h 1085"/>
                  <a:gd name="connsiteX168" fmla="*/ 1569 w 5810"/>
                  <a:gd name="connsiteY168" fmla="*/ 803 h 1085"/>
                  <a:gd name="connsiteX169" fmla="*/ 1609 w 5810"/>
                  <a:gd name="connsiteY169" fmla="*/ 755 h 1085"/>
                  <a:gd name="connsiteX170" fmla="*/ 1648 w 5810"/>
                  <a:gd name="connsiteY170" fmla="*/ 703 h 1085"/>
                  <a:gd name="connsiteX171" fmla="*/ 1687 w 5810"/>
                  <a:gd name="connsiteY171" fmla="*/ 649 h 1085"/>
                  <a:gd name="connsiteX172" fmla="*/ 1799 w 5810"/>
                  <a:gd name="connsiteY172" fmla="*/ 475 h 1085"/>
                  <a:gd name="connsiteX173" fmla="*/ 1838 w 5810"/>
                  <a:gd name="connsiteY173" fmla="*/ 415 h 1085"/>
                  <a:gd name="connsiteX174" fmla="*/ 1879 w 5810"/>
                  <a:gd name="connsiteY174" fmla="*/ 357 h 1085"/>
                  <a:gd name="connsiteX175" fmla="*/ 1923 w 5810"/>
                  <a:gd name="connsiteY175" fmla="*/ 299 h 1085"/>
                  <a:gd name="connsiteX176" fmla="*/ 1968 w 5810"/>
                  <a:gd name="connsiteY176" fmla="*/ 245 h 1085"/>
                  <a:gd name="connsiteX177" fmla="*/ 2015 w 5810"/>
                  <a:gd name="connsiteY177" fmla="*/ 193 h 1085"/>
                  <a:gd name="connsiteX178" fmla="*/ 2069 w 5810"/>
                  <a:gd name="connsiteY178" fmla="*/ 145 h 1085"/>
                  <a:gd name="connsiteX179" fmla="*/ 2125 w 5810"/>
                  <a:gd name="connsiteY179" fmla="*/ 104 h 1085"/>
                  <a:gd name="connsiteX180" fmla="*/ 2187 w 5810"/>
                  <a:gd name="connsiteY180" fmla="*/ 69 h 1085"/>
                  <a:gd name="connsiteX181" fmla="*/ 2253 w 5810"/>
                  <a:gd name="connsiteY181" fmla="*/ 39 h 1085"/>
                  <a:gd name="connsiteX182" fmla="*/ 2325 w 5810"/>
                  <a:gd name="connsiteY182" fmla="*/ 19 h 1085"/>
                  <a:gd name="connsiteX183" fmla="*/ 2404 w 5810"/>
                  <a:gd name="connsiteY183" fmla="*/ 6 h 1085"/>
                  <a:gd name="connsiteX184" fmla="*/ 2474 w 5810"/>
                  <a:gd name="connsiteY184" fmla="*/ 4 h 1085"/>
                  <a:gd name="connsiteX185" fmla="*/ 2540 w 5810"/>
                  <a:gd name="connsiteY185" fmla="*/ 13 h 1085"/>
                  <a:gd name="connsiteX186" fmla="*/ 2600 w 5810"/>
                  <a:gd name="connsiteY186" fmla="*/ 27 h 1085"/>
                  <a:gd name="connsiteX187" fmla="*/ 2658 w 5810"/>
                  <a:gd name="connsiteY187" fmla="*/ 50 h 1085"/>
                  <a:gd name="connsiteX188" fmla="*/ 2711 w 5810"/>
                  <a:gd name="connsiteY188" fmla="*/ 81 h 1085"/>
                  <a:gd name="connsiteX189" fmla="*/ 2761 w 5810"/>
                  <a:gd name="connsiteY189" fmla="*/ 116 h 1085"/>
                  <a:gd name="connsiteX190" fmla="*/ 2806 w 5810"/>
                  <a:gd name="connsiteY190" fmla="*/ 158 h 1085"/>
                  <a:gd name="connsiteX191" fmla="*/ 2852 w 5810"/>
                  <a:gd name="connsiteY191" fmla="*/ 203 h 1085"/>
                  <a:gd name="connsiteX192" fmla="*/ 2893 w 5810"/>
                  <a:gd name="connsiteY192" fmla="*/ 251 h 1085"/>
                  <a:gd name="connsiteX193" fmla="*/ 2932 w 5810"/>
                  <a:gd name="connsiteY193" fmla="*/ 303 h 1085"/>
                  <a:gd name="connsiteX194" fmla="*/ 2969 w 5810"/>
                  <a:gd name="connsiteY194" fmla="*/ 357 h 1085"/>
                  <a:gd name="connsiteX195" fmla="*/ 3004 w 5810"/>
                  <a:gd name="connsiteY195" fmla="*/ 413 h 1085"/>
                  <a:gd name="connsiteX196" fmla="*/ 3039 w 5810"/>
                  <a:gd name="connsiteY196" fmla="*/ 467 h 1085"/>
                  <a:gd name="connsiteX197" fmla="*/ 3073 w 5810"/>
                  <a:gd name="connsiteY197" fmla="*/ 523 h 1085"/>
                  <a:gd name="connsiteX198" fmla="*/ 3110 w 5810"/>
                  <a:gd name="connsiteY198" fmla="*/ 585 h 1085"/>
                  <a:gd name="connsiteX199" fmla="*/ 3147 w 5810"/>
                  <a:gd name="connsiteY199" fmla="*/ 643 h 1085"/>
                  <a:gd name="connsiteX200" fmla="*/ 3186 w 5810"/>
                  <a:gd name="connsiteY200" fmla="*/ 701 h 1085"/>
                  <a:gd name="connsiteX201" fmla="*/ 3223 w 5810"/>
                  <a:gd name="connsiteY201" fmla="*/ 755 h 1085"/>
                  <a:gd name="connsiteX202" fmla="*/ 3265 w 5810"/>
                  <a:gd name="connsiteY202" fmla="*/ 805 h 1085"/>
                  <a:gd name="connsiteX203" fmla="*/ 3306 w 5810"/>
                  <a:gd name="connsiteY203" fmla="*/ 848 h 1085"/>
                  <a:gd name="connsiteX204" fmla="*/ 3349 w 5810"/>
                  <a:gd name="connsiteY204" fmla="*/ 886 h 1085"/>
                  <a:gd name="connsiteX205" fmla="*/ 3395 w 5810"/>
                  <a:gd name="connsiteY205" fmla="*/ 917 h 1085"/>
                  <a:gd name="connsiteX206" fmla="*/ 3444 w 5810"/>
                  <a:gd name="connsiteY206" fmla="*/ 939 h 1085"/>
                  <a:gd name="connsiteX207" fmla="*/ 3498 w 5810"/>
                  <a:gd name="connsiteY207" fmla="*/ 952 h 1085"/>
                  <a:gd name="connsiteX208" fmla="*/ 3554 w 5810"/>
                  <a:gd name="connsiteY208" fmla="*/ 956 h 1085"/>
                  <a:gd name="connsiteX209" fmla="*/ 3609 w 5810"/>
                  <a:gd name="connsiteY209" fmla="*/ 950 h 1085"/>
                  <a:gd name="connsiteX210" fmla="*/ 3659 w 5810"/>
                  <a:gd name="connsiteY210" fmla="*/ 935 h 1085"/>
                  <a:gd name="connsiteX211" fmla="*/ 3706 w 5810"/>
                  <a:gd name="connsiteY211" fmla="*/ 915 h 1085"/>
                  <a:gd name="connsiteX212" fmla="*/ 3750 w 5810"/>
                  <a:gd name="connsiteY212" fmla="*/ 884 h 1085"/>
                  <a:gd name="connsiteX213" fmla="*/ 3789 w 5810"/>
                  <a:gd name="connsiteY213" fmla="*/ 848 h 1085"/>
                  <a:gd name="connsiteX214" fmla="*/ 3826 w 5810"/>
                  <a:gd name="connsiteY214" fmla="*/ 807 h 1085"/>
                  <a:gd name="connsiteX215" fmla="*/ 3861 w 5810"/>
                  <a:gd name="connsiteY215" fmla="*/ 759 h 1085"/>
                  <a:gd name="connsiteX216" fmla="*/ 3894 w 5810"/>
                  <a:gd name="connsiteY216" fmla="*/ 709 h 1085"/>
                  <a:gd name="connsiteX217" fmla="*/ 3927 w 5810"/>
                  <a:gd name="connsiteY217" fmla="*/ 655 h 1085"/>
                  <a:gd name="connsiteX218" fmla="*/ 3960 w 5810"/>
                  <a:gd name="connsiteY218" fmla="*/ 597 h 1085"/>
                  <a:gd name="connsiteX219" fmla="*/ 3993 w 5810"/>
                  <a:gd name="connsiteY219" fmla="*/ 537 h 1085"/>
                  <a:gd name="connsiteX220" fmla="*/ 4022 w 5810"/>
                  <a:gd name="connsiteY220" fmla="*/ 483 h 1085"/>
                  <a:gd name="connsiteX221" fmla="*/ 4084 w 5810"/>
                  <a:gd name="connsiteY221" fmla="*/ 375 h 1085"/>
                  <a:gd name="connsiteX222" fmla="*/ 4154 w 5810"/>
                  <a:gd name="connsiteY222" fmla="*/ 272 h 1085"/>
                  <a:gd name="connsiteX223" fmla="*/ 4192 w 5810"/>
                  <a:gd name="connsiteY223" fmla="*/ 224 h 1085"/>
                  <a:gd name="connsiteX224" fmla="*/ 4233 w 5810"/>
                  <a:gd name="connsiteY224" fmla="*/ 178 h 1085"/>
                  <a:gd name="connsiteX225" fmla="*/ 4276 w 5810"/>
                  <a:gd name="connsiteY225" fmla="*/ 137 h 1085"/>
                  <a:gd name="connsiteX226" fmla="*/ 4324 w 5810"/>
                  <a:gd name="connsiteY226" fmla="*/ 100 h 1085"/>
                  <a:gd name="connsiteX227" fmla="*/ 4375 w 5810"/>
                  <a:gd name="connsiteY227" fmla="*/ 66 h 1085"/>
                  <a:gd name="connsiteX228" fmla="*/ 4433 w 5810"/>
                  <a:gd name="connsiteY228" fmla="*/ 39 h 1085"/>
                  <a:gd name="connsiteX229" fmla="*/ 4493 w 5810"/>
                  <a:gd name="connsiteY229" fmla="*/ 19 h 1085"/>
                  <a:gd name="connsiteX230" fmla="*/ 4559 w 5810"/>
                  <a:gd name="connsiteY230" fmla="*/ 6 h 1085"/>
                  <a:gd name="connsiteX231" fmla="*/ 4631 w 5810"/>
                  <a:gd name="connsiteY231" fmla="*/ 0 h 1085"/>
                  <a:gd name="connsiteX0" fmla="*/ 4631 w 5810"/>
                  <a:gd name="connsiteY0" fmla="*/ 0 h 1085"/>
                  <a:gd name="connsiteX1" fmla="*/ 4681 w 5810"/>
                  <a:gd name="connsiteY1" fmla="*/ 0 h 1085"/>
                  <a:gd name="connsiteX2" fmla="*/ 4710 w 5810"/>
                  <a:gd name="connsiteY2" fmla="*/ 4 h 1085"/>
                  <a:gd name="connsiteX3" fmla="*/ 4741 w 5810"/>
                  <a:gd name="connsiteY3" fmla="*/ 13 h 1085"/>
                  <a:gd name="connsiteX4" fmla="*/ 4778 w 5810"/>
                  <a:gd name="connsiteY4" fmla="*/ 23 h 1085"/>
                  <a:gd name="connsiteX5" fmla="*/ 4819 w 5810"/>
                  <a:gd name="connsiteY5" fmla="*/ 39 h 1085"/>
                  <a:gd name="connsiteX6" fmla="*/ 4863 w 5810"/>
                  <a:gd name="connsiteY6" fmla="*/ 60 h 1085"/>
                  <a:gd name="connsiteX7" fmla="*/ 4910 w 5810"/>
                  <a:gd name="connsiteY7" fmla="*/ 89 h 1085"/>
                  <a:gd name="connsiteX8" fmla="*/ 4960 w 5810"/>
                  <a:gd name="connsiteY8" fmla="*/ 124 h 1085"/>
                  <a:gd name="connsiteX9" fmla="*/ 5009 w 5810"/>
                  <a:gd name="connsiteY9" fmla="*/ 170 h 1085"/>
                  <a:gd name="connsiteX10" fmla="*/ 5061 w 5810"/>
                  <a:gd name="connsiteY10" fmla="*/ 224 h 1085"/>
                  <a:gd name="connsiteX11" fmla="*/ 5112 w 5810"/>
                  <a:gd name="connsiteY11" fmla="*/ 286 h 1085"/>
                  <a:gd name="connsiteX12" fmla="*/ 5313 w 5810"/>
                  <a:gd name="connsiteY12" fmla="*/ 633 h 1085"/>
                  <a:gd name="connsiteX13" fmla="*/ 5408 w 5810"/>
                  <a:gd name="connsiteY13" fmla="*/ 769 h 1085"/>
                  <a:gd name="connsiteX14" fmla="*/ 5711 w 5810"/>
                  <a:gd name="connsiteY14" fmla="*/ 973 h 1085"/>
                  <a:gd name="connsiteX15" fmla="*/ 5742 w 5810"/>
                  <a:gd name="connsiteY15" fmla="*/ 981 h 1085"/>
                  <a:gd name="connsiteX16" fmla="*/ 5767 w 5810"/>
                  <a:gd name="connsiteY16" fmla="*/ 983 h 1085"/>
                  <a:gd name="connsiteX17" fmla="*/ 5785 w 5810"/>
                  <a:gd name="connsiteY17" fmla="*/ 985 h 1085"/>
                  <a:gd name="connsiteX18" fmla="*/ 5802 w 5810"/>
                  <a:gd name="connsiteY18" fmla="*/ 985 h 1085"/>
                  <a:gd name="connsiteX19" fmla="*/ 5810 w 5810"/>
                  <a:gd name="connsiteY19" fmla="*/ 1072 h 1085"/>
                  <a:gd name="connsiteX20" fmla="*/ 5717 w 5810"/>
                  <a:gd name="connsiteY20" fmla="*/ 1064 h 1085"/>
                  <a:gd name="connsiteX21" fmla="*/ 5639 w 5810"/>
                  <a:gd name="connsiteY21" fmla="*/ 1043 h 1085"/>
                  <a:gd name="connsiteX22" fmla="*/ 5546 w 5810"/>
                  <a:gd name="connsiteY22" fmla="*/ 1002 h 1085"/>
                  <a:gd name="connsiteX23" fmla="*/ 5496 w 5810"/>
                  <a:gd name="connsiteY23" fmla="*/ 971 h 1085"/>
                  <a:gd name="connsiteX24" fmla="*/ 5042 w 5810"/>
                  <a:gd name="connsiteY24" fmla="*/ 336 h 1085"/>
                  <a:gd name="connsiteX25" fmla="*/ 4993 w 5810"/>
                  <a:gd name="connsiteY25" fmla="*/ 276 h 1085"/>
                  <a:gd name="connsiteX26" fmla="*/ 4945 w 5810"/>
                  <a:gd name="connsiteY26" fmla="*/ 228 h 1085"/>
                  <a:gd name="connsiteX27" fmla="*/ 4900 w 5810"/>
                  <a:gd name="connsiteY27" fmla="*/ 189 h 1085"/>
                  <a:gd name="connsiteX28" fmla="*/ 4858 w 5810"/>
                  <a:gd name="connsiteY28" fmla="*/ 158 h 1085"/>
                  <a:gd name="connsiteX29" fmla="*/ 4819 w 5810"/>
                  <a:gd name="connsiteY29" fmla="*/ 135 h 1085"/>
                  <a:gd name="connsiteX30" fmla="*/ 4770 w 5810"/>
                  <a:gd name="connsiteY30" fmla="*/ 112 h 1085"/>
                  <a:gd name="connsiteX31" fmla="*/ 4726 w 5810"/>
                  <a:gd name="connsiteY31" fmla="*/ 98 h 1085"/>
                  <a:gd name="connsiteX32" fmla="*/ 4691 w 5810"/>
                  <a:gd name="connsiteY32" fmla="*/ 89 h 1085"/>
                  <a:gd name="connsiteX33" fmla="*/ 4662 w 5810"/>
                  <a:gd name="connsiteY33" fmla="*/ 87 h 1085"/>
                  <a:gd name="connsiteX34" fmla="*/ 4635 w 5810"/>
                  <a:gd name="connsiteY34" fmla="*/ 87 h 1085"/>
                  <a:gd name="connsiteX35" fmla="*/ 4569 w 5810"/>
                  <a:gd name="connsiteY35" fmla="*/ 93 h 1085"/>
                  <a:gd name="connsiteX36" fmla="*/ 4507 w 5810"/>
                  <a:gd name="connsiteY36" fmla="*/ 106 h 1085"/>
                  <a:gd name="connsiteX37" fmla="*/ 4452 w 5810"/>
                  <a:gd name="connsiteY37" fmla="*/ 127 h 1085"/>
                  <a:gd name="connsiteX38" fmla="*/ 4400 w 5810"/>
                  <a:gd name="connsiteY38" fmla="*/ 154 h 1085"/>
                  <a:gd name="connsiteX39" fmla="*/ 4353 w 5810"/>
                  <a:gd name="connsiteY39" fmla="*/ 187 h 1085"/>
                  <a:gd name="connsiteX40" fmla="*/ 4309 w 5810"/>
                  <a:gd name="connsiteY40" fmla="*/ 224 h 1085"/>
                  <a:gd name="connsiteX41" fmla="*/ 4270 w 5810"/>
                  <a:gd name="connsiteY41" fmla="*/ 268 h 1085"/>
                  <a:gd name="connsiteX42" fmla="*/ 4231 w 5810"/>
                  <a:gd name="connsiteY42" fmla="*/ 313 h 1085"/>
                  <a:gd name="connsiteX43" fmla="*/ 4196 w 5810"/>
                  <a:gd name="connsiteY43" fmla="*/ 363 h 1085"/>
                  <a:gd name="connsiteX44" fmla="*/ 4163 w 5810"/>
                  <a:gd name="connsiteY44" fmla="*/ 415 h 1085"/>
                  <a:gd name="connsiteX45" fmla="*/ 4101 w 5810"/>
                  <a:gd name="connsiteY45" fmla="*/ 523 h 1085"/>
                  <a:gd name="connsiteX46" fmla="*/ 4008 w 5810"/>
                  <a:gd name="connsiteY46" fmla="*/ 691 h 1085"/>
                  <a:gd name="connsiteX47" fmla="*/ 3975 w 5810"/>
                  <a:gd name="connsiteY47" fmla="*/ 747 h 1085"/>
                  <a:gd name="connsiteX48" fmla="*/ 3940 w 5810"/>
                  <a:gd name="connsiteY48" fmla="*/ 798 h 1085"/>
                  <a:gd name="connsiteX49" fmla="*/ 3905 w 5810"/>
                  <a:gd name="connsiteY49" fmla="*/ 848 h 1085"/>
                  <a:gd name="connsiteX50" fmla="*/ 3865 w 5810"/>
                  <a:gd name="connsiteY50" fmla="*/ 894 h 1085"/>
                  <a:gd name="connsiteX51" fmla="*/ 3824 w 5810"/>
                  <a:gd name="connsiteY51" fmla="*/ 935 h 1085"/>
                  <a:gd name="connsiteX52" fmla="*/ 3779 w 5810"/>
                  <a:gd name="connsiteY52" fmla="*/ 971 h 1085"/>
                  <a:gd name="connsiteX53" fmla="*/ 3729 w 5810"/>
                  <a:gd name="connsiteY53" fmla="*/ 1000 h 1085"/>
                  <a:gd name="connsiteX54" fmla="*/ 3677 w 5810"/>
                  <a:gd name="connsiteY54" fmla="*/ 1022 h 1085"/>
                  <a:gd name="connsiteX55" fmla="*/ 3620 w 5810"/>
                  <a:gd name="connsiteY55" fmla="*/ 1037 h 1085"/>
                  <a:gd name="connsiteX56" fmla="*/ 3556 w 5810"/>
                  <a:gd name="connsiteY56" fmla="*/ 1043 h 1085"/>
                  <a:gd name="connsiteX57" fmla="*/ 3547 w 5810"/>
                  <a:gd name="connsiteY57" fmla="*/ 1043 h 1085"/>
                  <a:gd name="connsiteX58" fmla="*/ 3485 w 5810"/>
                  <a:gd name="connsiteY58" fmla="*/ 1039 h 1085"/>
                  <a:gd name="connsiteX59" fmla="*/ 3426 w 5810"/>
                  <a:gd name="connsiteY59" fmla="*/ 1025 h 1085"/>
                  <a:gd name="connsiteX60" fmla="*/ 3372 w 5810"/>
                  <a:gd name="connsiteY60" fmla="*/ 1002 h 1085"/>
                  <a:gd name="connsiteX61" fmla="*/ 3320 w 5810"/>
                  <a:gd name="connsiteY61" fmla="*/ 973 h 1085"/>
                  <a:gd name="connsiteX62" fmla="*/ 3273 w 5810"/>
                  <a:gd name="connsiteY62" fmla="*/ 935 h 1085"/>
                  <a:gd name="connsiteX63" fmla="*/ 3229 w 5810"/>
                  <a:gd name="connsiteY63" fmla="*/ 894 h 1085"/>
                  <a:gd name="connsiteX64" fmla="*/ 3186 w 5810"/>
                  <a:gd name="connsiteY64" fmla="*/ 846 h 1085"/>
                  <a:gd name="connsiteX65" fmla="*/ 3147 w 5810"/>
                  <a:gd name="connsiteY65" fmla="*/ 796 h 1085"/>
                  <a:gd name="connsiteX66" fmla="*/ 3108 w 5810"/>
                  <a:gd name="connsiteY66" fmla="*/ 740 h 1085"/>
                  <a:gd name="connsiteX67" fmla="*/ 3070 w 5810"/>
                  <a:gd name="connsiteY67" fmla="*/ 684 h 1085"/>
                  <a:gd name="connsiteX68" fmla="*/ 2965 w 5810"/>
                  <a:gd name="connsiteY68" fmla="*/ 510 h 1085"/>
                  <a:gd name="connsiteX69" fmla="*/ 2928 w 5810"/>
                  <a:gd name="connsiteY69" fmla="*/ 452 h 1085"/>
                  <a:gd name="connsiteX70" fmla="*/ 2891 w 5810"/>
                  <a:gd name="connsiteY70" fmla="*/ 396 h 1085"/>
                  <a:gd name="connsiteX71" fmla="*/ 2854 w 5810"/>
                  <a:gd name="connsiteY71" fmla="*/ 342 h 1085"/>
                  <a:gd name="connsiteX72" fmla="*/ 2814 w 5810"/>
                  <a:gd name="connsiteY72" fmla="*/ 292 h 1085"/>
                  <a:gd name="connsiteX73" fmla="*/ 2773 w 5810"/>
                  <a:gd name="connsiteY73" fmla="*/ 247 h 1085"/>
                  <a:gd name="connsiteX74" fmla="*/ 2732 w 5810"/>
                  <a:gd name="connsiteY74" fmla="*/ 205 h 1085"/>
                  <a:gd name="connsiteX75" fmla="*/ 2686 w 5810"/>
                  <a:gd name="connsiteY75" fmla="*/ 168 h 1085"/>
                  <a:gd name="connsiteX76" fmla="*/ 2639 w 5810"/>
                  <a:gd name="connsiteY76" fmla="*/ 139 h 1085"/>
                  <a:gd name="connsiteX77" fmla="*/ 2587 w 5810"/>
                  <a:gd name="connsiteY77" fmla="*/ 116 h 1085"/>
                  <a:gd name="connsiteX78" fmla="*/ 2532 w 5810"/>
                  <a:gd name="connsiteY78" fmla="*/ 100 h 1085"/>
                  <a:gd name="connsiteX79" fmla="*/ 2474 w 5810"/>
                  <a:gd name="connsiteY79" fmla="*/ 91 h 1085"/>
                  <a:gd name="connsiteX80" fmla="*/ 2410 w 5810"/>
                  <a:gd name="connsiteY80" fmla="*/ 93 h 1085"/>
                  <a:gd name="connsiteX81" fmla="*/ 2342 w 5810"/>
                  <a:gd name="connsiteY81" fmla="*/ 104 h 1085"/>
                  <a:gd name="connsiteX82" fmla="*/ 2280 w 5810"/>
                  <a:gd name="connsiteY82" fmla="*/ 122 h 1085"/>
                  <a:gd name="connsiteX83" fmla="*/ 2222 w 5810"/>
                  <a:gd name="connsiteY83" fmla="*/ 147 h 1085"/>
                  <a:gd name="connsiteX84" fmla="*/ 2168 w 5810"/>
                  <a:gd name="connsiteY84" fmla="*/ 180 h 1085"/>
                  <a:gd name="connsiteX85" fmla="*/ 2117 w 5810"/>
                  <a:gd name="connsiteY85" fmla="*/ 218 h 1085"/>
                  <a:gd name="connsiteX86" fmla="*/ 2071 w 5810"/>
                  <a:gd name="connsiteY86" fmla="*/ 261 h 1085"/>
                  <a:gd name="connsiteX87" fmla="*/ 2026 w 5810"/>
                  <a:gd name="connsiteY87" fmla="*/ 307 h 1085"/>
                  <a:gd name="connsiteX88" fmla="*/ 1984 w 5810"/>
                  <a:gd name="connsiteY88" fmla="*/ 359 h 1085"/>
                  <a:gd name="connsiteX89" fmla="*/ 1945 w 5810"/>
                  <a:gd name="connsiteY89" fmla="*/ 413 h 1085"/>
                  <a:gd name="connsiteX90" fmla="*/ 1908 w 5810"/>
                  <a:gd name="connsiteY90" fmla="*/ 467 h 1085"/>
                  <a:gd name="connsiteX91" fmla="*/ 1871 w 5810"/>
                  <a:gd name="connsiteY91" fmla="*/ 523 h 1085"/>
                  <a:gd name="connsiteX92" fmla="*/ 1834 w 5810"/>
                  <a:gd name="connsiteY92" fmla="*/ 581 h 1085"/>
                  <a:gd name="connsiteX93" fmla="*/ 1799 w 5810"/>
                  <a:gd name="connsiteY93" fmla="*/ 637 h 1085"/>
                  <a:gd name="connsiteX94" fmla="*/ 1724 w 5810"/>
                  <a:gd name="connsiteY94" fmla="*/ 749 h 1085"/>
                  <a:gd name="connsiteX95" fmla="*/ 1685 w 5810"/>
                  <a:gd name="connsiteY95" fmla="*/ 801 h 1085"/>
                  <a:gd name="connsiteX96" fmla="*/ 1644 w 5810"/>
                  <a:gd name="connsiteY96" fmla="*/ 850 h 1085"/>
                  <a:gd name="connsiteX97" fmla="*/ 1600 w 5810"/>
                  <a:gd name="connsiteY97" fmla="*/ 896 h 1085"/>
                  <a:gd name="connsiteX98" fmla="*/ 1553 w 5810"/>
                  <a:gd name="connsiteY98" fmla="*/ 937 h 1085"/>
                  <a:gd name="connsiteX99" fmla="*/ 1503 w 5810"/>
                  <a:gd name="connsiteY99" fmla="*/ 973 h 1085"/>
                  <a:gd name="connsiteX100" fmla="*/ 1450 w 5810"/>
                  <a:gd name="connsiteY100" fmla="*/ 1002 h 1085"/>
                  <a:gd name="connsiteX101" fmla="*/ 1394 w 5810"/>
                  <a:gd name="connsiteY101" fmla="*/ 1025 h 1085"/>
                  <a:gd name="connsiteX102" fmla="*/ 1330 w 5810"/>
                  <a:gd name="connsiteY102" fmla="*/ 1037 h 1085"/>
                  <a:gd name="connsiteX103" fmla="*/ 1264 w 5810"/>
                  <a:gd name="connsiteY103" fmla="*/ 1043 h 1085"/>
                  <a:gd name="connsiteX104" fmla="*/ 1258 w 5810"/>
                  <a:gd name="connsiteY104" fmla="*/ 1043 h 1085"/>
                  <a:gd name="connsiteX105" fmla="*/ 1190 w 5810"/>
                  <a:gd name="connsiteY105" fmla="*/ 1039 h 1085"/>
                  <a:gd name="connsiteX106" fmla="*/ 1128 w 5810"/>
                  <a:gd name="connsiteY106" fmla="*/ 1027 h 1085"/>
                  <a:gd name="connsiteX107" fmla="*/ 1070 w 5810"/>
                  <a:gd name="connsiteY107" fmla="*/ 1008 h 1085"/>
                  <a:gd name="connsiteX108" fmla="*/ 1018 w 5810"/>
                  <a:gd name="connsiteY108" fmla="*/ 983 h 1085"/>
                  <a:gd name="connsiteX109" fmla="*/ 971 w 5810"/>
                  <a:gd name="connsiteY109" fmla="*/ 952 h 1085"/>
                  <a:gd name="connsiteX110" fmla="*/ 925 w 5810"/>
                  <a:gd name="connsiteY110" fmla="*/ 915 h 1085"/>
                  <a:gd name="connsiteX111" fmla="*/ 884 w 5810"/>
                  <a:gd name="connsiteY111" fmla="*/ 873 h 1085"/>
                  <a:gd name="connsiteX112" fmla="*/ 847 w 5810"/>
                  <a:gd name="connsiteY112" fmla="*/ 828 h 1085"/>
                  <a:gd name="connsiteX113" fmla="*/ 810 w 5810"/>
                  <a:gd name="connsiteY113" fmla="*/ 780 h 1085"/>
                  <a:gd name="connsiteX114" fmla="*/ 777 w 5810"/>
                  <a:gd name="connsiteY114" fmla="*/ 728 h 1085"/>
                  <a:gd name="connsiteX115" fmla="*/ 742 w 5810"/>
                  <a:gd name="connsiteY115" fmla="*/ 674 h 1085"/>
                  <a:gd name="connsiteX116" fmla="*/ 711 w 5810"/>
                  <a:gd name="connsiteY116" fmla="*/ 618 h 1085"/>
                  <a:gd name="connsiteX117" fmla="*/ 678 w 5810"/>
                  <a:gd name="connsiteY117" fmla="*/ 560 h 1085"/>
                  <a:gd name="connsiteX118" fmla="*/ 616 w 5810"/>
                  <a:gd name="connsiteY118" fmla="*/ 448 h 1085"/>
                  <a:gd name="connsiteX119" fmla="*/ 547 w 5810"/>
                  <a:gd name="connsiteY119" fmla="*/ 340 h 1085"/>
                  <a:gd name="connsiteX120" fmla="*/ 504 w 5810"/>
                  <a:gd name="connsiteY120" fmla="*/ 284 h 1085"/>
                  <a:gd name="connsiteX121" fmla="*/ 457 w 5810"/>
                  <a:gd name="connsiteY121" fmla="*/ 239 h 1085"/>
                  <a:gd name="connsiteX122" fmla="*/ 409 w 5810"/>
                  <a:gd name="connsiteY122" fmla="*/ 199 h 1085"/>
                  <a:gd name="connsiteX123" fmla="*/ 358 w 5810"/>
                  <a:gd name="connsiteY123" fmla="*/ 168 h 1085"/>
                  <a:gd name="connsiteX124" fmla="*/ 308 w 5810"/>
                  <a:gd name="connsiteY124" fmla="*/ 145 h 1085"/>
                  <a:gd name="connsiteX125" fmla="*/ 256 w 5810"/>
                  <a:gd name="connsiteY125" fmla="*/ 127 h 1085"/>
                  <a:gd name="connsiteX126" fmla="*/ 209 w 5810"/>
                  <a:gd name="connsiteY126" fmla="*/ 112 h 1085"/>
                  <a:gd name="connsiteX127" fmla="*/ 163 w 5810"/>
                  <a:gd name="connsiteY127" fmla="*/ 104 h 1085"/>
                  <a:gd name="connsiteX128" fmla="*/ 122 w 5810"/>
                  <a:gd name="connsiteY128" fmla="*/ 100 h 1085"/>
                  <a:gd name="connsiteX129" fmla="*/ 85 w 5810"/>
                  <a:gd name="connsiteY129" fmla="*/ 95 h 1085"/>
                  <a:gd name="connsiteX130" fmla="*/ 31 w 5810"/>
                  <a:gd name="connsiteY130" fmla="*/ 95 h 1085"/>
                  <a:gd name="connsiteX131" fmla="*/ 17 w 5810"/>
                  <a:gd name="connsiteY131" fmla="*/ 98 h 1085"/>
                  <a:gd name="connsiteX132" fmla="*/ 11 w 5810"/>
                  <a:gd name="connsiteY132" fmla="*/ 98 h 1085"/>
                  <a:gd name="connsiteX133" fmla="*/ 0 w 5810"/>
                  <a:gd name="connsiteY133" fmla="*/ 13 h 1085"/>
                  <a:gd name="connsiteX134" fmla="*/ 9 w 5810"/>
                  <a:gd name="connsiteY134" fmla="*/ 13 h 1085"/>
                  <a:gd name="connsiteX135" fmla="*/ 29 w 5810"/>
                  <a:gd name="connsiteY135" fmla="*/ 10 h 1085"/>
                  <a:gd name="connsiteX136" fmla="*/ 91 w 5810"/>
                  <a:gd name="connsiteY136" fmla="*/ 10 h 1085"/>
                  <a:gd name="connsiteX137" fmla="*/ 135 w 5810"/>
                  <a:gd name="connsiteY137" fmla="*/ 13 h 1085"/>
                  <a:gd name="connsiteX138" fmla="*/ 182 w 5810"/>
                  <a:gd name="connsiteY138" fmla="*/ 19 h 1085"/>
                  <a:gd name="connsiteX139" fmla="*/ 234 w 5810"/>
                  <a:gd name="connsiteY139" fmla="*/ 29 h 1085"/>
                  <a:gd name="connsiteX140" fmla="*/ 287 w 5810"/>
                  <a:gd name="connsiteY140" fmla="*/ 46 h 1085"/>
                  <a:gd name="connsiteX141" fmla="*/ 345 w 5810"/>
                  <a:gd name="connsiteY141" fmla="*/ 66 h 1085"/>
                  <a:gd name="connsiteX142" fmla="*/ 403 w 5810"/>
                  <a:gd name="connsiteY142" fmla="*/ 93 h 1085"/>
                  <a:gd name="connsiteX143" fmla="*/ 459 w 5810"/>
                  <a:gd name="connsiteY143" fmla="*/ 131 h 1085"/>
                  <a:gd name="connsiteX144" fmla="*/ 514 w 5810"/>
                  <a:gd name="connsiteY144" fmla="*/ 174 h 1085"/>
                  <a:gd name="connsiteX145" fmla="*/ 568 w 5810"/>
                  <a:gd name="connsiteY145" fmla="*/ 228 h 1085"/>
                  <a:gd name="connsiteX146" fmla="*/ 618 w 5810"/>
                  <a:gd name="connsiteY146" fmla="*/ 292 h 1085"/>
                  <a:gd name="connsiteX147" fmla="*/ 667 w 5810"/>
                  <a:gd name="connsiteY147" fmla="*/ 367 h 1085"/>
                  <a:gd name="connsiteX148" fmla="*/ 754 w 5810"/>
                  <a:gd name="connsiteY148" fmla="*/ 516 h 1085"/>
                  <a:gd name="connsiteX149" fmla="*/ 787 w 5810"/>
                  <a:gd name="connsiteY149" fmla="*/ 575 h 1085"/>
                  <a:gd name="connsiteX150" fmla="*/ 820 w 5810"/>
                  <a:gd name="connsiteY150" fmla="*/ 631 h 1085"/>
                  <a:gd name="connsiteX151" fmla="*/ 853 w 5810"/>
                  <a:gd name="connsiteY151" fmla="*/ 684 h 1085"/>
                  <a:gd name="connsiteX152" fmla="*/ 886 w 5810"/>
                  <a:gd name="connsiteY152" fmla="*/ 736 h 1085"/>
                  <a:gd name="connsiteX153" fmla="*/ 921 w 5810"/>
                  <a:gd name="connsiteY153" fmla="*/ 782 h 1085"/>
                  <a:gd name="connsiteX154" fmla="*/ 958 w 5810"/>
                  <a:gd name="connsiteY154" fmla="*/ 825 h 1085"/>
                  <a:gd name="connsiteX155" fmla="*/ 1000 w 5810"/>
                  <a:gd name="connsiteY155" fmla="*/ 863 h 1085"/>
                  <a:gd name="connsiteX156" fmla="*/ 1043 w 5810"/>
                  <a:gd name="connsiteY156" fmla="*/ 894 h 1085"/>
                  <a:gd name="connsiteX157" fmla="*/ 1090 w 5810"/>
                  <a:gd name="connsiteY157" fmla="*/ 921 h 1085"/>
                  <a:gd name="connsiteX158" fmla="*/ 1140 w 5810"/>
                  <a:gd name="connsiteY158" fmla="*/ 939 h 1085"/>
                  <a:gd name="connsiteX159" fmla="*/ 1196 w 5810"/>
                  <a:gd name="connsiteY159" fmla="*/ 952 h 1085"/>
                  <a:gd name="connsiteX160" fmla="*/ 1258 w 5810"/>
                  <a:gd name="connsiteY160" fmla="*/ 956 h 1085"/>
                  <a:gd name="connsiteX161" fmla="*/ 1264 w 5810"/>
                  <a:gd name="connsiteY161" fmla="*/ 956 h 1085"/>
                  <a:gd name="connsiteX162" fmla="*/ 1324 w 5810"/>
                  <a:gd name="connsiteY162" fmla="*/ 950 h 1085"/>
                  <a:gd name="connsiteX163" fmla="*/ 1380 w 5810"/>
                  <a:gd name="connsiteY163" fmla="*/ 935 h 1085"/>
                  <a:gd name="connsiteX164" fmla="*/ 1433 w 5810"/>
                  <a:gd name="connsiteY164" fmla="*/ 913 h 1085"/>
                  <a:gd name="connsiteX165" fmla="*/ 1481 w 5810"/>
                  <a:gd name="connsiteY165" fmla="*/ 884 h 1085"/>
                  <a:gd name="connsiteX166" fmla="*/ 1526 w 5810"/>
                  <a:gd name="connsiteY166" fmla="*/ 846 h 1085"/>
                  <a:gd name="connsiteX167" fmla="*/ 1569 w 5810"/>
                  <a:gd name="connsiteY167" fmla="*/ 803 h 1085"/>
                  <a:gd name="connsiteX168" fmla="*/ 1609 w 5810"/>
                  <a:gd name="connsiteY168" fmla="*/ 755 h 1085"/>
                  <a:gd name="connsiteX169" fmla="*/ 1648 w 5810"/>
                  <a:gd name="connsiteY169" fmla="*/ 703 h 1085"/>
                  <a:gd name="connsiteX170" fmla="*/ 1687 w 5810"/>
                  <a:gd name="connsiteY170" fmla="*/ 649 h 1085"/>
                  <a:gd name="connsiteX171" fmla="*/ 1799 w 5810"/>
                  <a:gd name="connsiteY171" fmla="*/ 475 h 1085"/>
                  <a:gd name="connsiteX172" fmla="*/ 1838 w 5810"/>
                  <a:gd name="connsiteY172" fmla="*/ 415 h 1085"/>
                  <a:gd name="connsiteX173" fmla="*/ 1879 w 5810"/>
                  <a:gd name="connsiteY173" fmla="*/ 357 h 1085"/>
                  <a:gd name="connsiteX174" fmla="*/ 1923 w 5810"/>
                  <a:gd name="connsiteY174" fmla="*/ 299 h 1085"/>
                  <a:gd name="connsiteX175" fmla="*/ 1968 w 5810"/>
                  <a:gd name="connsiteY175" fmla="*/ 245 h 1085"/>
                  <a:gd name="connsiteX176" fmla="*/ 2015 w 5810"/>
                  <a:gd name="connsiteY176" fmla="*/ 193 h 1085"/>
                  <a:gd name="connsiteX177" fmla="*/ 2069 w 5810"/>
                  <a:gd name="connsiteY177" fmla="*/ 145 h 1085"/>
                  <a:gd name="connsiteX178" fmla="*/ 2125 w 5810"/>
                  <a:gd name="connsiteY178" fmla="*/ 104 h 1085"/>
                  <a:gd name="connsiteX179" fmla="*/ 2187 w 5810"/>
                  <a:gd name="connsiteY179" fmla="*/ 69 h 1085"/>
                  <a:gd name="connsiteX180" fmla="*/ 2253 w 5810"/>
                  <a:gd name="connsiteY180" fmla="*/ 39 h 1085"/>
                  <a:gd name="connsiteX181" fmla="*/ 2325 w 5810"/>
                  <a:gd name="connsiteY181" fmla="*/ 19 h 1085"/>
                  <a:gd name="connsiteX182" fmla="*/ 2404 w 5810"/>
                  <a:gd name="connsiteY182" fmla="*/ 6 h 1085"/>
                  <a:gd name="connsiteX183" fmla="*/ 2474 w 5810"/>
                  <a:gd name="connsiteY183" fmla="*/ 4 h 1085"/>
                  <a:gd name="connsiteX184" fmla="*/ 2540 w 5810"/>
                  <a:gd name="connsiteY184" fmla="*/ 13 h 1085"/>
                  <a:gd name="connsiteX185" fmla="*/ 2600 w 5810"/>
                  <a:gd name="connsiteY185" fmla="*/ 27 h 1085"/>
                  <a:gd name="connsiteX186" fmla="*/ 2658 w 5810"/>
                  <a:gd name="connsiteY186" fmla="*/ 50 h 1085"/>
                  <a:gd name="connsiteX187" fmla="*/ 2711 w 5810"/>
                  <a:gd name="connsiteY187" fmla="*/ 81 h 1085"/>
                  <a:gd name="connsiteX188" fmla="*/ 2761 w 5810"/>
                  <a:gd name="connsiteY188" fmla="*/ 116 h 1085"/>
                  <a:gd name="connsiteX189" fmla="*/ 2806 w 5810"/>
                  <a:gd name="connsiteY189" fmla="*/ 158 h 1085"/>
                  <a:gd name="connsiteX190" fmla="*/ 2852 w 5810"/>
                  <a:gd name="connsiteY190" fmla="*/ 203 h 1085"/>
                  <a:gd name="connsiteX191" fmla="*/ 2893 w 5810"/>
                  <a:gd name="connsiteY191" fmla="*/ 251 h 1085"/>
                  <a:gd name="connsiteX192" fmla="*/ 2932 w 5810"/>
                  <a:gd name="connsiteY192" fmla="*/ 303 h 1085"/>
                  <a:gd name="connsiteX193" fmla="*/ 2969 w 5810"/>
                  <a:gd name="connsiteY193" fmla="*/ 357 h 1085"/>
                  <a:gd name="connsiteX194" fmla="*/ 3004 w 5810"/>
                  <a:gd name="connsiteY194" fmla="*/ 413 h 1085"/>
                  <a:gd name="connsiteX195" fmla="*/ 3039 w 5810"/>
                  <a:gd name="connsiteY195" fmla="*/ 467 h 1085"/>
                  <a:gd name="connsiteX196" fmla="*/ 3073 w 5810"/>
                  <a:gd name="connsiteY196" fmla="*/ 523 h 1085"/>
                  <a:gd name="connsiteX197" fmla="*/ 3110 w 5810"/>
                  <a:gd name="connsiteY197" fmla="*/ 585 h 1085"/>
                  <a:gd name="connsiteX198" fmla="*/ 3147 w 5810"/>
                  <a:gd name="connsiteY198" fmla="*/ 643 h 1085"/>
                  <a:gd name="connsiteX199" fmla="*/ 3186 w 5810"/>
                  <a:gd name="connsiteY199" fmla="*/ 701 h 1085"/>
                  <a:gd name="connsiteX200" fmla="*/ 3223 w 5810"/>
                  <a:gd name="connsiteY200" fmla="*/ 755 h 1085"/>
                  <a:gd name="connsiteX201" fmla="*/ 3265 w 5810"/>
                  <a:gd name="connsiteY201" fmla="*/ 805 h 1085"/>
                  <a:gd name="connsiteX202" fmla="*/ 3306 w 5810"/>
                  <a:gd name="connsiteY202" fmla="*/ 848 h 1085"/>
                  <a:gd name="connsiteX203" fmla="*/ 3349 w 5810"/>
                  <a:gd name="connsiteY203" fmla="*/ 886 h 1085"/>
                  <a:gd name="connsiteX204" fmla="*/ 3395 w 5810"/>
                  <a:gd name="connsiteY204" fmla="*/ 917 h 1085"/>
                  <a:gd name="connsiteX205" fmla="*/ 3444 w 5810"/>
                  <a:gd name="connsiteY205" fmla="*/ 939 h 1085"/>
                  <a:gd name="connsiteX206" fmla="*/ 3498 w 5810"/>
                  <a:gd name="connsiteY206" fmla="*/ 952 h 1085"/>
                  <a:gd name="connsiteX207" fmla="*/ 3554 w 5810"/>
                  <a:gd name="connsiteY207" fmla="*/ 956 h 1085"/>
                  <a:gd name="connsiteX208" fmla="*/ 3609 w 5810"/>
                  <a:gd name="connsiteY208" fmla="*/ 950 h 1085"/>
                  <a:gd name="connsiteX209" fmla="*/ 3659 w 5810"/>
                  <a:gd name="connsiteY209" fmla="*/ 935 h 1085"/>
                  <a:gd name="connsiteX210" fmla="*/ 3706 w 5810"/>
                  <a:gd name="connsiteY210" fmla="*/ 915 h 1085"/>
                  <a:gd name="connsiteX211" fmla="*/ 3750 w 5810"/>
                  <a:gd name="connsiteY211" fmla="*/ 884 h 1085"/>
                  <a:gd name="connsiteX212" fmla="*/ 3789 w 5810"/>
                  <a:gd name="connsiteY212" fmla="*/ 848 h 1085"/>
                  <a:gd name="connsiteX213" fmla="*/ 3826 w 5810"/>
                  <a:gd name="connsiteY213" fmla="*/ 807 h 1085"/>
                  <a:gd name="connsiteX214" fmla="*/ 3861 w 5810"/>
                  <a:gd name="connsiteY214" fmla="*/ 759 h 1085"/>
                  <a:gd name="connsiteX215" fmla="*/ 3894 w 5810"/>
                  <a:gd name="connsiteY215" fmla="*/ 709 h 1085"/>
                  <a:gd name="connsiteX216" fmla="*/ 3927 w 5810"/>
                  <a:gd name="connsiteY216" fmla="*/ 655 h 1085"/>
                  <a:gd name="connsiteX217" fmla="*/ 3960 w 5810"/>
                  <a:gd name="connsiteY217" fmla="*/ 597 h 1085"/>
                  <a:gd name="connsiteX218" fmla="*/ 3993 w 5810"/>
                  <a:gd name="connsiteY218" fmla="*/ 537 h 1085"/>
                  <a:gd name="connsiteX219" fmla="*/ 4022 w 5810"/>
                  <a:gd name="connsiteY219" fmla="*/ 483 h 1085"/>
                  <a:gd name="connsiteX220" fmla="*/ 4084 w 5810"/>
                  <a:gd name="connsiteY220" fmla="*/ 375 h 1085"/>
                  <a:gd name="connsiteX221" fmla="*/ 4154 w 5810"/>
                  <a:gd name="connsiteY221" fmla="*/ 272 h 1085"/>
                  <a:gd name="connsiteX222" fmla="*/ 4192 w 5810"/>
                  <a:gd name="connsiteY222" fmla="*/ 224 h 1085"/>
                  <a:gd name="connsiteX223" fmla="*/ 4233 w 5810"/>
                  <a:gd name="connsiteY223" fmla="*/ 178 h 1085"/>
                  <a:gd name="connsiteX224" fmla="*/ 4276 w 5810"/>
                  <a:gd name="connsiteY224" fmla="*/ 137 h 1085"/>
                  <a:gd name="connsiteX225" fmla="*/ 4324 w 5810"/>
                  <a:gd name="connsiteY225" fmla="*/ 100 h 1085"/>
                  <a:gd name="connsiteX226" fmla="*/ 4375 w 5810"/>
                  <a:gd name="connsiteY226" fmla="*/ 66 h 1085"/>
                  <a:gd name="connsiteX227" fmla="*/ 4433 w 5810"/>
                  <a:gd name="connsiteY227" fmla="*/ 39 h 1085"/>
                  <a:gd name="connsiteX228" fmla="*/ 4493 w 5810"/>
                  <a:gd name="connsiteY228" fmla="*/ 19 h 1085"/>
                  <a:gd name="connsiteX229" fmla="*/ 4559 w 5810"/>
                  <a:gd name="connsiteY229" fmla="*/ 6 h 1085"/>
                  <a:gd name="connsiteX230" fmla="*/ 4631 w 5810"/>
                  <a:gd name="connsiteY230" fmla="*/ 0 h 1085"/>
                  <a:gd name="connsiteX0" fmla="*/ 4631 w 5810"/>
                  <a:gd name="connsiteY0" fmla="*/ 0 h 1085"/>
                  <a:gd name="connsiteX1" fmla="*/ 4681 w 5810"/>
                  <a:gd name="connsiteY1" fmla="*/ 0 h 1085"/>
                  <a:gd name="connsiteX2" fmla="*/ 4710 w 5810"/>
                  <a:gd name="connsiteY2" fmla="*/ 4 h 1085"/>
                  <a:gd name="connsiteX3" fmla="*/ 4741 w 5810"/>
                  <a:gd name="connsiteY3" fmla="*/ 13 h 1085"/>
                  <a:gd name="connsiteX4" fmla="*/ 4778 w 5810"/>
                  <a:gd name="connsiteY4" fmla="*/ 23 h 1085"/>
                  <a:gd name="connsiteX5" fmla="*/ 4819 w 5810"/>
                  <a:gd name="connsiteY5" fmla="*/ 39 h 1085"/>
                  <a:gd name="connsiteX6" fmla="*/ 4863 w 5810"/>
                  <a:gd name="connsiteY6" fmla="*/ 60 h 1085"/>
                  <a:gd name="connsiteX7" fmla="*/ 4910 w 5810"/>
                  <a:gd name="connsiteY7" fmla="*/ 89 h 1085"/>
                  <a:gd name="connsiteX8" fmla="*/ 4960 w 5810"/>
                  <a:gd name="connsiteY8" fmla="*/ 124 h 1085"/>
                  <a:gd name="connsiteX9" fmla="*/ 5009 w 5810"/>
                  <a:gd name="connsiteY9" fmla="*/ 170 h 1085"/>
                  <a:gd name="connsiteX10" fmla="*/ 5061 w 5810"/>
                  <a:gd name="connsiteY10" fmla="*/ 224 h 1085"/>
                  <a:gd name="connsiteX11" fmla="*/ 5112 w 5810"/>
                  <a:gd name="connsiteY11" fmla="*/ 286 h 1085"/>
                  <a:gd name="connsiteX12" fmla="*/ 5313 w 5810"/>
                  <a:gd name="connsiteY12" fmla="*/ 633 h 1085"/>
                  <a:gd name="connsiteX13" fmla="*/ 5408 w 5810"/>
                  <a:gd name="connsiteY13" fmla="*/ 769 h 1085"/>
                  <a:gd name="connsiteX14" fmla="*/ 5711 w 5810"/>
                  <a:gd name="connsiteY14" fmla="*/ 973 h 1085"/>
                  <a:gd name="connsiteX15" fmla="*/ 5767 w 5810"/>
                  <a:gd name="connsiteY15" fmla="*/ 983 h 1085"/>
                  <a:gd name="connsiteX16" fmla="*/ 5785 w 5810"/>
                  <a:gd name="connsiteY16" fmla="*/ 985 h 1085"/>
                  <a:gd name="connsiteX17" fmla="*/ 5802 w 5810"/>
                  <a:gd name="connsiteY17" fmla="*/ 985 h 1085"/>
                  <a:gd name="connsiteX18" fmla="*/ 5810 w 5810"/>
                  <a:gd name="connsiteY18" fmla="*/ 1072 h 1085"/>
                  <a:gd name="connsiteX19" fmla="*/ 5717 w 5810"/>
                  <a:gd name="connsiteY19" fmla="*/ 1064 h 1085"/>
                  <a:gd name="connsiteX20" fmla="*/ 5639 w 5810"/>
                  <a:gd name="connsiteY20" fmla="*/ 1043 h 1085"/>
                  <a:gd name="connsiteX21" fmla="*/ 5546 w 5810"/>
                  <a:gd name="connsiteY21" fmla="*/ 1002 h 1085"/>
                  <a:gd name="connsiteX22" fmla="*/ 5496 w 5810"/>
                  <a:gd name="connsiteY22" fmla="*/ 971 h 1085"/>
                  <a:gd name="connsiteX23" fmla="*/ 5042 w 5810"/>
                  <a:gd name="connsiteY23" fmla="*/ 336 h 1085"/>
                  <a:gd name="connsiteX24" fmla="*/ 4993 w 5810"/>
                  <a:gd name="connsiteY24" fmla="*/ 276 h 1085"/>
                  <a:gd name="connsiteX25" fmla="*/ 4945 w 5810"/>
                  <a:gd name="connsiteY25" fmla="*/ 228 h 1085"/>
                  <a:gd name="connsiteX26" fmla="*/ 4900 w 5810"/>
                  <a:gd name="connsiteY26" fmla="*/ 189 h 1085"/>
                  <a:gd name="connsiteX27" fmla="*/ 4858 w 5810"/>
                  <a:gd name="connsiteY27" fmla="*/ 158 h 1085"/>
                  <a:gd name="connsiteX28" fmla="*/ 4819 w 5810"/>
                  <a:gd name="connsiteY28" fmla="*/ 135 h 1085"/>
                  <a:gd name="connsiteX29" fmla="*/ 4770 w 5810"/>
                  <a:gd name="connsiteY29" fmla="*/ 112 h 1085"/>
                  <a:gd name="connsiteX30" fmla="*/ 4726 w 5810"/>
                  <a:gd name="connsiteY30" fmla="*/ 98 h 1085"/>
                  <a:gd name="connsiteX31" fmla="*/ 4691 w 5810"/>
                  <a:gd name="connsiteY31" fmla="*/ 89 h 1085"/>
                  <a:gd name="connsiteX32" fmla="*/ 4662 w 5810"/>
                  <a:gd name="connsiteY32" fmla="*/ 87 h 1085"/>
                  <a:gd name="connsiteX33" fmla="*/ 4635 w 5810"/>
                  <a:gd name="connsiteY33" fmla="*/ 87 h 1085"/>
                  <a:gd name="connsiteX34" fmla="*/ 4569 w 5810"/>
                  <a:gd name="connsiteY34" fmla="*/ 93 h 1085"/>
                  <a:gd name="connsiteX35" fmla="*/ 4507 w 5810"/>
                  <a:gd name="connsiteY35" fmla="*/ 106 h 1085"/>
                  <a:gd name="connsiteX36" fmla="*/ 4452 w 5810"/>
                  <a:gd name="connsiteY36" fmla="*/ 127 h 1085"/>
                  <a:gd name="connsiteX37" fmla="*/ 4400 w 5810"/>
                  <a:gd name="connsiteY37" fmla="*/ 154 h 1085"/>
                  <a:gd name="connsiteX38" fmla="*/ 4353 w 5810"/>
                  <a:gd name="connsiteY38" fmla="*/ 187 h 1085"/>
                  <a:gd name="connsiteX39" fmla="*/ 4309 w 5810"/>
                  <a:gd name="connsiteY39" fmla="*/ 224 h 1085"/>
                  <a:gd name="connsiteX40" fmla="*/ 4270 w 5810"/>
                  <a:gd name="connsiteY40" fmla="*/ 268 h 1085"/>
                  <a:gd name="connsiteX41" fmla="*/ 4231 w 5810"/>
                  <a:gd name="connsiteY41" fmla="*/ 313 h 1085"/>
                  <a:gd name="connsiteX42" fmla="*/ 4196 w 5810"/>
                  <a:gd name="connsiteY42" fmla="*/ 363 h 1085"/>
                  <a:gd name="connsiteX43" fmla="*/ 4163 w 5810"/>
                  <a:gd name="connsiteY43" fmla="*/ 415 h 1085"/>
                  <a:gd name="connsiteX44" fmla="*/ 4101 w 5810"/>
                  <a:gd name="connsiteY44" fmla="*/ 523 h 1085"/>
                  <a:gd name="connsiteX45" fmla="*/ 4008 w 5810"/>
                  <a:gd name="connsiteY45" fmla="*/ 691 h 1085"/>
                  <a:gd name="connsiteX46" fmla="*/ 3975 w 5810"/>
                  <a:gd name="connsiteY46" fmla="*/ 747 h 1085"/>
                  <a:gd name="connsiteX47" fmla="*/ 3940 w 5810"/>
                  <a:gd name="connsiteY47" fmla="*/ 798 h 1085"/>
                  <a:gd name="connsiteX48" fmla="*/ 3905 w 5810"/>
                  <a:gd name="connsiteY48" fmla="*/ 848 h 1085"/>
                  <a:gd name="connsiteX49" fmla="*/ 3865 w 5810"/>
                  <a:gd name="connsiteY49" fmla="*/ 894 h 1085"/>
                  <a:gd name="connsiteX50" fmla="*/ 3824 w 5810"/>
                  <a:gd name="connsiteY50" fmla="*/ 935 h 1085"/>
                  <a:gd name="connsiteX51" fmla="*/ 3779 w 5810"/>
                  <a:gd name="connsiteY51" fmla="*/ 971 h 1085"/>
                  <a:gd name="connsiteX52" fmla="*/ 3729 w 5810"/>
                  <a:gd name="connsiteY52" fmla="*/ 1000 h 1085"/>
                  <a:gd name="connsiteX53" fmla="*/ 3677 w 5810"/>
                  <a:gd name="connsiteY53" fmla="*/ 1022 h 1085"/>
                  <a:gd name="connsiteX54" fmla="*/ 3620 w 5810"/>
                  <a:gd name="connsiteY54" fmla="*/ 1037 h 1085"/>
                  <a:gd name="connsiteX55" fmla="*/ 3556 w 5810"/>
                  <a:gd name="connsiteY55" fmla="*/ 1043 h 1085"/>
                  <a:gd name="connsiteX56" fmla="*/ 3547 w 5810"/>
                  <a:gd name="connsiteY56" fmla="*/ 1043 h 1085"/>
                  <a:gd name="connsiteX57" fmla="*/ 3485 w 5810"/>
                  <a:gd name="connsiteY57" fmla="*/ 1039 h 1085"/>
                  <a:gd name="connsiteX58" fmla="*/ 3426 w 5810"/>
                  <a:gd name="connsiteY58" fmla="*/ 1025 h 1085"/>
                  <a:gd name="connsiteX59" fmla="*/ 3372 w 5810"/>
                  <a:gd name="connsiteY59" fmla="*/ 1002 h 1085"/>
                  <a:gd name="connsiteX60" fmla="*/ 3320 w 5810"/>
                  <a:gd name="connsiteY60" fmla="*/ 973 h 1085"/>
                  <a:gd name="connsiteX61" fmla="*/ 3273 w 5810"/>
                  <a:gd name="connsiteY61" fmla="*/ 935 h 1085"/>
                  <a:gd name="connsiteX62" fmla="*/ 3229 w 5810"/>
                  <a:gd name="connsiteY62" fmla="*/ 894 h 1085"/>
                  <a:gd name="connsiteX63" fmla="*/ 3186 w 5810"/>
                  <a:gd name="connsiteY63" fmla="*/ 846 h 1085"/>
                  <a:gd name="connsiteX64" fmla="*/ 3147 w 5810"/>
                  <a:gd name="connsiteY64" fmla="*/ 796 h 1085"/>
                  <a:gd name="connsiteX65" fmla="*/ 3108 w 5810"/>
                  <a:gd name="connsiteY65" fmla="*/ 740 h 1085"/>
                  <a:gd name="connsiteX66" fmla="*/ 3070 w 5810"/>
                  <a:gd name="connsiteY66" fmla="*/ 684 h 1085"/>
                  <a:gd name="connsiteX67" fmla="*/ 2965 w 5810"/>
                  <a:gd name="connsiteY67" fmla="*/ 510 h 1085"/>
                  <a:gd name="connsiteX68" fmla="*/ 2928 w 5810"/>
                  <a:gd name="connsiteY68" fmla="*/ 452 h 1085"/>
                  <a:gd name="connsiteX69" fmla="*/ 2891 w 5810"/>
                  <a:gd name="connsiteY69" fmla="*/ 396 h 1085"/>
                  <a:gd name="connsiteX70" fmla="*/ 2854 w 5810"/>
                  <a:gd name="connsiteY70" fmla="*/ 342 h 1085"/>
                  <a:gd name="connsiteX71" fmla="*/ 2814 w 5810"/>
                  <a:gd name="connsiteY71" fmla="*/ 292 h 1085"/>
                  <a:gd name="connsiteX72" fmla="*/ 2773 w 5810"/>
                  <a:gd name="connsiteY72" fmla="*/ 247 h 1085"/>
                  <a:gd name="connsiteX73" fmla="*/ 2732 w 5810"/>
                  <a:gd name="connsiteY73" fmla="*/ 205 h 1085"/>
                  <a:gd name="connsiteX74" fmla="*/ 2686 w 5810"/>
                  <a:gd name="connsiteY74" fmla="*/ 168 h 1085"/>
                  <a:gd name="connsiteX75" fmla="*/ 2639 w 5810"/>
                  <a:gd name="connsiteY75" fmla="*/ 139 h 1085"/>
                  <a:gd name="connsiteX76" fmla="*/ 2587 w 5810"/>
                  <a:gd name="connsiteY76" fmla="*/ 116 h 1085"/>
                  <a:gd name="connsiteX77" fmla="*/ 2532 w 5810"/>
                  <a:gd name="connsiteY77" fmla="*/ 100 h 1085"/>
                  <a:gd name="connsiteX78" fmla="*/ 2474 w 5810"/>
                  <a:gd name="connsiteY78" fmla="*/ 91 h 1085"/>
                  <a:gd name="connsiteX79" fmla="*/ 2410 w 5810"/>
                  <a:gd name="connsiteY79" fmla="*/ 93 h 1085"/>
                  <a:gd name="connsiteX80" fmla="*/ 2342 w 5810"/>
                  <a:gd name="connsiteY80" fmla="*/ 104 h 1085"/>
                  <a:gd name="connsiteX81" fmla="*/ 2280 w 5810"/>
                  <a:gd name="connsiteY81" fmla="*/ 122 h 1085"/>
                  <a:gd name="connsiteX82" fmla="*/ 2222 w 5810"/>
                  <a:gd name="connsiteY82" fmla="*/ 147 h 1085"/>
                  <a:gd name="connsiteX83" fmla="*/ 2168 w 5810"/>
                  <a:gd name="connsiteY83" fmla="*/ 180 h 1085"/>
                  <a:gd name="connsiteX84" fmla="*/ 2117 w 5810"/>
                  <a:gd name="connsiteY84" fmla="*/ 218 h 1085"/>
                  <a:gd name="connsiteX85" fmla="*/ 2071 w 5810"/>
                  <a:gd name="connsiteY85" fmla="*/ 261 h 1085"/>
                  <a:gd name="connsiteX86" fmla="*/ 2026 w 5810"/>
                  <a:gd name="connsiteY86" fmla="*/ 307 h 1085"/>
                  <a:gd name="connsiteX87" fmla="*/ 1984 w 5810"/>
                  <a:gd name="connsiteY87" fmla="*/ 359 h 1085"/>
                  <a:gd name="connsiteX88" fmla="*/ 1945 w 5810"/>
                  <a:gd name="connsiteY88" fmla="*/ 413 h 1085"/>
                  <a:gd name="connsiteX89" fmla="*/ 1908 w 5810"/>
                  <a:gd name="connsiteY89" fmla="*/ 467 h 1085"/>
                  <a:gd name="connsiteX90" fmla="*/ 1871 w 5810"/>
                  <a:gd name="connsiteY90" fmla="*/ 523 h 1085"/>
                  <a:gd name="connsiteX91" fmla="*/ 1834 w 5810"/>
                  <a:gd name="connsiteY91" fmla="*/ 581 h 1085"/>
                  <a:gd name="connsiteX92" fmla="*/ 1799 w 5810"/>
                  <a:gd name="connsiteY92" fmla="*/ 637 h 1085"/>
                  <a:gd name="connsiteX93" fmla="*/ 1724 w 5810"/>
                  <a:gd name="connsiteY93" fmla="*/ 749 h 1085"/>
                  <a:gd name="connsiteX94" fmla="*/ 1685 w 5810"/>
                  <a:gd name="connsiteY94" fmla="*/ 801 h 1085"/>
                  <a:gd name="connsiteX95" fmla="*/ 1644 w 5810"/>
                  <a:gd name="connsiteY95" fmla="*/ 850 h 1085"/>
                  <a:gd name="connsiteX96" fmla="*/ 1600 w 5810"/>
                  <a:gd name="connsiteY96" fmla="*/ 896 h 1085"/>
                  <a:gd name="connsiteX97" fmla="*/ 1553 w 5810"/>
                  <a:gd name="connsiteY97" fmla="*/ 937 h 1085"/>
                  <a:gd name="connsiteX98" fmla="*/ 1503 w 5810"/>
                  <a:gd name="connsiteY98" fmla="*/ 973 h 1085"/>
                  <a:gd name="connsiteX99" fmla="*/ 1450 w 5810"/>
                  <a:gd name="connsiteY99" fmla="*/ 1002 h 1085"/>
                  <a:gd name="connsiteX100" fmla="*/ 1394 w 5810"/>
                  <a:gd name="connsiteY100" fmla="*/ 1025 h 1085"/>
                  <a:gd name="connsiteX101" fmla="*/ 1330 w 5810"/>
                  <a:gd name="connsiteY101" fmla="*/ 1037 h 1085"/>
                  <a:gd name="connsiteX102" fmla="*/ 1264 w 5810"/>
                  <a:gd name="connsiteY102" fmla="*/ 1043 h 1085"/>
                  <a:gd name="connsiteX103" fmla="*/ 1258 w 5810"/>
                  <a:gd name="connsiteY103" fmla="*/ 1043 h 1085"/>
                  <a:gd name="connsiteX104" fmla="*/ 1190 w 5810"/>
                  <a:gd name="connsiteY104" fmla="*/ 1039 h 1085"/>
                  <a:gd name="connsiteX105" fmla="*/ 1128 w 5810"/>
                  <a:gd name="connsiteY105" fmla="*/ 1027 h 1085"/>
                  <a:gd name="connsiteX106" fmla="*/ 1070 w 5810"/>
                  <a:gd name="connsiteY106" fmla="*/ 1008 h 1085"/>
                  <a:gd name="connsiteX107" fmla="*/ 1018 w 5810"/>
                  <a:gd name="connsiteY107" fmla="*/ 983 h 1085"/>
                  <a:gd name="connsiteX108" fmla="*/ 971 w 5810"/>
                  <a:gd name="connsiteY108" fmla="*/ 952 h 1085"/>
                  <a:gd name="connsiteX109" fmla="*/ 925 w 5810"/>
                  <a:gd name="connsiteY109" fmla="*/ 915 h 1085"/>
                  <a:gd name="connsiteX110" fmla="*/ 884 w 5810"/>
                  <a:gd name="connsiteY110" fmla="*/ 873 h 1085"/>
                  <a:gd name="connsiteX111" fmla="*/ 847 w 5810"/>
                  <a:gd name="connsiteY111" fmla="*/ 828 h 1085"/>
                  <a:gd name="connsiteX112" fmla="*/ 810 w 5810"/>
                  <a:gd name="connsiteY112" fmla="*/ 780 h 1085"/>
                  <a:gd name="connsiteX113" fmla="*/ 777 w 5810"/>
                  <a:gd name="connsiteY113" fmla="*/ 728 h 1085"/>
                  <a:gd name="connsiteX114" fmla="*/ 742 w 5810"/>
                  <a:gd name="connsiteY114" fmla="*/ 674 h 1085"/>
                  <a:gd name="connsiteX115" fmla="*/ 711 w 5810"/>
                  <a:gd name="connsiteY115" fmla="*/ 618 h 1085"/>
                  <a:gd name="connsiteX116" fmla="*/ 678 w 5810"/>
                  <a:gd name="connsiteY116" fmla="*/ 560 h 1085"/>
                  <a:gd name="connsiteX117" fmla="*/ 616 w 5810"/>
                  <a:gd name="connsiteY117" fmla="*/ 448 h 1085"/>
                  <a:gd name="connsiteX118" fmla="*/ 547 w 5810"/>
                  <a:gd name="connsiteY118" fmla="*/ 340 h 1085"/>
                  <a:gd name="connsiteX119" fmla="*/ 504 w 5810"/>
                  <a:gd name="connsiteY119" fmla="*/ 284 h 1085"/>
                  <a:gd name="connsiteX120" fmla="*/ 457 w 5810"/>
                  <a:gd name="connsiteY120" fmla="*/ 239 h 1085"/>
                  <a:gd name="connsiteX121" fmla="*/ 409 w 5810"/>
                  <a:gd name="connsiteY121" fmla="*/ 199 h 1085"/>
                  <a:gd name="connsiteX122" fmla="*/ 358 w 5810"/>
                  <a:gd name="connsiteY122" fmla="*/ 168 h 1085"/>
                  <a:gd name="connsiteX123" fmla="*/ 308 w 5810"/>
                  <a:gd name="connsiteY123" fmla="*/ 145 h 1085"/>
                  <a:gd name="connsiteX124" fmla="*/ 256 w 5810"/>
                  <a:gd name="connsiteY124" fmla="*/ 127 h 1085"/>
                  <a:gd name="connsiteX125" fmla="*/ 209 w 5810"/>
                  <a:gd name="connsiteY125" fmla="*/ 112 h 1085"/>
                  <a:gd name="connsiteX126" fmla="*/ 163 w 5810"/>
                  <a:gd name="connsiteY126" fmla="*/ 104 h 1085"/>
                  <a:gd name="connsiteX127" fmla="*/ 122 w 5810"/>
                  <a:gd name="connsiteY127" fmla="*/ 100 h 1085"/>
                  <a:gd name="connsiteX128" fmla="*/ 85 w 5810"/>
                  <a:gd name="connsiteY128" fmla="*/ 95 h 1085"/>
                  <a:gd name="connsiteX129" fmla="*/ 31 w 5810"/>
                  <a:gd name="connsiteY129" fmla="*/ 95 h 1085"/>
                  <a:gd name="connsiteX130" fmla="*/ 17 w 5810"/>
                  <a:gd name="connsiteY130" fmla="*/ 98 h 1085"/>
                  <a:gd name="connsiteX131" fmla="*/ 11 w 5810"/>
                  <a:gd name="connsiteY131" fmla="*/ 98 h 1085"/>
                  <a:gd name="connsiteX132" fmla="*/ 0 w 5810"/>
                  <a:gd name="connsiteY132" fmla="*/ 13 h 1085"/>
                  <a:gd name="connsiteX133" fmla="*/ 9 w 5810"/>
                  <a:gd name="connsiteY133" fmla="*/ 13 h 1085"/>
                  <a:gd name="connsiteX134" fmla="*/ 29 w 5810"/>
                  <a:gd name="connsiteY134" fmla="*/ 10 h 1085"/>
                  <a:gd name="connsiteX135" fmla="*/ 91 w 5810"/>
                  <a:gd name="connsiteY135" fmla="*/ 10 h 1085"/>
                  <a:gd name="connsiteX136" fmla="*/ 135 w 5810"/>
                  <a:gd name="connsiteY136" fmla="*/ 13 h 1085"/>
                  <a:gd name="connsiteX137" fmla="*/ 182 w 5810"/>
                  <a:gd name="connsiteY137" fmla="*/ 19 h 1085"/>
                  <a:gd name="connsiteX138" fmla="*/ 234 w 5810"/>
                  <a:gd name="connsiteY138" fmla="*/ 29 h 1085"/>
                  <a:gd name="connsiteX139" fmla="*/ 287 w 5810"/>
                  <a:gd name="connsiteY139" fmla="*/ 46 h 1085"/>
                  <a:gd name="connsiteX140" fmla="*/ 345 w 5810"/>
                  <a:gd name="connsiteY140" fmla="*/ 66 h 1085"/>
                  <a:gd name="connsiteX141" fmla="*/ 403 w 5810"/>
                  <a:gd name="connsiteY141" fmla="*/ 93 h 1085"/>
                  <a:gd name="connsiteX142" fmla="*/ 459 w 5810"/>
                  <a:gd name="connsiteY142" fmla="*/ 131 h 1085"/>
                  <a:gd name="connsiteX143" fmla="*/ 514 w 5810"/>
                  <a:gd name="connsiteY143" fmla="*/ 174 h 1085"/>
                  <a:gd name="connsiteX144" fmla="*/ 568 w 5810"/>
                  <a:gd name="connsiteY144" fmla="*/ 228 h 1085"/>
                  <a:gd name="connsiteX145" fmla="*/ 618 w 5810"/>
                  <a:gd name="connsiteY145" fmla="*/ 292 h 1085"/>
                  <a:gd name="connsiteX146" fmla="*/ 667 w 5810"/>
                  <a:gd name="connsiteY146" fmla="*/ 367 h 1085"/>
                  <a:gd name="connsiteX147" fmla="*/ 754 w 5810"/>
                  <a:gd name="connsiteY147" fmla="*/ 516 h 1085"/>
                  <a:gd name="connsiteX148" fmla="*/ 787 w 5810"/>
                  <a:gd name="connsiteY148" fmla="*/ 575 h 1085"/>
                  <a:gd name="connsiteX149" fmla="*/ 820 w 5810"/>
                  <a:gd name="connsiteY149" fmla="*/ 631 h 1085"/>
                  <a:gd name="connsiteX150" fmla="*/ 853 w 5810"/>
                  <a:gd name="connsiteY150" fmla="*/ 684 h 1085"/>
                  <a:gd name="connsiteX151" fmla="*/ 886 w 5810"/>
                  <a:gd name="connsiteY151" fmla="*/ 736 h 1085"/>
                  <a:gd name="connsiteX152" fmla="*/ 921 w 5810"/>
                  <a:gd name="connsiteY152" fmla="*/ 782 h 1085"/>
                  <a:gd name="connsiteX153" fmla="*/ 958 w 5810"/>
                  <a:gd name="connsiteY153" fmla="*/ 825 h 1085"/>
                  <a:gd name="connsiteX154" fmla="*/ 1000 w 5810"/>
                  <a:gd name="connsiteY154" fmla="*/ 863 h 1085"/>
                  <a:gd name="connsiteX155" fmla="*/ 1043 w 5810"/>
                  <a:gd name="connsiteY155" fmla="*/ 894 h 1085"/>
                  <a:gd name="connsiteX156" fmla="*/ 1090 w 5810"/>
                  <a:gd name="connsiteY156" fmla="*/ 921 h 1085"/>
                  <a:gd name="connsiteX157" fmla="*/ 1140 w 5810"/>
                  <a:gd name="connsiteY157" fmla="*/ 939 h 1085"/>
                  <a:gd name="connsiteX158" fmla="*/ 1196 w 5810"/>
                  <a:gd name="connsiteY158" fmla="*/ 952 h 1085"/>
                  <a:gd name="connsiteX159" fmla="*/ 1258 w 5810"/>
                  <a:gd name="connsiteY159" fmla="*/ 956 h 1085"/>
                  <a:gd name="connsiteX160" fmla="*/ 1264 w 5810"/>
                  <a:gd name="connsiteY160" fmla="*/ 956 h 1085"/>
                  <a:gd name="connsiteX161" fmla="*/ 1324 w 5810"/>
                  <a:gd name="connsiteY161" fmla="*/ 950 h 1085"/>
                  <a:gd name="connsiteX162" fmla="*/ 1380 w 5810"/>
                  <a:gd name="connsiteY162" fmla="*/ 935 h 1085"/>
                  <a:gd name="connsiteX163" fmla="*/ 1433 w 5810"/>
                  <a:gd name="connsiteY163" fmla="*/ 913 h 1085"/>
                  <a:gd name="connsiteX164" fmla="*/ 1481 w 5810"/>
                  <a:gd name="connsiteY164" fmla="*/ 884 h 1085"/>
                  <a:gd name="connsiteX165" fmla="*/ 1526 w 5810"/>
                  <a:gd name="connsiteY165" fmla="*/ 846 h 1085"/>
                  <a:gd name="connsiteX166" fmla="*/ 1569 w 5810"/>
                  <a:gd name="connsiteY166" fmla="*/ 803 h 1085"/>
                  <a:gd name="connsiteX167" fmla="*/ 1609 w 5810"/>
                  <a:gd name="connsiteY167" fmla="*/ 755 h 1085"/>
                  <a:gd name="connsiteX168" fmla="*/ 1648 w 5810"/>
                  <a:gd name="connsiteY168" fmla="*/ 703 h 1085"/>
                  <a:gd name="connsiteX169" fmla="*/ 1687 w 5810"/>
                  <a:gd name="connsiteY169" fmla="*/ 649 h 1085"/>
                  <a:gd name="connsiteX170" fmla="*/ 1799 w 5810"/>
                  <a:gd name="connsiteY170" fmla="*/ 475 h 1085"/>
                  <a:gd name="connsiteX171" fmla="*/ 1838 w 5810"/>
                  <a:gd name="connsiteY171" fmla="*/ 415 h 1085"/>
                  <a:gd name="connsiteX172" fmla="*/ 1879 w 5810"/>
                  <a:gd name="connsiteY172" fmla="*/ 357 h 1085"/>
                  <a:gd name="connsiteX173" fmla="*/ 1923 w 5810"/>
                  <a:gd name="connsiteY173" fmla="*/ 299 h 1085"/>
                  <a:gd name="connsiteX174" fmla="*/ 1968 w 5810"/>
                  <a:gd name="connsiteY174" fmla="*/ 245 h 1085"/>
                  <a:gd name="connsiteX175" fmla="*/ 2015 w 5810"/>
                  <a:gd name="connsiteY175" fmla="*/ 193 h 1085"/>
                  <a:gd name="connsiteX176" fmla="*/ 2069 w 5810"/>
                  <a:gd name="connsiteY176" fmla="*/ 145 h 1085"/>
                  <a:gd name="connsiteX177" fmla="*/ 2125 w 5810"/>
                  <a:gd name="connsiteY177" fmla="*/ 104 h 1085"/>
                  <a:gd name="connsiteX178" fmla="*/ 2187 w 5810"/>
                  <a:gd name="connsiteY178" fmla="*/ 69 h 1085"/>
                  <a:gd name="connsiteX179" fmla="*/ 2253 w 5810"/>
                  <a:gd name="connsiteY179" fmla="*/ 39 h 1085"/>
                  <a:gd name="connsiteX180" fmla="*/ 2325 w 5810"/>
                  <a:gd name="connsiteY180" fmla="*/ 19 h 1085"/>
                  <a:gd name="connsiteX181" fmla="*/ 2404 w 5810"/>
                  <a:gd name="connsiteY181" fmla="*/ 6 h 1085"/>
                  <a:gd name="connsiteX182" fmla="*/ 2474 w 5810"/>
                  <a:gd name="connsiteY182" fmla="*/ 4 h 1085"/>
                  <a:gd name="connsiteX183" fmla="*/ 2540 w 5810"/>
                  <a:gd name="connsiteY183" fmla="*/ 13 h 1085"/>
                  <a:gd name="connsiteX184" fmla="*/ 2600 w 5810"/>
                  <a:gd name="connsiteY184" fmla="*/ 27 h 1085"/>
                  <a:gd name="connsiteX185" fmla="*/ 2658 w 5810"/>
                  <a:gd name="connsiteY185" fmla="*/ 50 h 1085"/>
                  <a:gd name="connsiteX186" fmla="*/ 2711 w 5810"/>
                  <a:gd name="connsiteY186" fmla="*/ 81 h 1085"/>
                  <a:gd name="connsiteX187" fmla="*/ 2761 w 5810"/>
                  <a:gd name="connsiteY187" fmla="*/ 116 h 1085"/>
                  <a:gd name="connsiteX188" fmla="*/ 2806 w 5810"/>
                  <a:gd name="connsiteY188" fmla="*/ 158 h 1085"/>
                  <a:gd name="connsiteX189" fmla="*/ 2852 w 5810"/>
                  <a:gd name="connsiteY189" fmla="*/ 203 h 1085"/>
                  <a:gd name="connsiteX190" fmla="*/ 2893 w 5810"/>
                  <a:gd name="connsiteY190" fmla="*/ 251 h 1085"/>
                  <a:gd name="connsiteX191" fmla="*/ 2932 w 5810"/>
                  <a:gd name="connsiteY191" fmla="*/ 303 h 1085"/>
                  <a:gd name="connsiteX192" fmla="*/ 2969 w 5810"/>
                  <a:gd name="connsiteY192" fmla="*/ 357 h 1085"/>
                  <a:gd name="connsiteX193" fmla="*/ 3004 w 5810"/>
                  <a:gd name="connsiteY193" fmla="*/ 413 h 1085"/>
                  <a:gd name="connsiteX194" fmla="*/ 3039 w 5810"/>
                  <a:gd name="connsiteY194" fmla="*/ 467 h 1085"/>
                  <a:gd name="connsiteX195" fmla="*/ 3073 w 5810"/>
                  <a:gd name="connsiteY195" fmla="*/ 523 h 1085"/>
                  <a:gd name="connsiteX196" fmla="*/ 3110 w 5810"/>
                  <a:gd name="connsiteY196" fmla="*/ 585 h 1085"/>
                  <a:gd name="connsiteX197" fmla="*/ 3147 w 5810"/>
                  <a:gd name="connsiteY197" fmla="*/ 643 h 1085"/>
                  <a:gd name="connsiteX198" fmla="*/ 3186 w 5810"/>
                  <a:gd name="connsiteY198" fmla="*/ 701 h 1085"/>
                  <a:gd name="connsiteX199" fmla="*/ 3223 w 5810"/>
                  <a:gd name="connsiteY199" fmla="*/ 755 h 1085"/>
                  <a:gd name="connsiteX200" fmla="*/ 3265 w 5810"/>
                  <a:gd name="connsiteY200" fmla="*/ 805 h 1085"/>
                  <a:gd name="connsiteX201" fmla="*/ 3306 w 5810"/>
                  <a:gd name="connsiteY201" fmla="*/ 848 h 1085"/>
                  <a:gd name="connsiteX202" fmla="*/ 3349 w 5810"/>
                  <a:gd name="connsiteY202" fmla="*/ 886 h 1085"/>
                  <a:gd name="connsiteX203" fmla="*/ 3395 w 5810"/>
                  <a:gd name="connsiteY203" fmla="*/ 917 h 1085"/>
                  <a:gd name="connsiteX204" fmla="*/ 3444 w 5810"/>
                  <a:gd name="connsiteY204" fmla="*/ 939 h 1085"/>
                  <a:gd name="connsiteX205" fmla="*/ 3498 w 5810"/>
                  <a:gd name="connsiteY205" fmla="*/ 952 h 1085"/>
                  <a:gd name="connsiteX206" fmla="*/ 3554 w 5810"/>
                  <a:gd name="connsiteY206" fmla="*/ 956 h 1085"/>
                  <a:gd name="connsiteX207" fmla="*/ 3609 w 5810"/>
                  <a:gd name="connsiteY207" fmla="*/ 950 h 1085"/>
                  <a:gd name="connsiteX208" fmla="*/ 3659 w 5810"/>
                  <a:gd name="connsiteY208" fmla="*/ 935 h 1085"/>
                  <a:gd name="connsiteX209" fmla="*/ 3706 w 5810"/>
                  <a:gd name="connsiteY209" fmla="*/ 915 h 1085"/>
                  <a:gd name="connsiteX210" fmla="*/ 3750 w 5810"/>
                  <a:gd name="connsiteY210" fmla="*/ 884 h 1085"/>
                  <a:gd name="connsiteX211" fmla="*/ 3789 w 5810"/>
                  <a:gd name="connsiteY211" fmla="*/ 848 h 1085"/>
                  <a:gd name="connsiteX212" fmla="*/ 3826 w 5810"/>
                  <a:gd name="connsiteY212" fmla="*/ 807 h 1085"/>
                  <a:gd name="connsiteX213" fmla="*/ 3861 w 5810"/>
                  <a:gd name="connsiteY213" fmla="*/ 759 h 1085"/>
                  <a:gd name="connsiteX214" fmla="*/ 3894 w 5810"/>
                  <a:gd name="connsiteY214" fmla="*/ 709 h 1085"/>
                  <a:gd name="connsiteX215" fmla="*/ 3927 w 5810"/>
                  <a:gd name="connsiteY215" fmla="*/ 655 h 1085"/>
                  <a:gd name="connsiteX216" fmla="*/ 3960 w 5810"/>
                  <a:gd name="connsiteY216" fmla="*/ 597 h 1085"/>
                  <a:gd name="connsiteX217" fmla="*/ 3993 w 5810"/>
                  <a:gd name="connsiteY217" fmla="*/ 537 h 1085"/>
                  <a:gd name="connsiteX218" fmla="*/ 4022 w 5810"/>
                  <a:gd name="connsiteY218" fmla="*/ 483 h 1085"/>
                  <a:gd name="connsiteX219" fmla="*/ 4084 w 5810"/>
                  <a:gd name="connsiteY219" fmla="*/ 375 h 1085"/>
                  <a:gd name="connsiteX220" fmla="*/ 4154 w 5810"/>
                  <a:gd name="connsiteY220" fmla="*/ 272 h 1085"/>
                  <a:gd name="connsiteX221" fmla="*/ 4192 w 5810"/>
                  <a:gd name="connsiteY221" fmla="*/ 224 h 1085"/>
                  <a:gd name="connsiteX222" fmla="*/ 4233 w 5810"/>
                  <a:gd name="connsiteY222" fmla="*/ 178 h 1085"/>
                  <a:gd name="connsiteX223" fmla="*/ 4276 w 5810"/>
                  <a:gd name="connsiteY223" fmla="*/ 137 h 1085"/>
                  <a:gd name="connsiteX224" fmla="*/ 4324 w 5810"/>
                  <a:gd name="connsiteY224" fmla="*/ 100 h 1085"/>
                  <a:gd name="connsiteX225" fmla="*/ 4375 w 5810"/>
                  <a:gd name="connsiteY225" fmla="*/ 66 h 1085"/>
                  <a:gd name="connsiteX226" fmla="*/ 4433 w 5810"/>
                  <a:gd name="connsiteY226" fmla="*/ 39 h 1085"/>
                  <a:gd name="connsiteX227" fmla="*/ 4493 w 5810"/>
                  <a:gd name="connsiteY227" fmla="*/ 19 h 1085"/>
                  <a:gd name="connsiteX228" fmla="*/ 4559 w 5810"/>
                  <a:gd name="connsiteY228" fmla="*/ 6 h 1085"/>
                  <a:gd name="connsiteX229" fmla="*/ 4631 w 5810"/>
                  <a:gd name="connsiteY229" fmla="*/ 0 h 1085"/>
                  <a:gd name="connsiteX0" fmla="*/ 4631 w 5810"/>
                  <a:gd name="connsiteY0" fmla="*/ 0 h 1085"/>
                  <a:gd name="connsiteX1" fmla="*/ 4681 w 5810"/>
                  <a:gd name="connsiteY1" fmla="*/ 0 h 1085"/>
                  <a:gd name="connsiteX2" fmla="*/ 4710 w 5810"/>
                  <a:gd name="connsiteY2" fmla="*/ 4 h 1085"/>
                  <a:gd name="connsiteX3" fmla="*/ 4741 w 5810"/>
                  <a:gd name="connsiteY3" fmla="*/ 13 h 1085"/>
                  <a:gd name="connsiteX4" fmla="*/ 4778 w 5810"/>
                  <a:gd name="connsiteY4" fmla="*/ 23 h 1085"/>
                  <a:gd name="connsiteX5" fmla="*/ 4819 w 5810"/>
                  <a:gd name="connsiteY5" fmla="*/ 39 h 1085"/>
                  <a:gd name="connsiteX6" fmla="*/ 4863 w 5810"/>
                  <a:gd name="connsiteY6" fmla="*/ 60 h 1085"/>
                  <a:gd name="connsiteX7" fmla="*/ 4910 w 5810"/>
                  <a:gd name="connsiteY7" fmla="*/ 89 h 1085"/>
                  <a:gd name="connsiteX8" fmla="*/ 4960 w 5810"/>
                  <a:gd name="connsiteY8" fmla="*/ 124 h 1085"/>
                  <a:gd name="connsiteX9" fmla="*/ 5009 w 5810"/>
                  <a:gd name="connsiteY9" fmla="*/ 170 h 1085"/>
                  <a:gd name="connsiteX10" fmla="*/ 5061 w 5810"/>
                  <a:gd name="connsiteY10" fmla="*/ 224 h 1085"/>
                  <a:gd name="connsiteX11" fmla="*/ 5112 w 5810"/>
                  <a:gd name="connsiteY11" fmla="*/ 286 h 1085"/>
                  <a:gd name="connsiteX12" fmla="*/ 5313 w 5810"/>
                  <a:gd name="connsiteY12" fmla="*/ 633 h 1085"/>
                  <a:gd name="connsiteX13" fmla="*/ 5408 w 5810"/>
                  <a:gd name="connsiteY13" fmla="*/ 769 h 1085"/>
                  <a:gd name="connsiteX14" fmla="*/ 5711 w 5810"/>
                  <a:gd name="connsiteY14" fmla="*/ 973 h 1085"/>
                  <a:gd name="connsiteX15" fmla="*/ 5767 w 5810"/>
                  <a:gd name="connsiteY15" fmla="*/ 983 h 1085"/>
                  <a:gd name="connsiteX16" fmla="*/ 5785 w 5810"/>
                  <a:gd name="connsiteY16" fmla="*/ 985 h 1085"/>
                  <a:gd name="connsiteX17" fmla="*/ 5810 w 5810"/>
                  <a:gd name="connsiteY17" fmla="*/ 1072 h 1085"/>
                  <a:gd name="connsiteX18" fmla="*/ 5717 w 5810"/>
                  <a:gd name="connsiteY18" fmla="*/ 1064 h 1085"/>
                  <a:gd name="connsiteX19" fmla="*/ 5639 w 5810"/>
                  <a:gd name="connsiteY19" fmla="*/ 1043 h 1085"/>
                  <a:gd name="connsiteX20" fmla="*/ 5546 w 5810"/>
                  <a:gd name="connsiteY20" fmla="*/ 1002 h 1085"/>
                  <a:gd name="connsiteX21" fmla="*/ 5496 w 5810"/>
                  <a:gd name="connsiteY21" fmla="*/ 971 h 1085"/>
                  <a:gd name="connsiteX22" fmla="*/ 5042 w 5810"/>
                  <a:gd name="connsiteY22" fmla="*/ 336 h 1085"/>
                  <a:gd name="connsiteX23" fmla="*/ 4993 w 5810"/>
                  <a:gd name="connsiteY23" fmla="*/ 276 h 1085"/>
                  <a:gd name="connsiteX24" fmla="*/ 4945 w 5810"/>
                  <a:gd name="connsiteY24" fmla="*/ 228 h 1085"/>
                  <a:gd name="connsiteX25" fmla="*/ 4900 w 5810"/>
                  <a:gd name="connsiteY25" fmla="*/ 189 h 1085"/>
                  <a:gd name="connsiteX26" fmla="*/ 4858 w 5810"/>
                  <a:gd name="connsiteY26" fmla="*/ 158 h 1085"/>
                  <a:gd name="connsiteX27" fmla="*/ 4819 w 5810"/>
                  <a:gd name="connsiteY27" fmla="*/ 135 h 1085"/>
                  <a:gd name="connsiteX28" fmla="*/ 4770 w 5810"/>
                  <a:gd name="connsiteY28" fmla="*/ 112 h 1085"/>
                  <a:gd name="connsiteX29" fmla="*/ 4726 w 5810"/>
                  <a:gd name="connsiteY29" fmla="*/ 98 h 1085"/>
                  <a:gd name="connsiteX30" fmla="*/ 4691 w 5810"/>
                  <a:gd name="connsiteY30" fmla="*/ 89 h 1085"/>
                  <a:gd name="connsiteX31" fmla="*/ 4662 w 5810"/>
                  <a:gd name="connsiteY31" fmla="*/ 87 h 1085"/>
                  <a:gd name="connsiteX32" fmla="*/ 4635 w 5810"/>
                  <a:gd name="connsiteY32" fmla="*/ 87 h 1085"/>
                  <a:gd name="connsiteX33" fmla="*/ 4569 w 5810"/>
                  <a:gd name="connsiteY33" fmla="*/ 93 h 1085"/>
                  <a:gd name="connsiteX34" fmla="*/ 4507 w 5810"/>
                  <a:gd name="connsiteY34" fmla="*/ 106 h 1085"/>
                  <a:gd name="connsiteX35" fmla="*/ 4452 w 5810"/>
                  <a:gd name="connsiteY35" fmla="*/ 127 h 1085"/>
                  <a:gd name="connsiteX36" fmla="*/ 4400 w 5810"/>
                  <a:gd name="connsiteY36" fmla="*/ 154 h 1085"/>
                  <a:gd name="connsiteX37" fmla="*/ 4353 w 5810"/>
                  <a:gd name="connsiteY37" fmla="*/ 187 h 1085"/>
                  <a:gd name="connsiteX38" fmla="*/ 4309 w 5810"/>
                  <a:gd name="connsiteY38" fmla="*/ 224 h 1085"/>
                  <a:gd name="connsiteX39" fmla="*/ 4270 w 5810"/>
                  <a:gd name="connsiteY39" fmla="*/ 268 h 1085"/>
                  <a:gd name="connsiteX40" fmla="*/ 4231 w 5810"/>
                  <a:gd name="connsiteY40" fmla="*/ 313 h 1085"/>
                  <a:gd name="connsiteX41" fmla="*/ 4196 w 5810"/>
                  <a:gd name="connsiteY41" fmla="*/ 363 h 1085"/>
                  <a:gd name="connsiteX42" fmla="*/ 4163 w 5810"/>
                  <a:gd name="connsiteY42" fmla="*/ 415 h 1085"/>
                  <a:gd name="connsiteX43" fmla="*/ 4101 w 5810"/>
                  <a:gd name="connsiteY43" fmla="*/ 523 h 1085"/>
                  <a:gd name="connsiteX44" fmla="*/ 4008 w 5810"/>
                  <a:gd name="connsiteY44" fmla="*/ 691 h 1085"/>
                  <a:gd name="connsiteX45" fmla="*/ 3975 w 5810"/>
                  <a:gd name="connsiteY45" fmla="*/ 747 h 1085"/>
                  <a:gd name="connsiteX46" fmla="*/ 3940 w 5810"/>
                  <a:gd name="connsiteY46" fmla="*/ 798 h 1085"/>
                  <a:gd name="connsiteX47" fmla="*/ 3905 w 5810"/>
                  <a:gd name="connsiteY47" fmla="*/ 848 h 1085"/>
                  <a:gd name="connsiteX48" fmla="*/ 3865 w 5810"/>
                  <a:gd name="connsiteY48" fmla="*/ 894 h 1085"/>
                  <a:gd name="connsiteX49" fmla="*/ 3824 w 5810"/>
                  <a:gd name="connsiteY49" fmla="*/ 935 h 1085"/>
                  <a:gd name="connsiteX50" fmla="*/ 3779 w 5810"/>
                  <a:gd name="connsiteY50" fmla="*/ 971 h 1085"/>
                  <a:gd name="connsiteX51" fmla="*/ 3729 w 5810"/>
                  <a:gd name="connsiteY51" fmla="*/ 1000 h 1085"/>
                  <a:gd name="connsiteX52" fmla="*/ 3677 w 5810"/>
                  <a:gd name="connsiteY52" fmla="*/ 1022 h 1085"/>
                  <a:gd name="connsiteX53" fmla="*/ 3620 w 5810"/>
                  <a:gd name="connsiteY53" fmla="*/ 1037 h 1085"/>
                  <a:gd name="connsiteX54" fmla="*/ 3556 w 5810"/>
                  <a:gd name="connsiteY54" fmla="*/ 1043 h 1085"/>
                  <a:gd name="connsiteX55" fmla="*/ 3547 w 5810"/>
                  <a:gd name="connsiteY55" fmla="*/ 1043 h 1085"/>
                  <a:gd name="connsiteX56" fmla="*/ 3485 w 5810"/>
                  <a:gd name="connsiteY56" fmla="*/ 1039 h 1085"/>
                  <a:gd name="connsiteX57" fmla="*/ 3426 w 5810"/>
                  <a:gd name="connsiteY57" fmla="*/ 1025 h 1085"/>
                  <a:gd name="connsiteX58" fmla="*/ 3372 w 5810"/>
                  <a:gd name="connsiteY58" fmla="*/ 1002 h 1085"/>
                  <a:gd name="connsiteX59" fmla="*/ 3320 w 5810"/>
                  <a:gd name="connsiteY59" fmla="*/ 973 h 1085"/>
                  <a:gd name="connsiteX60" fmla="*/ 3273 w 5810"/>
                  <a:gd name="connsiteY60" fmla="*/ 935 h 1085"/>
                  <a:gd name="connsiteX61" fmla="*/ 3229 w 5810"/>
                  <a:gd name="connsiteY61" fmla="*/ 894 h 1085"/>
                  <a:gd name="connsiteX62" fmla="*/ 3186 w 5810"/>
                  <a:gd name="connsiteY62" fmla="*/ 846 h 1085"/>
                  <a:gd name="connsiteX63" fmla="*/ 3147 w 5810"/>
                  <a:gd name="connsiteY63" fmla="*/ 796 h 1085"/>
                  <a:gd name="connsiteX64" fmla="*/ 3108 w 5810"/>
                  <a:gd name="connsiteY64" fmla="*/ 740 h 1085"/>
                  <a:gd name="connsiteX65" fmla="*/ 3070 w 5810"/>
                  <a:gd name="connsiteY65" fmla="*/ 684 h 1085"/>
                  <a:gd name="connsiteX66" fmla="*/ 2965 w 5810"/>
                  <a:gd name="connsiteY66" fmla="*/ 510 h 1085"/>
                  <a:gd name="connsiteX67" fmla="*/ 2928 w 5810"/>
                  <a:gd name="connsiteY67" fmla="*/ 452 h 1085"/>
                  <a:gd name="connsiteX68" fmla="*/ 2891 w 5810"/>
                  <a:gd name="connsiteY68" fmla="*/ 396 h 1085"/>
                  <a:gd name="connsiteX69" fmla="*/ 2854 w 5810"/>
                  <a:gd name="connsiteY69" fmla="*/ 342 h 1085"/>
                  <a:gd name="connsiteX70" fmla="*/ 2814 w 5810"/>
                  <a:gd name="connsiteY70" fmla="*/ 292 h 1085"/>
                  <a:gd name="connsiteX71" fmla="*/ 2773 w 5810"/>
                  <a:gd name="connsiteY71" fmla="*/ 247 h 1085"/>
                  <a:gd name="connsiteX72" fmla="*/ 2732 w 5810"/>
                  <a:gd name="connsiteY72" fmla="*/ 205 h 1085"/>
                  <a:gd name="connsiteX73" fmla="*/ 2686 w 5810"/>
                  <a:gd name="connsiteY73" fmla="*/ 168 h 1085"/>
                  <a:gd name="connsiteX74" fmla="*/ 2639 w 5810"/>
                  <a:gd name="connsiteY74" fmla="*/ 139 h 1085"/>
                  <a:gd name="connsiteX75" fmla="*/ 2587 w 5810"/>
                  <a:gd name="connsiteY75" fmla="*/ 116 h 1085"/>
                  <a:gd name="connsiteX76" fmla="*/ 2532 w 5810"/>
                  <a:gd name="connsiteY76" fmla="*/ 100 h 1085"/>
                  <a:gd name="connsiteX77" fmla="*/ 2474 w 5810"/>
                  <a:gd name="connsiteY77" fmla="*/ 91 h 1085"/>
                  <a:gd name="connsiteX78" fmla="*/ 2410 w 5810"/>
                  <a:gd name="connsiteY78" fmla="*/ 93 h 1085"/>
                  <a:gd name="connsiteX79" fmla="*/ 2342 w 5810"/>
                  <a:gd name="connsiteY79" fmla="*/ 104 h 1085"/>
                  <a:gd name="connsiteX80" fmla="*/ 2280 w 5810"/>
                  <a:gd name="connsiteY80" fmla="*/ 122 h 1085"/>
                  <a:gd name="connsiteX81" fmla="*/ 2222 w 5810"/>
                  <a:gd name="connsiteY81" fmla="*/ 147 h 1085"/>
                  <a:gd name="connsiteX82" fmla="*/ 2168 w 5810"/>
                  <a:gd name="connsiteY82" fmla="*/ 180 h 1085"/>
                  <a:gd name="connsiteX83" fmla="*/ 2117 w 5810"/>
                  <a:gd name="connsiteY83" fmla="*/ 218 h 1085"/>
                  <a:gd name="connsiteX84" fmla="*/ 2071 w 5810"/>
                  <a:gd name="connsiteY84" fmla="*/ 261 h 1085"/>
                  <a:gd name="connsiteX85" fmla="*/ 2026 w 5810"/>
                  <a:gd name="connsiteY85" fmla="*/ 307 h 1085"/>
                  <a:gd name="connsiteX86" fmla="*/ 1984 w 5810"/>
                  <a:gd name="connsiteY86" fmla="*/ 359 h 1085"/>
                  <a:gd name="connsiteX87" fmla="*/ 1945 w 5810"/>
                  <a:gd name="connsiteY87" fmla="*/ 413 h 1085"/>
                  <a:gd name="connsiteX88" fmla="*/ 1908 w 5810"/>
                  <a:gd name="connsiteY88" fmla="*/ 467 h 1085"/>
                  <a:gd name="connsiteX89" fmla="*/ 1871 w 5810"/>
                  <a:gd name="connsiteY89" fmla="*/ 523 h 1085"/>
                  <a:gd name="connsiteX90" fmla="*/ 1834 w 5810"/>
                  <a:gd name="connsiteY90" fmla="*/ 581 h 1085"/>
                  <a:gd name="connsiteX91" fmla="*/ 1799 w 5810"/>
                  <a:gd name="connsiteY91" fmla="*/ 637 h 1085"/>
                  <a:gd name="connsiteX92" fmla="*/ 1724 w 5810"/>
                  <a:gd name="connsiteY92" fmla="*/ 749 h 1085"/>
                  <a:gd name="connsiteX93" fmla="*/ 1685 w 5810"/>
                  <a:gd name="connsiteY93" fmla="*/ 801 h 1085"/>
                  <a:gd name="connsiteX94" fmla="*/ 1644 w 5810"/>
                  <a:gd name="connsiteY94" fmla="*/ 850 h 1085"/>
                  <a:gd name="connsiteX95" fmla="*/ 1600 w 5810"/>
                  <a:gd name="connsiteY95" fmla="*/ 896 h 1085"/>
                  <a:gd name="connsiteX96" fmla="*/ 1553 w 5810"/>
                  <a:gd name="connsiteY96" fmla="*/ 937 h 1085"/>
                  <a:gd name="connsiteX97" fmla="*/ 1503 w 5810"/>
                  <a:gd name="connsiteY97" fmla="*/ 973 h 1085"/>
                  <a:gd name="connsiteX98" fmla="*/ 1450 w 5810"/>
                  <a:gd name="connsiteY98" fmla="*/ 1002 h 1085"/>
                  <a:gd name="connsiteX99" fmla="*/ 1394 w 5810"/>
                  <a:gd name="connsiteY99" fmla="*/ 1025 h 1085"/>
                  <a:gd name="connsiteX100" fmla="*/ 1330 w 5810"/>
                  <a:gd name="connsiteY100" fmla="*/ 1037 h 1085"/>
                  <a:gd name="connsiteX101" fmla="*/ 1264 w 5810"/>
                  <a:gd name="connsiteY101" fmla="*/ 1043 h 1085"/>
                  <a:gd name="connsiteX102" fmla="*/ 1258 w 5810"/>
                  <a:gd name="connsiteY102" fmla="*/ 1043 h 1085"/>
                  <a:gd name="connsiteX103" fmla="*/ 1190 w 5810"/>
                  <a:gd name="connsiteY103" fmla="*/ 1039 h 1085"/>
                  <a:gd name="connsiteX104" fmla="*/ 1128 w 5810"/>
                  <a:gd name="connsiteY104" fmla="*/ 1027 h 1085"/>
                  <a:gd name="connsiteX105" fmla="*/ 1070 w 5810"/>
                  <a:gd name="connsiteY105" fmla="*/ 1008 h 1085"/>
                  <a:gd name="connsiteX106" fmla="*/ 1018 w 5810"/>
                  <a:gd name="connsiteY106" fmla="*/ 983 h 1085"/>
                  <a:gd name="connsiteX107" fmla="*/ 971 w 5810"/>
                  <a:gd name="connsiteY107" fmla="*/ 952 h 1085"/>
                  <a:gd name="connsiteX108" fmla="*/ 925 w 5810"/>
                  <a:gd name="connsiteY108" fmla="*/ 915 h 1085"/>
                  <a:gd name="connsiteX109" fmla="*/ 884 w 5810"/>
                  <a:gd name="connsiteY109" fmla="*/ 873 h 1085"/>
                  <a:gd name="connsiteX110" fmla="*/ 847 w 5810"/>
                  <a:gd name="connsiteY110" fmla="*/ 828 h 1085"/>
                  <a:gd name="connsiteX111" fmla="*/ 810 w 5810"/>
                  <a:gd name="connsiteY111" fmla="*/ 780 h 1085"/>
                  <a:gd name="connsiteX112" fmla="*/ 777 w 5810"/>
                  <a:gd name="connsiteY112" fmla="*/ 728 h 1085"/>
                  <a:gd name="connsiteX113" fmla="*/ 742 w 5810"/>
                  <a:gd name="connsiteY113" fmla="*/ 674 h 1085"/>
                  <a:gd name="connsiteX114" fmla="*/ 711 w 5810"/>
                  <a:gd name="connsiteY114" fmla="*/ 618 h 1085"/>
                  <a:gd name="connsiteX115" fmla="*/ 678 w 5810"/>
                  <a:gd name="connsiteY115" fmla="*/ 560 h 1085"/>
                  <a:gd name="connsiteX116" fmla="*/ 616 w 5810"/>
                  <a:gd name="connsiteY116" fmla="*/ 448 h 1085"/>
                  <a:gd name="connsiteX117" fmla="*/ 547 w 5810"/>
                  <a:gd name="connsiteY117" fmla="*/ 340 h 1085"/>
                  <a:gd name="connsiteX118" fmla="*/ 504 w 5810"/>
                  <a:gd name="connsiteY118" fmla="*/ 284 h 1085"/>
                  <a:gd name="connsiteX119" fmla="*/ 457 w 5810"/>
                  <a:gd name="connsiteY119" fmla="*/ 239 h 1085"/>
                  <a:gd name="connsiteX120" fmla="*/ 409 w 5810"/>
                  <a:gd name="connsiteY120" fmla="*/ 199 h 1085"/>
                  <a:gd name="connsiteX121" fmla="*/ 358 w 5810"/>
                  <a:gd name="connsiteY121" fmla="*/ 168 h 1085"/>
                  <a:gd name="connsiteX122" fmla="*/ 308 w 5810"/>
                  <a:gd name="connsiteY122" fmla="*/ 145 h 1085"/>
                  <a:gd name="connsiteX123" fmla="*/ 256 w 5810"/>
                  <a:gd name="connsiteY123" fmla="*/ 127 h 1085"/>
                  <a:gd name="connsiteX124" fmla="*/ 209 w 5810"/>
                  <a:gd name="connsiteY124" fmla="*/ 112 h 1085"/>
                  <a:gd name="connsiteX125" fmla="*/ 163 w 5810"/>
                  <a:gd name="connsiteY125" fmla="*/ 104 h 1085"/>
                  <a:gd name="connsiteX126" fmla="*/ 122 w 5810"/>
                  <a:gd name="connsiteY126" fmla="*/ 100 h 1085"/>
                  <a:gd name="connsiteX127" fmla="*/ 85 w 5810"/>
                  <a:gd name="connsiteY127" fmla="*/ 95 h 1085"/>
                  <a:gd name="connsiteX128" fmla="*/ 31 w 5810"/>
                  <a:gd name="connsiteY128" fmla="*/ 95 h 1085"/>
                  <a:gd name="connsiteX129" fmla="*/ 17 w 5810"/>
                  <a:gd name="connsiteY129" fmla="*/ 98 h 1085"/>
                  <a:gd name="connsiteX130" fmla="*/ 11 w 5810"/>
                  <a:gd name="connsiteY130" fmla="*/ 98 h 1085"/>
                  <a:gd name="connsiteX131" fmla="*/ 0 w 5810"/>
                  <a:gd name="connsiteY131" fmla="*/ 13 h 1085"/>
                  <a:gd name="connsiteX132" fmla="*/ 9 w 5810"/>
                  <a:gd name="connsiteY132" fmla="*/ 13 h 1085"/>
                  <a:gd name="connsiteX133" fmla="*/ 29 w 5810"/>
                  <a:gd name="connsiteY133" fmla="*/ 10 h 1085"/>
                  <a:gd name="connsiteX134" fmla="*/ 91 w 5810"/>
                  <a:gd name="connsiteY134" fmla="*/ 10 h 1085"/>
                  <a:gd name="connsiteX135" fmla="*/ 135 w 5810"/>
                  <a:gd name="connsiteY135" fmla="*/ 13 h 1085"/>
                  <a:gd name="connsiteX136" fmla="*/ 182 w 5810"/>
                  <a:gd name="connsiteY136" fmla="*/ 19 h 1085"/>
                  <a:gd name="connsiteX137" fmla="*/ 234 w 5810"/>
                  <a:gd name="connsiteY137" fmla="*/ 29 h 1085"/>
                  <a:gd name="connsiteX138" fmla="*/ 287 w 5810"/>
                  <a:gd name="connsiteY138" fmla="*/ 46 h 1085"/>
                  <a:gd name="connsiteX139" fmla="*/ 345 w 5810"/>
                  <a:gd name="connsiteY139" fmla="*/ 66 h 1085"/>
                  <a:gd name="connsiteX140" fmla="*/ 403 w 5810"/>
                  <a:gd name="connsiteY140" fmla="*/ 93 h 1085"/>
                  <a:gd name="connsiteX141" fmla="*/ 459 w 5810"/>
                  <a:gd name="connsiteY141" fmla="*/ 131 h 1085"/>
                  <a:gd name="connsiteX142" fmla="*/ 514 w 5810"/>
                  <a:gd name="connsiteY142" fmla="*/ 174 h 1085"/>
                  <a:gd name="connsiteX143" fmla="*/ 568 w 5810"/>
                  <a:gd name="connsiteY143" fmla="*/ 228 h 1085"/>
                  <a:gd name="connsiteX144" fmla="*/ 618 w 5810"/>
                  <a:gd name="connsiteY144" fmla="*/ 292 h 1085"/>
                  <a:gd name="connsiteX145" fmla="*/ 667 w 5810"/>
                  <a:gd name="connsiteY145" fmla="*/ 367 h 1085"/>
                  <a:gd name="connsiteX146" fmla="*/ 754 w 5810"/>
                  <a:gd name="connsiteY146" fmla="*/ 516 h 1085"/>
                  <a:gd name="connsiteX147" fmla="*/ 787 w 5810"/>
                  <a:gd name="connsiteY147" fmla="*/ 575 h 1085"/>
                  <a:gd name="connsiteX148" fmla="*/ 820 w 5810"/>
                  <a:gd name="connsiteY148" fmla="*/ 631 h 1085"/>
                  <a:gd name="connsiteX149" fmla="*/ 853 w 5810"/>
                  <a:gd name="connsiteY149" fmla="*/ 684 h 1085"/>
                  <a:gd name="connsiteX150" fmla="*/ 886 w 5810"/>
                  <a:gd name="connsiteY150" fmla="*/ 736 h 1085"/>
                  <a:gd name="connsiteX151" fmla="*/ 921 w 5810"/>
                  <a:gd name="connsiteY151" fmla="*/ 782 h 1085"/>
                  <a:gd name="connsiteX152" fmla="*/ 958 w 5810"/>
                  <a:gd name="connsiteY152" fmla="*/ 825 h 1085"/>
                  <a:gd name="connsiteX153" fmla="*/ 1000 w 5810"/>
                  <a:gd name="connsiteY153" fmla="*/ 863 h 1085"/>
                  <a:gd name="connsiteX154" fmla="*/ 1043 w 5810"/>
                  <a:gd name="connsiteY154" fmla="*/ 894 h 1085"/>
                  <a:gd name="connsiteX155" fmla="*/ 1090 w 5810"/>
                  <a:gd name="connsiteY155" fmla="*/ 921 h 1085"/>
                  <a:gd name="connsiteX156" fmla="*/ 1140 w 5810"/>
                  <a:gd name="connsiteY156" fmla="*/ 939 h 1085"/>
                  <a:gd name="connsiteX157" fmla="*/ 1196 w 5810"/>
                  <a:gd name="connsiteY157" fmla="*/ 952 h 1085"/>
                  <a:gd name="connsiteX158" fmla="*/ 1258 w 5810"/>
                  <a:gd name="connsiteY158" fmla="*/ 956 h 1085"/>
                  <a:gd name="connsiteX159" fmla="*/ 1264 w 5810"/>
                  <a:gd name="connsiteY159" fmla="*/ 956 h 1085"/>
                  <a:gd name="connsiteX160" fmla="*/ 1324 w 5810"/>
                  <a:gd name="connsiteY160" fmla="*/ 950 h 1085"/>
                  <a:gd name="connsiteX161" fmla="*/ 1380 w 5810"/>
                  <a:gd name="connsiteY161" fmla="*/ 935 h 1085"/>
                  <a:gd name="connsiteX162" fmla="*/ 1433 w 5810"/>
                  <a:gd name="connsiteY162" fmla="*/ 913 h 1085"/>
                  <a:gd name="connsiteX163" fmla="*/ 1481 w 5810"/>
                  <a:gd name="connsiteY163" fmla="*/ 884 h 1085"/>
                  <a:gd name="connsiteX164" fmla="*/ 1526 w 5810"/>
                  <a:gd name="connsiteY164" fmla="*/ 846 h 1085"/>
                  <a:gd name="connsiteX165" fmla="*/ 1569 w 5810"/>
                  <a:gd name="connsiteY165" fmla="*/ 803 h 1085"/>
                  <a:gd name="connsiteX166" fmla="*/ 1609 w 5810"/>
                  <a:gd name="connsiteY166" fmla="*/ 755 h 1085"/>
                  <a:gd name="connsiteX167" fmla="*/ 1648 w 5810"/>
                  <a:gd name="connsiteY167" fmla="*/ 703 h 1085"/>
                  <a:gd name="connsiteX168" fmla="*/ 1687 w 5810"/>
                  <a:gd name="connsiteY168" fmla="*/ 649 h 1085"/>
                  <a:gd name="connsiteX169" fmla="*/ 1799 w 5810"/>
                  <a:gd name="connsiteY169" fmla="*/ 475 h 1085"/>
                  <a:gd name="connsiteX170" fmla="*/ 1838 w 5810"/>
                  <a:gd name="connsiteY170" fmla="*/ 415 h 1085"/>
                  <a:gd name="connsiteX171" fmla="*/ 1879 w 5810"/>
                  <a:gd name="connsiteY171" fmla="*/ 357 h 1085"/>
                  <a:gd name="connsiteX172" fmla="*/ 1923 w 5810"/>
                  <a:gd name="connsiteY172" fmla="*/ 299 h 1085"/>
                  <a:gd name="connsiteX173" fmla="*/ 1968 w 5810"/>
                  <a:gd name="connsiteY173" fmla="*/ 245 h 1085"/>
                  <a:gd name="connsiteX174" fmla="*/ 2015 w 5810"/>
                  <a:gd name="connsiteY174" fmla="*/ 193 h 1085"/>
                  <a:gd name="connsiteX175" fmla="*/ 2069 w 5810"/>
                  <a:gd name="connsiteY175" fmla="*/ 145 h 1085"/>
                  <a:gd name="connsiteX176" fmla="*/ 2125 w 5810"/>
                  <a:gd name="connsiteY176" fmla="*/ 104 h 1085"/>
                  <a:gd name="connsiteX177" fmla="*/ 2187 w 5810"/>
                  <a:gd name="connsiteY177" fmla="*/ 69 h 1085"/>
                  <a:gd name="connsiteX178" fmla="*/ 2253 w 5810"/>
                  <a:gd name="connsiteY178" fmla="*/ 39 h 1085"/>
                  <a:gd name="connsiteX179" fmla="*/ 2325 w 5810"/>
                  <a:gd name="connsiteY179" fmla="*/ 19 h 1085"/>
                  <a:gd name="connsiteX180" fmla="*/ 2404 w 5810"/>
                  <a:gd name="connsiteY180" fmla="*/ 6 h 1085"/>
                  <a:gd name="connsiteX181" fmla="*/ 2474 w 5810"/>
                  <a:gd name="connsiteY181" fmla="*/ 4 h 1085"/>
                  <a:gd name="connsiteX182" fmla="*/ 2540 w 5810"/>
                  <a:gd name="connsiteY182" fmla="*/ 13 h 1085"/>
                  <a:gd name="connsiteX183" fmla="*/ 2600 w 5810"/>
                  <a:gd name="connsiteY183" fmla="*/ 27 h 1085"/>
                  <a:gd name="connsiteX184" fmla="*/ 2658 w 5810"/>
                  <a:gd name="connsiteY184" fmla="*/ 50 h 1085"/>
                  <a:gd name="connsiteX185" fmla="*/ 2711 w 5810"/>
                  <a:gd name="connsiteY185" fmla="*/ 81 h 1085"/>
                  <a:gd name="connsiteX186" fmla="*/ 2761 w 5810"/>
                  <a:gd name="connsiteY186" fmla="*/ 116 h 1085"/>
                  <a:gd name="connsiteX187" fmla="*/ 2806 w 5810"/>
                  <a:gd name="connsiteY187" fmla="*/ 158 h 1085"/>
                  <a:gd name="connsiteX188" fmla="*/ 2852 w 5810"/>
                  <a:gd name="connsiteY188" fmla="*/ 203 h 1085"/>
                  <a:gd name="connsiteX189" fmla="*/ 2893 w 5810"/>
                  <a:gd name="connsiteY189" fmla="*/ 251 h 1085"/>
                  <a:gd name="connsiteX190" fmla="*/ 2932 w 5810"/>
                  <a:gd name="connsiteY190" fmla="*/ 303 h 1085"/>
                  <a:gd name="connsiteX191" fmla="*/ 2969 w 5810"/>
                  <a:gd name="connsiteY191" fmla="*/ 357 h 1085"/>
                  <a:gd name="connsiteX192" fmla="*/ 3004 w 5810"/>
                  <a:gd name="connsiteY192" fmla="*/ 413 h 1085"/>
                  <a:gd name="connsiteX193" fmla="*/ 3039 w 5810"/>
                  <a:gd name="connsiteY193" fmla="*/ 467 h 1085"/>
                  <a:gd name="connsiteX194" fmla="*/ 3073 w 5810"/>
                  <a:gd name="connsiteY194" fmla="*/ 523 h 1085"/>
                  <a:gd name="connsiteX195" fmla="*/ 3110 w 5810"/>
                  <a:gd name="connsiteY195" fmla="*/ 585 h 1085"/>
                  <a:gd name="connsiteX196" fmla="*/ 3147 w 5810"/>
                  <a:gd name="connsiteY196" fmla="*/ 643 h 1085"/>
                  <a:gd name="connsiteX197" fmla="*/ 3186 w 5810"/>
                  <a:gd name="connsiteY197" fmla="*/ 701 h 1085"/>
                  <a:gd name="connsiteX198" fmla="*/ 3223 w 5810"/>
                  <a:gd name="connsiteY198" fmla="*/ 755 h 1085"/>
                  <a:gd name="connsiteX199" fmla="*/ 3265 w 5810"/>
                  <a:gd name="connsiteY199" fmla="*/ 805 h 1085"/>
                  <a:gd name="connsiteX200" fmla="*/ 3306 w 5810"/>
                  <a:gd name="connsiteY200" fmla="*/ 848 h 1085"/>
                  <a:gd name="connsiteX201" fmla="*/ 3349 w 5810"/>
                  <a:gd name="connsiteY201" fmla="*/ 886 h 1085"/>
                  <a:gd name="connsiteX202" fmla="*/ 3395 w 5810"/>
                  <a:gd name="connsiteY202" fmla="*/ 917 h 1085"/>
                  <a:gd name="connsiteX203" fmla="*/ 3444 w 5810"/>
                  <a:gd name="connsiteY203" fmla="*/ 939 h 1085"/>
                  <a:gd name="connsiteX204" fmla="*/ 3498 w 5810"/>
                  <a:gd name="connsiteY204" fmla="*/ 952 h 1085"/>
                  <a:gd name="connsiteX205" fmla="*/ 3554 w 5810"/>
                  <a:gd name="connsiteY205" fmla="*/ 956 h 1085"/>
                  <a:gd name="connsiteX206" fmla="*/ 3609 w 5810"/>
                  <a:gd name="connsiteY206" fmla="*/ 950 h 1085"/>
                  <a:gd name="connsiteX207" fmla="*/ 3659 w 5810"/>
                  <a:gd name="connsiteY207" fmla="*/ 935 h 1085"/>
                  <a:gd name="connsiteX208" fmla="*/ 3706 w 5810"/>
                  <a:gd name="connsiteY208" fmla="*/ 915 h 1085"/>
                  <a:gd name="connsiteX209" fmla="*/ 3750 w 5810"/>
                  <a:gd name="connsiteY209" fmla="*/ 884 h 1085"/>
                  <a:gd name="connsiteX210" fmla="*/ 3789 w 5810"/>
                  <a:gd name="connsiteY210" fmla="*/ 848 h 1085"/>
                  <a:gd name="connsiteX211" fmla="*/ 3826 w 5810"/>
                  <a:gd name="connsiteY211" fmla="*/ 807 h 1085"/>
                  <a:gd name="connsiteX212" fmla="*/ 3861 w 5810"/>
                  <a:gd name="connsiteY212" fmla="*/ 759 h 1085"/>
                  <a:gd name="connsiteX213" fmla="*/ 3894 w 5810"/>
                  <a:gd name="connsiteY213" fmla="*/ 709 h 1085"/>
                  <a:gd name="connsiteX214" fmla="*/ 3927 w 5810"/>
                  <a:gd name="connsiteY214" fmla="*/ 655 h 1085"/>
                  <a:gd name="connsiteX215" fmla="*/ 3960 w 5810"/>
                  <a:gd name="connsiteY215" fmla="*/ 597 h 1085"/>
                  <a:gd name="connsiteX216" fmla="*/ 3993 w 5810"/>
                  <a:gd name="connsiteY216" fmla="*/ 537 h 1085"/>
                  <a:gd name="connsiteX217" fmla="*/ 4022 w 5810"/>
                  <a:gd name="connsiteY217" fmla="*/ 483 h 1085"/>
                  <a:gd name="connsiteX218" fmla="*/ 4084 w 5810"/>
                  <a:gd name="connsiteY218" fmla="*/ 375 h 1085"/>
                  <a:gd name="connsiteX219" fmla="*/ 4154 w 5810"/>
                  <a:gd name="connsiteY219" fmla="*/ 272 h 1085"/>
                  <a:gd name="connsiteX220" fmla="*/ 4192 w 5810"/>
                  <a:gd name="connsiteY220" fmla="*/ 224 h 1085"/>
                  <a:gd name="connsiteX221" fmla="*/ 4233 w 5810"/>
                  <a:gd name="connsiteY221" fmla="*/ 178 h 1085"/>
                  <a:gd name="connsiteX222" fmla="*/ 4276 w 5810"/>
                  <a:gd name="connsiteY222" fmla="*/ 137 h 1085"/>
                  <a:gd name="connsiteX223" fmla="*/ 4324 w 5810"/>
                  <a:gd name="connsiteY223" fmla="*/ 100 h 1085"/>
                  <a:gd name="connsiteX224" fmla="*/ 4375 w 5810"/>
                  <a:gd name="connsiteY224" fmla="*/ 66 h 1085"/>
                  <a:gd name="connsiteX225" fmla="*/ 4433 w 5810"/>
                  <a:gd name="connsiteY225" fmla="*/ 39 h 1085"/>
                  <a:gd name="connsiteX226" fmla="*/ 4493 w 5810"/>
                  <a:gd name="connsiteY226" fmla="*/ 19 h 1085"/>
                  <a:gd name="connsiteX227" fmla="*/ 4559 w 5810"/>
                  <a:gd name="connsiteY227" fmla="*/ 6 h 1085"/>
                  <a:gd name="connsiteX228" fmla="*/ 4631 w 5810"/>
                  <a:gd name="connsiteY228" fmla="*/ 0 h 1085"/>
                  <a:gd name="connsiteX0" fmla="*/ 4631 w 5818"/>
                  <a:gd name="connsiteY0" fmla="*/ 0 h 1085"/>
                  <a:gd name="connsiteX1" fmla="*/ 4681 w 5818"/>
                  <a:gd name="connsiteY1" fmla="*/ 0 h 1085"/>
                  <a:gd name="connsiteX2" fmla="*/ 4710 w 5818"/>
                  <a:gd name="connsiteY2" fmla="*/ 4 h 1085"/>
                  <a:gd name="connsiteX3" fmla="*/ 4741 w 5818"/>
                  <a:gd name="connsiteY3" fmla="*/ 13 h 1085"/>
                  <a:gd name="connsiteX4" fmla="*/ 4778 w 5818"/>
                  <a:gd name="connsiteY4" fmla="*/ 23 h 1085"/>
                  <a:gd name="connsiteX5" fmla="*/ 4819 w 5818"/>
                  <a:gd name="connsiteY5" fmla="*/ 39 h 1085"/>
                  <a:gd name="connsiteX6" fmla="*/ 4863 w 5818"/>
                  <a:gd name="connsiteY6" fmla="*/ 60 h 1085"/>
                  <a:gd name="connsiteX7" fmla="*/ 4910 w 5818"/>
                  <a:gd name="connsiteY7" fmla="*/ 89 h 1085"/>
                  <a:gd name="connsiteX8" fmla="*/ 4960 w 5818"/>
                  <a:gd name="connsiteY8" fmla="*/ 124 h 1085"/>
                  <a:gd name="connsiteX9" fmla="*/ 5009 w 5818"/>
                  <a:gd name="connsiteY9" fmla="*/ 170 h 1085"/>
                  <a:gd name="connsiteX10" fmla="*/ 5061 w 5818"/>
                  <a:gd name="connsiteY10" fmla="*/ 224 h 1085"/>
                  <a:gd name="connsiteX11" fmla="*/ 5112 w 5818"/>
                  <a:gd name="connsiteY11" fmla="*/ 286 h 1085"/>
                  <a:gd name="connsiteX12" fmla="*/ 5313 w 5818"/>
                  <a:gd name="connsiteY12" fmla="*/ 633 h 1085"/>
                  <a:gd name="connsiteX13" fmla="*/ 5408 w 5818"/>
                  <a:gd name="connsiteY13" fmla="*/ 769 h 1085"/>
                  <a:gd name="connsiteX14" fmla="*/ 5711 w 5818"/>
                  <a:gd name="connsiteY14" fmla="*/ 973 h 1085"/>
                  <a:gd name="connsiteX15" fmla="*/ 5767 w 5818"/>
                  <a:gd name="connsiteY15" fmla="*/ 983 h 1085"/>
                  <a:gd name="connsiteX16" fmla="*/ 5810 w 5818"/>
                  <a:gd name="connsiteY16" fmla="*/ 1072 h 1085"/>
                  <a:gd name="connsiteX17" fmla="*/ 5717 w 5818"/>
                  <a:gd name="connsiteY17" fmla="*/ 1064 h 1085"/>
                  <a:gd name="connsiteX18" fmla="*/ 5639 w 5818"/>
                  <a:gd name="connsiteY18" fmla="*/ 1043 h 1085"/>
                  <a:gd name="connsiteX19" fmla="*/ 5546 w 5818"/>
                  <a:gd name="connsiteY19" fmla="*/ 1002 h 1085"/>
                  <a:gd name="connsiteX20" fmla="*/ 5496 w 5818"/>
                  <a:gd name="connsiteY20" fmla="*/ 971 h 1085"/>
                  <a:gd name="connsiteX21" fmla="*/ 5042 w 5818"/>
                  <a:gd name="connsiteY21" fmla="*/ 336 h 1085"/>
                  <a:gd name="connsiteX22" fmla="*/ 4993 w 5818"/>
                  <a:gd name="connsiteY22" fmla="*/ 276 h 1085"/>
                  <a:gd name="connsiteX23" fmla="*/ 4945 w 5818"/>
                  <a:gd name="connsiteY23" fmla="*/ 228 h 1085"/>
                  <a:gd name="connsiteX24" fmla="*/ 4900 w 5818"/>
                  <a:gd name="connsiteY24" fmla="*/ 189 h 1085"/>
                  <a:gd name="connsiteX25" fmla="*/ 4858 w 5818"/>
                  <a:gd name="connsiteY25" fmla="*/ 158 h 1085"/>
                  <a:gd name="connsiteX26" fmla="*/ 4819 w 5818"/>
                  <a:gd name="connsiteY26" fmla="*/ 135 h 1085"/>
                  <a:gd name="connsiteX27" fmla="*/ 4770 w 5818"/>
                  <a:gd name="connsiteY27" fmla="*/ 112 h 1085"/>
                  <a:gd name="connsiteX28" fmla="*/ 4726 w 5818"/>
                  <a:gd name="connsiteY28" fmla="*/ 98 h 1085"/>
                  <a:gd name="connsiteX29" fmla="*/ 4691 w 5818"/>
                  <a:gd name="connsiteY29" fmla="*/ 89 h 1085"/>
                  <a:gd name="connsiteX30" fmla="*/ 4662 w 5818"/>
                  <a:gd name="connsiteY30" fmla="*/ 87 h 1085"/>
                  <a:gd name="connsiteX31" fmla="*/ 4635 w 5818"/>
                  <a:gd name="connsiteY31" fmla="*/ 87 h 1085"/>
                  <a:gd name="connsiteX32" fmla="*/ 4569 w 5818"/>
                  <a:gd name="connsiteY32" fmla="*/ 93 h 1085"/>
                  <a:gd name="connsiteX33" fmla="*/ 4507 w 5818"/>
                  <a:gd name="connsiteY33" fmla="*/ 106 h 1085"/>
                  <a:gd name="connsiteX34" fmla="*/ 4452 w 5818"/>
                  <a:gd name="connsiteY34" fmla="*/ 127 h 1085"/>
                  <a:gd name="connsiteX35" fmla="*/ 4400 w 5818"/>
                  <a:gd name="connsiteY35" fmla="*/ 154 h 1085"/>
                  <a:gd name="connsiteX36" fmla="*/ 4353 w 5818"/>
                  <a:gd name="connsiteY36" fmla="*/ 187 h 1085"/>
                  <a:gd name="connsiteX37" fmla="*/ 4309 w 5818"/>
                  <a:gd name="connsiteY37" fmla="*/ 224 h 1085"/>
                  <a:gd name="connsiteX38" fmla="*/ 4270 w 5818"/>
                  <a:gd name="connsiteY38" fmla="*/ 268 h 1085"/>
                  <a:gd name="connsiteX39" fmla="*/ 4231 w 5818"/>
                  <a:gd name="connsiteY39" fmla="*/ 313 h 1085"/>
                  <a:gd name="connsiteX40" fmla="*/ 4196 w 5818"/>
                  <a:gd name="connsiteY40" fmla="*/ 363 h 1085"/>
                  <a:gd name="connsiteX41" fmla="*/ 4163 w 5818"/>
                  <a:gd name="connsiteY41" fmla="*/ 415 h 1085"/>
                  <a:gd name="connsiteX42" fmla="*/ 4101 w 5818"/>
                  <a:gd name="connsiteY42" fmla="*/ 523 h 1085"/>
                  <a:gd name="connsiteX43" fmla="*/ 4008 w 5818"/>
                  <a:gd name="connsiteY43" fmla="*/ 691 h 1085"/>
                  <a:gd name="connsiteX44" fmla="*/ 3975 w 5818"/>
                  <a:gd name="connsiteY44" fmla="*/ 747 h 1085"/>
                  <a:gd name="connsiteX45" fmla="*/ 3940 w 5818"/>
                  <a:gd name="connsiteY45" fmla="*/ 798 h 1085"/>
                  <a:gd name="connsiteX46" fmla="*/ 3905 w 5818"/>
                  <a:gd name="connsiteY46" fmla="*/ 848 h 1085"/>
                  <a:gd name="connsiteX47" fmla="*/ 3865 w 5818"/>
                  <a:gd name="connsiteY47" fmla="*/ 894 h 1085"/>
                  <a:gd name="connsiteX48" fmla="*/ 3824 w 5818"/>
                  <a:gd name="connsiteY48" fmla="*/ 935 h 1085"/>
                  <a:gd name="connsiteX49" fmla="*/ 3779 w 5818"/>
                  <a:gd name="connsiteY49" fmla="*/ 971 h 1085"/>
                  <a:gd name="connsiteX50" fmla="*/ 3729 w 5818"/>
                  <a:gd name="connsiteY50" fmla="*/ 1000 h 1085"/>
                  <a:gd name="connsiteX51" fmla="*/ 3677 w 5818"/>
                  <a:gd name="connsiteY51" fmla="*/ 1022 h 1085"/>
                  <a:gd name="connsiteX52" fmla="*/ 3620 w 5818"/>
                  <a:gd name="connsiteY52" fmla="*/ 1037 h 1085"/>
                  <a:gd name="connsiteX53" fmla="*/ 3556 w 5818"/>
                  <a:gd name="connsiteY53" fmla="*/ 1043 h 1085"/>
                  <a:gd name="connsiteX54" fmla="*/ 3547 w 5818"/>
                  <a:gd name="connsiteY54" fmla="*/ 1043 h 1085"/>
                  <a:gd name="connsiteX55" fmla="*/ 3485 w 5818"/>
                  <a:gd name="connsiteY55" fmla="*/ 1039 h 1085"/>
                  <a:gd name="connsiteX56" fmla="*/ 3426 w 5818"/>
                  <a:gd name="connsiteY56" fmla="*/ 1025 h 1085"/>
                  <a:gd name="connsiteX57" fmla="*/ 3372 w 5818"/>
                  <a:gd name="connsiteY57" fmla="*/ 1002 h 1085"/>
                  <a:gd name="connsiteX58" fmla="*/ 3320 w 5818"/>
                  <a:gd name="connsiteY58" fmla="*/ 973 h 1085"/>
                  <a:gd name="connsiteX59" fmla="*/ 3273 w 5818"/>
                  <a:gd name="connsiteY59" fmla="*/ 935 h 1085"/>
                  <a:gd name="connsiteX60" fmla="*/ 3229 w 5818"/>
                  <a:gd name="connsiteY60" fmla="*/ 894 h 1085"/>
                  <a:gd name="connsiteX61" fmla="*/ 3186 w 5818"/>
                  <a:gd name="connsiteY61" fmla="*/ 846 h 1085"/>
                  <a:gd name="connsiteX62" fmla="*/ 3147 w 5818"/>
                  <a:gd name="connsiteY62" fmla="*/ 796 h 1085"/>
                  <a:gd name="connsiteX63" fmla="*/ 3108 w 5818"/>
                  <a:gd name="connsiteY63" fmla="*/ 740 h 1085"/>
                  <a:gd name="connsiteX64" fmla="*/ 3070 w 5818"/>
                  <a:gd name="connsiteY64" fmla="*/ 684 h 1085"/>
                  <a:gd name="connsiteX65" fmla="*/ 2965 w 5818"/>
                  <a:gd name="connsiteY65" fmla="*/ 510 h 1085"/>
                  <a:gd name="connsiteX66" fmla="*/ 2928 w 5818"/>
                  <a:gd name="connsiteY66" fmla="*/ 452 h 1085"/>
                  <a:gd name="connsiteX67" fmla="*/ 2891 w 5818"/>
                  <a:gd name="connsiteY67" fmla="*/ 396 h 1085"/>
                  <a:gd name="connsiteX68" fmla="*/ 2854 w 5818"/>
                  <a:gd name="connsiteY68" fmla="*/ 342 h 1085"/>
                  <a:gd name="connsiteX69" fmla="*/ 2814 w 5818"/>
                  <a:gd name="connsiteY69" fmla="*/ 292 h 1085"/>
                  <a:gd name="connsiteX70" fmla="*/ 2773 w 5818"/>
                  <a:gd name="connsiteY70" fmla="*/ 247 h 1085"/>
                  <a:gd name="connsiteX71" fmla="*/ 2732 w 5818"/>
                  <a:gd name="connsiteY71" fmla="*/ 205 h 1085"/>
                  <a:gd name="connsiteX72" fmla="*/ 2686 w 5818"/>
                  <a:gd name="connsiteY72" fmla="*/ 168 h 1085"/>
                  <a:gd name="connsiteX73" fmla="*/ 2639 w 5818"/>
                  <a:gd name="connsiteY73" fmla="*/ 139 h 1085"/>
                  <a:gd name="connsiteX74" fmla="*/ 2587 w 5818"/>
                  <a:gd name="connsiteY74" fmla="*/ 116 h 1085"/>
                  <a:gd name="connsiteX75" fmla="*/ 2532 w 5818"/>
                  <a:gd name="connsiteY75" fmla="*/ 100 h 1085"/>
                  <a:gd name="connsiteX76" fmla="*/ 2474 w 5818"/>
                  <a:gd name="connsiteY76" fmla="*/ 91 h 1085"/>
                  <a:gd name="connsiteX77" fmla="*/ 2410 w 5818"/>
                  <a:gd name="connsiteY77" fmla="*/ 93 h 1085"/>
                  <a:gd name="connsiteX78" fmla="*/ 2342 w 5818"/>
                  <a:gd name="connsiteY78" fmla="*/ 104 h 1085"/>
                  <a:gd name="connsiteX79" fmla="*/ 2280 w 5818"/>
                  <a:gd name="connsiteY79" fmla="*/ 122 h 1085"/>
                  <a:gd name="connsiteX80" fmla="*/ 2222 w 5818"/>
                  <a:gd name="connsiteY80" fmla="*/ 147 h 1085"/>
                  <a:gd name="connsiteX81" fmla="*/ 2168 w 5818"/>
                  <a:gd name="connsiteY81" fmla="*/ 180 h 1085"/>
                  <a:gd name="connsiteX82" fmla="*/ 2117 w 5818"/>
                  <a:gd name="connsiteY82" fmla="*/ 218 h 1085"/>
                  <a:gd name="connsiteX83" fmla="*/ 2071 w 5818"/>
                  <a:gd name="connsiteY83" fmla="*/ 261 h 1085"/>
                  <a:gd name="connsiteX84" fmla="*/ 2026 w 5818"/>
                  <a:gd name="connsiteY84" fmla="*/ 307 h 1085"/>
                  <a:gd name="connsiteX85" fmla="*/ 1984 w 5818"/>
                  <a:gd name="connsiteY85" fmla="*/ 359 h 1085"/>
                  <a:gd name="connsiteX86" fmla="*/ 1945 w 5818"/>
                  <a:gd name="connsiteY86" fmla="*/ 413 h 1085"/>
                  <a:gd name="connsiteX87" fmla="*/ 1908 w 5818"/>
                  <a:gd name="connsiteY87" fmla="*/ 467 h 1085"/>
                  <a:gd name="connsiteX88" fmla="*/ 1871 w 5818"/>
                  <a:gd name="connsiteY88" fmla="*/ 523 h 1085"/>
                  <a:gd name="connsiteX89" fmla="*/ 1834 w 5818"/>
                  <a:gd name="connsiteY89" fmla="*/ 581 h 1085"/>
                  <a:gd name="connsiteX90" fmla="*/ 1799 w 5818"/>
                  <a:gd name="connsiteY90" fmla="*/ 637 h 1085"/>
                  <a:gd name="connsiteX91" fmla="*/ 1724 w 5818"/>
                  <a:gd name="connsiteY91" fmla="*/ 749 h 1085"/>
                  <a:gd name="connsiteX92" fmla="*/ 1685 w 5818"/>
                  <a:gd name="connsiteY92" fmla="*/ 801 h 1085"/>
                  <a:gd name="connsiteX93" fmla="*/ 1644 w 5818"/>
                  <a:gd name="connsiteY93" fmla="*/ 850 h 1085"/>
                  <a:gd name="connsiteX94" fmla="*/ 1600 w 5818"/>
                  <a:gd name="connsiteY94" fmla="*/ 896 h 1085"/>
                  <a:gd name="connsiteX95" fmla="*/ 1553 w 5818"/>
                  <a:gd name="connsiteY95" fmla="*/ 937 h 1085"/>
                  <a:gd name="connsiteX96" fmla="*/ 1503 w 5818"/>
                  <a:gd name="connsiteY96" fmla="*/ 973 h 1085"/>
                  <a:gd name="connsiteX97" fmla="*/ 1450 w 5818"/>
                  <a:gd name="connsiteY97" fmla="*/ 1002 h 1085"/>
                  <a:gd name="connsiteX98" fmla="*/ 1394 w 5818"/>
                  <a:gd name="connsiteY98" fmla="*/ 1025 h 1085"/>
                  <a:gd name="connsiteX99" fmla="*/ 1330 w 5818"/>
                  <a:gd name="connsiteY99" fmla="*/ 1037 h 1085"/>
                  <a:gd name="connsiteX100" fmla="*/ 1264 w 5818"/>
                  <a:gd name="connsiteY100" fmla="*/ 1043 h 1085"/>
                  <a:gd name="connsiteX101" fmla="*/ 1258 w 5818"/>
                  <a:gd name="connsiteY101" fmla="*/ 1043 h 1085"/>
                  <a:gd name="connsiteX102" fmla="*/ 1190 w 5818"/>
                  <a:gd name="connsiteY102" fmla="*/ 1039 h 1085"/>
                  <a:gd name="connsiteX103" fmla="*/ 1128 w 5818"/>
                  <a:gd name="connsiteY103" fmla="*/ 1027 h 1085"/>
                  <a:gd name="connsiteX104" fmla="*/ 1070 w 5818"/>
                  <a:gd name="connsiteY104" fmla="*/ 1008 h 1085"/>
                  <a:gd name="connsiteX105" fmla="*/ 1018 w 5818"/>
                  <a:gd name="connsiteY105" fmla="*/ 983 h 1085"/>
                  <a:gd name="connsiteX106" fmla="*/ 971 w 5818"/>
                  <a:gd name="connsiteY106" fmla="*/ 952 h 1085"/>
                  <a:gd name="connsiteX107" fmla="*/ 925 w 5818"/>
                  <a:gd name="connsiteY107" fmla="*/ 915 h 1085"/>
                  <a:gd name="connsiteX108" fmla="*/ 884 w 5818"/>
                  <a:gd name="connsiteY108" fmla="*/ 873 h 1085"/>
                  <a:gd name="connsiteX109" fmla="*/ 847 w 5818"/>
                  <a:gd name="connsiteY109" fmla="*/ 828 h 1085"/>
                  <a:gd name="connsiteX110" fmla="*/ 810 w 5818"/>
                  <a:gd name="connsiteY110" fmla="*/ 780 h 1085"/>
                  <a:gd name="connsiteX111" fmla="*/ 777 w 5818"/>
                  <a:gd name="connsiteY111" fmla="*/ 728 h 1085"/>
                  <a:gd name="connsiteX112" fmla="*/ 742 w 5818"/>
                  <a:gd name="connsiteY112" fmla="*/ 674 h 1085"/>
                  <a:gd name="connsiteX113" fmla="*/ 711 w 5818"/>
                  <a:gd name="connsiteY113" fmla="*/ 618 h 1085"/>
                  <a:gd name="connsiteX114" fmla="*/ 678 w 5818"/>
                  <a:gd name="connsiteY114" fmla="*/ 560 h 1085"/>
                  <a:gd name="connsiteX115" fmla="*/ 616 w 5818"/>
                  <a:gd name="connsiteY115" fmla="*/ 448 h 1085"/>
                  <a:gd name="connsiteX116" fmla="*/ 547 w 5818"/>
                  <a:gd name="connsiteY116" fmla="*/ 340 h 1085"/>
                  <a:gd name="connsiteX117" fmla="*/ 504 w 5818"/>
                  <a:gd name="connsiteY117" fmla="*/ 284 h 1085"/>
                  <a:gd name="connsiteX118" fmla="*/ 457 w 5818"/>
                  <a:gd name="connsiteY118" fmla="*/ 239 h 1085"/>
                  <a:gd name="connsiteX119" fmla="*/ 409 w 5818"/>
                  <a:gd name="connsiteY119" fmla="*/ 199 h 1085"/>
                  <a:gd name="connsiteX120" fmla="*/ 358 w 5818"/>
                  <a:gd name="connsiteY120" fmla="*/ 168 h 1085"/>
                  <a:gd name="connsiteX121" fmla="*/ 308 w 5818"/>
                  <a:gd name="connsiteY121" fmla="*/ 145 h 1085"/>
                  <a:gd name="connsiteX122" fmla="*/ 256 w 5818"/>
                  <a:gd name="connsiteY122" fmla="*/ 127 h 1085"/>
                  <a:gd name="connsiteX123" fmla="*/ 209 w 5818"/>
                  <a:gd name="connsiteY123" fmla="*/ 112 h 1085"/>
                  <a:gd name="connsiteX124" fmla="*/ 163 w 5818"/>
                  <a:gd name="connsiteY124" fmla="*/ 104 h 1085"/>
                  <a:gd name="connsiteX125" fmla="*/ 122 w 5818"/>
                  <a:gd name="connsiteY125" fmla="*/ 100 h 1085"/>
                  <a:gd name="connsiteX126" fmla="*/ 85 w 5818"/>
                  <a:gd name="connsiteY126" fmla="*/ 95 h 1085"/>
                  <a:gd name="connsiteX127" fmla="*/ 31 w 5818"/>
                  <a:gd name="connsiteY127" fmla="*/ 95 h 1085"/>
                  <a:gd name="connsiteX128" fmla="*/ 17 w 5818"/>
                  <a:gd name="connsiteY128" fmla="*/ 98 h 1085"/>
                  <a:gd name="connsiteX129" fmla="*/ 11 w 5818"/>
                  <a:gd name="connsiteY129" fmla="*/ 98 h 1085"/>
                  <a:gd name="connsiteX130" fmla="*/ 0 w 5818"/>
                  <a:gd name="connsiteY130" fmla="*/ 13 h 1085"/>
                  <a:gd name="connsiteX131" fmla="*/ 9 w 5818"/>
                  <a:gd name="connsiteY131" fmla="*/ 13 h 1085"/>
                  <a:gd name="connsiteX132" fmla="*/ 29 w 5818"/>
                  <a:gd name="connsiteY132" fmla="*/ 10 h 1085"/>
                  <a:gd name="connsiteX133" fmla="*/ 91 w 5818"/>
                  <a:gd name="connsiteY133" fmla="*/ 10 h 1085"/>
                  <a:gd name="connsiteX134" fmla="*/ 135 w 5818"/>
                  <a:gd name="connsiteY134" fmla="*/ 13 h 1085"/>
                  <a:gd name="connsiteX135" fmla="*/ 182 w 5818"/>
                  <a:gd name="connsiteY135" fmla="*/ 19 h 1085"/>
                  <a:gd name="connsiteX136" fmla="*/ 234 w 5818"/>
                  <a:gd name="connsiteY136" fmla="*/ 29 h 1085"/>
                  <a:gd name="connsiteX137" fmla="*/ 287 w 5818"/>
                  <a:gd name="connsiteY137" fmla="*/ 46 h 1085"/>
                  <a:gd name="connsiteX138" fmla="*/ 345 w 5818"/>
                  <a:gd name="connsiteY138" fmla="*/ 66 h 1085"/>
                  <a:gd name="connsiteX139" fmla="*/ 403 w 5818"/>
                  <a:gd name="connsiteY139" fmla="*/ 93 h 1085"/>
                  <a:gd name="connsiteX140" fmla="*/ 459 w 5818"/>
                  <a:gd name="connsiteY140" fmla="*/ 131 h 1085"/>
                  <a:gd name="connsiteX141" fmla="*/ 514 w 5818"/>
                  <a:gd name="connsiteY141" fmla="*/ 174 h 1085"/>
                  <a:gd name="connsiteX142" fmla="*/ 568 w 5818"/>
                  <a:gd name="connsiteY142" fmla="*/ 228 h 1085"/>
                  <a:gd name="connsiteX143" fmla="*/ 618 w 5818"/>
                  <a:gd name="connsiteY143" fmla="*/ 292 h 1085"/>
                  <a:gd name="connsiteX144" fmla="*/ 667 w 5818"/>
                  <a:gd name="connsiteY144" fmla="*/ 367 h 1085"/>
                  <a:gd name="connsiteX145" fmla="*/ 754 w 5818"/>
                  <a:gd name="connsiteY145" fmla="*/ 516 h 1085"/>
                  <a:gd name="connsiteX146" fmla="*/ 787 w 5818"/>
                  <a:gd name="connsiteY146" fmla="*/ 575 h 1085"/>
                  <a:gd name="connsiteX147" fmla="*/ 820 w 5818"/>
                  <a:gd name="connsiteY147" fmla="*/ 631 h 1085"/>
                  <a:gd name="connsiteX148" fmla="*/ 853 w 5818"/>
                  <a:gd name="connsiteY148" fmla="*/ 684 h 1085"/>
                  <a:gd name="connsiteX149" fmla="*/ 886 w 5818"/>
                  <a:gd name="connsiteY149" fmla="*/ 736 h 1085"/>
                  <a:gd name="connsiteX150" fmla="*/ 921 w 5818"/>
                  <a:gd name="connsiteY150" fmla="*/ 782 h 1085"/>
                  <a:gd name="connsiteX151" fmla="*/ 958 w 5818"/>
                  <a:gd name="connsiteY151" fmla="*/ 825 h 1085"/>
                  <a:gd name="connsiteX152" fmla="*/ 1000 w 5818"/>
                  <a:gd name="connsiteY152" fmla="*/ 863 h 1085"/>
                  <a:gd name="connsiteX153" fmla="*/ 1043 w 5818"/>
                  <a:gd name="connsiteY153" fmla="*/ 894 h 1085"/>
                  <a:gd name="connsiteX154" fmla="*/ 1090 w 5818"/>
                  <a:gd name="connsiteY154" fmla="*/ 921 h 1085"/>
                  <a:gd name="connsiteX155" fmla="*/ 1140 w 5818"/>
                  <a:gd name="connsiteY155" fmla="*/ 939 h 1085"/>
                  <a:gd name="connsiteX156" fmla="*/ 1196 w 5818"/>
                  <a:gd name="connsiteY156" fmla="*/ 952 h 1085"/>
                  <a:gd name="connsiteX157" fmla="*/ 1258 w 5818"/>
                  <a:gd name="connsiteY157" fmla="*/ 956 h 1085"/>
                  <a:gd name="connsiteX158" fmla="*/ 1264 w 5818"/>
                  <a:gd name="connsiteY158" fmla="*/ 956 h 1085"/>
                  <a:gd name="connsiteX159" fmla="*/ 1324 w 5818"/>
                  <a:gd name="connsiteY159" fmla="*/ 950 h 1085"/>
                  <a:gd name="connsiteX160" fmla="*/ 1380 w 5818"/>
                  <a:gd name="connsiteY160" fmla="*/ 935 h 1085"/>
                  <a:gd name="connsiteX161" fmla="*/ 1433 w 5818"/>
                  <a:gd name="connsiteY161" fmla="*/ 913 h 1085"/>
                  <a:gd name="connsiteX162" fmla="*/ 1481 w 5818"/>
                  <a:gd name="connsiteY162" fmla="*/ 884 h 1085"/>
                  <a:gd name="connsiteX163" fmla="*/ 1526 w 5818"/>
                  <a:gd name="connsiteY163" fmla="*/ 846 h 1085"/>
                  <a:gd name="connsiteX164" fmla="*/ 1569 w 5818"/>
                  <a:gd name="connsiteY164" fmla="*/ 803 h 1085"/>
                  <a:gd name="connsiteX165" fmla="*/ 1609 w 5818"/>
                  <a:gd name="connsiteY165" fmla="*/ 755 h 1085"/>
                  <a:gd name="connsiteX166" fmla="*/ 1648 w 5818"/>
                  <a:gd name="connsiteY166" fmla="*/ 703 h 1085"/>
                  <a:gd name="connsiteX167" fmla="*/ 1687 w 5818"/>
                  <a:gd name="connsiteY167" fmla="*/ 649 h 1085"/>
                  <a:gd name="connsiteX168" fmla="*/ 1799 w 5818"/>
                  <a:gd name="connsiteY168" fmla="*/ 475 h 1085"/>
                  <a:gd name="connsiteX169" fmla="*/ 1838 w 5818"/>
                  <a:gd name="connsiteY169" fmla="*/ 415 h 1085"/>
                  <a:gd name="connsiteX170" fmla="*/ 1879 w 5818"/>
                  <a:gd name="connsiteY170" fmla="*/ 357 h 1085"/>
                  <a:gd name="connsiteX171" fmla="*/ 1923 w 5818"/>
                  <a:gd name="connsiteY171" fmla="*/ 299 h 1085"/>
                  <a:gd name="connsiteX172" fmla="*/ 1968 w 5818"/>
                  <a:gd name="connsiteY172" fmla="*/ 245 h 1085"/>
                  <a:gd name="connsiteX173" fmla="*/ 2015 w 5818"/>
                  <a:gd name="connsiteY173" fmla="*/ 193 h 1085"/>
                  <a:gd name="connsiteX174" fmla="*/ 2069 w 5818"/>
                  <a:gd name="connsiteY174" fmla="*/ 145 h 1085"/>
                  <a:gd name="connsiteX175" fmla="*/ 2125 w 5818"/>
                  <a:gd name="connsiteY175" fmla="*/ 104 h 1085"/>
                  <a:gd name="connsiteX176" fmla="*/ 2187 w 5818"/>
                  <a:gd name="connsiteY176" fmla="*/ 69 h 1085"/>
                  <a:gd name="connsiteX177" fmla="*/ 2253 w 5818"/>
                  <a:gd name="connsiteY177" fmla="*/ 39 h 1085"/>
                  <a:gd name="connsiteX178" fmla="*/ 2325 w 5818"/>
                  <a:gd name="connsiteY178" fmla="*/ 19 h 1085"/>
                  <a:gd name="connsiteX179" fmla="*/ 2404 w 5818"/>
                  <a:gd name="connsiteY179" fmla="*/ 6 h 1085"/>
                  <a:gd name="connsiteX180" fmla="*/ 2474 w 5818"/>
                  <a:gd name="connsiteY180" fmla="*/ 4 h 1085"/>
                  <a:gd name="connsiteX181" fmla="*/ 2540 w 5818"/>
                  <a:gd name="connsiteY181" fmla="*/ 13 h 1085"/>
                  <a:gd name="connsiteX182" fmla="*/ 2600 w 5818"/>
                  <a:gd name="connsiteY182" fmla="*/ 27 h 1085"/>
                  <a:gd name="connsiteX183" fmla="*/ 2658 w 5818"/>
                  <a:gd name="connsiteY183" fmla="*/ 50 h 1085"/>
                  <a:gd name="connsiteX184" fmla="*/ 2711 w 5818"/>
                  <a:gd name="connsiteY184" fmla="*/ 81 h 1085"/>
                  <a:gd name="connsiteX185" fmla="*/ 2761 w 5818"/>
                  <a:gd name="connsiteY185" fmla="*/ 116 h 1085"/>
                  <a:gd name="connsiteX186" fmla="*/ 2806 w 5818"/>
                  <a:gd name="connsiteY186" fmla="*/ 158 h 1085"/>
                  <a:gd name="connsiteX187" fmla="*/ 2852 w 5818"/>
                  <a:gd name="connsiteY187" fmla="*/ 203 h 1085"/>
                  <a:gd name="connsiteX188" fmla="*/ 2893 w 5818"/>
                  <a:gd name="connsiteY188" fmla="*/ 251 h 1085"/>
                  <a:gd name="connsiteX189" fmla="*/ 2932 w 5818"/>
                  <a:gd name="connsiteY189" fmla="*/ 303 h 1085"/>
                  <a:gd name="connsiteX190" fmla="*/ 2969 w 5818"/>
                  <a:gd name="connsiteY190" fmla="*/ 357 h 1085"/>
                  <a:gd name="connsiteX191" fmla="*/ 3004 w 5818"/>
                  <a:gd name="connsiteY191" fmla="*/ 413 h 1085"/>
                  <a:gd name="connsiteX192" fmla="*/ 3039 w 5818"/>
                  <a:gd name="connsiteY192" fmla="*/ 467 h 1085"/>
                  <a:gd name="connsiteX193" fmla="*/ 3073 w 5818"/>
                  <a:gd name="connsiteY193" fmla="*/ 523 h 1085"/>
                  <a:gd name="connsiteX194" fmla="*/ 3110 w 5818"/>
                  <a:gd name="connsiteY194" fmla="*/ 585 h 1085"/>
                  <a:gd name="connsiteX195" fmla="*/ 3147 w 5818"/>
                  <a:gd name="connsiteY195" fmla="*/ 643 h 1085"/>
                  <a:gd name="connsiteX196" fmla="*/ 3186 w 5818"/>
                  <a:gd name="connsiteY196" fmla="*/ 701 h 1085"/>
                  <a:gd name="connsiteX197" fmla="*/ 3223 w 5818"/>
                  <a:gd name="connsiteY197" fmla="*/ 755 h 1085"/>
                  <a:gd name="connsiteX198" fmla="*/ 3265 w 5818"/>
                  <a:gd name="connsiteY198" fmla="*/ 805 h 1085"/>
                  <a:gd name="connsiteX199" fmla="*/ 3306 w 5818"/>
                  <a:gd name="connsiteY199" fmla="*/ 848 h 1085"/>
                  <a:gd name="connsiteX200" fmla="*/ 3349 w 5818"/>
                  <a:gd name="connsiteY200" fmla="*/ 886 h 1085"/>
                  <a:gd name="connsiteX201" fmla="*/ 3395 w 5818"/>
                  <a:gd name="connsiteY201" fmla="*/ 917 h 1085"/>
                  <a:gd name="connsiteX202" fmla="*/ 3444 w 5818"/>
                  <a:gd name="connsiteY202" fmla="*/ 939 h 1085"/>
                  <a:gd name="connsiteX203" fmla="*/ 3498 w 5818"/>
                  <a:gd name="connsiteY203" fmla="*/ 952 h 1085"/>
                  <a:gd name="connsiteX204" fmla="*/ 3554 w 5818"/>
                  <a:gd name="connsiteY204" fmla="*/ 956 h 1085"/>
                  <a:gd name="connsiteX205" fmla="*/ 3609 w 5818"/>
                  <a:gd name="connsiteY205" fmla="*/ 950 h 1085"/>
                  <a:gd name="connsiteX206" fmla="*/ 3659 w 5818"/>
                  <a:gd name="connsiteY206" fmla="*/ 935 h 1085"/>
                  <a:gd name="connsiteX207" fmla="*/ 3706 w 5818"/>
                  <a:gd name="connsiteY207" fmla="*/ 915 h 1085"/>
                  <a:gd name="connsiteX208" fmla="*/ 3750 w 5818"/>
                  <a:gd name="connsiteY208" fmla="*/ 884 h 1085"/>
                  <a:gd name="connsiteX209" fmla="*/ 3789 w 5818"/>
                  <a:gd name="connsiteY209" fmla="*/ 848 h 1085"/>
                  <a:gd name="connsiteX210" fmla="*/ 3826 w 5818"/>
                  <a:gd name="connsiteY210" fmla="*/ 807 h 1085"/>
                  <a:gd name="connsiteX211" fmla="*/ 3861 w 5818"/>
                  <a:gd name="connsiteY211" fmla="*/ 759 h 1085"/>
                  <a:gd name="connsiteX212" fmla="*/ 3894 w 5818"/>
                  <a:gd name="connsiteY212" fmla="*/ 709 h 1085"/>
                  <a:gd name="connsiteX213" fmla="*/ 3927 w 5818"/>
                  <a:gd name="connsiteY213" fmla="*/ 655 h 1085"/>
                  <a:gd name="connsiteX214" fmla="*/ 3960 w 5818"/>
                  <a:gd name="connsiteY214" fmla="*/ 597 h 1085"/>
                  <a:gd name="connsiteX215" fmla="*/ 3993 w 5818"/>
                  <a:gd name="connsiteY215" fmla="*/ 537 h 1085"/>
                  <a:gd name="connsiteX216" fmla="*/ 4022 w 5818"/>
                  <a:gd name="connsiteY216" fmla="*/ 483 h 1085"/>
                  <a:gd name="connsiteX217" fmla="*/ 4084 w 5818"/>
                  <a:gd name="connsiteY217" fmla="*/ 375 h 1085"/>
                  <a:gd name="connsiteX218" fmla="*/ 4154 w 5818"/>
                  <a:gd name="connsiteY218" fmla="*/ 272 h 1085"/>
                  <a:gd name="connsiteX219" fmla="*/ 4192 w 5818"/>
                  <a:gd name="connsiteY219" fmla="*/ 224 h 1085"/>
                  <a:gd name="connsiteX220" fmla="*/ 4233 w 5818"/>
                  <a:gd name="connsiteY220" fmla="*/ 178 h 1085"/>
                  <a:gd name="connsiteX221" fmla="*/ 4276 w 5818"/>
                  <a:gd name="connsiteY221" fmla="*/ 137 h 1085"/>
                  <a:gd name="connsiteX222" fmla="*/ 4324 w 5818"/>
                  <a:gd name="connsiteY222" fmla="*/ 100 h 1085"/>
                  <a:gd name="connsiteX223" fmla="*/ 4375 w 5818"/>
                  <a:gd name="connsiteY223" fmla="*/ 66 h 1085"/>
                  <a:gd name="connsiteX224" fmla="*/ 4433 w 5818"/>
                  <a:gd name="connsiteY224" fmla="*/ 39 h 1085"/>
                  <a:gd name="connsiteX225" fmla="*/ 4493 w 5818"/>
                  <a:gd name="connsiteY225" fmla="*/ 19 h 1085"/>
                  <a:gd name="connsiteX226" fmla="*/ 4559 w 5818"/>
                  <a:gd name="connsiteY226" fmla="*/ 6 h 1085"/>
                  <a:gd name="connsiteX227" fmla="*/ 4631 w 5818"/>
                  <a:gd name="connsiteY227" fmla="*/ 0 h 1085"/>
                  <a:gd name="connsiteX0" fmla="*/ 4631 w 5810"/>
                  <a:gd name="connsiteY0" fmla="*/ 0 h 1085"/>
                  <a:gd name="connsiteX1" fmla="*/ 4681 w 5810"/>
                  <a:gd name="connsiteY1" fmla="*/ 0 h 1085"/>
                  <a:gd name="connsiteX2" fmla="*/ 4710 w 5810"/>
                  <a:gd name="connsiteY2" fmla="*/ 4 h 1085"/>
                  <a:gd name="connsiteX3" fmla="*/ 4741 w 5810"/>
                  <a:gd name="connsiteY3" fmla="*/ 13 h 1085"/>
                  <a:gd name="connsiteX4" fmla="*/ 4778 w 5810"/>
                  <a:gd name="connsiteY4" fmla="*/ 23 h 1085"/>
                  <a:gd name="connsiteX5" fmla="*/ 4819 w 5810"/>
                  <a:gd name="connsiteY5" fmla="*/ 39 h 1085"/>
                  <a:gd name="connsiteX6" fmla="*/ 4863 w 5810"/>
                  <a:gd name="connsiteY6" fmla="*/ 60 h 1085"/>
                  <a:gd name="connsiteX7" fmla="*/ 4910 w 5810"/>
                  <a:gd name="connsiteY7" fmla="*/ 89 h 1085"/>
                  <a:gd name="connsiteX8" fmla="*/ 4960 w 5810"/>
                  <a:gd name="connsiteY8" fmla="*/ 124 h 1085"/>
                  <a:gd name="connsiteX9" fmla="*/ 5009 w 5810"/>
                  <a:gd name="connsiteY9" fmla="*/ 170 h 1085"/>
                  <a:gd name="connsiteX10" fmla="*/ 5061 w 5810"/>
                  <a:gd name="connsiteY10" fmla="*/ 224 h 1085"/>
                  <a:gd name="connsiteX11" fmla="*/ 5112 w 5810"/>
                  <a:gd name="connsiteY11" fmla="*/ 286 h 1085"/>
                  <a:gd name="connsiteX12" fmla="*/ 5313 w 5810"/>
                  <a:gd name="connsiteY12" fmla="*/ 633 h 1085"/>
                  <a:gd name="connsiteX13" fmla="*/ 5408 w 5810"/>
                  <a:gd name="connsiteY13" fmla="*/ 769 h 1085"/>
                  <a:gd name="connsiteX14" fmla="*/ 5711 w 5810"/>
                  <a:gd name="connsiteY14" fmla="*/ 973 h 1085"/>
                  <a:gd name="connsiteX15" fmla="*/ 5810 w 5810"/>
                  <a:gd name="connsiteY15" fmla="*/ 1072 h 1085"/>
                  <a:gd name="connsiteX16" fmla="*/ 5717 w 5810"/>
                  <a:gd name="connsiteY16" fmla="*/ 1064 h 1085"/>
                  <a:gd name="connsiteX17" fmla="*/ 5639 w 5810"/>
                  <a:gd name="connsiteY17" fmla="*/ 1043 h 1085"/>
                  <a:gd name="connsiteX18" fmla="*/ 5546 w 5810"/>
                  <a:gd name="connsiteY18" fmla="*/ 1002 h 1085"/>
                  <a:gd name="connsiteX19" fmla="*/ 5496 w 5810"/>
                  <a:gd name="connsiteY19" fmla="*/ 971 h 1085"/>
                  <a:gd name="connsiteX20" fmla="*/ 5042 w 5810"/>
                  <a:gd name="connsiteY20" fmla="*/ 336 h 1085"/>
                  <a:gd name="connsiteX21" fmla="*/ 4993 w 5810"/>
                  <a:gd name="connsiteY21" fmla="*/ 276 h 1085"/>
                  <a:gd name="connsiteX22" fmla="*/ 4945 w 5810"/>
                  <a:gd name="connsiteY22" fmla="*/ 228 h 1085"/>
                  <a:gd name="connsiteX23" fmla="*/ 4900 w 5810"/>
                  <a:gd name="connsiteY23" fmla="*/ 189 h 1085"/>
                  <a:gd name="connsiteX24" fmla="*/ 4858 w 5810"/>
                  <a:gd name="connsiteY24" fmla="*/ 158 h 1085"/>
                  <a:gd name="connsiteX25" fmla="*/ 4819 w 5810"/>
                  <a:gd name="connsiteY25" fmla="*/ 135 h 1085"/>
                  <a:gd name="connsiteX26" fmla="*/ 4770 w 5810"/>
                  <a:gd name="connsiteY26" fmla="*/ 112 h 1085"/>
                  <a:gd name="connsiteX27" fmla="*/ 4726 w 5810"/>
                  <a:gd name="connsiteY27" fmla="*/ 98 h 1085"/>
                  <a:gd name="connsiteX28" fmla="*/ 4691 w 5810"/>
                  <a:gd name="connsiteY28" fmla="*/ 89 h 1085"/>
                  <a:gd name="connsiteX29" fmla="*/ 4662 w 5810"/>
                  <a:gd name="connsiteY29" fmla="*/ 87 h 1085"/>
                  <a:gd name="connsiteX30" fmla="*/ 4635 w 5810"/>
                  <a:gd name="connsiteY30" fmla="*/ 87 h 1085"/>
                  <a:gd name="connsiteX31" fmla="*/ 4569 w 5810"/>
                  <a:gd name="connsiteY31" fmla="*/ 93 h 1085"/>
                  <a:gd name="connsiteX32" fmla="*/ 4507 w 5810"/>
                  <a:gd name="connsiteY32" fmla="*/ 106 h 1085"/>
                  <a:gd name="connsiteX33" fmla="*/ 4452 w 5810"/>
                  <a:gd name="connsiteY33" fmla="*/ 127 h 1085"/>
                  <a:gd name="connsiteX34" fmla="*/ 4400 w 5810"/>
                  <a:gd name="connsiteY34" fmla="*/ 154 h 1085"/>
                  <a:gd name="connsiteX35" fmla="*/ 4353 w 5810"/>
                  <a:gd name="connsiteY35" fmla="*/ 187 h 1085"/>
                  <a:gd name="connsiteX36" fmla="*/ 4309 w 5810"/>
                  <a:gd name="connsiteY36" fmla="*/ 224 h 1085"/>
                  <a:gd name="connsiteX37" fmla="*/ 4270 w 5810"/>
                  <a:gd name="connsiteY37" fmla="*/ 268 h 1085"/>
                  <a:gd name="connsiteX38" fmla="*/ 4231 w 5810"/>
                  <a:gd name="connsiteY38" fmla="*/ 313 h 1085"/>
                  <a:gd name="connsiteX39" fmla="*/ 4196 w 5810"/>
                  <a:gd name="connsiteY39" fmla="*/ 363 h 1085"/>
                  <a:gd name="connsiteX40" fmla="*/ 4163 w 5810"/>
                  <a:gd name="connsiteY40" fmla="*/ 415 h 1085"/>
                  <a:gd name="connsiteX41" fmla="*/ 4101 w 5810"/>
                  <a:gd name="connsiteY41" fmla="*/ 523 h 1085"/>
                  <a:gd name="connsiteX42" fmla="*/ 4008 w 5810"/>
                  <a:gd name="connsiteY42" fmla="*/ 691 h 1085"/>
                  <a:gd name="connsiteX43" fmla="*/ 3975 w 5810"/>
                  <a:gd name="connsiteY43" fmla="*/ 747 h 1085"/>
                  <a:gd name="connsiteX44" fmla="*/ 3940 w 5810"/>
                  <a:gd name="connsiteY44" fmla="*/ 798 h 1085"/>
                  <a:gd name="connsiteX45" fmla="*/ 3905 w 5810"/>
                  <a:gd name="connsiteY45" fmla="*/ 848 h 1085"/>
                  <a:gd name="connsiteX46" fmla="*/ 3865 w 5810"/>
                  <a:gd name="connsiteY46" fmla="*/ 894 h 1085"/>
                  <a:gd name="connsiteX47" fmla="*/ 3824 w 5810"/>
                  <a:gd name="connsiteY47" fmla="*/ 935 h 1085"/>
                  <a:gd name="connsiteX48" fmla="*/ 3779 w 5810"/>
                  <a:gd name="connsiteY48" fmla="*/ 971 h 1085"/>
                  <a:gd name="connsiteX49" fmla="*/ 3729 w 5810"/>
                  <a:gd name="connsiteY49" fmla="*/ 1000 h 1085"/>
                  <a:gd name="connsiteX50" fmla="*/ 3677 w 5810"/>
                  <a:gd name="connsiteY50" fmla="*/ 1022 h 1085"/>
                  <a:gd name="connsiteX51" fmla="*/ 3620 w 5810"/>
                  <a:gd name="connsiteY51" fmla="*/ 1037 h 1085"/>
                  <a:gd name="connsiteX52" fmla="*/ 3556 w 5810"/>
                  <a:gd name="connsiteY52" fmla="*/ 1043 h 1085"/>
                  <a:gd name="connsiteX53" fmla="*/ 3547 w 5810"/>
                  <a:gd name="connsiteY53" fmla="*/ 1043 h 1085"/>
                  <a:gd name="connsiteX54" fmla="*/ 3485 w 5810"/>
                  <a:gd name="connsiteY54" fmla="*/ 1039 h 1085"/>
                  <a:gd name="connsiteX55" fmla="*/ 3426 w 5810"/>
                  <a:gd name="connsiteY55" fmla="*/ 1025 h 1085"/>
                  <a:gd name="connsiteX56" fmla="*/ 3372 w 5810"/>
                  <a:gd name="connsiteY56" fmla="*/ 1002 h 1085"/>
                  <a:gd name="connsiteX57" fmla="*/ 3320 w 5810"/>
                  <a:gd name="connsiteY57" fmla="*/ 973 h 1085"/>
                  <a:gd name="connsiteX58" fmla="*/ 3273 w 5810"/>
                  <a:gd name="connsiteY58" fmla="*/ 935 h 1085"/>
                  <a:gd name="connsiteX59" fmla="*/ 3229 w 5810"/>
                  <a:gd name="connsiteY59" fmla="*/ 894 h 1085"/>
                  <a:gd name="connsiteX60" fmla="*/ 3186 w 5810"/>
                  <a:gd name="connsiteY60" fmla="*/ 846 h 1085"/>
                  <a:gd name="connsiteX61" fmla="*/ 3147 w 5810"/>
                  <a:gd name="connsiteY61" fmla="*/ 796 h 1085"/>
                  <a:gd name="connsiteX62" fmla="*/ 3108 w 5810"/>
                  <a:gd name="connsiteY62" fmla="*/ 740 h 1085"/>
                  <a:gd name="connsiteX63" fmla="*/ 3070 w 5810"/>
                  <a:gd name="connsiteY63" fmla="*/ 684 h 1085"/>
                  <a:gd name="connsiteX64" fmla="*/ 2965 w 5810"/>
                  <a:gd name="connsiteY64" fmla="*/ 510 h 1085"/>
                  <a:gd name="connsiteX65" fmla="*/ 2928 w 5810"/>
                  <a:gd name="connsiteY65" fmla="*/ 452 h 1085"/>
                  <a:gd name="connsiteX66" fmla="*/ 2891 w 5810"/>
                  <a:gd name="connsiteY66" fmla="*/ 396 h 1085"/>
                  <a:gd name="connsiteX67" fmla="*/ 2854 w 5810"/>
                  <a:gd name="connsiteY67" fmla="*/ 342 h 1085"/>
                  <a:gd name="connsiteX68" fmla="*/ 2814 w 5810"/>
                  <a:gd name="connsiteY68" fmla="*/ 292 h 1085"/>
                  <a:gd name="connsiteX69" fmla="*/ 2773 w 5810"/>
                  <a:gd name="connsiteY69" fmla="*/ 247 h 1085"/>
                  <a:gd name="connsiteX70" fmla="*/ 2732 w 5810"/>
                  <a:gd name="connsiteY70" fmla="*/ 205 h 1085"/>
                  <a:gd name="connsiteX71" fmla="*/ 2686 w 5810"/>
                  <a:gd name="connsiteY71" fmla="*/ 168 h 1085"/>
                  <a:gd name="connsiteX72" fmla="*/ 2639 w 5810"/>
                  <a:gd name="connsiteY72" fmla="*/ 139 h 1085"/>
                  <a:gd name="connsiteX73" fmla="*/ 2587 w 5810"/>
                  <a:gd name="connsiteY73" fmla="*/ 116 h 1085"/>
                  <a:gd name="connsiteX74" fmla="*/ 2532 w 5810"/>
                  <a:gd name="connsiteY74" fmla="*/ 100 h 1085"/>
                  <a:gd name="connsiteX75" fmla="*/ 2474 w 5810"/>
                  <a:gd name="connsiteY75" fmla="*/ 91 h 1085"/>
                  <a:gd name="connsiteX76" fmla="*/ 2410 w 5810"/>
                  <a:gd name="connsiteY76" fmla="*/ 93 h 1085"/>
                  <a:gd name="connsiteX77" fmla="*/ 2342 w 5810"/>
                  <a:gd name="connsiteY77" fmla="*/ 104 h 1085"/>
                  <a:gd name="connsiteX78" fmla="*/ 2280 w 5810"/>
                  <a:gd name="connsiteY78" fmla="*/ 122 h 1085"/>
                  <a:gd name="connsiteX79" fmla="*/ 2222 w 5810"/>
                  <a:gd name="connsiteY79" fmla="*/ 147 h 1085"/>
                  <a:gd name="connsiteX80" fmla="*/ 2168 w 5810"/>
                  <a:gd name="connsiteY80" fmla="*/ 180 h 1085"/>
                  <a:gd name="connsiteX81" fmla="*/ 2117 w 5810"/>
                  <a:gd name="connsiteY81" fmla="*/ 218 h 1085"/>
                  <a:gd name="connsiteX82" fmla="*/ 2071 w 5810"/>
                  <a:gd name="connsiteY82" fmla="*/ 261 h 1085"/>
                  <a:gd name="connsiteX83" fmla="*/ 2026 w 5810"/>
                  <a:gd name="connsiteY83" fmla="*/ 307 h 1085"/>
                  <a:gd name="connsiteX84" fmla="*/ 1984 w 5810"/>
                  <a:gd name="connsiteY84" fmla="*/ 359 h 1085"/>
                  <a:gd name="connsiteX85" fmla="*/ 1945 w 5810"/>
                  <a:gd name="connsiteY85" fmla="*/ 413 h 1085"/>
                  <a:gd name="connsiteX86" fmla="*/ 1908 w 5810"/>
                  <a:gd name="connsiteY86" fmla="*/ 467 h 1085"/>
                  <a:gd name="connsiteX87" fmla="*/ 1871 w 5810"/>
                  <a:gd name="connsiteY87" fmla="*/ 523 h 1085"/>
                  <a:gd name="connsiteX88" fmla="*/ 1834 w 5810"/>
                  <a:gd name="connsiteY88" fmla="*/ 581 h 1085"/>
                  <a:gd name="connsiteX89" fmla="*/ 1799 w 5810"/>
                  <a:gd name="connsiteY89" fmla="*/ 637 h 1085"/>
                  <a:gd name="connsiteX90" fmla="*/ 1724 w 5810"/>
                  <a:gd name="connsiteY90" fmla="*/ 749 h 1085"/>
                  <a:gd name="connsiteX91" fmla="*/ 1685 w 5810"/>
                  <a:gd name="connsiteY91" fmla="*/ 801 h 1085"/>
                  <a:gd name="connsiteX92" fmla="*/ 1644 w 5810"/>
                  <a:gd name="connsiteY92" fmla="*/ 850 h 1085"/>
                  <a:gd name="connsiteX93" fmla="*/ 1600 w 5810"/>
                  <a:gd name="connsiteY93" fmla="*/ 896 h 1085"/>
                  <a:gd name="connsiteX94" fmla="*/ 1553 w 5810"/>
                  <a:gd name="connsiteY94" fmla="*/ 937 h 1085"/>
                  <a:gd name="connsiteX95" fmla="*/ 1503 w 5810"/>
                  <a:gd name="connsiteY95" fmla="*/ 973 h 1085"/>
                  <a:gd name="connsiteX96" fmla="*/ 1450 w 5810"/>
                  <a:gd name="connsiteY96" fmla="*/ 1002 h 1085"/>
                  <a:gd name="connsiteX97" fmla="*/ 1394 w 5810"/>
                  <a:gd name="connsiteY97" fmla="*/ 1025 h 1085"/>
                  <a:gd name="connsiteX98" fmla="*/ 1330 w 5810"/>
                  <a:gd name="connsiteY98" fmla="*/ 1037 h 1085"/>
                  <a:gd name="connsiteX99" fmla="*/ 1264 w 5810"/>
                  <a:gd name="connsiteY99" fmla="*/ 1043 h 1085"/>
                  <a:gd name="connsiteX100" fmla="*/ 1258 w 5810"/>
                  <a:gd name="connsiteY100" fmla="*/ 1043 h 1085"/>
                  <a:gd name="connsiteX101" fmla="*/ 1190 w 5810"/>
                  <a:gd name="connsiteY101" fmla="*/ 1039 h 1085"/>
                  <a:gd name="connsiteX102" fmla="*/ 1128 w 5810"/>
                  <a:gd name="connsiteY102" fmla="*/ 1027 h 1085"/>
                  <a:gd name="connsiteX103" fmla="*/ 1070 w 5810"/>
                  <a:gd name="connsiteY103" fmla="*/ 1008 h 1085"/>
                  <a:gd name="connsiteX104" fmla="*/ 1018 w 5810"/>
                  <a:gd name="connsiteY104" fmla="*/ 983 h 1085"/>
                  <a:gd name="connsiteX105" fmla="*/ 971 w 5810"/>
                  <a:gd name="connsiteY105" fmla="*/ 952 h 1085"/>
                  <a:gd name="connsiteX106" fmla="*/ 925 w 5810"/>
                  <a:gd name="connsiteY106" fmla="*/ 915 h 1085"/>
                  <a:gd name="connsiteX107" fmla="*/ 884 w 5810"/>
                  <a:gd name="connsiteY107" fmla="*/ 873 h 1085"/>
                  <a:gd name="connsiteX108" fmla="*/ 847 w 5810"/>
                  <a:gd name="connsiteY108" fmla="*/ 828 h 1085"/>
                  <a:gd name="connsiteX109" fmla="*/ 810 w 5810"/>
                  <a:gd name="connsiteY109" fmla="*/ 780 h 1085"/>
                  <a:gd name="connsiteX110" fmla="*/ 777 w 5810"/>
                  <a:gd name="connsiteY110" fmla="*/ 728 h 1085"/>
                  <a:gd name="connsiteX111" fmla="*/ 742 w 5810"/>
                  <a:gd name="connsiteY111" fmla="*/ 674 h 1085"/>
                  <a:gd name="connsiteX112" fmla="*/ 711 w 5810"/>
                  <a:gd name="connsiteY112" fmla="*/ 618 h 1085"/>
                  <a:gd name="connsiteX113" fmla="*/ 678 w 5810"/>
                  <a:gd name="connsiteY113" fmla="*/ 560 h 1085"/>
                  <a:gd name="connsiteX114" fmla="*/ 616 w 5810"/>
                  <a:gd name="connsiteY114" fmla="*/ 448 h 1085"/>
                  <a:gd name="connsiteX115" fmla="*/ 547 w 5810"/>
                  <a:gd name="connsiteY115" fmla="*/ 340 h 1085"/>
                  <a:gd name="connsiteX116" fmla="*/ 504 w 5810"/>
                  <a:gd name="connsiteY116" fmla="*/ 284 h 1085"/>
                  <a:gd name="connsiteX117" fmla="*/ 457 w 5810"/>
                  <a:gd name="connsiteY117" fmla="*/ 239 h 1085"/>
                  <a:gd name="connsiteX118" fmla="*/ 409 w 5810"/>
                  <a:gd name="connsiteY118" fmla="*/ 199 h 1085"/>
                  <a:gd name="connsiteX119" fmla="*/ 358 w 5810"/>
                  <a:gd name="connsiteY119" fmla="*/ 168 h 1085"/>
                  <a:gd name="connsiteX120" fmla="*/ 308 w 5810"/>
                  <a:gd name="connsiteY120" fmla="*/ 145 h 1085"/>
                  <a:gd name="connsiteX121" fmla="*/ 256 w 5810"/>
                  <a:gd name="connsiteY121" fmla="*/ 127 h 1085"/>
                  <a:gd name="connsiteX122" fmla="*/ 209 w 5810"/>
                  <a:gd name="connsiteY122" fmla="*/ 112 h 1085"/>
                  <a:gd name="connsiteX123" fmla="*/ 163 w 5810"/>
                  <a:gd name="connsiteY123" fmla="*/ 104 h 1085"/>
                  <a:gd name="connsiteX124" fmla="*/ 122 w 5810"/>
                  <a:gd name="connsiteY124" fmla="*/ 100 h 1085"/>
                  <a:gd name="connsiteX125" fmla="*/ 85 w 5810"/>
                  <a:gd name="connsiteY125" fmla="*/ 95 h 1085"/>
                  <a:gd name="connsiteX126" fmla="*/ 31 w 5810"/>
                  <a:gd name="connsiteY126" fmla="*/ 95 h 1085"/>
                  <a:gd name="connsiteX127" fmla="*/ 17 w 5810"/>
                  <a:gd name="connsiteY127" fmla="*/ 98 h 1085"/>
                  <a:gd name="connsiteX128" fmla="*/ 11 w 5810"/>
                  <a:gd name="connsiteY128" fmla="*/ 98 h 1085"/>
                  <a:gd name="connsiteX129" fmla="*/ 0 w 5810"/>
                  <a:gd name="connsiteY129" fmla="*/ 13 h 1085"/>
                  <a:gd name="connsiteX130" fmla="*/ 9 w 5810"/>
                  <a:gd name="connsiteY130" fmla="*/ 13 h 1085"/>
                  <a:gd name="connsiteX131" fmla="*/ 29 w 5810"/>
                  <a:gd name="connsiteY131" fmla="*/ 10 h 1085"/>
                  <a:gd name="connsiteX132" fmla="*/ 91 w 5810"/>
                  <a:gd name="connsiteY132" fmla="*/ 10 h 1085"/>
                  <a:gd name="connsiteX133" fmla="*/ 135 w 5810"/>
                  <a:gd name="connsiteY133" fmla="*/ 13 h 1085"/>
                  <a:gd name="connsiteX134" fmla="*/ 182 w 5810"/>
                  <a:gd name="connsiteY134" fmla="*/ 19 h 1085"/>
                  <a:gd name="connsiteX135" fmla="*/ 234 w 5810"/>
                  <a:gd name="connsiteY135" fmla="*/ 29 h 1085"/>
                  <a:gd name="connsiteX136" fmla="*/ 287 w 5810"/>
                  <a:gd name="connsiteY136" fmla="*/ 46 h 1085"/>
                  <a:gd name="connsiteX137" fmla="*/ 345 w 5810"/>
                  <a:gd name="connsiteY137" fmla="*/ 66 h 1085"/>
                  <a:gd name="connsiteX138" fmla="*/ 403 w 5810"/>
                  <a:gd name="connsiteY138" fmla="*/ 93 h 1085"/>
                  <a:gd name="connsiteX139" fmla="*/ 459 w 5810"/>
                  <a:gd name="connsiteY139" fmla="*/ 131 h 1085"/>
                  <a:gd name="connsiteX140" fmla="*/ 514 w 5810"/>
                  <a:gd name="connsiteY140" fmla="*/ 174 h 1085"/>
                  <a:gd name="connsiteX141" fmla="*/ 568 w 5810"/>
                  <a:gd name="connsiteY141" fmla="*/ 228 h 1085"/>
                  <a:gd name="connsiteX142" fmla="*/ 618 w 5810"/>
                  <a:gd name="connsiteY142" fmla="*/ 292 h 1085"/>
                  <a:gd name="connsiteX143" fmla="*/ 667 w 5810"/>
                  <a:gd name="connsiteY143" fmla="*/ 367 h 1085"/>
                  <a:gd name="connsiteX144" fmla="*/ 754 w 5810"/>
                  <a:gd name="connsiteY144" fmla="*/ 516 h 1085"/>
                  <a:gd name="connsiteX145" fmla="*/ 787 w 5810"/>
                  <a:gd name="connsiteY145" fmla="*/ 575 h 1085"/>
                  <a:gd name="connsiteX146" fmla="*/ 820 w 5810"/>
                  <a:gd name="connsiteY146" fmla="*/ 631 h 1085"/>
                  <a:gd name="connsiteX147" fmla="*/ 853 w 5810"/>
                  <a:gd name="connsiteY147" fmla="*/ 684 h 1085"/>
                  <a:gd name="connsiteX148" fmla="*/ 886 w 5810"/>
                  <a:gd name="connsiteY148" fmla="*/ 736 h 1085"/>
                  <a:gd name="connsiteX149" fmla="*/ 921 w 5810"/>
                  <a:gd name="connsiteY149" fmla="*/ 782 h 1085"/>
                  <a:gd name="connsiteX150" fmla="*/ 958 w 5810"/>
                  <a:gd name="connsiteY150" fmla="*/ 825 h 1085"/>
                  <a:gd name="connsiteX151" fmla="*/ 1000 w 5810"/>
                  <a:gd name="connsiteY151" fmla="*/ 863 h 1085"/>
                  <a:gd name="connsiteX152" fmla="*/ 1043 w 5810"/>
                  <a:gd name="connsiteY152" fmla="*/ 894 h 1085"/>
                  <a:gd name="connsiteX153" fmla="*/ 1090 w 5810"/>
                  <a:gd name="connsiteY153" fmla="*/ 921 h 1085"/>
                  <a:gd name="connsiteX154" fmla="*/ 1140 w 5810"/>
                  <a:gd name="connsiteY154" fmla="*/ 939 h 1085"/>
                  <a:gd name="connsiteX155" fmla="*/ 1196 w 5810"/>
                  <a:gd name="connsiteY155" fmla="*/ 952 h 1085"/>
                  <a:gd name="connsiteX156" fmla="*/ 1258 w 5810"/>
                  <a:gd name="connsiteY156" fmla="*/ 956 h 1085"/>
                  <a:gd name="connsiteX157" fmla="*/ 1264 w 5810"/>
                  <a:gd name="connsiteY157" fmla="*/ 956 h 1085"/>
                  <a:gd name="connsiteX158" fmla="*/ 1324 w 5810"/>
                  <a:gd name="connsiteY158" fmla="*/ 950 h 1085"/>
                  <a:gd name="connsiteX159" fmla="*/ 1380 w 5810"/>
                  <a:gd name="connsiteY159" fmla="*/ 935 h 1085"/>
                  <a:gd name="connsiteX160" fmla="*/ 1433 w 5810"/>
                  <a:gd name="connsiteY160" fmla="*/ 913 h 1085"/>
                  <a:gd name="connsiteX161" fmla="*/ 1481 w 5810"/>
                  <a:gd name="connsiteY161" fmla="*/ 884 h 1085"/>
                  <a:gd name="connsiteX162" fmla="*/ 1526 w 5810"/>
                  <a:gd name="connsiteY162" fmla="*/ 846 h 1085"/>
                  <a:gd name="connsiteX163" fmla="*/ 1569 w 5810"/>
                  <a:gd name="connsiteY163" fmla="*/ 803 h 1085"/>
                  <a:gd name="connsiteX164" fmla="*/ 1609 w 5810"/>
                  <a:gd name="connsiteY164" fmla="*/ 755 h 1085"/>
                  <a:gd name="connsiteX165" fmla="*/ 1648 w 5810"/>
                  <a:gd name="connsiteY165" fmla="*/ 703 h 1085"/>
                  <a:gd name="connsiteX166" fmla="*/ 1687 w 5810"/>
                  <a:gd name="connsiteY166" fmla="*/ 649 h 1085"/>
                  <a:gd name="connsiteX167" fmla="*/ 1799 w 5810"/>
                  <a:gd name="connsiteY167" fmla="*/ 475 h 1085"/>
                  <a:gd name="connsiteX168" fmla="*/ 1838 w 5810"/>
                  <a:gd name="connsiteY168" fmla="*/ 415 h 1085"/>
                  <a:gd name="connsiteX169" fmla="*/ 1879 w 5810"/>
                  <a:gd name="connsiteY169" fmla="*/ 357 h 1085"/>
                  <a:gd name="connsiteX170" fmla="*/ 1923 w 5810"/>
                  <a:gd name="connsiteY170" fmla="*/ 299 h 1085"/>
                  <a:gd name="connsiteX171" fmla="*/ 1968 w 5810"/>
                  <a:gd name="connsiteY171" fmla="*/ 245 h 1085"/>
                  <a:gd name="connsiteX172" fmla="*/ 2015 w 5810"/>
                  <a:gd name="connsiteY172" fmla="*/ 193 h 1085"/>
                  <a:gd name="connsiteX173" fmla="*/ 2069 w 5810"/>
                  <a:gd name="connsiteY173" fmla="*/ 145 h 1085"/>
                  <a:gd name="connsiteX174" fmla="*/ 2125 w 5810"/>
                  <a:gd name="connsiteY174" fmla="*/ 104 h 1085"/>
                  <a:gd name="connsiteX175" fmla="*/ 2187 w 5810"/>
                  <a:gd name="connsiteY175" fmla="*/ 69 h 1085"/>
                  <a:gd name="connsiteX176" fmla="*/ 2253 w 5810"/>
                  <a:gd name="connsiteY176" fmla="*/ 39 h 1085"/>
                  <a:gd name="connsiteX177" fmla="*/ 2325 w 5810"/>
                  <a:gd name="connsiteY177" fmla="*/ 19 h 1085"/>
                  <a:gd name="connsiteX178" fmla="*/ 2404 w 5810"/>
                  <a:gd name="connsiteY178" fmla="*/ 6 h 1085"/>
                  <a:gd name="connsiteX179" fmla="*/ 2474 w 5810"/>
                  <a:gd name="connsiteY179" fmla="*/ 4 h 1085"/>
                  <a:gd name="connsiteX180" fmla="*/ 2540 w 5810"/>
                  <a:gd name="connsiteY180" fmla="*/ 13 h 1085"/>
                  <a:gd name="connsiteX181" fmla="*/ 2600 w 5810"/>
                  <a:gd name="connsiteY181" fmla="*/ 27 h 1085"/>
                  <a:gd name="connsiteX182" fmla="*/ 2658 w 5810"/>
                  <a:gd name="connsiteY182" fmla="*/ 50 h 1085"/>
                  <a:gd name="connsiteX183" fmla="*/ 2711 w 5810"/>
                  <a:gd name="connsiteY183" fmla="*/ 81 h 1085"/>
                  <a:gd name="connsiteX184" fmla="*/ 2761 w 5810"/>
                  <a:gd name="connsiteY184" fmla="*/ 116 h 1085"/>
                  <a:gd name="connsiteX185" fmla="*/ 2806 w 5810"/>
                  <a:gd name="connsiteY185" fmla="*/ 158 h 1085"/>
                  <a:gd name="connsiteX186" fmla="*/ 2852 w 5810"/>
                  <a:gd name="connsiteY186" fmla="*/ 203 h 1085"/>
                  <a:gd name="connsiteX187" fmla="*/ 2893 w 5810"/>
                  <a:gd name="connsiteY187" fmla="*/ 251 h 1085"/>
                  <a:gd name="connsiteX188" fmla="*/ 2932 w 5810"/>
                  <a:gd name="connsiteY188" fmla="*/ 303 h 1085"/>
                  <a:gd name="connsiteX189" fmla="*/ 2969 w 5810"/>
                  <a:gd name="connsiteY189" fmla="*/ 357 h 1085"/>
                  <a:gd name="connsiteX190" fmla="*/ 3004 w 5810"/>
                  <a:gd name="connsiteY190" fmla="*/ 413 h 1085"/>
                  <a:gd name="connsiteX191" fmla="*/ 3039 w 5810"/>
                  <a:gd name="connsiteY191" fmla="*/ 467 h 1085"/>
                  <a:gd name="connsiteX192" fmla="*/ 3073 w 5810"/>
                  <a:gd name="connsiteY192" fmla="*/ 523 h 1085"/>
                  <a:gd name="connsiteX193" fmla="*/ 3110 w 5810"/>
                  <a:gd name="connsiteY193" fmla="*/ 585 h 1085"/>
                  <a:gd name="connsiteX194" fmla="*/ 3147 w 5810"/>
                  <a:gd name="connsiteY194" fmla="*/ 643 h 1085"/>
                  <a:gd name="connsiteX195" fmla="*/ 3186 w 5810"/>
                  <a:gd name="connsiteY195" fmla="*/ 701 h 1085"/>
                  <a:gd name="connsiteX196" fmla="*/ 3223 w 5810"/>
                  <a:gd name="connsiteY196" fmla="*/ 755 h 1085"/>
                  <a:gd name="connsiteX197" fmla="*/ 3265 w 5810"/>
                  <a:gd name="connsiteY197" fmla="*/ 805 h 1085"/>
                  <a:gd name="connsiteX198" fmla="*/ 3306 w 5810"/>
                  <a:gd name="connsiteY198" fmla="*/ 848 h 1085"/>
                  <a:gd name="connsiteX199" fmla="*/ 3349 w 5810"/>
                  <a:gd name="connsiteY199" fmla="*/ 886 h 1085"/>
                  <a:gd name="connsiteX200" fmla="*/ 3395 w 5810"/>
                  <a:gd name="connsiteY200" fmla="*/ 917 h 1085"/>
                  <a:gd name="connsiteX201" fmla="*/ 3444 w 5810"/>
                  <a:gd name="connsiteY201" fmla="*/ 939 h 1085"/>
                  <a:gd name="connsiteX202" fmla="*/ 3498 w 5810"/>
                  <a:gd name="connsiteY202" fmla="*/ 952 h 1085"/>
                  <a:gd name="connsiteX203" fmla="*/ 3554 w 5810"/>
                  <a:gd name="connsiteY203" fmla="*/ 956 h 1085"/>
                  <a:gd name="connsiteX204" fmla="*/ 3609 w 5810"/>
                  <a:gd name="connsiteY204" fmla="*/ 950 h 1085"/>
                  <a:gd name="connsiteX205" fmla="*/ 3659 w 5810"/>
                  <a:gd name="connsiteY205" fmla="*/ 935 h 1085"/>
                  <a:gd name="connsiteX206" fmla="*/ 3706 w 5810"/>
                  <a:gd name="connsiteY206" fmla="*/ 915 h 1085"/>
                  <a:gd name="connsiteX207" fmla="*/ 3750 w 5810"/>
                  <a:gd name="connsiteY207" fmla="*/ 884 h 1085"/>
                  <a:gd name="connsiteX208" fmla="*/ 3789 w 5810"/>
                  <a:gd name="connsiteY208" fmla="*/ 848 h 1085"/>
                  <a:gd name="connsiteX209" fmla="*/ 3826 w 5810"/>
                  <a:gd name="connsiteY209" fmla="*/ 807 h 1085"/>
                  <a:gd name="connsiteX210" fmla="*/ 3861 w 5810"/>
                  <a:gd name="connsiteY210" fmla="*/ 759 h 1085"/>
                  <a:gd name="connsiteX211" fmla="*/ 3894 w 5810"/>
                  <a:gd name="connsiteY211" fmla="*/ 709 h 1085"/>
                  <a:gd name="connsiteX212" fmla="*/ 3927 w 5810"/>
                  <a:gd name="connsiteY212" fmla="*/ 655 h 1085"/>
                  <a:gd name="connsiteX213" fmla="*/ 3960 w 5810"/>
                  <a:gd name="connsiteY213" fmla="*/ 597 h 1085"/>
                  <a:gd name="connsiteX214" fmla="*/ 3993 w 5810"/>
                  <a:gd name="connsiteY214" fmla="*/ 537 h 1085"/>
                  <a:gd name="connsiteX215" fmla="*/ 4022 w 5810"/>
                  <a:gd name="connsiteY215" fmla="*/ 483 h 1085"/>
                  <a:gd name="connsiteX216" fmla="*/ 4084 w 5810"/>
                  <a:gd name="connsiteY216" fmla="*/ 375 h 1085"/>
                  <a:gd name="connsiteX217" fmla="*/ 4154 w 5810"/>
                  <a:gd name="connsiteY217" fmla="*/ 272 h 1085"/>
                  <a:gd name="connsiteX218" fmla="*/ 4192 w 5810"/>
                  <a:gd name="connsiteY218" fmla="*/ 224 h 1085"/>
                  <a:gd name="connsiteX219" fmla="*/ 4233 w 5810"/>
                  <a:gd name="connsiteY219" fmla="*/ 178 h 1085"/>
                  <a:gd name="connsiteX220" fmla="*/ 4276 w 5810"/>
                  <a:gd name="connsiteY220" fmla="*/ 137 h 1085"/>
                  <a:gd name="connsiteX221" fmla="*/ 4324 w 5810"/>
                  <a:gd name="connsiteY221" fmla="*/ 100 h 1085"/>
                  <a:gd name="connsiteX222" fmla="*/ 4375 w 5810"/>
                  <a:gd name="connsiteY222" fmla="*/ 66 h 1085"/>
                  <a:gd name="connsiteX223" fmla="*/ 4433 w 5810"/>
                  <a:gd name="connsiteY223" fmla="*/ 39 h 1085"/>
                  <a:gd name="connsiteX224" fmla="*/ 4493 w 5810"/>
                  <a:gd name="connsiteY224" fmla="*/ 19 h 1085"/>
                  <a:gd name="connsiteX225" fmla="*/ 4559 w 5810"/>
                  <a:gd name="connsiteY225" fmla="*/ 6 h 1085"/>
                  <a:gd name="connsiteX226" fmla="*/ 4631 w 5810"/>
                  <a:gd name="connsiteY226" fmla="*/ 0 h 1085"/>
                  <a:gd name="connsiteX0" fmla="*/ 4631 w 5810"/>
                  <a:gd name="connsiteY0" fmla="*/ 0 h 1085"/>
                  <a:gd name="connsiteX1" fmla="*/ 4681 w 5810"/>
                  <a:gd name="connsiteY1" fmla="*/ 0 h 1085"/>
                  <a:gd name="connsiteX2" fmla="*/ 4710 w 5810"/>
                  <a:gd name="connsiteY2" fmla="*/ 4 h 1085"/>
                  <a:gd name="connsiteX3" fmla="*/ 4741 w 5810"/>
                  <a:gd name="connsiteY3" fmla="*/ 13 h 1085"/>
                  <a:gd name="connsiteX4" fmla="*/ 4778 w 5810"/>
                  <a:gd name="connsiteY4" fmla="*/ 23 h 1085"/>
                  <a:gd name="connsiteX5" fmla="*/ 4819 w 5810"/>
                  <a:gd name="connsiteY5" fmla="*/ 39 h 1085"/>
                  <a:gd name="connsiteX6" fmla="*/ 4863 w 5810"/>
                  <a:gd name="connsiteY6" fmla="*/ 60 h 1085"/>
                  <a:gd name="connsiteX7" fmla="*/ 4910 w 5810"/>
                  <a:gd name="connsiteY7" fmla="*/ 89 h 1085"/>
                  <a:gd name="connsiteX8" fmla="*/ 4960 w 5810"/>
                  <a:gd name="connsiteY8" fmla="*/ 124 h 1085"/>
                  <a:gd name="connsiteX9" fmla="*/ 5009 w 5810"/>
                  <a:gd name="connsiteY9" fmla="*/ 170 h 1085"/>
                  <a:gd name="connsiteX10" fmla="*/ 5061 w 5810"/>
                  <a:gd name="connsiteY10" fmla="*/ 224 h 1085"/>
                  <a:gd name="connsiteX11" fmla="*/ 5112 w 5810"/>
                  <a:gd name="connsiteY11" fmla="*/ 286 h 1085"/>
                  <a:gd name="connsiteX12" fmla="*/ 5313 w 5810"/>
                  <a:gd name="connsiteY12" fmla="*/ 633 h 1085"/>
                  <a:gd name="connsiteX13" fmla="*/ 5408 w 5810"/>
                  <a:gd name="connsiteY13" fmla="*/ 769 h 1085"/>
                  <a:gd name="connsiteX14" fmla="*/ 5810 w 5810"/>
                  <a:gd name="connsiteY14" fmla="*/ 1072 h 1085"/>
                  <a:gd name="connsiteX15" fmla="*/ 5717 w 5810"/>
                  <a:gd name="connsiteY15" fmla="*/ 1064 h 1085"/>
                  <a:gd name="connsiteX16" fmla="*/ 5639 w 5810"/>
                  <a:gd name="connsiteY16" fmla="*/ 1043 h 1085"/>
                  <a:gd name="connsiteX17" fmla="*/ 5546 w 5810"/>
                  <a:gd name="connsiteY17" fmla="*/ 1002 h 1085"/>
                  <a:gd name="connsiteX18" fmla="*/ 5496 w 5810"/>
                  <a:gd name="connsiteY18" fmla="*/ 971 h 1085"/>
                  <a:gd name="connsiteX19" fmla="*/ 5042 w 5810"/>
                  <a:gd name="connsiteY19" fmla="*/ 336 h 1085"/>
                  <a:gd name="connsiteX20" fmla="*/ 4993 w 5810"/>
                  <a:gd name="connsiteY20" fmla="*/ 276 h 1085"/>
                  <a:gd name="connsiteX21" fmla="*/ 4945 w 5810"/>
                  <a:gd name="connsiteY21" fmla="*/ 228 h 1085"/>
                  <a:gd name="connsiteX22" fmla="*/ 4900 w 5810"/>
                  <a:gd name="connsiteY22" fmla="*/ 189 h 1085"/>
                  <a:gd name="connsiteX23" fmla="*/ 4858 w 5810"/>
                  <a:gd name="connsiteY23" fmla="*/ 158 h 1085"/>
                  <a:gd name="connsiteX24" fmla="*/ 4819 w 5810"/>
                  <a:gd name="connsiteY24" fmla="*/ 135 h 1085"/>
                  <a:gd name="connsiteX25" fmla="*/ 4770 w 5810"/>
                  <a:gd name="connsiteY25" fmla="*/ 112 h 1085"/>
                  <a:gd name="connsiteX26" fmla="*/ 4726 w 5810"/>
                  <a:gd name="connsiteY26" fmla="*/ 98 h 1085"/>
                  <a:gd name="connsiteX27" fmla="*/ 4691 w 5810"/>
                  <a:gd name="connsiteY27" fmla="*/ 89 h 1085"/>
                  <a:gd name="connsiteX28" fmla="*/ 4662 w 5810"/>
                  <a:gd name="connsiteY28" fmla="*/ 87 h 1085"/>
                  <a:gd name="connsiteX29" fmla="*/ 4635 w 5810"/>
                  <a:gd name="connsiteY29" fmla="*/ 87 h 1085"/>
                  <a:gd name="connsiteX30" fmla="*/ 4569 w 5810"/>
                  <a:gd name="connsiteY30" fmla="*/ 93 h 1085"/>
                  <a:gd name="connsiteX31" fmla="*/ 4507 w 5810"/>
                  <a:gd name="connsiteY31" fmla="*/ 106 h 1085"/>
                  <a:gd name="connsiteX32" fmla="*/ 4452 w 5810"/>
                  <a:gd name="connsiteY32" fmla="*/ 127 h 1085"/>
                  <a:gd name="connsiteX33" fmla="*/ 4400 w 5810"/>
                  <a:gd name="connsiteY33" fmla="*/ 154 h 1085"/>
                  <a:gd name="connsiteX34" fmla="*/ 4353 w 5810"/>
                  <a:gd name="connsiteY34" fmla="*/ 187 h 1085"/>
                  <a:gd name="connsiteX35" fmla="*/ 4309 w 5810"/>
                  <a:gd name="connsiteY35" fmla="*/ 224 h 1085"/>
                  <a:gd name="connsiteX36" fmla="*/ 4270 w 5810"/>
                  <a:gd name="connsiteY36" fmla="*/ 268 h 1085"/>
                  <a:gd name="connsiteX37" fmla="*/ 4231 w 5810"/>
                  <a:gd name="connsiteY37" fmla="*/ 313 h 1085"/>
                  <a:gd name="connsiteX38" fmla="*/ 4196 w 5810"/>
                  <a:gd name="connsiteY38" fmla="*/ 363 h 1085"/>
                  <a:gd name="connsiteX39" fmla="*/ 4163 w 5810"/>
                  <a:gd name="connsiteY39" fmla="*/ 415 h 1085"/>
                  <a:gd name="connsiteX40" fmla="*/ 4101 w 5810"/>
                  <a:gd name="connsiteY40" fmla="*/ 523 h 1085"/>
                  <a:gd name="connsiteX41" fmla="*/ 4008 w 5810"/>
                  <a:gd name="connsiteY41" fmla="*/ 691 h 1085"/>
                  <a:gd name="connsiteX42" fmla="*/ 3975 w 5810"/>
                  <a:gd name="connsiteY42" fmla="*/ 747 h 1085"/>
                  <a:gd name="connsiteX43" fmla="*/ 3940 w 5810"/>
                  <a:gd name="connsiteY43" fmla="*/ 798 h 1085"/>
                  <a:gd name="connsiteX44" fmla="*/ 3905 w 5810"/>
                  <a:gd name="connsiteY44" fmla="*/ 848 h 1085"/>
                  <a:gd name="connsiteX45" fmla="*/ 3865 w 5810"/>
                  <a:gd name="connsiteY45" fmla="*/ 894 h 1085"/>
                  <a:gd name="connsiteX46" fmla="*/ 3824 w 5810"/>
                  <a:gd name="connsiteY46" fmla="*/ 935 h 1085"/>
                  <a:gd name="connsiteX47" fmla="*/ 3779 w 5810"/>
                  <a:gd name="connsiteY47" fmla="*/ 971 h 1085"/>
                  <a:gd name="connsiteX48" fmla="*/ 3729 w 5810"/>
                  <a:gd name="connsiteY48" fmla="*/ 1000 h 1085"/>
                  <a:gd name="connsiteX49" fmla="*/ 3677 w 5810"/>
                  <a:gd name="connsiteY49" fmla="*/ 1022 h 1085"/>
                  <a:gd name="connsiteX50" fmla="*/ 3620 w 5810"/>
                  <a:gd name="connsiteY50" fmla="*/ 1037 h 1085"/>
                  <a:gd name="connsiteX51" fmla="*/ 3556 w 5810"/>
                  <a:gd name="connsiteY51" fmla="*/ 1043 h 1085"/>
                  <a:gd name="connsiteX52" fmla="*/ 3547 w 5810"/>
                  <a:gd name="connsiteY52" fmla="*/ 1043 h 1085"/>
                  <a:gd name="connsiteX53" fmla="*/ 3485 w 5810"/>
                  <a:gd name="connsiteY53" fmla="*/ 1039 h 1085"/>
                  <a:gd name="connsiteX54" fmla="*/ 3426 w 5810"/>
                  <a:gd name="connsiteY54" fmla="*/ 1025 h 1085"/>
                  <a:gd name="connsiteX55" fmla="*/ 3372 w 5810"/>
                  <a:gd name="connsiteY55" fmla="*/ 1002 h 1085"/>
                  <a:gd name="connsiteX56" fmla="*/ 3320 w 5810"/>
                  <a:gd name="connsiteY56" fmla="*/ 973 h 1085"/>
                  <a:gd name="connsiteX57" fmla="*/ 3273 w 5810"/>
                  <a:gd name="connsiteY57" fmla="*/ 935 h 1085"/>
                  <a:gd name="connsiteX58" fmla="*/ 3229 w 5810"/>
                  <a:gd name="connsiteY58" fmla="*/ 894 h 1085"/>
                  <a:gd name="connsiteX59" fmla="*/ 3186 w 5810"/>
                  <a:gd name="connsiteY59" fmla="*/ 846 h 1085"/>
                  <a:gd name="connsiteX60" fmla="*/ 3147 w 5810"/>
                  <a:gd name="connsiteY60" fmla="*/ 796 h 1085"/>
                  <a:gd name="connsiteX61" fmla="*/ 3108 w 5810"/>
                  <a:gd name="connsiteY61" fmla="*/ 740 h 1085"/>
                  <a:gd name="connsiteX62" fmla="*/ 3070 w 5810"/>
                  <a:gd name="connsiteY62" fmla="*/ 684 h 1085"/>
                  <a:gd name="connsiteX63" fmla="*/ 2965 w 5810"/>
                  <a:gd name="connsiteY63" fmla="*/ 510 h 1085"/>
                  <a:gd name="connsiteX64" fmla="*/ 2928 w 5810"/>
                  <a:gd name="connsiteY64" fmla="*/ 452 h 1085"/>
                  <a:gd name="connsiteX65" fmla="*/ 2891 w 5810"/>
                  <a:gd name="connsiteY65" fmla="*/ 396 h 1085"/>
                  <a:gd name="connsiteX66" fmla="*/ 2854 w 5810"/>
                  <a:gd name="connsiteY66" fmla="*/ 342 h 1085"/>
                  <a:gd name="connsiteX67" fmla="*/ 2814 w 5810"/>
                  <a:gd name="connsiteY67" fmla="*/ 292 h 1085"/>
                  <a:gd name="connsiteX68" fmla="*/ 2773 w 5810"/>
                  <a:gd name="connsiteY68" fmla="*/ 247 h 1085"/>
                  <a:gd name="connsiteX69" fmla="*/ 2732 w 5810"/>
                  <a:gd name="connsiteY69" fmla="*/ 205 h 1085"/>
                  <a:gd name="connsiteX70" fmla="*/ 2686 w 5810"/>
                  <a:gd name="connsiteY70" fmla="*/ 168 h 1085"/>
                  <a:gd name="connsiteX71" fmla="*/ 2639 w 5810"/>
                  <a:gd name="connsiteY71" fmla="*/ 139 h 1085"/>
                  <a:gd name="connsiteX72" fmla="*/ 2587 w 5810"/>
                  <a:gd name="connsiteY72" fmla="*/ 116 h 1085"/>
                  <a:gd name="connsiteX73" fmla="*/ 2532 w 5810"/>
                  <a:gd name="connsiteY73" fmla="*/ 100 h 1085"/>
                  <a:gd name="connsiteX74" fmla="*/ 2474 w 5810"/>
                  <a:gd name="connsiteY74" fmla="*/ 91 h 1085"/>
                  <a:gd name="connsiteX75" fmla="*/ 2410 w 5810"/>
                  <a:gd name="connsiteY75" fmla="*/ 93 h 1085"/>
                  <a:gd name="connsiteX76" fmla="*/ 2342 w 5810"/>
                  <a:gd name="connsiteY76" fmla="*/ 104 h 1085"/>
                  <a:gd name="connsiteX77" fmla="*/ 2280 w 5810"/>
                  <a:gd name="connsiteY77" fmla="*/ 122 h 1085"/>
                  <a:gd name="connsiteX78" fmla="*/ 2222 w 5810"/>
                  <a:gd name="connsiteY78" fmla="*/ 147 h 1085"/>
                  <a:gd name="connsiteX79" fmla="*/ 2168 w 5810"/>
                  <a:gd name="connsiteY79" fmla="*/ 180 h 1085"/>
                  <a:gd name="connsiteX80" fmla="*/ 2117 w 5810"/>
                  <a:gd name="connsiteY80" fmla="*/ 218 h 1085"/>
                  <a:gd name="connsiteX81" fmla="*/ 2071 w 5810"/>
                  <a:gd name="connsiteY81" fmla="*/ 261 h 1085"/>
                  <a:gd name="connsiteX82" fmla="*/ 2026 w 5810"/>
                  <a:gd name="connsiteY82" fmla="*/ 307 h 1085"/>
                  <a:gd name="connsiteX83" fmla="*/ 1984 w 5810"/>
                  <a:gd name="connsiteY83" fmla="*/ 359 h 1085"/>
                  <a:gd name="connsiteX84" fmla="*/ 1945 w 5810"/>
                  <a:gd name="connsiteY84" fmla="*/ 413 h 1085"/>
                  <a:gd name="connsiteX85" fmla="*/ 1908 w 5810"/>
                  <a:gd name="connsiteY85" fmla="*/ 467 h 1085"/>
                  <a:gd name="connsiteX86" fmla="*/ 1871 w 5810"/>
                  <a:gd name="connsiteY86" fmla="*/ 523 h 1085"/>
                  <a:gd name="connsiteX87" fmla="*/ 1834 w 5810"/>
                  <a:gd name="connsiteY87" fmla="*/ 581 h 1085"/>
                  <a:gd name="connsiteX88" fmla="*/ 1799 w 5810"/>
                  <a:gd name="connsiteY88" fmla="*/ 637 h 1085"/>
                  <a:gd name="connsiteX89" fmla="*/ 1724 w 5810"/>
                  <a:gd name="connsiteY89" fmla="*/ 749 h 1085"/>
                  <a:gd name="connsiteX90" fmla="*/ 1685 w 5810"/>
                  <a:gd name="connsiteY90" fmla="*/ 801 h 1085"/>
                  <a:gd name="connsiteX91" fmla="*/ 1644 w 5810"/>
                  <a:gd name="connsiteY91" fmla="*/ 850 h 1085"/>
                  <a:gd name="connsiteX92" fmla="*/ 1600 w 5810"/>
                  <a:gd name="connsiteY92" fmla="*/ 896 h 1085"/>
                  <a:gd name="connsiteX93" fmla="*/ 1553 w 5810"/>
                  <a:gd name="connsiteY93" fmla="*/ 937 h 1085"/>
                  <a:gd name="connsiteX94" fmla="*/ 1503 w 5810"/>
                  <a:gd name="connsiteY94" fmla="*/ 973 h 1085"/>
                  <a:gd name="connsiteX95" fmla="*/ 1450 w 5810"/>
                  <a:gd name="connsiteY95" fmla="*/ 1002 h 1085"/>
                  <a:gd name="connsiteX96" fmla="*/ 1394 w 5810"/>
                  <a:gd name="connsiteY96" fmla="*/ 1025 h 1085"/>
                  <a:gd name="connsiteX97" fmla="*/ 1330 w 5810"/>
                  <a:gd name="connsiteY97" fmla="*/ 1037 h 1085"/>
                  <a:gd name="connsiteX98" fmla="*/ 1264 w 5810"/>
                  <a:gd name="connsiteY98" fmla="*/ 1043 h 1085"/>
                  <a:gd name="connsiteX99" fmla="*/ 1258 w 5810"/>
                  <a:gd name="connsiteY99" fmla="*/ 1043 h 1085"/>
                  <a:gd name="connsiteX100" fmla="*/ 1190 w 5810"/>
                  <a:gd name="connsiteY100" fmla="*/ 1039 h 1085"/>
                  <a:gd name="connsiteX101" fmla="*/ 1128 w 5810"/>
                  <a:gd name="connsiteY101" fmla="*/ 1027 h 1085"/>
                  <a:gd name="connsiteX102" fmla="*/ 1070 w 5810"/>
                  <a:gd name="connsiteY102" fmla="*/ 1008 h 1085"/>
                  <a:gd name="connsiteX103" fmla="*/ 1018 w 5810"/>
                  <a:gd name="connsiteY103" fmla="*/ 983 h 1085"/>
                  <a:gd name="connsiteX104" fmla="*/ 971 w 5810"/>
                  <a:gd name="connsiteY104" fmla="*/ 952 h 1085"/>
                  <a:gd name="connsiteX105" fmla="*/ 925 w 5810"/>
                  <a:gd name="connsiteY105" fmla="*/ 915 h 1085"/>
                  <a:gd name="connsiteX106" fmla="*/ 884 w 5810"/>
                  <a:gd name="connsiteY106" fmla="*/ 873 h 1085"/>
                  <a:gd name="connsiteX107" fmla="*/ 847 w 5810"/>
                  <a:gd name="connsiteY107" fmla="*/ 828 h 1085"/>
                  <a:gd name="connsiteX108" fmla="*/ 810 w 5810"/>
                  <a:gd name="connsiteY108" fmla="*/ 780 h 1085"/>
                  <a:gd name="connsiteX109" fmla="*/ 777 w 5810"/>
                  <a:gd name="connsiteY109" fmla="*/ 728 h 1085"/>
                  <a:gd name="connsiteX110" fmla="*/ 742 w 5810"/>
                  <a:gd name="connsiteY110" fmla="*/ 674 h 1085"/>
                  <a:gd name="connsiteX111" fmla="*/ 711 w 5810"/>
                  <a:gd name="connsiteY111" fmla="*/ 618 h 1085"/>
                  <a:gd name="connsiteX112" fmla="*/ 678 w 5810"/>
                  <a:gd name="connsiteY112" fmla="*/ 560 h 1085"/>
                  <a:gd name="connsiteX113" fmla="*/ 616 w 5810"/>
                  <a:gd name="connsiteY113" fmla="*/ 448 h 1085"/>
                  <a:gd name="connsiteX114" fmla="*/ 547 w 5810"/>
                  <a:gd name="connsiteY114" fmla="*/ 340 h 1085"/>
                  <a:gd name="connsiteX115" fmla="*/ 504 w 5810"/>
                  <a:gd name="connsiteY115" fmla="*/ 284 h 1085"/>
                  <a:gd name="connsiteX116" fmla="*/ 457 w 5810"/>
                  <a:gd name="connsiteY116" fmla="*/ 239 h 1085"/>
                  <a:gd name="connsiteX117" fmla="*/ 409 w 5810"/>
                  <a:gd name="connsiteY117" fmla="*/ 199 h 1085"/>
                  <a:gd name="connsiteX118" fmla="*/ 358 w 5810"/>
                  <a:gd name="connsiteY118" fmla="*/ 168 h 1085"/>
                  <a:gd name="connsiteX119" fmla="*/ 308 w 5810"/>
                  <a:gd name="connsiteY119" fmla="*/ 145 h 1085"/>
                  <a:gd name="connsiteX120" fmla="*/ 256 w 5810"/>
                  <a:gd name="connsiteY120" fmla="*/ 127 h 1085"/>
                  <a:gd name="connsiteX121" fmla="*/ 209 w 5810"/>
                  <a:gd name="connsiteY121" fmla="*/ 112 h 1085"/>
                  <a:gd name="connsiteX122" fmla="*/ 163 w 5810"/>
                  <a:gd name="connsiteY122" fmla="*/ 104 h 1085"/>
                  <a:gd name="connsiteX123" fmla="*/ 122 w 5810"/>
                  <a:gd name="connsiteY123" fmla="*/ 100 h 1085"/>
                  <a:gd name="connsiteX124" fmla="*/ 85 w 5810"/>
                  <a:gd name="connsiteY124" fmla="*/ 95 h 1085"/>
                  <a:gd name="connsiteX125" fmla="*/ 31 w 5810"/>
                  <a:gd name="connsiteY125" fmla="*/ 95 h 1085"/>
                  <a:gd name="connsiteX126" fmla="*/ 17 w 5810"/>
                  <a:gd name="connsiteY126" fmla="*/ 98 h 1085"/>
                  <a:gd name="connsiteX127" fmla="*/ 11 w 5810"/>
                  <a:gd name="connsiteY127" fmla="*/ 98 h 1085"/>
                  <a:gd name="connsiteX128" fmla="*/ 0 w 5810"/>
                  <a:gd name="connsiteY128" fmla="*/ 13 h 1085"/>
                  <a:gd name="connsiteX129" fmla="*/ 9 w 5810"/>
                  <a:gd name="connsiteY129" fmla="*/ 13 h 1085"/>
                  <a:gd name="connsiteX130" fmla="*/ 29 w 5810"/>
                  <a:gd name="connsiteY130" fmla="*/ 10 h 1085"/>
                  <a:gd name="connsiteX131" fmla="*/ 91 w 5810"/>
                  <a:gd name="connsiteY131" fmla="*/ 10 h 1085"/>
                  <a:gd name="connsiteX132" fmla="*/ 135 w 5810"/>
                  <a:gd name="connsiteY132" fmla="*/ 13 h 1085"/>
                  <a:gd name="connsiteX133" fmla="*/ 182 w 5810"/>
                  <a:gd name="connsiteY133" fmla="*/ 19 h 1085"/>
                  <a:gd name="connsiteX134" fmla="*/ 234 w 5810"/>
                  <a:gd name="connsiteY134" fmla="*/ 29 h 1085"/>
                  <a:gd name="connsiteX135" fmla="*/ 287 w 5810"/>
                  <a:gd name="connsiteY135" fmla="*/ 46 h 1085"/>
                  <a:gd name="connsiteX136" fmla="*/ 345 w 5810"/>
                  <a:gd name="connsiteY136" fmla="*/ 66 h 1085"/>
                  <a:gd name="connsiteX137" fmla="*/ 403 w 5810"/>
                  <a:gd name="connsiteY137" fmla="*/ 93 h 1085"/>
                  <a:gd name="connsiteX138" fmla="*/ 459 w 5810"/>
                  <a:gd name="connsiteY138" fmla="*/ 131 h 1085"/>
                  <a:gd name="connsiteX139" fmla="*/ 514 w 5810"/>
                  <a:gd name="connsiteY139" fmla="*/ 174 h 1085"/>
                  <a:gd name="connsiteX140" fmla="*/ 568 w 5810"/>
                  <a:gd name="connsiteY140" fmla="*/ 228 h 1085"/>
                  <a:gd name="connsiteX141" fmla="*/ 618 w 5810"/>
                  <a:gd name="connsiteY141" fmla="*/ 292 h 1085"/>
                  <a:gd name="connsiteX142" fmla="*/ 667 w 5810"/>
                  <a:gd name="connsiteY142" fmla="*/ 367 h 1085"/>
                  <a:gd name="connsiteX143" fmla="*/ 754 w 5810"/>
                  <a:gd name="connsiteY143" fmla="*/ 516 h 1085"/>
                  <a:gd name="connsiteX144" fmla="*/ 787 w 5810"/>
                  <a:gd name="connsiteY144" fmla="*/ 575 h 1085"/>
                  <a:gd name="connsiteX145" fmla="*/ 820 w 5810"/>
                  <a:gd name="connsiteY145" fmla="*/ 631 h 1085"/>
                  <a:gd name="connsiteX146" fmla="*/ 853 w 5810"/>
                  <a:gd name="connsiteY146" fmla="*/ 684 h 1085"/>
                  <a:gd name="connsiteX147" fmla="*/ 886 w 5810"/>
                  <a:gd name="connsiteY147" fmla="*/ 736 h 1085"/>
                  <a:gd name="connsiteX148" fmla="*/ 921 w 5810"/>
                  <a:gd name="connsiteY148" fmla="*/ 782 h 1085"/>
                  <a:gd name="connsiteX149" fmla="*/ 958 w 5810"/>
                  <a:gd name="connsiteY149" fmla="*/ 825 h 1085"/>
                  <a:gd name="connsiteX150" fmla="*/ 1000 w 5810"/>
                  <a:gd name="connsiteY150" fmla="*/ 863 h 1085"/>
                  <a:gd name="connsiteX151" fmla="*/ 1043 w 5810"/>
                  <a:gd name="connsiteY151" fmla="*/ 894 h 1085"/>
                  <a:gd name="connsiteX152" fmla="*/ 1090 w 5810"/>
                  <a:gd name="connsiteY152" fmla="*/ 921 h 1085"/>
                  <a:gd name="connsiteX153" fmla="*/ 1140 w 5810"/>
                  <a:gd name="connsiteY153" fmla="*/ 939 h 1085"/>
                  <a:gd name="connsiteX154" fmla="*/ 1196 w 5810"/>
                  <a:gd name="connsiteY154" fmla="*/ 952 h 1085"/>
                  <a:gd name="connsiteX155" fmla="*/ 1258 w 5810"/>
                  <a:gd name="connsiteY155" fmla="*/ 956 h 1085"/>
                  <a:gd name="connsiteX156" fmla="*/ 1264 w 5810"/>
                  <a:gd name="connsiteY156" fmla="*/ 956 h 1085"/>
                  <a:gd name="connsiteX157" fmla="*/ 1324 w 5810"/>
                  <a:gd name="connsiteY157" fmla="*/ 950 h 1085"/>
                  <a:gd name="connsiteX158" fmla="*/ 1380 w 5810"/>
                  <a:gd name="connsiteY158" fmla="*/ 935 h 1085"/>
                  <a:gd name="connsiteX159" fmla="*/ 1433 w 5810"/>
                  <a:gd name="connsiteY159" fmla="*/ 913 h 1085"/>
                  <a:gd name="connsiteX160" fmla="*/ 1481 w 5810"/>
                  <a:gd name="connsiteY160" fmla="*/ 884 h 1085"/>
                  <a:gd name="connsiteX161" fmla="*/ 1526 w 5810"/>
                  <a:gd name="connsiteY161" fmla="*/ 846 h 1085"/>
                  <a:gd name="connsiteX162" fmla="*/ 1569 w 5810"/>
                  <a:gd name="connsiteY162" fmla="*/ 803 h 1085"/>
                  <a:gd name="connsiteX163" fmla="*/ 1609 w 5810"/>
                  <a:gd name="connsiteY163" fmla="*/ 755 h 1085"/>
                  <a:gd name="connsiteX164" fmla="*/ 1648 w 5810"/>
                  <a:gd name="connsiteY164" fmla="*/ 703 h 1085"/>
                  <a:gd name="connsiteX165" fmla="*/ 1687 w 5810"/>
                  <a:gd name="connsiteY165" fmla="*/ 649 h 1085"/>
                  <a:gd name="connsiteX166" fmla="*/ 1799 w 5810"/>
                  <a:gd name="connsiteY166" fmla="*/ 475 h 1085"/>
                  <a:gd name="connsiteX167" fmla="*/ 1838 w 5810"/>
                  <a:gd name="connsiteY167" fmla="*/ 415 h 1085"/>
                  <a:gd name="connsiteX168" fmla="*/ 1879 w 5810"/>
                  <a:gd name="connsiteY168" fmla="*/ 357 h 1085"/>
                  <a:gd name="connsiteX169" fmla="*/ 1923 w 5810"/>
                  <a:gd name="connsiteY169" fmla="*/ 299 h 1085"/>
                  <a:gd name="connsiteX170" fmla="*/ 1968 w 5810"/>
                  <a:gd name="connsiteY170" fmla="*/ 245 h 1085"/>
                  <a:gd name="connsiteX171" fmla="*/ 2015 w 5810"/>
                  <a:gd name="connsiteY171" fmla="*/ 193 h 1085"/>
                  <a:gd name="connsiteX172" fmla="*/ 2069 w 5810"/>
                  <a:gd name="connsiteY172" fmla="*/ 145 h 1085"/>
                  <a:gd name="connsiteX173" fmla="*/ 2125 w 5810"/>
                  <a:gd name="connsiteY173" fmla="*/ 104 h 1085"/>
                  <a:gd name="connsiteX174" fmla="*/ 2187 w 5810"/>
                  <a:gd name="connsiteY174" fmla="*/ 69 h 1085"/>
                  <a:gd name="connsiteX175" fmla="*/ 2253 w 5810"/>
                  <a:gd name="connsiteY175" fmla="*/ 39 h 1085"/>
                  <a:gd name="connsiteX176" fmla="*/ 2325 w 5810"/>
                  <a:gd name="connsiteY176" fmla="*/ 19 h 1085"/>
                  <a:gd name="connsiteX177" fmla="*/ 2404 w 5810"/>
                  <a:gd name="connsiteY177" fmla="*/ 6 h 1085"/>
                  <a:gd name="connsiteX178" fmla="*/ 2474 w 5810"/>
                  <a:gd name="connsiteY178" fmla="*/ 4 h 1085"/>
                  <a:gd name="connsiteX179" fmla="*/ 2540 w 5810"/>
                  <a:gd name="connsiteY179" fmla="*/ 13 h 1085"/>
                  <a:gd name="connsiteX180" fmla="*/ 2600 w 5810"/>
                  <a:gd name="connsiteY180" fmla="*/ 27 h 1085"/>
                  <a:gd name="connsiteX181" fmla="*/ 2658 w 5810"/>
                  <a:gd name="connsiteY181" fmla="*/ 50 h 1085"/>
                  <a:gd name="connsiteX182" fmla="*/ 2711 w 5810"/>
                  <a:gd name="connsiteY182" fmla="*/ 81 h 1085"/>
                  <a:gd name="connsiteX183" fmla="*/ 2761 w 5810"/>
                  <a:gd name="connsiteY183" fmla="*/ 116 h 1085"/>
                  <a:gd name="connsiteX184" fmla="*/ 2806 w 5810"/>
                  <a:gd name="connsiteY184" fmla="*/ 158 h 1085"/>
                  <a:gd name="connsiteX185" fmla="*/ 2852 w 5810"/>
                  <a:gd name="connsiteY185" fmla="*/ 203 h 1085"/>
                  <a:gd name="connsiteX186" fmla="*/ 2893 w 5810"/>
                  <a:gd name="connsiteY186" fmla="*/ 251 h 1085"/>
                  <a:gd name="connsiteX187" fmla="*/ 2932 w 5810"/>
                  <a:gd name="connsiteY187" fmla="*/ 303 h 1085"/>
                  <a:gd name="connsiteX188" fmla="*/ 2969 w 5810"/>
                  <a:gd name="connsiteY188" fmla="*/ 357 h 1085"/>
                  <a:gd name="connsiteX189" fmla="*/ 3004 w 5810"/>
                  <a:gd name="connsiteY189" fmla="*/ 413 h 1085"/>
                  <a:gd name="connsiteX190" fmla="*/ 3039 w 5810"/>
                  <a:gd name="connsiteY190" fmla="*/ 467 h 1085"/>
                  <a:gd name="connsiteX191" fmla="*/ 3073 w 5810"/>
                  <a:gd name="connsiteY191" fmla="*/ 523 h 1085"/>
                  <a:gd name="connsiteX192" fmla="*/ 3110 w 5810"/>
                  <a:gd name="connsiteY192" fmla="*/ 585 h 1085"/>
                  <a:gd name="connsiteX193" fmla="*/ 3147 w 5810"/>
                  <a:gd name="connsiteY193" fmla="*/ 643 h 1085"/>
                  <a:gd name="connsiteX194" fmla="*/ 3186 w 5810"/>
                  <a:gd name="connsiteY194" fmla="*/ 701 h 1085"/>
                  <a:gd name="connsiteX195" fmla="*/ 3223 w 5810"/>
                  <a:gd name="connsiteY195" fmla="*/ 755 h 1085"/>
                  <a:gd name="connsiteX196" fmla="*/ 3265 w 5810"/>
                  <a:gd name="connsiteY196" fmla="*/ 805 h 1085"/>
                  <a:gd name="connsiteX197" fmla="*/ 3306 w 5810"/>
                  <a:gd name="connsiteY197" fmla="*/ 848 h 1085"/>
                  <a:gd name="connsiteX198" fmla="*/ 3349 w 5810"/>
                  <a:gd name="connsiteY198" fmla="*/ 886 h 1085"/>
                  <a:gd name="connsiteX199" fmla="*/ 3395 w 5810"/>
                  <a:gd name="connsiteY199" fmla="*/ 917 h 1085"/>
                  <a:gd name="connsiteX200" fmla="*/ 3444 w 5810"/>
                  <a:gd name="connsiteY200" fmla="*/ 939 h 1085"/>
                  <a:gd name="connsiteX201" fmla="*/ 3498 w 5810"/>
                  <a:gd name="connsiteY201" fmla="*/ 952 h 1085"/>
                  <a:gd name="connsiteX202" fmla="*/ 3554 w 5810"/>
                  <a:gd name="connsiteY202" fmla="*/ 956 h 1085"/>
                  <a:gd name="connsiteX203" fmla="*/ 3609 w 5810"/>
                  <a:gd name="connsiteY203" fmla="*/ 950 h 1085"/>
                  <a:gd name="connsiteX204" fmla="*/ 3659 w 5810"/>
                  <a:gd name="connsiteY204" fmla="*/ 935 h 1085"/>
                  <a:gd name="connsiteX205" fmla="*/ 3706 w 5810"/>
                  <a:gd name="connsiteY205" fmla="*/ 915 h 1085"/>
                  <a:gd name="connsiteX206" fmla="*/ 3750 w 5810"/>
                  <a:gd name="connsiteY206" fmla="*/ 884 h 1085"/>
                  <a:gd name="connsiteX207" fmla="*/ 3789 w 5810"/>
                  <a:gd name="connsiteY207" fmla="*/ 848 h 1085"/>
                  <a:gd name="connsiteX208" fmla="*/ 3826 w 5810"/>
                  <a:gd name="connsiteY208" fmla="*/ 807 h 1085"/>
                  <a:gd name="connsiteX209" fmla="*/ 3861 w 5810"/>
                  <a:gd name="connsiteY209" fmla="*/ 759 h 1085"/>
                  <a:gd name="connsiteX210" fmla="*/ 3894 w 5810"/>
                  <a:gd name="connsiteY210" fmla="*/ 709 h 1085"/>
                  <a:gd name="connsiteX211" fmla="*/ 3927 w 5810"/>
                  <a:gd name="connsiteY211" fmla="*/ 655 h 1085"/>
                  <a:gd name="connsiteX212" fmla="*/ 3960 w 5810"/>
                  <a:gd name="connsiteY212" fmla="*/ 597 h 1085"/>
                  <a:gd name="connsiteX213" fmla="*/ 3993 w 5810"/>
                  <a:gd name="connsiteY213" fmla="*/ 537 h 1085"/>
                  <a:gd name="connsiteX214" fmla="*/ 4022 w 5810"/>
                  <a:gd name="connsiteY214" fmla="*/ 483 h 1085"/>
                  <a:gd name="connsiteX215" fmla="*/ 4084 w 5810"/>
                  <a:gd name="connsiteY215" fmla="*/ 375 h 1085"/>
                  <a:gd name="connsiteX216" fmla="*/ 4154 w 5810"/>
                  <a:gd name="connsiteY216" fmla="*/ 272 h 1085"/>
                  <a:gd name="connsiteX217" fmla="*/ 4192 w 5810"/>
                  <a:gd name="connsiteY217" fmla="*/ 224 h 1085"/>
                  <a:gd name="connsiteX218" fmla="*/ 4233 w 5810"/>
                  <a:gd name="connsiteY218" fmla="*/ 178 h 1085"/>
                  <a:gd name="connsiteX219" fmla="*/ 4276 w 5810"/>
                  <a:gd name="connsiteY219" fmla="*/ 137 h 1085"/>
                  <a:gd name="connsiteX220" fmla="*/ 4324 w 5810"/>
                  <a:gd name="connsiteY220" fmla="*/ 100 h 1085"/>
                  <a:gd name="connsiteX221" fmla="*/ 4375 w 5810"/>
                  <a:gd name="connsiteY221" fmla="*/ 66 h 1085"/>
                  <a:gd name="connsiteX222" fmla="*/ 4433 w 5810"/>
                  <a:gd name="connsiteY222" fmla="*/ 39 h 1085"/>
                  <a:gd name="connsiteX223" fmla="*/ 4493 w 5810"/>
                  <a:gd name="connsiteY223" fmla="*/ 19 h 1085"/>
                  <a:gd name="connsiteX224" fmla="*/ 4559 w 5810"/>
                  <a:gd name="connsiteY224" fmla="*/ 6 h 1085"/>
                  <a:gd name="connsiteX225" fmla="*/ 4631 w 5810"/>
                  <a:gd name="connsiteY225" fmla="*/ 0 h 1085"/>
                  <a:gd name="connsiteX0" fmla="*/ 4631 w 5717"/>
                  <a:gd name="connsiteY0" fmla="*/ 0 h 1064"/>
                  <a:gd name="connsiteX1" fmla="*/ 4681 w 5717"/>
                  <a:gd name="connsiteY1" fmla="*/ 0 h 1064"/>
                  <a:gd name="connsiteX2" fmla="*/ 4710 w 5717"/>
                  <a:gd name="connsiteY2" fmla="*/ 4 h 1064"/>
                  <a:gd name="connsiteX3" fmla="*/ 4741 w 5717"/>
                  <a:gd name="connsiteY3" fmla="*/ 13 h 1064"/>
                  <a:gd name="connsiteX4" fmla="*/ 4778 w 5717"/>
                  <a:gd name="connsiteY4" fmla="*/ 23 h 1064"/>
                  <a:gd name="connsiteX5" fmla="*/ 4819 w 5717"/>
                  <a:gd name="connsiteY5" fmla="*/ 39 h 1064"/>
                  <a:gd name="connsiteX6" fmla="*/ 4863 w 5717"/>
                  <a:gd name="connsiteY6" fmla="*/ 60 h 1064"/>
                  <a:gd name="connsiteX7" fmla="*/ 4910 w 5717"/>
                  <a:gd name="connsiteY7" fmla="*/ 89 h 1064"/>
                  <a:gd name="connsiteX8" fmla="*/ 4960 w 5717"/>
                  <a:gd name="connsiteY8" fmla="*/ 124 h 1064"/>
                  <a:gd name="connsiteX9" fmla="*/ 5009 w 5717"/>
                  <a:gd name="connsiteY9" fmla="*/ 170 h 1064"/>
                  <a:gd name="connsiteX10" fmla="*/ 5061 w 5717"/>
                  <a:gd name="connsiteY10" fmla="*/ 224 h 1064"/>
                  <a:gd name="connsiteX11" fmla="*/ 5112 w 5717"/>
                  <a:gd name="connsiteY11" fmla="*/ 286 h 1064"/>
                  <a:gd name="connsiteX12" fmla="*/ 5313 w 5717"/>
                  <a:gd name="connsiteY12" fmla="*/ 633 h 1064"/>
                  <a:gd name="connsiteX13" fmla="*/ 5408 w 5717"/>
                  <a:gd name="connsiteY13" fmla="*/ 769 h 1064"/>
                  <a:gd name="connsiteX14" fmla="*/ 5717 w 5717"/>
                  <a:gd name="connsiteY14" fmla="*/ 1064 h 1064"/>
                  <a:gd name="connsiteX15" fmla="*/ 5639 w 5717"/>
                  <a:gd name="connsiteY15" fmla="*/ 1043 h 1064"/>
                  <a:gd name="connsiteX16" fmla="*/ 5546 w 5717"/>
                  <a:gd name="connsiteY16" fmla="*/ 1002 h 1064"/>
                  <a:gd name="connsiteX17" fmla="*/ 5496 w 5717"/>
                  <a:gd name="connsiteY17" fmla="*/ 971 h 1064"/>
                  <a:gd name="connsiteX18" fmla="*/ 5042 w 5717"/>
                  <a:gd name="connsiteY18" fmla="*/ 336 h 1064"/>
                  <a:gd name="connsiteX19" fmla="*/ 4993 w 5717"/>
                  <a:gd name="connsiteY19" fmla="*/ 276 h 1064"/>
                  <a:gd name="connsiteX20" fmla="*/ 4945 w 5717"/>
                  <a:gd name="connsiteY20" fmla="*/ 228 h 1064"/>
                  <a:gd name="connsiteX21" fmla="*/ 4900 w 5717"/>
                  <a:gd name="connsiteY21" fmla="*/ 189 h 1064"/>
                  <a:gd name="connsiteX22" fmla="*/ 4858 w 5717"/>
                  <a:gd name="connsiteY22" fmla="*/ 158 h 1064"/>
                  <a:gd name="connsiteX23" fmla="*/ 4819 w 5717"/>
                  <a:gd name="connsiteY23" fmla="*/ 135 h 1064"/>
                  <a:gd name="connsiteX24" fmla="*/ 4770 w 5717"/>
                  <a:gd name="connsiteY24" fmla="*/ 112 h 1064"/>
                  <a:gd name="connsiteX25" fmla="*/ 4726 w 5717"/>
                  <a:gd name="connsiteY25" fmla="*/ 98 h 1064"/>
                  <a:gd name="connsiteX26" fmla="*/ 4691 w 5717"/>
                  <a:gd name="connsiteY26" fmla="*/ 89 h 1064"/>
                  <a:gd name="connsiteX27" fmla="*/ 4662 w 5717"/>
                  <a:gd name="connsiteY27" fmla="*/ 87 h 1064"/>
                  <a:gd name="connsiteX28" fmla="*/ 4635 w 5717"/>
                  <a:gd name="connsiteY28" fmla="*/ 87 h 1064"/>
                  <a:gd name="connsiteX29" fmla="*/ 4569 w 5717"/>
                  <a:gd name="connsiteY29" fmla="*/ 93 h 1064"/>
                  <a:gd name="connsiteX30" fmla="*/ 4507 w 5717"/>
                  <a:gd name="connsiteY30" fmla="*/ 106 h 1064"/>
                  <a:gd name="connsiteX31" fmla="*/ 4452 w 5717"/>
                  <a:gd name="connsiteY31" fmla="*/ 127 h 1064"/>
                  <a:gd name="connsiteX32" fmla="*/ 4400 w 5717"/>
                  <a:gd name="connsiteY32" fmla="*/ 154 h 1064"/>
                  <a:gd name="connsiteX33" fmla="*/ 4353 w 5717"/>
                  <a:gd name="connsiteY33" fmla="*/ 187 h 1064"/>
                  <a:gd name="connsiteX34" fmla="*/ 4309 w 5717"/>
                  <a:gd name="connsiteY34" fmla="*/ 224 h 1064"/>
                  <a:gd name="connsiteX35" fmla="*/ 4270 w 5717"/>
                  <a:gd name="connsiteY35" fmla="*/ 268 h 1064"/>
                  <a:gd name="connsiteX36" fmla="*/ 4231 w 5717"/>
                  <a:gd name="connsiteY36" fmla="*/ 313 h 1064"/>
                  <a:gd name="connsiteX37" fmla="*/ 4196 w 5717"/>
                  <a:gd name="connsiteY37" fmla="*/ 363 h 1064"/>
                  <a:gd name="connsiteX38" fmla="*/ 4163 w 5717"/>
                  <a:gd name="connsiteY38" fmla="*/ 415 h 1064"/>
                  <a:gd name="connsiteX39" fmla="*/ 4101 w 5717"/>
                  <a:gd name="connsiteY39" fmla="*/ 523 h 1064"/>
                  <a:gd name="connsiteX40" fmla="*/ 4008 w 5717"/>
                  <a:gd name="connsiteY40" fmla="*/ 691 h 1064"/>
                  <a:gd name="connsiteX41" fmla="*/ 3975 w 5717"/>
                  <a:gd name="connsiteY41" fmla="*/ 747 h 1064"/>
                  <a:gd name="connsiteX42" fmla="*/ 3940 w 5717"/>
                  <a:gd name="connsiteY42" fmla="*/ 798 h 1064"/>
                  <a:gd name="connsiteX43" fmla="*/ 3905 w 5717"/>
                  <a:gd name="connsiteY43" fmla="*/ 848 h 1064"/>
                  <a:gd name="connsiteX44" fmla="*/ 3865 w 5717"/>
                  <a:gd name="connsiteY44" fmla="*/ 894 h 1064"/>
                  <a:gd name="connsiteX45" fmla="*/ 3824 w 5717"/>
                  <a:gd name="connsiteY45" fmla="*/ 935 h 1064"/>
                  <a:gd name="connsiteX46" fmla="*/ 3779 w 5717"/>
                  <a:gd name="connsiteY46" fmla="*/ 971 h 1064"/>
                  <a:gd name="connsiteX47" fmla="*/ 3729 w 5717"/>
                  <a:gd name="connsiteY47" fmla="*/ 1000 h 1064"/>
                  <a:gd name="connsiteX48" fmla="*/ 3677 w 5717"/>
                  <a:gd name="connsiteY48" fmla="*/ 1022 h 1064"/>
                  <a:gd name="connsiteX49" fmla="*/ 3620 w 5717"/>
                  <a:gd name="connsiteY49" fmla="*/ 1037 h 1064"/>
                  <a:gd name="connsiteX50" fmla="*/ 3556 w 5717"/>
                  <a:gd name="connsiteY50" fmla="*/ 1043 h 1064"/>
                  <a:gd name="connsiteX51" fmla="*/ 3547 w 5717"/>
                  <a:gd name="connsiteY51" fmla="*/ 1043 h 1064"/>
                  <a:gd name="connsiteX52" fmla="*/ 3485 w 5717"/>
                  <a:gd name="connsiteY52" fmla="*/ 1039 h 1064"/>
                  <a:gd name="connsiteX53" fmla="*/ 3426 w 5717"/>
                  <a:gd name="connsiteY53" fmla="*/ 1025 h 1064"/>
                  <a:gd name="connsiteX54" fmla="*/ 3372 w 5717"/>
                  <a:gd name="connsiteY54" fmla="*/ 1002 h 1064"/>
                  <a:gd name="connsiteX55" fmla="*/ 3320 w 5717"/>
                  <a:gd name="connsiteY55" fmla="*/ 973 h 1064"/>
                  <a:gd name="connsiteX56" fmla="*/ 3273 w 5717"/>
                  <a:gd name="connsiteY56" fmla="*/ 935 h 1064"/>
                  <a:gd name="connsiteX57" fmla="*/ 3229 w 5717"/>
                  <a:gd name="connsiteY57" fmla="*/ 894 h 1064"/>
                  <a:gd name="connsiteX58" fmla="*/ 3186 w 5717"/>
                  <a:gd name="connsiteY58" fmla="*/ 846 h 1064"/>
                  <a:gd name="connsiteX59" fmla="*/ 3147 w 5717"/>
                  <a:gd name="connsiteY59" fmla="*/ 796 h 1064"/>
                  <a:gd name="connsiteX60" fmla="*/ 3108 w 5717"/>
                  <a:gd name="connsiteY60" fmla="*/ 740 h 1064"/>
                  <a:gd name="connsiteX61" fmla="*/ 3070 w 5717"/>
                  <a:gd name="connsiteY61" fmla="*/ 684 h 1064"/>
                  <a:gd name="connsiteX62" fmla="*/ 2965 w 5717"/>
                  <a:gd name="connsiteY62" fmla="*/ 510 h 1064"/>
                  <a:gd name="connsiteX63" fmla="*/ 2928 w 5717"/>
                  <a:gd name="connsiteY63" fmla="*/ 452 h 1064"/>
                  <a:gd name="connsiteX64" fmla="*/ 2891 w 5717"/>
                  <a:gd name="connsiteY64" fmla="*/ 396 h 1064"/>
                  <a:gd name="connsiteX65" fmla="*/ 2854 w 5717"/>
                  <a:gd name="connsiteY65" fmla="*/ 342 h 1064"/>
                  <a:gd name="connsiteX66" fmla="*/ 2814 w 5717"/>
                  <a:gd name="connsiteY66" fmla="*/ 292 h 1064"/>
                  <a:gd name="connsiteX67" fmla="*/ 2773 w 5717"/>
                  <a:gd name="connsiteY67" fmla="*/ 247 h 1064"/>
                  <a:gd name="connsiteX68" fmla="*/ 2732 w 5717"/>
                  <a:gd name="connsiteY68" fmla="*/ 205 h 1064"/>
                  <a:gd name="connsiteX69" fmla="*/ 2686 w 5717"/>
                  <a:gd name="connsiteY69" fmla="*/ 168 h 1064"/>
                  <a:gd name="connsiteX70" fmla="*/ 2639 w 5717"/>
                  <a:gd name="connsiteY70" fmla="*/ 139 h 1064"/>
                  <a:gd name="connsiteX71" fmla="*/ 2587 w 5717"/>
                  <a:gd name="connsiteY71" fmla="*/ 116 h 1064"/>
                  <a:gd name="connsiteX72" fmla="*/ 2532 w 5717"/>
                  <a:gd name="connsiteY72" fmla="*/ 100 h 1064"/>
                  <a:gd name="connsiteX73" fmla="*/ 2474 w 5717"/>
                  <a:gd name="connsiteY73" fmla="*/ 91 h 1064"/>
                  <a:gd name="connsiteX74" fmla="*/ 2410 w 5717"/>
                  <a:gd name="connsiteY74" fmla="*/ 93 h 1064"/>
                  <a:gd name="connsiteX75" fmla="*/ 2342 w 5717"/>
                  <a:gd name="connsiteY75" fmla="*/ 104 h 1064"/>
                  <a:gd name="connsiteX76" fmla="*/ 2280 w 5717"/>
                  <a:gd name="connsiteY76" fmla="*/ 122 h 1064"/>
                  <a:gd name="connsiteX77" fmla="*/ 2222 w 5717"/>
                  <a:gd name="connsiteY77" fmla="*/ 147 h 1064"/>
                  <a:gd name="connsiteX78" fmla="*/ 2168 w 5717"/>
                  <a:gd name="connsiteY78" fmla="*/ 180 h 1064"/>
                  <a:gd name="connsiteX79" fmla="*/ 2117 w 5717"/>
                  <a:gd name="connsiteY79" fmla="*/ 218 h 1064"/>
                  <a:gd name="connsiteX80" fmla="*/ 2071 w 5717"/>
                  <a:gd name="connsiteY80" fmla="*/ 261 h 1064"/>
                  <a:gd name="connsiteX81" fmla="*/ 2026 w 5717"/>
                  <a:gd name="connsiteY81" fmla="*/ 307 h 1064"/>
                  <a:gd name="connsiteX82" fmla="*/ 1984 w 5717"/>
                  <a:gd name="connsiteY82" fmla="*/ 359 h 1064"/>
                  <a:gd name="connsiteX83" fmla="*/ 1945 w 5717"/>
                  <a:gd name="connsiteY83" fmla="*/ 413 h 1064"/>
                  <a:gd name="connsiteX84" fmla="*/ 1908 w 5717"/>
                  <a:gd name="connsiteY84" fmla="*/ 467 h 1064"/>
                  <a:gd name="connsiteX85" fmla="*/ 1871 w 5717"/>
                  <a:gd name="connsiteY85" fmla="*/ 523 h 1064"/>
                  <a:gd name="connsiteX86" fmla="*/ 1834 w 5717"/>
                  <a:gd name="connsiteY86" fmla="*/ 581 h 1064"/>
                  <a:gd name="connsiteX87" fmla="*/ 1799 w 5717"/>
                  <a:gd name="connsiteY87" fmla="*/ 637 h 1064"/>
                  <a:gd name="connsiteX88" fmla="*/ 1724 w 5717"/>
                  <a:gd name="connsiteY88" fmla="*/ 749 h 1064"/>
                  <a:gd name="connsiteX89" fmla="*/ 1685 w 5717"/>
                  <a:gd name="connsiteY89" fmla="*/ 801 h 1064"/>
                  <a:gd name="connsiteX90" fmla="*/ 1644 w 5717"/>
                  <a:gd name="connsiteY90" fmla="*/ 850 h 1064"/>
                  <a:gd name="connsiteX91" fmla="*/ 1600 w 5717"/>
                  <a:gd name="connsiteY91" fmla="*/ 896 h 1064"/>
                  <a:gd name="connsiteX92" fmla="*/ 1553 w 5717"/>
                  <a:gd name="connsiteY92" fmla="*/ 937 h 1064"/>
                  <a:gd name="connsiteX93" fmla="*/ 1503 w 5717"/>
                  <a:gd name="connsiteY93" fmla="*/ 973 h 1064"/>
                  <a:gd name="connsiteX94" fmla="*/ 1450 w 5717"/>
                  <a:gd name="connsiteY94" fmla="*/ 1002 h 1064"/>
                  <a:gd name="connsiteX95" fmla="*/ 1394 w 5717"/>
                  <a:gd name="connsiteY95" fmla="*/ 1025 h 1064"/>
                  <a:gd name="connsiteX96" fmla="*/ 1330 w 5717"/>
                  <a:gd name="connsiteY96" fmla="*/ 1037 h 1064"/>
                  <a:gd name="connsiteX97" fmla="*/ 1264 w 5717"/>
                  <a:gd name="connsiteY97" fmla="*/ 1043 h 1064"/>
                  <a:gd name="connsiteX98" fmla="*/ 1258 w 5717"/>
                  <a:gd name="connsiteY98" fmla="*/ 1043 h 1064"/>
                  <a:gd name="connsiteX99" fmla="*/ 1190 w 5717"/>
                  <a:gd name="connsiteY99" fmla="*/ 1039 h 1064"/>
                  <a:gd name="connsiteX100" fmla="*/ 1128 w 5717"/>
                  <a:gd name="connsiteY100" fmla="*/ 1027 h 1064"/>
                  <a:gd name="connsiteX101" fmla="*/ 1070 w 5717"/>
                  <a:gd name="connsiteY101" fmla="*/ 1008 h 1064"/>
                  <a:gd name="connsiteX102" fmla="*/ 1018 w 5717"/>
                  <a:gd name="connsiteY102" fmla="*/ 983 h 1064"/>
                  <a:gd name="connsiteX103" fmla="*/ 971 w 5717"/>
                  <a:gd name="connsiteY103" fmla="*/ 952 h 1064"/>
                  <a:gd name="connsiteX104" fmla="*/ 925 w 5717"/>
                  <a:gd name="connsiteY104" fmla="*/ 915 h 1064"/>
                  <a:gd name="connsiteX105" fmla="*/ 884 w 5717"/>
                  <a:gd name="connsiteY105" fmla="*/ 873 h 1064"/>
                  <a:gd name="connsiteX106" fmla="*/ 847 w 5717"/>
                  <a:gd name="connsiteY106" fmla="*/ 828 h 1064"/>
                  <a:gd name="connsiteX107" fmla="*/ 810 w 5717"/>
                  <a:gd name="connsiteY107" fmla="*/ 780 h 1064"/>
                  <a:gd name="connsiteX108" fmla="*/ 777 w 5717"/>
                  <a:gd name="connsiteY108" fmla="*/ 728 h 1064"/>
                  <a:gd name="connsiteX109" fmla="*/ 742 w 5717"/>
                  <a:gd name="connsiteY109" fmla="*/ 674 h 1064"/>
                  <a:gd name="connsiteX110" fmla="*/ 711 w 5717"/>
                  <a:gd name="connsiteY110" fmla="*/ 618 h 1064"/>
                  <a:gd name="connsiteX111" fmla="*/ 678 w 5717"/>
                  <a:gd name="connsiteY111" fmla="*/ 560 h 1064"/>
                  <a:gd name="connsiteX112" fmla="*/ 616 w 5717"/>
                  <a:gd name="connsiteY112" fmla="*/ 448 h 1064"/>
                  <a:gd name="connsiteX113" fmla="*/ 547 w 5717"/>
                  <a:gd name="connsiteY113" fmla="*/ 340 h 1064"/>
                  <a:gd name="connsiteX114" fmla="*/ 504 w 5717"/>
                  <a:gd name="connsiteY114" fmla="*/ 284 h 1064"/>
                  <a:gd name="connsiteX115" fmla="*/ 457 w 5717"/>
                  <a:gd name="connsiteY115" fmla="*/ 239 h 1064"/>
                  <a:gd name="connsiteX116" fmla="*/ 409 w 5717"/>
                  <a:gd name="connsiteY116" fmla="*/ 199 h 1064"/>
                  <a:gd name="connsiteX117" fmla="*/ 358 w 5717"/>
                  <a:gd name="connsiteY117" fmla="*/ 168 h 1064"/>
                  <a:gd name="connsiteX118" fmla="*/ 308 w 5717"/>
                  <a:gd name="connsiteY118" fmla="*/ 145 h 1064"/>
                  <a:gd name="connsiteX119" fmla="*/ 256 w 5717"/>
                  <a:gd name="connsiteY119" fmla="*/ 127 h 1064"/>
                  <a:gd name="connsiteX120" fmla="*/ 209 w 5717"/>
                  <a:gd name="connsiteY120" fmla="*/ 112 h 1064"/>
                  <a:gd name="connsiteX121" fmla="*/ 163 w 5717"/>
                  <a:gd name="connsiteY121" fmla="*/ 104 h 1064"/>
                  <a:gd name="connsiteX122" fmla="*/ 122 w 5717"/>
                  <a:gd name="connsiteY122" fmla="*/ 100 h 1064"/>
                  <a:gd name="connsiteX123" fmla="*/ 85 w 5717"/>
                  <a:gd name="connsiteY123" fmla="*/ 95 h 1064"/>
                  <a:gd name="connsiteX124" fmla="*/ 31 w 5717"/>
                  <a:gd name="connsiteY124" fmla="*/ 95 h 1064"/>
                  <a:gd name="connsiteX125" fmla="*/ 17 w 5717"/>
                  <a:gd name="connsiteY125" fmla="*/ 98 h 1064"/>
                  <a:gd name="connsiteX126" fmla="*/ 11 w 5717"/>
                  <a:gd name="connsiteY126" fmla="*/ 98 h 1064"/>
                  <a:gd name="connsiteX127" fmla="*/ 0 w 5717"/>
                  <a:gd name="connsiteY127" fmla="*/ 13 h 1064"/>
                  <a:gd name="connsiteX128" fmla="*/ 9 w 5717"/>
                  <a:gd name="connsiteY128" fmla="*/ 13 h 1064"/>
                  <a:gd name="connsiteX129" fmla="*/ 29 w 5717"/>
                  <a:gd name="connsiteY129" fmla="*/ 10 h 1064"/>
                  <a:gd name="connsiteX130" fmla="*/ 91 w 5717"/>
                  <a:gd name="connsiteY130" fmla="*/ 10 h 1064"/>
                  <a:gd name="connsiteX131" fmla="*/ 135 w 5717"/>
                  <a:gd name="connsiteY131" fmla="*/ 13 h 1064"/>
                  <a:gd name="connsiteX132" fmla="*/ 182 w 5717"/>
                  <a:gd name="connsiteY132" fmla="*/ 19 h 1064"/>
                  <a:gd name="connsiteX133" fmla="*/ 234 w 5717"/>
                  <a:gd name="connsiteY133" fmla="*/ 29 h 1064"/>
                  <a:gd name="connsiteX134" fmla="*/ 287 w 5717"/>
                  <a:gd name="connsiteY134" fmla="*/ 46 h 1064"/>
                  <a:gd name="connsiteX135" fmla="*/ 345 w 5717"/>
                  <a:gd name="connsiteY135" fmla="*/ 66 h 1064"/>
                  <a:gd name="connsiteX136" fmla="*/ 403 w 5717"/>
                  <a:gd name="connsiteY136" fmla="*/ 93 h 1064"/>
                  <a:gd name="connsiteX137" fmla="*/ 459 w 5717"/>
                  <a:gd name="connsiteY137" fmla="*/ 131 h 1064"/>
                  <a:gd name="connsiteX138" fmla="*/ 514 w 5717"/>
                  <a:gd name="connsiteY138" fmla="*/ 174 h 1064"/>
                  <a:gd name="connsiteX139" fmla="*/ 568 w 5717"/>
                  <a:gd name="connsiteY139" fmla="*/ 228 h 1064"/>
                  <a:gd name="connsiteX140" fmla="*/ 618 w 5717"/>
                  <a:gd name="connsiteY140" fmla="*/ 292 h 1064"/>
                  <a:gd name="connsiteX141" fmla="*/ 667 w 5717"/>
                  <a:gd name="connsiteY141" fmla="*/ 367 h 1064"/>
                  <a:gd name="connsiteX142" fmla="*/ 754 w 5717"/>
                  <a:gd name="connsiteY142" fmla="*/ 516 h 1064"/>
                  <a:gd name="connsiteX143" fmla="*/ 787 w 5717"/>
                  <a:gd name="connsiteY143" fmla="*/ 575 h 1064"/>
                  <a:gd name="connsiteX144" fmla="*/ 820 w 5717"/>
                  <a:gd name="connsiteY144" fmla="*/ 631 h 1064"/>
                  <a:gd name="connsiteX145" fmla="*/ 853 w 5717"/>
                  <a:gd name="connsiteY145" fmla="*/ 684 h 1064"/>
                  <a:gd name="connsiteX146" fmla="*/ 886 w 5717"/>
                  <a:gd name="connsiteY146" fmla="*/ 736 h 1064"/>
                  <a:gd name="connsiteX147" fmla="*/ 921 w 5717"/>
                  <a:gd name="connsiteY147" fmla="*/ 782 h 1064"/>
                  <a:gd name="connsiteX148" fmla="*/ 958 w 5717"/>
                  <a:gd name="connsiteY148" fmla="*/ 825 h 1064"/>
                  <a:gd name="connsiteX149" fmla="*/ 1000 w 5717"/>
                  <a:gd name="connsiteY149" fmla="*/ 863 h 1064"/>
                  <a:gd name="connsiteX150" fmla="*/ 1043 w 5717"/>
                  <a:gd name="connsiteY150" fmla="*/ 894 h 1064"/>
                  <a:gd name="connsiteX151" fmla="*/ 1090 w 5717"/>
                  <a:gd name="connsiteY151" fmla="*/ 921 h 1064"/>
                  <a:gd name="connsiteX152" fmla="*/ 1140 w 5717"/>
                  <a:gd name="connsiteY152" fmla="*/ 939 h 1064"/>
                  <a:gd name="connsiteX153" fmla="*/ 1196 w 5717"/>
                  <a:gd name="connsiteY153" fmla="*/ 952 h 1064"/>
                  <a:gd name="connsiteX154" fmla="*/ 1258 w 5717"/>
                  <a:gd name="connsiteY154" fmla="*/ 956 h 1064"/>
                  <a:gd name="connsiteX155" fmla="*/ 1264 w 5717"/>
                  <a:gd name="connsiteY155" fmla="*/ 956 h 1064"/>
                  <a:gd name="connsiteX156" fmla="*/ 1324 w 5717"/>
                  <a:gd name="connsiteY156" fmla="*/ 950 h 1064"/>
                  <a:gd name="connsiteX157" fmla="*/ 1380 w 5717"/>
                  <a:gd name="connsiteY157" fmla="*/ 935 h 1064"/>
                  <a:gd name="connsiteX158" fmla="*/ 1433 w 5717"/>
                  <a:gd name="connsiteY158" fmla="*/ 913 h 1064"/>
                  <a:gd name="connsiteX159" fmla="*/ 1481 w 5717"/>
                  <a:gd name="connsiteY159" fmla="*/ 884 h 1064"/>
                  <a:gd name="connsiteX160" fmla="*/ 1526 w 5717"/>
                  <a:gd name="connsiteY160" fmla="*/ 846 h 1064"/>
                  <a:gd name="connsiteX161" fmla="*/ 1569 w 5717"/>
                  <a:gd name="connsiteY161" fmla="*/ 803 h 1064"/>
                  <a:gd name="connsiteX162" fmla="*/ 1609 w 5717"/>
                  <a:gd name="connsiteY162" fmla="*/ 755 h 1064"/>
                  <a:gd name="connsiteX163" fmla="*/ 1648 w 5717"/>
                  <a:gd name="connsiteY163" fmla="*/ 703 h 1064"/>
                  <a:gd name="connsiteX164" fmla="*/ 1687 w 5717"/>
                  <a:gd name="connsiteY164" fmla="*/ 649 h 1064"/>
                  <a:gd name="connsiteX165" fmla="*/ 1799 w 5717"/>
                  <a:gd name="connsiteY165" fmla="*/ 475 h 1064"/>
                  <a:gd name="connsiteX166" fmla="*/ 1838 w 5717"/>
                  <a:gd name="connsiteY166" fmla="*/ 415 h 1064"/>
                  <a:gd name="connsiteX167" fmla="*/ 1879 w 5717"/>
                  <a:gd name="connsiteY167" fmla="*/ 357 h 1064"/>
                  <a:gd name="connsiteX168" fmla="*/ 1923 w 5717"/>
                  <a:gd name="connsiteY168" fmla="*/ 299 h 1064"/>
                  <a:gd name="connsiteX169" fmla="*/ 1968 w 5717"/>
                  <a:gd name="connsiteY169" fmla="*/ 245 h 1064"/>
                  <a:gd name="connsiteX170" fmla="*/ 2015 w 5717"/>
                  <a:gd name="connsiteY170" fmla="*/ 193 h 1064"/>
                  <a:gd name="connsiteX171" fmla="*/ 2069 w 5717"/>
                  <a:gd name="connsiteY171" fmla="*/ 145 h 1064"/>
                  <a:gd name="connsiteX172" fmla="*/ 2125 w 5717"/>
                  <a:gd name="connsiteY172" fmla="*/ 104 h 1064"/>
                  <a:gd name="connsiteX173" fmla="*/ 2187 w 5717"/>
                  <a:gd name="connsiteY173" fmla="*/ 69 h 1064"/>
                  <a:gd name="connsiteX174" fmla="*/ 2253 w 5717"/>
                  <a:gd name="connsiteY174" fmla="*/ 39 h 1064"/>
                  <a:gd name="connsiteX175" fmla="*/ 2325 w 5717"/>
                  <a:gd name="connsiteY175" fmla="*/ 19 h 1064"/>
                  <a:gd name="connsiteX176" fmla="*/ 2404 w 5717"/>
                  <a:gd name="connsiteY176" fmla="*/ 6 h 1064"/>
                  <a:gd name="connsiteX177" fmla="*/ 2474 w 5717"/>
                  <a:gd name="connsiteY177" fmla="*/ 4 h 1064"/>
                  <a:gd name="connsiteX178" fmla="*/ 2540 w 5717"/>
                  <a:gd name="connsiteY178" fmla="*/ 13 h 1064"/>
                  <a:gd name="connsiteX179" fmla="*/ 2600 w 5717"/>
                  <a:gd name="connsiteY179" fmla="*/ 27 h 1064"/>
                  <a:gd name="connsiteX180" fmla="*/ 2658 w 5717"/>
                  <a:gd name="connsiteY180" fmla="*/ 50 h 1064"/>
                  <a:gd name="connsiteX181" fmla="*/ 2711 w 5717"/>
                  <a:gd name="connsiteY181" fmla="*/ 81 h 1064"/>
                  <a:gd name="connsiteX182" fmla="*/ 2761 w 5717"/>
                  <a:gd name="connsiteY182" fmla="*/ 116 h 1064"/>
                  <a:gd name="connsiteX183" fmla="*/ 2806 w 5717"/>
                  <a:gd name="connsiteY183" fmla="*/ 158 h 1064"/>
                  <a:gd name="connsiteX184" fmla="*/ 2852 w 5717"/>
                  <a:gd name="connsiteY184" fmla="*/ 203 h 1064"/>
                  <a:gd name="connsiteX185" fmla="*/ 2893 w 5717"/>
                  <a:gd name="connsiteY185" fmla="*/ 251 h 1064"/>
                  <a:gd name="connsiteX186" fmla="*/ 2932 w 5717"/>
                  <a:gd name="connsiteY186" fmla="*/ 303 h 1064"/>
                  <a:gd name="connsiteX187" fmla="*/ 2969 w 5717"/>
                  <a:gd name="connsiteY187" fmla="*/ 357 h 1064"/>
                  <a:gd name="connsiteX188" fmla="*/ 3004 w 5717"/>
                  <a:gd name="connsiteY188" fmla="*/ 413 h 1064"/>
                  <a:gd name="connsiteX189" fmla="*/ 3039 w 5717"/>
                  <a:gd name="connsiteY189" fmla="*/ 467 h 1064"/>
                  <a:gd name="connsiteX190" fmla="*/ 3073 w 5717"/>
                  <a:gd name="connsiteY190" fmla="*/ 523 h 1064"/>
                  <a:gd name="connsiteX191" fmla="*/ 3110 w 5717"/>
                  <a:gd name="connsiteY191" fmla="*/ 585 h 1064"/>
                  <a:gd name="connsiteX192" fmla="*/ 3147 w 5717"/>
                  <a:gd name="connsiteY192" fmla="*/ 643 h 1064"/>
                  <a:gd name="connsiteX193" fmla="*/ 3186 w 5717"/>
                  <a:gd name="connsiteY193" fmla="*/ 701 h 1064"/>
                  <a:gd name="connsiteX194" fmla="*/ 3223 w 5717"/>
                  <a:gd name="connsiteY194" fmla="*/ 755 h 1064"/>
                  <a:gd name="connsiteX195" fmla="*/ 3265 w 5717"/>
                  <a:gd name="connsiteY195" fmla="*/ 805 h 1064"/>
                  <a:gd name="connsiteX196" fmla="*/ 3306 w 5717"/>
                  <a:gd name="connsiteY196" fmla="*/ 848 h 1064"/>
                  <a:gd name="connsiteX197" fmla="*/ 3349 w 5717"/>
                  <a:gd name="connsiteY197" fmla="*/ 886 h 1064"/>
                  <a:gd name="connsiteX198" fmla="*/ 3395 w 5717"/>
                  <a:gd name="connsiteY198" fmla="*/ 917 h 1064"/>
                  <a:gd name="connsiteX199" fmla="*/ 3444 w 5717"/>
                  <a:gd name="connsiteY199" fmla="*/ 939 h 1064"/>
                  <a:gd name="connsiteX200" fmla="*/ 3498 w 5717"/>
                  <a:gd name="connsiteY200" fmla="*/ 952 h 1064"/>
                  <a:gd name="connsiteX201" fmla="*/ 3554 w 5717"/>
                  <a:gd name="connsiteY201" fmla="*/ 956 h 1064"/>
                  <a:gd name="connsiteX202" fmla="*/ 3609 w 5717"/>
                  <a:gd name="connsiteY202" fmla="*/ 950 h 1064"/>
                  <a:gd name="connsiteX203" fmla="*/ 3659 w 5717"/>
                  <a:gd name="connsiteY203" fmla="*/ 935 h 1064"/>
                  <a:gd name="connsiteX204" fmla="*/ 3706 w 5717"/>
                  <a:gd name="connsiteY204" fmla="*/ 915 h 1064"/>
                  <a:gd name="connsiteX205" fmla="*/ 3750 w 5717"/>
                  <a:gd name="connsiteY205" fmla="*/ 884 h 1064"/>
                  <a:gd name="connsiteX206" fmla="*/ 3789 w 5717"/>
                  <a:gd name="connsiteY206" fmla="*/ 848 h 1064"/>
                  <a:gd name="connsiteX207" fmla="*/ 3826 w 5717"/>
                  <a:gd name="connsiteY207" fmla="*/ 807 h 1064"/>
                  <a:gd name="connsiteX208" fmla="*/ 3861 w 5717"/>
                  <a:gd name="connsiteY208" fmla="*/ 759 h 1064"/>
                  <a:gd name="connsiteX209" fmla="*/ 3894 w 5717"/>
                  <a:gd name="connsiteY209" fmla="*/ 709 h 1064"/>
                  <a:gd name="connsiteX210" fmla="*/ 3927 w 5717"/>
                  <a:gd name="connsiteY210" fmla="*/ 655 h 1064"/>
                  <a:gd name="connsiteX211" fmla="*/ 3960 w 5717"/>
                  <a:gd name="connsiteY211" fmla="*/ 597 h 1064"/>
                  <a:gd name="connsiteX212" fmla="*/ 3993 w 5717"/>
                  <a:gd name="connsiteY212" fmla="*/ 537 h 1064"/>
                  <a:gd name="connsiteX213" fmla="*/ 4022 w 5717"/>
                  <a:gd name="connsiteY213" fmla="*/ 483 h 1064"/>
                  <a:gd name="connsiteX214" fmla="*/ 4084 w 5717"/>
                  <a:gd name="connsiteY214" fmla="*/ 375 h 1064"/>
                  <a:gd name="connsiteX215" fmla="*/ 4154 w 5717"/>
                  <a:gd name="connsiteY215" fmla="*/ 272 h 1064"/>
                  <a:gd name="connsiteX216" fmla="*/ 4192 w 5717"/>
                  <a:gd name="connsiteY216" fmla="*/ 224 h 1064"/>
                  <a:gd name="connsiteX217" fmla="*/ 4233 w 5717"/>
                  <a:gd name="connsiteY217" fmla="*/ 178 h 1064"/>
                  <a:gd name="connsiteX218" fmla="*/ 4276 w 5717"/>
                  <a:gd name="connsiteY218" fmla="*/ 137 h 1064"/>
                  <a:gd name="connsiteX219" fmla="*/ 4324 w 5717"/>
                  <a:gd name="connsiteY219" fmla="*/ 100 h 1064"/>
                  <a:gd name="connsiteX220" fmla="*/ 4375 w 5717"/>
                  <a:gd name="connsiteY220" fmla="*/ 66 h 1064"/>
                  <a:gd name="connsiteX221" fmla="*/ 4433 w 5717"/>
                  <a:gd name="connsiteY221" fmla="*/ 39 h 1064"/>
                  <a:gd name="connsiteX222" fmla="*/ 4493 w 5717"/>
                  <a:gd name="connsiteY222" fmla="*/ 19 h 1064"/>
                  <a:gd name="connsiteX223" fmla="*/ 4559 w 5717"/>
                  <a:gd name="connsiteY223" fmla="*/ 6 h 1064"/>
                  <a:gd name="connsiteX224" fmla="*/ 4631 w 5717"/>
                  <a:gd name="connsiteY224" fmla="*/ 0 h 1064"/>
                  <a:gd name="connsiteX0" fmla="*/ 4631 w 5639"/>
                  <a:gd name="connsiteY0" fmla="*/ 0 h 1043"/>
                  <a:gd name="connsiteX1" fmla="*/ 4681 w 5639"/>
                  <a:gd name="connsiteY1" fmla="*/ 0 h 1043"/>
                  <a:gd name="connsiteX2" fmla="*/ 4710 w 5639"/>
                  <a:gd name="connsiteY2" fmla="*/ 4 h 1043"/>
                  <a:gd name="connsiteX3" fmla="*/ 4741 w 5639"/>
                  <a:gd name="connsiteY3" fmla="*/ 13 h 1043"/>
                  <a:gd name="connsiteX4" fmla="*/ 4778 w 5639"/>
                  <a:gd name="connsiteY4" fmla="*/ 23 h 1043"/>
                  <a:gd name="connsiteX5" fmla="*/ 4819 w 5639"/>
                  <a:gd name="connsiteY5" fmla="*/ 39 h 1043"/>
                  <a:gd name="connsiteX6" fmla="*/ 4863 w 5639"/>
                  <a:gd name="connsiteY6" fmla="*/ 60 h 1043"/>
                  <a:gd name="connsiteX7" fmla="*/ 4910 w 5639"/>
                  <a:gd name="connsiteY7" fmla="*/ 89 h 1043"/>
                  <a:gd name="connsiteX8" fmla="*/ 4960 w 5639"/>
                  <a:gd name="connsiteY8" fmla="*/ 124 h 1043"/>
                  <a:gd name="connsiteX9" fmla="*/ 5009 w 5639"/>
                  <a:gd name="connsiteY9" fmla="*/ 170 h 1043"/>
                  <a:gd name="connsiteX10" fmla="*/ 5061 w 5639"/>
                  <a:gd name="connsiteY10" fmla="*/ 224 h 1043"/>
                  <a:gd name="connsiteX11" fmla="*/ 5112 w 5639"/>
                  <a:gd name="connsiteY11" fmla="*/ 286 h 1043"/>
                  <a:gd name="connsiteX12" fmla="*/ 5313 w 5639"/>
                  <a:gd name="connsiteY12" fmla="*/ 633 h 1043"/>
                  <a:gd name="connsiteX13" fmla="*/ 5408 w 5639"/>
                  <a:gd name="connsiteY13" fmla="*/ 769 h 1043"/>
                  <a:gd name="connsiteX14" fmla="*/ 5639 w 5639"/>
                  <a:gd name="connsiteY14" fmla="*/ 1043 h 1043"/>
                  <a:gd name="connsiteX15" fmla="*/ 5546 w 5639"/>
                  <a:gd name="connsiteY15" fmla="*/ 1002 h 1043"/>
                  <a:gd name="connsiteX16" fmla="*/ 5496 w 5639"/>
                  <a:gd name="connsiteY16" fmla="*/ 971 h 1043"/>
                  <a:gd name="connsiteX17" fmla="*/ 5042 w 5639"/>
                  <a:gd name="connsiteY17" fmla="*/ 336 h 1043"/>
                  <a:gd name="connsiteX18" fmla="*/ 4993 w 5639"/>
                  <a:gd name="connsiteY18" fmla="*/ 276 h 1043"/>
                  <a:gd name="connsiteX19" fmla="*/ 4945 w 5639"/>
                  <a:gd name="connsiteY19" fmla="*/ 228 h 1043"/>
                  <a:gd name="connsiteX20" fmla="*/ 4900 w 5639"/>
                  <a:gd name="connsiteY20" fmla="*/ 189 h 1043"/>
                  <a:gd name="connsiteX21" fmla="*/ 4858 w 5639"/>
                  <a:gd name="connsiteY21" fmla="*/ 158 h 1043"/>
                  <a:gd name="connsiteX22" fmla="*/ 4819 w 5639"/>
                  <a:gd name="connsiteY22" fmla="*/ 135 h 1043"/>
                  <a:gd name="connsiteX23" fmla="*/ 4770 w 5639"/>
                  <a:gd name="connsiteY23" fmla="*/ 112 h 1043"/>
                  <a:gd name="connsiteX24" fmla="*/ 4726 w 5639"/>
                  <a:gd name="connsiteY24" fmla="*/ 98 h 1043"/>
                  <a:gd name="connsiteX25" fmla="*/ 4691 w 5639"/>
                  <a:gd name="connsiteY25" fmla="*/ 89 h 1043"/>
                  <a:gd name="connsiteX26" fmla="*/ 4662 w 5639"/>
                  <a:gd name="connsiteY26" fmla="*/ 87 h 1043"/>
                  <a:gd name="connsiteX27" fmla="*/ 4635 w 5639"/>
                  <a:gd name="connsiteY27" fmla="*/ 87 h 1043"/>
                  <a:gd name="connsiteX28" fmla="*/ 4569 w 5639"/>
                  <a:gd name="connsiteY28" fmla="*/ 93 h 1043"/>
                  <a:gd name="connsiteX29" fmla="*/ 4507 w 5639"/>
                  <a:gd name="connsiteY29" fmla="*/ 106 h 1043"/>
                  <a:gd name="connsiteX30" fmla="*/ 4452 w 5639"/>
                  <a:gd name="connsiteY30" fmla="*/ 127 h 1043"/>
                  <a:gd name="connsiteX31" fmla="*/ 4400 w 5639"/>
                  <a:gd name="connsiteY31" fmla="*/ 154 h 1043"/>
                  <a:gd name="connsiteX32" fmla="*/ 4353 w 5639"/>
                  <a:gd name="connsiteY32" fmla="*/ 187 h 1043"/>
                  <a:gd name="connsiteX33" fmla="*/ 4309 w 5639"/>
                  <a:gd name="connsiteY33" fmla="*/ 224 h 1043"/>
                  <a:gd name="connsiteX34" fmla="*/ 4270 w 5639"/>
                  <a:gd name="connsiteY34" fmla="*/ 268 h 1043"/>
                  <a:gd name="connsiteX35" fmla="*/ 4231 w 5639"/>
                  <a:gd name="connsiteY35" fmla="*/ 313 h 1043"/>
                  <a:gd name="connsiteX36" fmla="*/ 4196 w 5639"/>
                  <a:gd name="connsiteY36" fmla="*/ 363 h 1043"/>
                  <a:gd name="connsiteX37" fmla="*/ 4163 w 5639"/>
                  <a:gd name="connsiteY37" fmla="*/ 415 h 1043"/>
                  <a:gd name="connsiteX38" fmla="*/ 4101 w 5639"/>
                  <a:gd name="connsiteY38" fmla="*/ 523 h 1043"/>
                  <a:gd name="connsiteX39" fmla="*/ 4008 w 5639"/>
                  <a:gd name="connsiteY39" fmla="*/ 691 h 1043"/>
                  <a:gd name="connsiteX40" fmla="*/ 3975 w 5639"/>
                  <a:gd name="connsiteY40" fmla="*/ 747 h 1043"/>
                  <a:gd name="connsiteX41" fmla="*/ 3940 w 5639"/>
                  <a:gd name="connsiteY41" fmla="*/ 798 h 1043"/>
                  <a:gd name="connsiteX42" fmla="*/ 3905 w 5639"/>
                  <a:gd name="connsiteY42" fmla="*/ 848 h 1043"/>
                  <a:gd name="connsiteX43" fmla="*/ 3865 w 5639"/>
                  <a:gd name="connsiteY43" fmla="*/ 894 h 1043"/>
                  <a:gd name="connsiteX44" fmla="*/ 3824 w 5639"/>
                  <a:gd name="connsiteY44" fmla="*/ 935 h 1043"/>
                  <a:gd name="connsiteX45" fmla="*/ 3779 w 5639"/>
                  <a:gd name="connsiteY45" fmla="*/ 971 h 1043"/>
                  <a:gd name="connsiteX46" fmla="*/ 3729 w 5639"/>
                  <a:gd name="connsiteY46" fmla="*/ 1000 h 1043"/>
                  <a:gd name="connsiteX47" fmla="*/ 3677 w 5639"/>
                  <a:gd name="connsiteY47" fmla="*/ 1022 h 1043"/>
                  <a:gd name="connsiteX48" fmla="*/ 3620 w 5639"/>
                  <a:gd name="connsiteY48" fmla="*/ 1037 h 1043"/>
                  <a:gd name="connsiteX49" fmla="*/ 3556 w 5639"/>
                  <a:gd name="connsiteY49" fmla="*/ 1043 h 1043"/>
                  <a:gd name="connsiteX50" fmla="*/ 3547 w 5639"/>
                  <a:gd name="connsiteY50" fmla="*/ 1043 h 1043"/>
                  <a:gd name="connsiteX51" fmla="*/ 3485 w 5639"/>
                  <a:gd name="connsiteY51" fmla="*/ 1039 h 1043"/>
                  <a:gd name="connsiteX52" fmla="*/ 3426 w 5639"/>
                  <a:gd name="connsiteY52" fmla="*/ 1025 h 1043"/>
                  <a:gd name="connsiteX53" fmla="*/ 3372 w 5639"/>
                  <a:gd name="connsiteY53" fmla="*/ 1002 h 1043"/>
                  <a:gd name="connsiteX54" fmla="*/ 3320 w 5639"/>
                  <a:gd name="connsiteY54" fmla="*/ 973 h 1043"/>
                  <a:gd name="connsiteX55" fmla="*/ 3273 w 5639"/>
                  <a:gd name="connsiteY55" fmla="*/ 935 h 1043"/>
                  <a:gd name="connsiteX56" fmla="*/ 3229 w 5639"/>
                  <a:gd name="connsiteY56" fmla="*/ 894 h 1043"/>
                  <a:gd name="connsiteX57" fmla="*/ 3186 w 5639"/>
                  <a:gd name="connsiteY57" fmla="*/ 846 h 1043"/>
                  <a:gd name="connsiteX58" fmla="*/ 3147 w 5639"/>
                  <a:gd name="connsiteY58" fmla="*/ 796 h 1043"/>
                  <a:gd name="connsiteX59" fmla="*/ 3108 w 5639"/>
                  <a:gd name="connsiteY59" fmla="*/ 740 h 1043"/>
                  <a:gd name="connsiteX60" fmla="*/ 3070 w 5639"/>
                  <a:gd name="connsiteY60" fmla="*/ 684 h 1043"/>
                  <a:gd name="connsiteX61" fmla="*/ 2965 w 5639"/>
                  <a:gd name="connsiteY61" fmla="*/ 510 h 1043"/>
                  <a:gd name="connsiteX62" fmla="*/ 2928 w 5639"/>
                  <a:gd name="connsiteY62" fmla="*/ 452 h 1043"/>
                  <a:gd name="connsiteX63" fmla="*/ 2891 w 5639"/>
                  <a:gd name="connsiteY63" fmla="*/ 396 h 1043"/>
                  <a:gd name="connsiteX64" fmla="*/ 2854 w 5639"/>
                  <a:gd name="connsiteY64" fmla="*/ 342 h 1043"/>
                  <a:gd name="connsiteX65" fmla="*/ 2814 w 5639"/>
                  <a:gd name="connsiteY65" fmla="*/ 292 h 1043"/>
                  <a:gd name="connsiteX66" fmla="*/ 2773 w 5639"/>
                  <a:gd name="connsiteY66" fmla="*/ 247 h 1043"/>
                  <a:gd name="connsiteX67" fmla="*/ 2732 w 5639"/>
                  <a:gd name="connsiteY67" fmla="*/ 205 h 1043"/>
                  <a:gd name="connsiteX68" fmla="*/ 2686 w 5639"/>
                  <a:gd name="connsiteY68" fmla="*/ 168 h 1043"/>
                  <a:gd name="connsiteX69" fmla="*/ 2639 w 5639"/>
                  <a:gd name="connsiteY69" fmla="*/ 139 h 1043"/>
                  <a:gd name="connsiteX70" fmla="*/ 2587 w 5639"/>
                  <a:gd name="connsiteY70" fmla="*/ 116 h 1043"/>
                  <a:gd name="connsiteX71" fmla="*/ 2532 w 5639"/>
                  <a:gd name="connsiteY71" fmla="*/ 100 h 1043"/>
                  <a:gd name="connsiteX72" fmla="*/ 2474 w 5639"/>
                  <a:gd name="connsiteY72" fmla="*/ 91 h 1043"/>
                  <a:gd name="connsiteX73" fmla="*/ 2410 w 5639"/>
                  <a:gd name="connsiteY73" fmla="*/ 93 h 1043"/>
                  <a:gd name="connsiteX74" fmla="*/ 2342 w 5639"/>
                  <a:gd name="connsiteY74" fmla="*/ 104 h 1043"/>
                  <a:gd name="connsiteX75" fmla="*/ 2280 w 5639"/>
                  <a:gd name="connsiteY75" fmla="*/ 122 h 1043"/>
                  <a:gd name="connsiteX76" fmla="*/ 2222 w 5639"/>
                  <a:gd name="connsiteY76" fmla="*/ 147 h 1043"/>
                  <a:gd name="connsiteX77" fmla="*/ 2168 w 5639"/>
                  <a:gd name="connsiteY77" fmla="*/ 180 h 1043"/>
                  <a:gd name="connsiteX78" fmla="*/ 2117 w 5639"/>
                  <a:gd name="connsiteY78" fmla="*/ 218 h 1043"/>
                  <a:gd name="connsiteX79" fmla="*/ 2071 w 5639"/>
                  <a:gd name="connsiteY79" fmla="*/ 261 h 1043"/>
                  <a:gd name="connsiteX80" fmla="*/ 2026 w 5639"/>
                  <a:gd name="connsiteY80" fmla="*/ 307 h 1043"/>
                  <a:gd name="connsiteX81" fmla="*/ 1984 w 5639"/>
                  <a:gd name="connsiteY81" fmla="*/ 359 h 1043"/>
                  <a:gd name="connsiteX82" fmla="*/ 1945 w 5639"/>
                  <a:gd name="connsiteY82" fmla="*/ 413 h 1043"/>
                  <a:gd name="connsiteX83" fmla="*/ 1908 w 5639"/>
                  <a:gd name="connsiteY83" fmla="*/ 467 h 1043"/>
                  <a:gd name="connsiteX84" fmla="*/ 1871 w 5639"/>
                  <a:gd name="connsiteY84" fmla="*/ 523 h 1043"/>
                  <a:gd name="connsiteX85" fmla="*/ 1834 w 5639"/>
                  <a:gd name="connsiteY85" fmla="*/ 581 h 1043"/>
                  <a:gd name="connsiteX86" fmla="*/ 1799 w 5639"/>
                  <a:gd name="connsiteY86" fmla="*/ 637 h 1043"/>
                  <a:gd name="connsiteX87" fmla="*/ 1724 w 5639"/>
                  <a:gd name="connsiteY87" fmla="*/ 749 h 1043"/>
                  <a:gd name="connsiteX88" fmla="*/ 1685 w 5639"/>
                  <a:gd name="connsiteY88" fmla="*/ 801 h 1043"/>
                  <a:gd name="connsiteX89" fmla="*/ 1644 w 5639"/>
                  <a:gd name="connsiteY89" fmla="*/ 850 h 1043"/>
                  <a:gd name="connsiteX90" fmla="*/ 1600 w 5639"/>
                  <a:gd name="connsiteY90" fmla="*/ 896 h 1043"/>
                  <a:gd name="connsiteX91" fmla="*/ 1553 w 5639"/>
                  <a:gd name="connsiteY91" fmla="*/ 937 h 1043"/>
                  <a:gd name="connsiteX92" fmla="*/ 1503 w 5639"/>
                  <a:gd name="connsiteY92" fmla="*/ 973 h 1043"/>
                  <a:gd name="connsiteX93" fmla="*/ 1450 w 5639"/>
                  <a:gd name="connsiteY93" fmla="*/ 1002 h 1043"/>
                  <a:gd name="connsiteX94" fmla="*/ 1394 w 5639"/>
                  <a:gd name="connsiteY94" fmla="*/ 1025 h 1043"/>
                  <a:gd name="connsiteX95" fmla="*/ 1330 w 5639"/>
                  <a:gd name="connsiteY95" fmla="*/ 1037 h 1043"/>
                  <a:gd name="connsiteX96" fmla="*/ 1264 w 5639"/>
                  <a:gd name="connsiteY96" fmla="*/ 1043 h 1043"/>
                  <a:gd name="connsiteX97" fmla="*/ 1258 w 5639"/>
                  <a:gd name="connsiteY97" fmla="*/ 1043 h 1043"/>
                  <a:gd name="connsiteX98" fmla="*/ 1190 w 5639"/>
                  <a:gd name="connsiteY98" fmla="*/ 1039 h 1043"/>
                  <a:gd name="connsiteX99" fmla="*/ 1128 w 5639"/>
                  <a:gd name="connsiteY99" fmla="*/ 1027 h 1043"/>
                  <a:gd name="connsiteX100" fmla="*/ 1070 w 5639"/>
                  <a:gd name="connsiteY100" fmla="*/ 1008 h 1043"/>
                  <a:gd name="connsiteX101" fmla="*/ 1018 w 5639"/>
                  <a:gd name="connsiteY101" fmla="*/ 983 h 1043"/>
                  <a:gd name="connsiteX102" fmla="*/ 971 w 5639"/>
                  <a:gd name="connsiteY102" fmla="*/ 952 h 1043"/>
                  <a:gd name="connsiteX103" fmla="*/ 925 w 5639"/>
                  <a:gd name="connsiteY103" fmla="*/ 915 h 1043"/>
                  <a:gd name="connsiteX104" fmla="*/ 884 w 5639"/>
                  <a:gd name="connsiteY104" fmla="*/ 873 h 1043"/>
                  <a:gd name="connsiteX105" fmla="*/ 847 w 5639"/>
                  <a:gd name="connsiteY105" fmla="*/ 828 h 1043"/>
                  <a:gd name="connsiteX106" fmla="*/ 810 w 5639"/>
                  <a:gd name="connsiteY106" fmla="*/ 780 h 1043"/>
                  <a:gd name="connsiteX107" fmla="*/ 777 w 5639"/>
                  <a:gd name="connsiteY107" fmla="*/ 728 h 1043"/>
                  <a:gd name="connsiteX108" fmla="*/ 742 w 5639"/>
                  <a:gd name="connsiteY108" fmla="*/ 674 h 1043"/>
                  <a:gd name="connsiteX109" fmla="*/ 711 w 5639"/>
                  <a:gd name="connsiteY109" fmla="*/ 618 h 1043"/>
                  <a:gd name="connsiteX110" fmla="*/ 678 w 5639"/>
                  <a:gd name="connsiteY110" fmla="*/ 560 h 1043"/>
                  <a:gd name="connsiteX111" fmla="*/ 616 w 5639"/>
                  <a:gd name="connsiteY111" fmla="*/ 448 h 1043"/>
                  <a:gd name="connsiteX112" fmla="*/ 547 w 5639"/>
                  <a:gd name="connsiteY112" fmla="*/ 340 h 1043"/>
                  <a:gd name="connsiteX113" fmla="*/ 504 w 5639"/>
                  <a:gd name="connsiteY113" fmla="*/ 284 h 1043"/>
                  <a:gd name="connsiteX114" fmla="*/ 457 w 5639"/>
                  <a:gd name="connsiteY114" fmla="*/ 239 h 1043"/>
                  <a:gd name="connsiteX115" fmla="*/ 409 w 5639"/>
                  <a:gd name="connsiteY115" fmla="*/ 199 h 1043"/>
                  <a:gd name="connsiteX116" fmla="*/ 358 w 5639"/>
                  <a:gd name="connsiteY116" fmla="*/ 168 h 1043"/>
                  <a:gd name="connsiteX117" fmla="*/ 308 w 5639"/>
                  <a:gd name="connsiteY117" fmla="*/ 145 h 1043"/>
                  <a:gd name="connsiteX118" fmla="*/ 256 w 5639"/>
                  <a:gd name="connsiteY118" fmla="*/ 127 h 1043"/>
                  <a:gd name="connsiteX119" fmla="*/ 209 w 5639"/>
                  <a:gd name="connsiteY119" fmla="*/ 112 h 1043"/>
                  <a:gd name="connsiteX120" fmla="*/ 163 w 5639"/>
                  <a:gd name="connsiteY120" fmla="*/ 104 h 1043"/>
                  <a:gd name="connsiteX121" fmla="*/ 122 w 5639"/>
                  <a:gd name="connsiteY121" fmla="*/ 100 h 1043"/>
                  <a:gd name="connsiteX122" fmla="*/ 85 w 5639"/>
                  <a:gd name="connsiteY122" fmla="*/ 95 h 1043"/>
                  <a:gd name="connsiteX123" fmla="*/ 31 w 5639"/>
                  <a:gd name="connsiteY123" fmla="*/ 95 h 1043"/>
                  <a:gd name="connsiteX124" fmla="*/ 17 w 5639"/>
                  <a:gd name="connsiteY124" fmla="*/ 98 h 1043"/>
                  <a:gd name="connsiteX125" fmla="*/ 11 w 5639"/>
                  <a:gd name="connsiteY125" fmla="*/ 98 h 1043"/>
                  <a:gd name="connsiteX126" fmla="*/ 0 w 5639"/>
                  <a:gd name="connsiteY126" fmla="*/ 13 h 1043"/>
                  <a:gd name="connsiteX127" fmla="*/ 9 w 5639"/>
                  <a:gd name="connsiteY127" fmla="*/ 13 h 1043"/>
                  <a:gd name="connsiteX128" fmla="*/ 29 w 5639"/>
                  <a:gd name="connsiteY128" fmla="*/ 10 h 1043"/>
                  <a:gd name="connsiteX129" fmla="*/ 91 w 5639"/>
                  <a:gd name="connsiteY129" fmla="*/ 10 h 1043"/>
                  <a:gd name="connsiteX130" fmla="*/ 135 w 5639"/>
                  <a:gd name="connsiteY130" fmla="*/ 13 h 1043"/>
                  <a:gd name="connsiteX131" fmla="*/ 182 w 5639"/>
                  <a:gd name="connsiteY131" fmla="*/ 19 h 1043"/>
                  <a:gd name="connsiteX132" fmla="*/ 234 w 5639"/>
                  <a:gd name="connsiteY132" fmla="*/ 29 h 1043"/>
                  <a:gd name="connsiteX133" fmla="*/ 287 w 5639"/>
                  <a:gd name="connsiteY133" fmla="*/ 46 h 1043"/>
                  <a:gd name="connsiteX134" fmla="*/ 345 w 5639"/>
                  <a:gd name="connsiteY134" fmla="*/ 66 h 1043"/>
                  <a:gd name="connsiteX135" fmla="*/ 403 w 5639"/>
                  <a:gd name="connsiteY135" fmla="*/ 93 h 1043"/>
                  <a:gd name="connsiteX136" fmla="*/ 459 w 5639"/>
                  <a:gd name="connsiteY136" fmla="*/ 131 h 1043"/>
                  <a:gd name="connsiteX137" fmla="*/ 514 w 5639"/>
                  <a:gd name="connsiteY137" fmla="*/ 174 h 1043"/>
                  <a:gd name="connsiteX138" fmla="*/ 568 w 5639"/>
                  <a:gd name="connsiteY138" fmla="*/ 228 h 1043"/>
                  <a:gd name="connsiteX139" fmla="*/ 618 w 5639"/>
                  <a:gd name="connsiteY139" fmla="*/ 292 h 1043"/>
                  <a:gd name="connsiteX140" fmla="*/ 667 w 5639"/>
                  <a:gd name="connsiteY140" fmla="*/ 367 h 1043"/>
                  <a:gd name="connsiteX141" fmla="*/ 754 w 5639"/>
                  <a:gd name="connsiteY141" fmla="*/ 516 h 1043"/>
                  <a:gd name="connsiteX142" fmla="*/ 787 w 5639"/>
                  <a:gd name="connsiteY142" fmla="*/ 575 h 1043"/>
                  <a:gd name="connsiteX143" fmla="*/ 820 w 5639"/>
                  <a:gd name="connsiteY143" fmla="*/ 631 h 1043"/>
                  <a:gd name="connsiteX144" fmla="*/ 853 w 5639"/>
                  <a:gd name="connsiteY144" fmla="*/ 684 h 1043"/>
                  <a:gd name="connsiteX145" fmla="*/ 886 w 5639"/>
                  <a:gd name="connsiteY145" fmla="*/ 736 h 1043"/>
                  <a:gd name="connsiteX146" fmla="*/ 921 w 5639"/>
                  <a:gd name="connsiteY146" fmla="*/ 782 h 1043"/>
                  <a:gd name="connsiteX147" fmla="*/ 958 w 5639"/>
                  <a:gd name="connsiteY147" fmla="*/ 825 h 1043"/>
                  <a:gd name="connsiteX148" fmla="*/ 1000 w 5639"/>
                  <a:gd name="connsiteY148" fmla="*/ 863 h 1043"/>
                  <a:gd name="connsiteX149" fmla="*/ 1043 w 5639"/>
                  <a:gd name="connsiteY149" fmla="*/ 894 h 1043"/>
                  <a:gd name="connsiteX150" fmla="*/ 1090 w 5639"/>
                  <a:gd name="connsiteY150" fmla="*/ 921 h 1043"/>
                  <a:gd name="connsiteX151" fmla="*/ 1140 w 5639"/>
                  <a:gd name="connsiteY151" fmla="*/ 939 h 1043"/>
                  <a:gd name="connsiteX152" fmla="*/ 1196 w 5639"/>
                  <a:gd name="connsiteY152" fmla="*/ 952 h 1043"/>
                  <a:gd name="connsiteX153" fmla="*/ 1258 w 5639"/>
                  <a:gd name="connsiteY153" fmla="*/ 956 h 1043"/>
                  <a:gd name="connsiteX154" fmla="*/ 1264 w 5639"/>
                  <a:gd name="connsiteY154" fmla="*/ 956 h 1043"/>
                  <a:gd name="connsiteX155" fmla="*/ 1324 w 5639"/>
                  <a:gd name="connsiteY155" fmla="*/ 950 h 1043"/>
                  <a:gd name="connsiteX156" fmla="*/ 1380 w 5639"/>
                  <a:gd name="connsiteY156" fmla="*/ 935 h 1043"/>
                  <a:gd name="connsiteX157" fmla="*/ 1433 w 5639"/>
                  <a:gd name="connsiteY157" fmla="*/ 913 h 1043"/>
                  <a:gd name="connsiteX158" fmla="*/ 1481 w 5639"/>
                  <a:gd name="connsiteY158" fmla="*/ 884 h 1043"/>
                  <a:gd name="connsiteX159" fmla="*/ 1526 w 5639"/>
                  <a:gd name="connsiteY159" fmla="*/ 846 h 1043"/>
                  <a:gd name="connsiteX160" fmla="*/ 1569 w 5639"/>
                  <a:gd name="connsiteY160" fmla="*/ 803 h 1043"/>
                  <a:gd name="connsiteX161" fmla="*/ 1609 w 5639"/>
                  <a:gd name="connsiteY161" fmla="*/ 755 h 1043"/>
                  <a:gd name="connsiteX162" fmla="*/ 1648 w 5639"/>
                  <a:gd name="connsiteY162" fmla="*/ 703 h 1043"/>
                  <a:gd name="connsiteX163" fmla="*/ 1687 w 5639"/>
                  <a:gd name="connsiteY163" fmla="*/ 649 h 1043"/>
                  <a:gd name="connsiteX164" fmla="*/ 1799 w 5639"/>
                  <a:gd name="connsiteY164" fmla="*/ 475 h 1043"/>
                  <a:gd name="connsiteX165" fmla="*/ 1838 w 5639"/>
                  <a:gd name="connsiteY165" fmla="*/ 415 h 1043"/>
                  <a:gd name="connsiteX166" fmla="*/ 1879 w 5639"/>
                  <a:gd name="connsiteY166" fmla="*/ 357 h 1043"/>
                  <a:gd name="connsiteX167" fmla="*/ 1923 w 5639"/>
                  <a:gd name="connsiteY167" fmla="*/ 299 h 1043"/>
                  <a:gd name="connsiteX168" fmla="*/ 1968 w 5639"/>
                  <a:gd name="connsiteY168" fmla="*/ 245 h 1043"/>
                  <a:gd name="connsiteX169" fmla="*/ 2015 w 5639"/>
                  <a:gd name="connsiteY169" fmla="*/ 193 h 1043"/>
                  <a:gd name="connsiteX170" fmla="*/ 2069 w 5639"/>
                  <a:gd name="connsiteY170" fmla="*/ 145 h 1043"/>
                  <a:gd name="connsiteX171" fmla="*/ 2125 w 5639"/>
                  <a:gd name="connsiteY171" fmla="*/ 104 h 1043"/>
                  <a:gd name="connsiteX172" fmla="*/ 2187 w 5639"/>
                  <a:gd name="connsiteY172" fmla="*/ 69 h 1043"/>
                  <a:gd name="connsiteX173" fmla="*/ 2253 w 5639"/>
                  <a:gd name="connsiteY173" fmla="*/ 39 h 1043"/>
                  <a:gd name="connsiteX174" fmla="*/ 2325 w 5639"/>
                  <a:gd name="connsiteY174" fmla="*/ 19 h 1043"/>
                  <a:gd name="connsiteX175" fmla="*/ 2404 w 5639"/>
                  <a:gd name="connsiteY175" fmla="*/ 6 h 1043"/>
                  <a:gd name="connsiteX176" fmla="*/ 2474 w 5639"/>
                  <a:gd name="connsiteY176" fmla="*/ 4 h 1043"/>
                  <a:gd name="connsiteX177" fmla="*/ 2540 w 5639"/>
                  <a:gd name="connsiteY177" fmla="*/ 13 h 1043"/>
                  <a:gd name="connsiteX178" fmla="*/ 2600 w 5639"/>
                  <a:gd name="connsiteY178" fmla="*/ 27 h 1043"/>
                  <a:gd name="connsiteX179" fmla="*/ 2658 w 5639"/>
                  <a:gd name="connsiteY179" fmla="*/ 50 h 1043"/>
                  <a:gd name="connsiteX180" fmla="*/ 2711 w 5639"/>
                  <a:gd name="connsiteY180" fmla="*/ 81 h 1043"/>
                  <a:gd name="connsiteX181" fmla="*/ 2761 w 5639"/>
                  <a:gd name="connsiteY181" fmla="*/ 116 h 1043"/>
                  <a:gd name="connsiteX182" fmla="*/ 2806 w 5639"/>
                  <a:gd name="connsiteY182" fmla="*/ 158 h 1043"/>
                  <a:gd name="connsiteX183" fmla="*/ 2852 w 5639"/>
                  <a:gd name="connsiteY183" fmla="*/ 203 h 1043"/>
                  <a:gd name="connsiteX184" fmla="*/ 2893 w 5639"/>
                  <a:gd name="connsiteY184" fmla="*/ 251 h 1043"/>
                  <a:gd name="connsiteX185" fmla="*/ 2932 w 5639"/>
                  <a:gd name="connsiteY185" fmla="*/ 303 h 1043"/>
                  <a:gd name="connsiteX186" fmla="*/ 2969 w 5639"/>
                  <a:gd name="connsiteY186" fmla="*/ 357 h 1043"/>
                  <a:gd name="connsiteX187" fmla="*/ 3004 w 5639"/>
                  <a:gd name="connsiteY187" fmla="*/ 413 h 1043"/>
                  <a:gd name="connsiteX188" fmla="*/ 3039 w 5639"/>
                  <a:gd name="connsiteY188" fmla="*/ 467 h 1043"/>
                  <a:gd name="connsiteX189" fmla="*/ 3073 w 5639"/>
                  <a:gd name="connsiteY189" fmla="*/ 523 h 1043"/>
                  <a:gd name="connsiteX190" fmla="*/ 3110 w 5639"/>
                  <a:gd name="connsiteY190" fmla="*/ 585 h 1043"/>
                  <a:gd name="connsiteX191" fmla="*/ 3147 w 5639"/>
                  <a:gd name="connsiteY191" fmla="*/ 643 h 1043"/>
                  <a:gd name="connsiteX192" fmla="*/ 3186 w 5639"/>
                  <a:gd name="connsiteY192" fmla="*/ 701 h 1043"/>
                  <a:gd name="connsiteX193" fmla="*/ 3223 w 5639"/>
                  <a:gd name="connsiteY193" fmla="*/ 755 h 1043"/>
                  <a:gd name="connsiteX194" fmla="*/ 3265 w 5639"/>
                  <a:gd name="connsiteY194" fmla="*/ 805 h 1043"/>
                  <a:gd name="connsiteX195" fmla="*/ 3306 w 5639"/>
                  <a:gd name="connsiteY195" fmla="*/ 848 h 1043"/>
                  <a:gd name="connsiteX196" fmla="*/ 3349 w 5639"/>
                  <a:gd name="connsiteY196" fmla="*/ 886 h 1043"/>
                  <a:gd name="connsiteX197" fmla="*/ 3395 w 5639"/>
                  <a:gd name="connsiteY197" fmla="*/ 917 h 1043"/>
                  <a:gd name="connsiteX198" fmla="*/ 3444 w 5639"/>
                  <a:gd name="connsiteY198" fmla="*/ 939 h 1043"/>
                  <a:gd name="connsiteX199" fmla="*/ 3498 w 5639"/>
                  <a:gd name="connsiteY199" fmla="*/ 952 h 1043"/>
                  <a:gd name="connsiteX200" fmla="*/ 3554 w 5639"/>
                  <a:gd name="connsiteY200" fmla="*/ 956 h 1043"/>
                  <a:gd name="connsiteX201" fmla="*/ 3609 w 5639"/>
                  <a:gd name="connsiteY201" fmla="*/ 950 h 1043"/>
                  <a:gd name="connsiteX202" fmla="*/ 3659 w 5639"/>
                  <a:gd name="connsiteY202" fmla="*/ 935 h 1043"/>
                  <a:gd name="connsiteX203" fmla="*/ 3706 w 5639"/>
                  <a:gd name="connsiteY203" fmla="*/ 915 h 1043"/>
                  <a:gd name="connsiteX204" fmla="*/ 3750 w 5639"/>
                  <a:gd name="connsiteY204" fmla="*/ 884 h 1043"/>
                  <a:gd name="connsiteX205" fmla="*/ 3789 w 5639"/>
                  <a:gd name="connsiteY205" fmla="*/ 848 h 1043"/>
                  <a:gd name="connsiteX206" fmla="*/ 3826 w 5639"/>
                  <a:gd name="connsiteY206" fmla="*/ 807 h 1043"/>
                  <a:gd name="connsiteX207" fmla="*/ 3861 w 5639"/>
                  <a:gd name="connsiteY207" fmla="*/ 759 h 1043"/>
                  <a:gd name="connsiteX208" fmla="*/ 3894 w 5639"/>
                  <a:gd name="connsiteY208" fmla="*/ 709 h 1043"/>
                  <a:gd name="connsiteX209" fmla="*/ 3927 w 5639"/>
                  <a:gd name="connsiteY209" fmla="*/ 655 h 1043"/>
                  <a:gd name="connsiteX210" fmla="*/ 3960 w 5639"/>
                  <a:gd name="connsiteY210" fmla="*/ 597 h 1043"/>
                  <a:gd name="connsiteX211" fmla="*/ 3993 w 5639"/>
                  <a:gd name="connsiteY211" fmla="*/ 537 h 1043"/>
                  <a:gd name="connsiteX212" fmla="*/ 4022 w 5639"/>
                  <a:gd name="connsiteY212" fmla="*/ 483 h 1043"/>
                  <a:gd name="connsiteX213" fmla="*/ 4084 w 5639"/>
                  <a:gd name="connsiteY213" fmla="*/ 375 h 1043"/>
                  <a:gd name="connsiteX214" fmla="*/ 4154 w 5639"/>
                  <a:gd name="connsiteY214" fmla="*/ 272 h 1043"/>
                  <a:gd name="connsiteX215" fmla="*/ 4192 w 5639"/>
                  <a:gd name="connsiteY215" fmla="*/ 224 h 1043"/>
                  <a:gd name="connsiteX216" fmla="*/ 4233 w 5639"/>
                  <a:gd name="connsiteY216" fmla="*/ 178 h 1043"/>
                  <a:gd name="connsiteX217" fmla="*/ 4276 w 5639"/>
                  <a:gd name="connsiteY217" fmla="*/ 137 h 1043"/>
                  <a:gd name="connsiteX218" fmla="*/ 4324 w 5639"/>
                  <a:gd name="connsiteY218" fmla="*/ 100 h 1043"/>
                  <a:gd name="connsiteX219" fmla="*/ 4375 w 5639"/>
                  <a:gd name="connsiteY219" fmla="*/ 66 h 1043"/>
                  <a:gd name="connsiteX220" fmla="*/ 4433 w 5639"/>
                  <a:gd name="connsiteY220" fmla="*/ 39 h 1043"/>
                  <a:gd name="connsiteX221" fmla="*/ 4493 w 5639"/>
                  <a:gd name="connsiteY221" fmla="*/ 19 h 1043"/>
                  <a:gd name="connsiteX222" fmla="*/ 4559 w 5639"/>
                  <a:gd name="connsiteY222" fmla="*/ 6 h 1043"/>
                  <a:gd name="connsiteX223" fmla="*/ 4631 w 5639"/>
                  <a:gd name="connsiteY223" fmla="*/ 0 h 1043"/>
                  <a:gd name="connsiteX0" fmla="*/ 4631 w 5546"/>
                  <a:gd name="connsiteY0" fmla="*/ 0 h 1043"/>
                  <a:gd name="connsiteX1" fmla="*/ 4681 w 5546"/>
                  <a:gd name="connsiteY1" fmla="*/ 0 h 1043"/>
                  <a:gd name="connsiteX2" fmla="*/ 4710 w 5546"/>
                  <a:gd name="connsiteY2" fmla="*/ 4 h 1043"/>
                  <a:gd name="connsiteX3" fmla="*/ 4741 w 5546"/>
                  <a:gd name="connsiteY3" fmla="*/ 13 h 1043"/>
                  <a:gd name="connsiteX4" fmla="*/ 4778 w 5546"/>
                  <a:gd name="connsiteY4" fmla="*/ 23 h 1043"/>
                  <a:gd name="connsiteX5" fmla="*/ 4819 w 5546"/>
                  <a:gd name="connsiteY5" fmla="*/ 39 h 1043"/>
                  <a:gd name="connsiteX6" fmla="*/ 4863 w 5546"/>
                  <a:gd name="connsiteY6" fmla="*/ 60 h 1043"/>
                  <a:gd name="connsiteX7" fmla="*/ 4910 w 5546"/>
                  <a:gd name="connsiteY7" fmla="*/ 89 h 1043"/>
                  <a:gd name="connsiteX8" fmla="*/ 4960 w 5546"/>
                  <a:gd name="connsiteY8" fmla="*/ 124 h 1043"/>
                  <a:gd name="connsiteX9" fmla="*/ 5009 w 5546"/>
                  <a:gd name="connsiteY9" fmla="*/ 170 h 1043"/>
                  <a:gd name="connsiteX10" fmla="*/ 5061 w 5546"/>
                  <a:gd name="connsiteY10" fmla="*/ 224 h 1043"/>
                  <a:gd name="connsiteX11" fmla="*/ 5112 w 5546"/>
                  <a:gd name="connsiteY11" fmla="*/ 286 h 1043"/>
                  <a:gd name="connsiteX12" fmla="*/ 5313 w 5546"/>
                  <a:gd name="connsiteY12" fmla="*/ 633 h 1043"/>
                  <a:gd name="connsiteX13" fmla="*/ 5408 w 5546"/>
                  <a:gd name="connsiteY13" fmla="*/ 769 h 1043"/>
                  <a:gd name="connsiteX14" fmla="*/ 5546 w 5546"/>
                  <a:gd name="connsiteY14" fmla="*/ 1002 h 1043"/>
                  <a:gd name="connsiteX15" fmla="*/ 5496 w 5546"/>
                  <a:gd name="connsiteY15" fmla="*/ 971 h 1043"/>
                  <a:gd name="connsiteX16" fmla="*/ 5042 w 5546"/>
                  <a:gd name="connsiteY16" fmla="*/ 336 h 1043"/>
                  <a:gd name="connsiteX17" fmla="*/ 4993 w 5546"/>
                  <a:gd name="connsiteY17" fmla="*/ 276 h 1043"/>
                  <a:gd name="connsiteX18" fmla="*/ 4945 w 5546"/>
                  <a:gd name="connsiteY18" fmla="*/ 228 h 1043"/>
                  <a:gd name="connsiteX19" fmla="*/ 4900 w 5546"/>
                  <a:gd name="connsiteY19" fmla="*/ 189 h 1043"/>
                  <a:gd name="connsiteX20" fmla="*/ 4858 w 5546"/>
                  <a:gd name="connsiteY20" fmla="*/ 158 h 1043"/>
                  <a:gd name="connsiteX21" fmla="*/ 4819 w 5546"/>
                  <a:gd name="connsiteY21" fmla="*/ 135 h 1043"/>
                  <a:gd name="connsiteX22" fmla="*/ 4770 w 5546"/>
                  <a:gd name="connsiteY22" fmla="*/ 112 h 1043"/>
                  <a:gd name="connsiteX23" fmla="*/ 4726 w 5546"/>
                  <a:gd name="connsiteY23" fmla="*/ 98 h 1043"/>
                  <a:gd name="connsiteX24" fmla="*/ 4691 w 5546"/>
                  <a:gd name="connsiteY24" fmla="*/ 89 h 1043"/>
                  <a:gd name="connsiteX25" fmla="*/ 4662 w 5546"/>
                  <a:gd name="connsiteY25" fmla="*/ 87 h 1043"/>
                  <a:gd name="connsiteX26" fmla="*/ 4635 w 5546"/>
                  <a:gd name="connsiteY26" fmla="*/ 87 h 1043"/>
                  <a:gd name="connsiteX27" fmla="*/ 4569 w 5546"/>
                  <a:gd name="connsiteY27" fmla="*/ 93 h 1043"/>
                  <a:gd name="connsiteX28" fmla="*/ 4507 w 5546"/>
                  <a:gd name="connsiteY28" fmla="*/ 106 h 1043"/>
                  <a:gd name="connsiteX29" fmla="*/ 4452 w 5546"/>
                  <a:gd name="connsiteY29" fmla="*/ 127 h 1043"/>
                  <a:gd name="connsiteX30" fmla="*/ 4400 w 5546"/>
                  <a:gd name="connsiteY30" fmla="*/ 154 h 1043"/>
                  <a:gd name="connsiteX31" fmla="*/ 4353 w 5546"/>
                  <a:gd name="connsiteY31" fmla="*/ 187 h 1043"/>
                  <a:gd name="connsiteX32" fmla="*/ 4309 w 5546"/>
                  <a:gd name="connsiteY32" fmla="*/ 224 h 1043"/>
                  <a:gd name="connsiteX33" fmla="*/ 4270 w 5546"/>
                  <a:gd name="connsiteY33" fmla="*/ 268 h 1043"/>
                  <a:gd name="connsiteX34" fmla="*/ 4231 w 5546"/>
                  <a:gd name="connsiteY34" fmla="*/ 313 h 1043"/>
                  <a:gd name="connsiteX35" fmla="*/ 4196 w 5546"/>
                  <a:gd name="connsiteY35" fmla="*/ 363 h 1043"/>
                  <a:gd name="connsiteX36" fmla="*/ 4163 w 5546"/>
                  <a:gd name="connsiteY36" fmla="*/ 415 h 1043"/>
                  <a:gd name="connsiteX37" fmla="*/ 4101 w 5546"/>
                  <a:gd name="connsiteY37" fmla="*/ 523 h 1043"/>
                  <a:gd name="connsiteX38" fmla="*/ 4008 w 5546"/>
                  <a:gd name="connsiteY38" fmla="*/ 691 h 1043"/>
                  <a:gd name="connsiteX39" fmla="*/ 3975 w 5546"/>
                  <a:gd name="connsiteY39" fmla="*/ 747 h 1043"/>
                  <a:gd name="connsiteX40" fmla="*/ 3940 w 5546"/>
                  <a:gd name="connsiteY40" fmla="*/ 798 h 1043"/>
                  <a:gd name="connsiteX41" fmla="*/ 3905 w 5546"/>
                  <a:gd name="connsiteY41" fmla="*/ 848 h 1043"/>
                  <a:gd name="connsiteX42" fmla="*/ 3865 w 5546"/>
                  <a:gd name="connsiteY42" fmla="*/ 894 h 1043"/>
                  <a:gd name="connsiteX43" fmla="*/ 3824 w 5546"/>
                  <a:gd name="connsiteY43" fmla="*/ 935 h 1043"/>
                  <a:gd name="connsiteX44" fmla="*/ 3779 w 5546"/>
                  <a:gd name="connsiteY44" fmla="*/ 971 h 1043"/>
                  <a:gd name="connsiteX45" fmla="*/ 3729 w 5546"/>
                  <a:gd name="connsiteY45" fmla="*/ 1000 h 1043"/>
                  <a:gd name="connsiteX46" fmla="*/ 3677 w 5546"/>
                  <a:gd name="connsiteY46" fmla="*/ 1022 h 1043"/>
                  <a:gd name="connsiteX47" fmla="*/ 3620 w 5546"/>
                  <a:gd name="connsiteY47" fmla="*/ 1037 h 1043"/>
                  <a:gd name="connsiteX48" fmla="*/ 3556 w 5546"/>
                  <a:gd name="connsiteY48" fmla="*/ 1043 h 1043"/>
                  <a:gd name="connsiteX49" fmla="*/ 3547 w 5546"/>
                  <a:gd name="connsiteY49" fmla="*/ 1043 h 1043"/>
                  <a:gd name="connsiteX50" fmla="*/ 3485 w 5546"/>
                  <a:gd name="connsiteY50" fmla="*/ 1039 h 1043"/>
                  <a:gd name="connsiteX51" fmla="*/ 3426 w 5546"/>
                  <a:gd name="connsiteY51" fmla="*/ 1025 h 1043"/>
                  <a:gd name="connsiteX52" fmla="*/ 3372 w 5546"/>
                  <a:gd name="connsiteY52" fmla="*/ 1002 h 1043"/>
                  <a:gd name="connsiteX53" fmla="*/ 3320 w 5546"/>
                  <a:gd name="connsiteY53" fmla="*/ 973 h 1043"/>
                  <a:gd name="connsiteX54" fmla="*/ 3273 w 5546"/>
                  <a:gd name="connsiteY54" fmla="*/ 935 h 1043"/>
                  <a:gd name="connsiteX55" fmla="*/ 3229 w 5546"/>
                  <a:gd name="connsiteY55" fmla="*/ 894 h 1043"/>
                  <a:gd name="connsiteX56" fmla="*/ 3186 w 5546"/>
                  <a:gd name="connsiteY56" fmla="*/ 846 h 1043"/>
                  <a:gd name="connsiteX57" fmla="*/ 3147 w 5546"/>
                  <a:gd name="connsiteY57" fmla="*/ 796 h 1043"/>
                  <a:gd name="connsiteX58" fmla="*/ 3108 w 5546"/>
                  <a:gd name="connsiteY58" fmla="*/ 740 h 1043"/>
                  <a:gd name="connsiteX59" fmla="*/ 3070 w 5546"/>
                  <a:gd name="connsiteY59" fmla="*/ 684 h 1043"/>
                  <a:gd name="connsiteX60" fmla="*/ 2965 w 5546"/>
                  <a:gd name="connsiteY60" fmla="*/ 510 h 1043"/>
                  <a:gd name="connsiteX61" fmla="*/ 2928 w 5546"/>
                  <a:gd name="connsiteY61" fmla="*/ 452 h 1043"/>
                  <a:gd name="connsiteX62" fmla="*/ 2891 w 5546"/>
                  <a:gd name="connsiteY62" fmla="*/ 396 h 1043"/>
                  <a:gd name="connsiteX63" fmla="*/ 2854 w 5546"/>
                  <a:gd name="connsiteY63" fmla="*/ 342 h 1043"/>
                  <a:gd name="connsiteX64" fmla="*/ 2814 w 5546"/>
                  <a:gd name="connsiteY64" fmla="*/ 292 h 1043"/>
                  <a:gd name="connsiteX65" fmla="*/ 2773 w 5546"/>
                  <a:gd name="connsiteY65" fmla="*/ 247 h 1043"/>
                  <a:gd name="connsiteX66" fmla="*/ 2732 w 5546"/>
                  <a:gd name="connsiteY66" fmla="*/ 205 h 1043"/>
                  <a:gd name="connsiteX67" fmla="*/ 2686 w 5546"/>
                  <a:gd name="connsiteY67" fmla="*/ 168 h 1043"/>
                  <a:gd name="connsiteX68" fmla="*/ 2639 w 5546"/>
                  <a:gd name="connsiteY68" fmla="*/ 139 h 1043"/>
                  <a:gd name="connsiteX69" fmla="*/ 2587 w 5546"/>
                  <a:gd name="connsiteY69" fmla="*/ 116 h 1043"/>
                  <a:gd name="connsiteX70" fmla="*/ 2532 w 5546"/>
                  <a:gd name="connsiteY70" fmla="*/ 100 h 1043"/>
                  <a:gd name="connsiteX71" fmla="*/ 2474 w 5546"/>
                  <a:gd name="connsiteY71" fmla="*/ 91 h 1043"/>
                  <a:gd name="connsiteX72" fmla="*/ 2410 w 5546"/>
                  <a:gd name="connsiteY72" fmla="*/ 93 h 1043"/>
                  <a:gd name="connsiteX73" fmla="*/ 2342 w 5546"/>
                  <a:gd name="connsiteY73" fmla="*/ 104 h 1043"/>
                  <a:gd name="connsiteX74" fmla="*/ 2280 w 5546"/>
                  <a:gd name="connsiteY74" fmla="*/ 122 h 1043"/>
                  <a:gd name="connsiteX75" fmla="*/ 2222 w 5546"/>
                  <a:gd name="connsiteY75" fmla="*/ 147 h 1043"/>
                  <a:gd name="connsiteX76" fmla="*/ 2168 w 5546"/>
                  <a:gd name="connsiteY76" fmla="*/ 180 h 1043"/>
                  <a:gd name="connsiteX77" fmla="*/ 2117 w 5546"/>
                  <a:gd name="connsiteY77" fmla="*/ 218 h 1043"/>
                  <a:gd name="connsiteX78" fmla="*/ 2071 w 5546"/>
                  <a:gd name="connsiteY78" fmla="*/ 261 h 1043"/>
                  <a:gd name="connsiteX79" fmla="*/ 2026 w 5546"/>
                  <a:gd name="connsiteY79" fmla="*/ 307 h 1043"/>
                  <a:gd name="connsiteX80" fmla="*/ 1984 w 5546"/>
                  <a:gd name="connsiteY80" fmla="*/ 359 h 1043"/>
                  <a:gd name="connsiteX81" fmla="*/ 1945 w 5546"/>
                  <a:gd name="connsiteY81" fmla="*/ 413 h 1043"/>
                  <a:gd name="connsiteX82" fmla="*/ 1908 w 5546"/>
                  <a:gd name="connsiteY82" fmla="*/ 467 h 1043"/>
                  <a:gd name="connsiteX83" fmla="*/ 1871 w 5546"/>
                  <a:gd name="connsiteY83" fmla="*/ 523 h 1043"/>
                  <a:gd name="connsiteX84" fmla="*/ 1834 w 5546"/>
                  <a:gd name="connsiteY84" fmla="*/ 581 h 1043"/>
                  <a:gd name="connsiteX85" fmla="*/ 1799 w 5546"/>
                  <a:gd name="connsiteY85" fmla="*/ 637 h 1043"/>
                  <a:gd name="connsiteX86" fmla="*/ 1724 w 5546"/>
                  <a:gd name="connsiteY86" fmla="*/ 749 h 1043"/>
                  <a:gd name="connsiteX87" fmla="*/ 1685 w 5546"/>
                  <a:gd name="connsiteY87" fmla="*/ 801 h 1043"/>
                  <a:gd name="connsiteX88" fmla="*/ 1644 w 5546"/>
                  <a:gd name="connsiteY88" fmla="*/ 850 h 1043"/>
                  <a:gd name="connsiteX89" fmla="*/ 1600 w 5546"/>
                  <a:gd name="connsiteY89" fmla="*/ 896 h 1043"/>
                  <a:gd name="connsiteX90" fmla="*/ 1553 w 5546"/>
                  <a:gd name="connsiteY90" fmla="*/ 937 h 1043"/>
                  <a:gd name="connsiteX91" fmla="*/ 1503 w 5546"/>
                  <a:gd name="connsiteY91" fmla="*/ 973 h 1043"/>
                  <a:gd name="connsiteX92" fmla="*/ 1450 w 5546"/>
                  <a:gd name="connsiteY92" fmla="*/ 1002 h 1043"/>
                  <a:gd name="connsiteX93" fmla="*/ 1394 w 5546"/>
                  <a:gd name="connsiteY93" fmla="*/ 1025 h 1043"/>
                  <a:gd name="connsiteX94" fmla="*/ 1330 w 5546"/>
                  <a:gd name="connsiteY94" fmla="*/ 1037 h 1043"/>
                  <a:gd name="connsiteX95" fmla="*/ 1264 w 5546"/>
                  <a:gd name="connsiteY95" fmla="*/ 1043 h 1043"/>
                  <a:gd name="connsiteX96" fmla="*/ 1258 w 5546"/>
                  <a:gd name="connsiteY96" fmla="*/ 1043 h 1043"/>
                  <a:gd name="connsiteX97" fmla="*/ 1190 w 5546"/>
                  <a:gd name="connsiteY97" fmla="*/ 1039 h 1043"/>
                  <a:gd name="connsiteX98" fmla="*/ 1128 w 5546"/>
                  <a:gd name="connsiteY98" fmla="*/ 1027 h 1043"/>
                  <a:gd name="connsiteX99" fmla="*/ 1070 w 5546"/>
                  <a:gd name="connsiteY99" fmla="*/ 1008 h 1043"/>
                  <a:gd name="connsiteX100" fmla="*/ 1018 w 5546"/>
                  <a:gd name="connsiteY100" fmla="*/ 983 h 1043"/>
                  <a:gd name="connsiteX101" fmla="*/ 971 w 5546"/>
                  <a:gd name="connsiteY101" fmla="*/ 952 h 1043"/>
                  <a:gd name="connsiteX102" fmla="*/ 925 w 5546"/>
                  <a:gd name="connsiteY102" fmla="*/ 915 h 1043"/>
                  <a:gd name="connsiteX103" fmla="*/ 884 w 5546"/>
                  <a:gd name="connsiteY103" fmla="*/ 873 h 1043"/>
                  <a:gd name="connsiteX104" fmla="*/ 847 w 5546"/>
                  <a:gd name="connsiteY104" fmla="*/ 828 h 1043"/>
                  <a:gd name="connsiteX105" fmla="*/ 810 w 5546"/>
                  <a:gd name="connsiteY105" fmla="*/ 780 h 1043"/>
                  <a:gd name="connsiteX106" fmla="*/ 777 w 5546"/>
                  <a:gd name="connsiteY106" fmla="*/ 728 h 1043"/>
                  <a:gd name="connsiteX107" fmla="*/ 742 w 5546"/>
                  <a:gd name="connsiteY107" fmla="*/ 674 h 1043"/>
                  <a:gd name="connsiteX108" fmla="*/ 711 w 5546"/>
                  <a:gd name="connsiteY108" fmla="*/ 618 h 1043"/>
                  <a:gd name="connsiteX109" fmla="*/ 678 w 5546"/>
                  <a:gd name="connsiteY109" fmla="*/ 560 h 1043"/>
                  <a:gd name="connsiteX110" fmla="*/ 616 w 5546"/>
                  <a:gd name="connsiteY110" fmla="*/ 448 h 1043"/>
                  <a:gd name="connsiteX111" fmla="*/ 547 w 5546"/>
                  <a:gd name="connsiteY111" fmla="*/ 340 h 1043"/>
                  <a:gd name="connsiteX112" fmla="*/ 504 w 5546"/>
                  <a:gd name="connsiteY112" fmla="*/ 284 h 1043"/>
                  <a:gd name="connsiteX113" fmla="*/ 457 w 5546"/>
                  <a:gd name="connsiteY113" fmla="*/ 239 h 1043"/>
                  <a:gd name="connsiteX114" fmla="*/ 409 w 5546"/>
                  <a:gd name="connsiteY114" fmla="*/ 199 h 1043"/>
                  <a:gd name="connsiteX115" fmla="*/ 358 w 5546"/>
                  <a:gd name="connsiteY115" fmla="*/ 168 h 1043"/>
                  <a:gd name="connsiteX116" fmla="*/ 308 w 5546"/>
                  <a:gd name="connsiteY116" fmla="*/ 145 h 1043"/>
                  <a:gd name="connsiteX117" fmla="*/ 256 w 5546"/>
                  <a:gd name="connsiteY117" fmla="*/ 127 h 1043"/>
                  <a:gd name="connsiteX118" fmla="*/ 209 w 5546"/>
                  <a:gd name="connsiteY118" fmla="*/ 112 h 1043"/>
                  <a:gd name="connsiteX119" fmla="*/ 163 w 5546"/>
                  <a:gd name="connsiteY119" fmla="*/ 104 h 1043"/>
                  <a:gd name="connsiteX120" fmla="*/ 122 w 5546"/>
                  <a:gd name="connsiteY120" fmla="*/ 100 h 1043"/>
                  <a:gd name="connsiteX121" fmla="*/ 85 w 5546"/>
                  <a:gd name="connsiteY121" fmla="*/ 95 h 1043"/>
                  <a:gd name="connsiteX122" fmla="*/ 31 w 5546"/>
                  <a:gd name="connsiteY122" fmla="*/ 95 h 1043"/>
                  <a:gd name="connsiteX123" fmla="*/ 17 w 5546"/>
                  <a:gd name="connsiteY123" fmla="*/ 98 h 1043"/>
                  <a:gd name="connsiteX124" fmla="*/ 11 w 5546"/>
                  <a:gd name="connsiteY124" fmla="*/ 98 h 1043"/>
                  <a:gd name="connsiteX125" fmla="*/ 0 w 5546"/>
                  <a:gd name="connsiteY125" fmla="*/ 13 h 1043"/>
                  <a:gd name="connsiteX126" fmla="*/ 9 w 5546"/>
                  <a:gd name="connsiteY126" fmla="*/ 13 h 1043"/>
                  <a:gd name="connsiteX127" fmla="*/ 29 w 5546"/>
                  <a:gd name="connsiteY127" fmla="*/ 10 h 1043"/>
                  <a:gd name="connsiteX128" fmla="*/ 91 w 5546"/>
                  <a:gd name="connsiteY128" fmla="*/ 10 h 1043"/>
                  <a:gd name="connsiteX129" fmla="*/ 135 w 5546"/>
                  <a:gd name="connsiteY129" fmla="*/ 13 h 1043"/>
                  <a:gd name="connsiteX130" fmla="*/ 182 w 5546"/>
                  <a:gd name="connsiteY130" fmla="*/ 19 h 1043"/>
                  <a:gd name="connsiteX131" fmla="*/ 234 w 5546"/>
                  <a:gd name="connsiteY131" fmla="*/ 29 h 1043"/>
                  <a:gd name="connsiteX132" fmla="*/ 287 w 5546"/>
                  <a:gd name="connsiteY132" fmla="*/ 46 h 1043"/>
                  <a:gd name="connsiteX133" fmla="*/ 345 w 5546"/>
                  <a:gd name="connsiteY133" fmla="*/ 66 h 1043"/>
                  <a:gd name="connsiteX134" fmla="*/ 403 w 5546"/>
                  <a:gd name="connsiteY134" fmla="*/ 93 h 1043"/>
                  <a:gd name="connsiteX135" fmla="*/ 459 w 5546"/>
                  <a:gd name="connsiteY135" fmla="*/ 131 h 1043"/>
                  <a:gd name="connsiteX136" fmla="*/ 514 w 5546"/>
                  <a:gd name="connsiteY136" fmla="*/ 174 h 1043"/>
                  <a:gd name="connsiteX137" fmla="*/ 568 w 5546"/>
                  <a:gd name="connsiteY137" fmla="*/ 228 h 1043"/>
                  <a:gd name="connsiteX138" fmla="*/ 618 w 5546"/>
                  <a:gd name="connsiteY138" fmla="*/ 292 h 1043"/>
                  <a:gd name="connsiteX139" fmla="*/ 667 w 5546"/>
                  <a:gd name="connsiteY139" fmla="*/ 367 h 1043"/>
                  <a:gd name="connsiteX140" fmla="*/ 754 w 5546"/>
                  <a:gd name="connsiteY140" fmla="*/ 516 h 1043"/>
                  <a:gd name="connsiteX141" fmla="*/ 787 w 5546"/>
                  <a:gd name="connsiteY141" fmla="*/ 575 h 1043"/>
                  <a:gd name="connsiteX142" fmla="*/ 820 w 5546"/>
                  <a:gd name="connsiteY142" fmla="*/ 631 h 1043"/>
                  <a:gd name="connsiteX143" fmla="*/ 853 w 5546"/>
                  <a:gd name="connsiteY143" fmla="*/ 684 h 1043"/>
                  <a:gd name="connsiteX144" fmla="*/ 886 w 5546"/>
                  <a:gd name="connsiteY144" fmla="*/ 736 h 1043"/>
                  <a:gd name="connsiteX145" fmla="*/ 921 w 5546"/>
                  <a:gd name="connsiteY145" fmla="*/ 782 h 1043"/>
                  <a:gd name="connsiteX146" fmla="*/ 958 w 5546"/>
                  <a:gd name="connsiteY146" fmla="*/ 825 h 1043"/>
                  <a:gd name="connsiteX147" fmla="*/ 1000 w 5546"/>
                  <a:gd name="connsiteY147" fmla="*/ 863 h 1043"/>
                  <a:gd name="connsiteX148" fmla="*/ 1043 w 5546"/>
                  <a:gd name="connsiteY148" fmla="*/ 894 h 1043"/>
                  <a:gd name="connsiteX149" fmla="*/ 1090 w 5546"/>
                  <a:gd name="connsiteY149" fmla="*/ 921 h 1043"/>
                  <a:gd name="connsiteX150" fmla="*/ 1140 w 5546"/>
                  <a:gd name="connsiteY150" fmla="*/ 939 h 1043"/>
                  <a:gd name="connsiteX151" fmla="*/ 1196 w 5546"/>
                  <a:gd name="connsiteY151" fmla="*/ 952 h 1043"/>
                  <a:gd name="connsiteX152" fmla="*/ 1258 w 5546"/>
                  <a:gd name="connsiteY152" fmla="*/ 956 h 1043"/>
                  <a:gd name="connsiteX153" fmla="*/ 1264 w 5546"/>
                  <a:gd name="connsiteY153" fmla="*/ 956 h 1043"/>
                  <a:gd name="connsiteX154" fmla="*/ 1324 w 5546"/>
                  <a:gd name="connsiteY154" fmla="*/ 950 h 1043"/>
                  <a:gd name="connsiteX155" fmla="*/ 1380 w 5546"/>
                  <a:gd name="connsiteY155" fmla="*/ 935 h 1043"/>
                  <a:gd name="connsiteX156" fmla="*/ 1433 w 5546"/>
                  <a:gd name="connsiteY156" fmla="*/ 913 h 1043"/>
                  <a:gd name="connsiteX157" fmla="*/ 1481 w 5546"/>
                  <a:gd name="connsiteY157" fmla="*/ 884 h 1043"/>
                  <a:gd name="connsiteX158" fmla="*/ 1526 w 5546"/>
                  <a:gd name="connsiteY158" fmla="*/ 846 h 1043"/>
                  <a:gd name="connsiteX159" fmla="*/ 1569 w 5546"/>
                  <a:gd name="connsiteY159" fmla="*/ 803 h 1043"/>
                  <a:gd name="connsiteX160" fmla="*/ 1609 w 5546"/>
                  <a:gd name="connsiteY160" fmla="*/ 755 h 1043"/>
                  <a:gd name="connsiteX161" fmla="*/ 1648 w 5546"/>
                  <a:gd name="connsiteY161" fmla="*/ 703 h 1043"/>
                  <a:gd name="connsiteX162" fmla="*/ 1687 w 5546"/>
                  <a:gd name="connsiteY162" fmla="*/ 649 h 1043"/>
                  <a:gd name="connsiteX163" fmla="*/ 1799 w 5546"/>
                  <a:gd name="connsiteY163" fmla="*/ 475 h 1043"/>
                  <a:gd name="connsiteX164" fmla="*/ 1838 w 5546"/>
                  <a:gd name="connsiteY164" fmla="*/ 415 h 1043"/>
                  <a:gd name="connsiteX165" fmla="*/ 1879 w 5546"/>
                  <a:gd name="connsiteY165" fmla="*/ 357 h 1043"/>
                  <a:gd name="connsiteX166" fmla="*/ 1923 w 5546"/>
                  <a:gd name="connsiteY166" fmla="*/ 299 h 1043"/>
                  <a:gd name="connsiteX167" fmla="*/ 1968 w 5546"/>
                  <a:gd name="connsiteY167" fmla="*/ 245 h 1043"/>
                  <a:gd name="connsiteX168" fmla="*/ 2015 w 5546"/>
                  <a:gd name="connsiteY168" fmla="*/ 193 h 1043"/>
                  <a:gd name="connsiteX169" fmla="*/ 2069 w 5546"/>
                  <a:gd name="connsiteY169" fmla="*/ 145 h 1043"/>
                  <a:gd name="connsiteX170" fmla="*/ 2125 w 5546"/>
                  <a:gd name="connsiteY170" fmla="*/ 104 h 1043"/>
                  <a:gd name="connsiteX171" fmla="*/ 2187 w 5546"/>
                  <a:gd name="connsiteY171" fmla="*/ 69 h 1043"/>
                  <a:gd name="connsiteX172" fmla="*/ 2253 w 5546"/>
                  <a:gd name="connsiteY172" fmla="*/ 39 h 1043"/>
                  <a:gd name="connsiteX173" fmla="*/ 2325 w 5546"/>
                  <a:gd name="connsiteY173" fmla="*/ 19 h 1043"/>
                  <a:gd name="connsiteX174" fmla="*/ 2404 w 5546"/>
                  <a:gd name="connsiteY174" fmla="*/ 6 h 1043"/>
                  <a:gd name="connsiteX175" fmla="*/ 2474 w 5546"/>
                  <a:gd name="connsiteY175" fmla="*/ 4 h 1043"/>
                  <a:gd name="connsiteX176" fmla="*/ 2540 w 5546"/>
                  <a:gd name="connsiteY176" fmla="*/ 13 h 1043"/>
                  <a:gd name="connsiteX177" fmla="*/ 2600 w 5546"/>
                  <a:gd name="connsiteY177" fmla="*/ 27 h 1043"/>
                  <a:gd name="connsiteX178" fmla="*/ 2658 w 5546"/>
                  <a:gd name="connsiteY178" fmla="*/ 50 h 1043"/>
                  <a:gd name="connsiteX179" fmla="*/ 2711 w 5546"/>
                  <a:gd name="connsiteY179" fmla="*/ 81 h 1043"/>
                  <a:gd name="connsiteX180" fmla="*/ 2761 w 5546"/>
                  <a:gd name="connsiteY180" fmla="*/ 116 h 1043"/>
                  <a:gd name="connsiteX181" fmla="*/ 2806 w 5546"/>
                  <a:gd name="connsiteY181" fmla="*/ 158 h 1043"/>
                  <a:gd name="connsiteX182" fmla="*/ 2852 w 5546"/>
                  <a:gd name="connsiteY182" fmla="*/ 203 h 1043"/>
                  <a:gd name="connsiteX183" fmla="*/ 2893 w 5546"/>
                  <a:gd name="connsiteY183" fmla="*/ 251 h 1043"/>
                  <a:gd name="connsiteX184" fmla="*/ 2932 w 5546"/>
                  <a:gd name="connsiteY184" fmla="*/ 303 h 1043"/>
                  <a:gd name="connsiteX185" fmla="*/ 2969 w 5546"/>
                  <a:gd name="connsiteY185" fmla="*/ 357 h 1043"/>
                  <a:gd name="connsiteX186" fmla="*/ 3004 w 5546"/>
                  <a:gd name="connsiteY186" fmla="*/ 413 h 1043"/>
                  <a:gd name="connsiteX187" fmla="*/ 3039 w 5546"/>
                  <a:gd name="connsiteY187" fmla="*/ 467 h 1043"/>
                  <a:gd name="connsiteX188" fmla="*/ 3073 w 5546"/>
                  <a:gd name="connsiteY188" fmla="*/ 523 h 1043"/>
                  <a:gd name="connsiteX189" fmla="*/ 3110 w 5546"/>
                  <a:gd name="connsiteY189" fmla="*/ 585 h 1043"/>
                  <a:gd name="connsiteX190" fmla="*/ 3147 w 5546"/>
                  <a:gd name="connsiteY190" fmla="*/ 643 h 1043"/>
                  <a:gd name="connsiteX191" fmla="*/ 3186 w 5546"/>
                  <a:gd name="connsiteY191" fmla="*/ 701 h 1043"/>
                  <a:gd name="connsiteX192" fmla="*/ 3223 w 5546"/>
                  <a:gd name="connsiteY192" fmla="*/ 755 h 1043"/>
                  <a:gd name="connsiteX193" fmla="*/ 3265 w 5546"/>
                  <a:gd name="connsiteY193" fmla="*/ 805 h 1043"/>
                  <a:gd name="connsiteX194" fmla="*/ 3306 w 5546"/>
                  <a:gd name="connsiteY194" fmla="*/ 848 h 1043"/>
                  <a:gd name="connsiteX195" fmla="*/ 3349 w 5546"/>
                  <a:gd name="connsiteY195" fmla="*/ 886 h 1043"/>
                  <a:gd name="connsiteX196" fmla="*/ 3395 w 5546"/>
                  <a:gd name="connsiteY196" fmla="*/ 917 h 1043"/>
                  <a:gd name="connsiteX197" fmla="*/ 3444 w 5546"/>
                  <a:gd name="connsiteY197" fmla="*/ 939 h 1043"/>
                  <a:gd name="connsiteX198" fmla="*/ 3498 w 5546"/>
                  <a:gd name="connsiteY198" fmla="*/ 952 h 1043"/>
                  <a:gd name="connsiteX199" fmla="*/ 3554 w 5546"/>
                  <a:gd name="connsiteY199" fmla="*/ 956 h 1043"/>
                  <a:gd name="connsiteX200" fmla="*/ 3609 w 5546"/>
                  <a:gd name="connsiteY200" fmla="*/ 950 h 1043"/>
                  <a:gd name="connsiteX201" fmla="*/ 3659 w 5546"/>
                  <a:gd name="connsiteY201" fmla="*/ 935 h 1043"/>
                  <a:gd name="connsiteX202" fmla="*/ 3706 w 5546"/>
                  <a:gd name="connsiteY202" fmla="*/ 915 h 1043"/>
                  <a:gd name="connsiteX203" fmla="*/ 3750 w 5546"/>
                  <a:gd name="connsiteY203" fmla="*/ 884 h 1043"/>
                  <a:gd name="connsiteX204" fmla="*/ 3789 w 5546"/>
                  <a:gd name="connsiteY204" fmla="*/ 848 h 1043"/>
                  <a:gd name="connsiteX205" fmla="*/ 3826 w 5546"/>
                  <a:gd name="connsiteY205" fmla="*/ 807 h 1043"/>
                  <a:gd name="connsiteX206" fmla="*/ 3861 w 5546"/>
                  <a:gd name="connsiteY206" fmla="*/ 759 h 1043"/>
                  <a:gd name="connsiteX207" fmla="*/ 3894 w 5546"/>
                  <a:gd name="connsiteY207" fmla="*/ 709 h 1043"/>
                  <a:gd name="connsiteX208" fmla="*/ 3927 w 5546"/>
                  <a:gd name="connsiteY208" fmla="*/ 655 h 1043"/>
                  <a:gd name="connsiteX209" fmla="*/ 3960 w 5546"/>
                  <a:gd name="connsiteY209" fmla="*/ 597 h 1043"/>
                  <a:gd name="connsiteX210" fmla="*/ 3993 w 5546"/>
                  <a:gd name="connsiteY210" fmla="*/ 537 h 1043"/>
                  <a:gd name="connsiteX211" fmla="*/ 4022 w 5546"/>
                  <a:gd name="connsiteY211" fmla="*/ 483 h 1043"/>
                  <a:gd name="connsiteX212" fmla="*/ 4084 w 5546"/>
                  <a:gd name="connsiteY212" fmla="*/ 375 h 1043"/>
                  <a:gd name="connsiteX213" fmla="*/ 4154 w 5546"/>
                  <a:gd name="connsiteY213" fmla="*/ 272 h 1043"/>
                  <a:gd name="connsiteX214" fmla="*/ 4192 w 5546"/>
                  <a:gd name="connsiteY214" fmla="*/ 224 h 1043"/>
                  <a:gd name="connsiteX215" fmla="*/ 4233 w 5546"/>
                  <a:gd name="connsiteY215" fmla="*/ 178 h 1043"/>
                  <a:gd name="connsiteX216" fmla="*/ 4276 w 5546"/>
                  <a:gd name="connsiteY216" fmla="*/ 137 h 1043"/>
                  <a:gd name="connsiteX217" fmla="*/ 4324 w 5546"/>
                  <a:gd name="connsiteY217" fmla="*/ 100 h 1043"/>
                  <a:gd name="connsiteX218" fmla="*/ 4375 w 5546"/>
                  <a:gd name="connsiteY218" fmla="*/ 66 h 1043"/>
                  <a:gd name="connsiteX219" fmla="*/ 4433 w 5546"/>
                  <a:gd name="connsiteY219" fmla="*/ 39 h 1043"/>
                  <a:gd name="connsiteX220" fmla="*/ 4493 w 5546"/>
                  <a:gd name="connsiteY220" fmla="*/ 19 h 1043"/>
                  <a:gd name="connsiteX221" fmla="*/ 4559 w 5546"/>
                  <a:gd name="connsiteY221" fmla="*/ 6 h 1043"/>
                  <a:gd name="connsiteX222" fmla="*/ 4631 w 5546"/>
                  <a:gd name="connsiteY222" fmla="*/ 0 h 1043"/>
                  <a:gd name="connsiteX0" fmla="*/ 4631 w 5557"/>
                  <a:gd name="connsiteY0" fmla="*/ 0 h 1043"/>
                  <a:gd name="connsiteX1" fmla="*/ 4681 w 5557"/>
                  <a:gd name="connsiteY1" fmla="*/ 0 h 1043"/>
                  <a:gd name="connsiteX2" fmla="*/ 4710 w 5557"/>
                  <a:gd name="connsiteY2" fmla="*/ 4 h 1043"/>
                  <a:gd name="connsiteX3" fmla="*/ 4741 w 5557"/>
                  <a:gd name="connsiteY3" fmla="*/ 13 h 1043"/>
                  <a:gd name="connsiteX4" fmla="*/ 4778 w 5557"/>
                  <a:gd name="connsiteY4" fmla="*/ 23 h 1043"/>
                  <a:gd name="connsiteX5" fmla="*/ 4819 w 5557"/>
                  <a:gd name="connsiteY5" fmla="*/ 39 h 1043"/>
                  <a:gd name="connsiteX6" fmla="*/ 4863 w 5557"/>
                  <a:gd name="connsiteY6" fmla="*/ 60 h 1043"/>
                  <a:gd name="connsiteX7" fmla="*/ 4910 w 5557"/>
                  <a:gd name="connsiteY7" fmla="*/ 89 h 1043"/>
                  <a:gd name="connsiteX8" fmla="*/ 4960 w 5557"/>
                  <a:gd name="connsiteY8" fmla="*/ 124 h 1043"/>
                  <a:gd name="connsiteX9" fmla="*/ 5009 w 5557"/>
                  <a:gd name="connsiteY9" fmla="*/ 170 h 1043"/>
                  <a:gd name="connsiteX10" fmla="*/ 5061 w 5557"/>
                  <a:gd name="connsiteY10" fmla="*/ 224 h 1043"/>
                  <a:gd name="connsiteX11" fmla="*/ 5112 w 5557"/>
                  <a:gd name="connsiteY11" fmla="*/ 286 h 1043"/>
                  <a:gd name="connsiteX12" fmla="*/ 5313 w 5557"/>
                  <a:gd name="connsiteY12" fmla="*/ 633 h 1043"/>
                  <a:gd name="connsiteX13" fmla="*/ 5408 w 5557"/>
                  <a:gd name="connsiteY13" fmla="*/ 769 h 1043"/>
                  <a:gd name="connsiteX14" fmla="*/ 5496 w 5557"/>
                  <a:gd name="connsiteY14" fmla="*/ 971 h 1043"/>
                  <a:gd name="connsiteX15" fmla="*/ 5042 w 5557"/>
                  <a:gd name="connsiteY15" fmla="*/ 336 h 1043"/>
                  <a:gd name="connsiteX16" fmla="*/ 4993 w 5557"/>
                  <a:gd name="connsiteY16" fmla="*/ 276 h 1043"/>
                  <a:gd name="connsiteX17" fmla="*/ 4945 w 5557"/>
                  <a:gd name="connsiteY17" fmla="*/ 228 h 1043"/>
                  <a:gd name="connsiteX18" fmla="*/ 4900 w 5557"/>
                  <a:gd name="connsiteY18" fmla="*/ 189 h 1043"/>
                  <a:gd name="connsiteX19" fmla="*/ 4858 w 5557"/>
                  <a:gd name="connsiteY19" fmla="*/ 158 h 1043"/>
                  <a:gd name="connsiteX20" fmla="*/ 4819 w 5557"/>
                  <a:gd name="connsiteY20" fmla="*/ 135 h 1043"/>
                  <a:gd name="connsiteX21" fmla="*/ 4770 w 5557"/>
                  <a:gd name="connsiteY21" fmla="*/ 112 h 1043"/>
                  <a:gd name="connsiteX22" fmla="*/ 4726 w 5557"/>
                  <a:gd name="connsiteY22" fmla="*/ 98 h 1043"/>
                  <a:gd name="connsiteX23" fmla="*/ 4691 w 5557"/>
                  <a:gd name="connsiteY23" fmla="*/ 89 h 1043"/>
                  <a:gd name="connsiteX24" fmla="*/ 4662 w 5557"/>
                  <a:gd name="connsiteY24" fmla="*/ 87 h 1043"/>
                  <a:gd name="connsiteX25" fmla="*/ 4635 w 5557"/>
                  <a:gd name="connsiteY25" fmla="*/ 87 h 1043"/>
                  <a:gd name="connsiteX26" fmla="*/ 4569 w 5557"/>
                  <a:gd name="connsiteY26" fmla="*/ 93 h 1043"/>
                  <a:gd name="connsiteX27" fmla="*/ 4507 w 5557"/>
                  <a:gd name="connsiteY27" fmla="*/ 106 h 1043"/>
                  <a:gd name="connsiteX28" fmla="*/ 4452 w 5557"/>
                  <a:gd name="connsiteY28" fmla="*/ 127 h 1043"/>
                  <a:gd name="connsiteX29" fmla="*/ 4400 w 5557"/>
                  <a:gd name="connsiteY29" fmla="*/ 154 h 1043"/>
                  <a:gd name="connsiteX30" fmla="*/ 4353 w 5557"/>
                  <a:gd name="connsiteY30" fmla="*/ 187 h 1043"/>
                  <a:gd name="connsiteX31" fmla="*/ 4309 w 5557"/>
                  <a:gd name="connsiteY31" fmla="*/ 224 h 1043"/>
                  <a:gd name="connsiteX32" fmla="*/ 4270 w 5557"/>
                  <a:gd name="connsiteY32" fmla="*/ 268 h 1043"/>
                  <a:gd name="connsiteX33" fmla="*/ 4231 w 5557"/>
                  <a:gd name="connsiteY33" fmla="*/ 313 h 1043"/>
                  <a:gd name="connsiteX34" fmla="*/ 4196 w 5557"/>
                  <a:gd name="connsiteY34" fmla="*/ 363 h 1043"/>
                  <a:gd name="connsiteX35" fmla="*/ 4163 w 5557"/>
                  <a:gd name="connsiteY35" fmla="*/ 415 h 1043"/>
                  <a:gd name="connsiteX36" fmla="*/ 4101 w 5557"/>
                  <a:gd name="connsiteY36" fmla="*/ 523 h 1043"/>
                  <a:gd name="connsiteX37" fmla="*/ 4008 w 5557"/>
                  <a:gd name="connsiteY37" fmla="*/ 691 h 1043"/>
                  <a:gd name="connsiteX38" fmla="*/ 3975 w 5557"/>
                  <a:gd name="connsiteY38" fmla="*/ 747 h 1043"/>
                  <a:gd name="connsiteX39" fmla="*/ 3940 w 5557"/>
                  <a:gd name="connsiteY39" fmla="*/ 798 h 1043"/>
                  <a:gd name="connsiteX40" fmla="*/ 3905 w 5557"/>
                  <a:gd name="connsiteY40" fmla="*/ 848 h 1043"/>
                  <a:gd name="connsiteX41" fmla="*/ 3865 w 5557"/>
                  <a:gd name="connsiteY41" fmla="*/ 894 h 1043"/>
                  <a:gd name="connsiteX42" fmla="*/ 3824 w 5557"/>
                  <a:gd name="connsiteY42" fmla="*/ 935 h 1043"/>
                  <a:gd name="connsiteX43" fmla="*/ 3779 w 5557"/>
                  <a:gd name="connsiteY43" fmla="*/ 971 h 1043"/>
                  <a:gd name="connsiteX44" fmla="*/ 3729 w 5557"/>
                  <a:gd name="connsiteY44" fmla="*/ 1000 h 1043"/>
                  <a:gd name="connsiteX45" fmla="*/ 3677 w 5557"/>
                  <a:gd name="connsiteY45" fmla="*/ 1022 h 1043"/>
                  <a:gd name="connsiteX46" fmla="*/ 3620 w 5557"/>
                  <a:gd name="connsiteY46" fmla="*/ 1037 h 1043"/>
                  <a:gd name="connsiteX47" fmla="*/ 3556 w 5557"/>
                  <a:gd name="connsiteY47" fmla="*/ 1043 h 1043"/>
                  <a:gd name="connsiteX48" fmla="*/ 3547 w 5557"/>
                  <a:gd name="connsiteY48" fmla="*/ 1043 h 1043"/>
                  <a:gd name="connsiteX49" fmla="*/ 3485 w 5557"/>
                  <a:gd name="connsiteY49" fmla="*/ 1039 h 1043"/>
                  <a:gd name="connsiteX50" fmla="*/ 3426 w 5557"/>
                  <a:gd name="connsiteY50" fmla="*/ 1025 h 1043"/>
                  <a:gd name="connsiteX51" fmla="*/ 3372 w 5557"/>
                  <a:gd name="connsiteY51" fmla="*/ 1002 h 1043"/>
                  <a:gd name="connsiteX52" fmla="*/ 3320 w 5557"/>
                  <a:gd name="connsiteY52" fmla="*/ 973 h 1043"/>
                  <a:gd name="connsiteX53" fmla="*/ 3273 w 5557"/>
                  <a:gd name="connsiteY53" fmla="*/ 935 h 1043"/>
                  <a:gd name="connsiteX54" fmla="*/ 3229 w 5557"/>
                  <a:gd name="connsiteY54" fmla="*/ 894 h 1043"/>
                  <a:gd name="connsiteX55" fmla="*/ 3186 w 5557"/>
                  <a:gd name="connsiteY55" fmla="*/ 846 h 1043"/>
                  <a:gd name="connsiteX56" fmla="*/ 3147 w 5557"/>
                  <a:gd name="connsiteY56" fmla="*/ 796 h 1043"/>
                  <a:gd name="connsiteX57" fmla="*/ 3108 w 5557"/>
                  <a:gd name="connsiteY57" fmla="*/ 740 h 1043"/>
                  <a:gd name="connsiteX58" fmla="*/ 3070 w 5557"/>
                  <a:gd name="connsiteY58" fmla="*/ 684 h 1043"/>
                  <a:gd name="connsiteX59" fmla="*/ 2965 w 5557"/>
                  <a:gd name="connsiteY59" fmla="*/ 510 h 1043"/>
                  <a:gd name="connsiteX60" fmla="*/ 2928 w 5557"/>
                  <a:gd name="connsiteY60" fmla="*/ 452 h 1043"/>
                  <a:gd name="connsiteX61" fmla="*/ 2891 w 5557"/>
                  <a:gd name="connsiteY61" fmla="*/ 396 h 1043"/>
                  <a:gd name="connsiteX62" fmla="*/ 2854 w 5557"/>
                  <a:gd name="connsiteY62" fmla="*/ 342 h 1043"/>
                  <a:gd name="connsiteX63" fmla="*/ 2814 w 5557"/>
                  <a:gd name="connsiteY63" fmla="*/ 292 h 1043"/>
                  <a:gd name="connsiteX64" fmla="*/ 2773 w 5557"/>
                  <a:gd name="connsiteY64" fmla="*/ 247 h 1043"/>
                  <a:gd name="connsiteX65" fmla="*/ 2732 w 5557"/>
                  <a:gd name="connsiteY65" fmla="*/ 205 h 1043"/>
                  <a:gd name="connsiteX66" fmla="*/ 2686 w 5557"/>
                  <a:gd name="connsiteY66" fmla="*/ 168 h 1043"/>
                  <a:gd name="connsiteX67" fmla="*/ 2639 w 5557"/>
                  <a:gd name="connsiteY67" fmla="*/ 139 h 1043"/>
                  <a:gd name="connsiteX68" fmla="*/ 2587 w 5557"/>
                  <a:gd name="connsiteY68" fmla="*/ 116 h 1043"/>
                  <a:gd name="connsiteX69" fmla="*/ 2532 w 5557"/>
                  <a:gd name="connsiteY69" fmla="*/ 100 h 1043"/>
                  <a:gd name="connsiteX70" fmla="*/ 2474 w 5557"/>
                  <a:gd name="connsiteY70" fmla="*/ 91 h 1043"/>
                  <a:gd name="connsiteX71" fmla="*/ 2410 w 5557"/>
                  <a:gd name="connsiteY71" fmla="*/ 93 h 1043"/>
                  <a:gd name="connsiteX72" fmla="*/ 2342 w 5557"/>
                  <a:gd name="connsiteY72" fmla="*/ 104 h 1043"/>
                  <a:gd name="connsiteX73" fmla="*/ 2280 w 5557"/>
                  <a:gd name="connsiteY73" fmla="*/ 122 h 1043"/>
                  <a:gd name="connsiteX74" fmla="*/ 2222 w 5557"/>
                  <a:gd name="connsiteY74" fmla="*/ 147 h 1043"/>
                  <a:gd name="connsiteX75" fmla="*/ 2168 w 5557"/>
                  <a:gd name="connsiteY75" fmla="*/ 180 h 1043"/>
                  <a:gd name="connsiteX76" fmla="*/ 2117 w 5557"/>
                  <a:gd name="connsiteY76" fmla="*/ 218 h 1043"/>
                  <a:gd name="connsiteX77" fmla="*/ 2071 w 5557"/>
                  <a:gd name="connsiteY77" fmla="*/ 261 h 1043"/>
                  <a:gd name="connsiteX78" fmla="*/ 2026 w 5557"/>
                  <a:gd name="connsiteY78" fmla="*/ 307 h 1043"/>
                  <a:gd name="connsiteX79" fmla="*/ 1984 w 5557"/>
                  <a:gd name="connsiteY79" fmla="*/ 359 h 1043"/>
                  <a:gd name="connsiteX80" fmla="*/ 1945 w 5557"/>
                  <a:gd name="connsiteY80" fmla="*/ 413 h 1043"/>
                  <a:gd name="connsiteX81" fmla="*/ 1908 w 5557"/>
                  <a:gd name="connsiteY81" fmla="*/ 467 h 1043"/>
                  <a:gd name="connsiteX82" fmla="*/ 1871 w 5557"/>
                  <a:gd name="connsiteY82" fmla="*/ 523 h 1043"/>
                  <a:gd name="connsiteX83" fmla="*/ 1834 w 5557"/>
                  <a:gd name="connsiteY83" fmla="*/ 581 h 1043"/>
                  <a:gd name="connsiteX84" fmla="*/ 1799 w 5557"/>
                  <a:gd name="connsiteY84" fmla="*/ 637 h 1043"/>
                  <a:gd name="connsiteX85" fmla="*/ 1724 w 5557"/>
                  <a:gd name="connsiteY85" fmla="*/ 749 h 1043"/>
                  <a:gd name="connsiteX86" fmla="*/ 1685 w 5557"/>
                  <a:gd name="connsiteY86" fmla="*/ 801 h 1043"/>
                  <a:gd name="connsiteX87" fmla="*/ 1644 w 5557"/>
                  <a:gd name="connsiteY87" fmla="*/ 850 h 1043"/>
                  <a:gd name="connsiteX88" fmla="*/ 1600 w 5557"/>
                  <a:gd name="connsiteY88" fmla="*/ 896 h 1043"/>
                  <a:gd name="connsiteX89" fmla="*/ 1553 w 5557"/>
                  <a:gd name="connsiteY89" fmla="*/ 937 h 1043"/>
                  <a:gd name="connsiteX90" fmla="*/ 1503 w 5557"/>
                  <a:gd name="connsiteY90" fmla="*/ 973 h 1043"/>
                  <a:gd name="connsiteX91" fmla="*/ 1450 w 5557"/>
                  <a:gd name="connsiteY91" fmla="*/ 1002 h 1043"/>
                  <a:gd name="connsiteX92" fmla="*/ 1394 w 5557"/>
                  <a:gd name="connsiteY92" fmla="*/ 1025 h 1043"/>
                  <a:gd name="connsiteX93" fmla="*/ 1330 w 5557"/>
                  <a:gd name="connsiteY93" fmla="*/ 1037 h 1043"/>
                  <a:gd name="connsiteX94" fmla="*/ 1264 w 5557"/>
                  <a:gd name="connsiteY94" fmla="*/ 1043 h 1043"/>
                  <a:gd name="connsiteX95" fmla="*/ 1258 w 5557"/>
                  <a:gd name="connsiteY95" fmla="*/ 1043 h 1043"/>
                  <a:gd name="connsiteX96" fmla="*/ 1190 w 5557"/>
                  <a:gd name="connsiteY96" fmla="*/ 1039 h 1043"/>
                  <a:gd name="connsiteX97" fmla="*/ 1128 w 5557"/>
                  <a:gd name="connsiteY97" fmla="*/ 1027 h 1043"/>
                  <a:gd name="connsiteX98" fmla="*/ 1070 w 5557"/>
                  <a:gd name="connsiteY98" fmla="*/ 1008 h 1043"/>
                  <a:gd name="connsiteX99" fmla="*/ 1018 w 5557"/>
                  <a:gd name="connsiteY99" fmla="*/ 983 h 1043"/>
                  <a:gd name="connsiteX100" fmla="*/ 971 w 5557"/>
                  <a:gd name="connsiteY100" fmla="*/ 952 h 1043"/>
                  <a:gd name="connsiteX101" fmla="*/ 925 w 5557"/>
                  <a:gd name="connsiteY101" fmla="*/ 915 h 1043"/>
                  <a:gd name="connsiteX102" fmla="*/ 884 w 5557"/>
                  <a:gd name="connsiteY102" fmla="*/ 873 h 1043"/>
                  <a:gd name="connsiteX103" fmla="*/ 847 w 5557"/>
                  <a:gd name="connsiteY103" fmla="*/ 828 h 1043"/>
                  <a:gd name="connsiteX104" fmla="*/ 810 w 5557"/>
                  <a:gd name="connsiteY104" fmla="*/ 780 h 1043"/>
                  <a:gd name="connsiteX105" fmla="*/ 777 w 5557"/>
                  <a:gd name="connsiteY105" fmla="*/ 728 h 1043"/>
                  <a:gd name="connsiteX106" fmla="*/ 742 w 5557"/>
                  <a:gd name="connsiteY106" fmla="*/ 674 h 1043"/>
                  <a:gd name="connsiteX107" fmla="*/ 711 w 5557"/>
                  <a:gd name="connsiteY107" fmla="*/ 618 h 1043"/>
                  <a:gd name="connsiteX108" fmla="*/ 678 w 5557"/>
                  <a:gd name="connsiteY108" fmla="*/ 560 h 1043"/>
                  <a:gd name="connsiteX109" fmla="*/ 616 w 5557"/>
                  <a:gd name="connsiteY109" fmla="*/ 448 h 1043"/>
                  <a:gd name="connsiteX110" fmla="*/ 547 w 5557"/>
                  <a:gd name="connsiteY110" fmla="*/ 340 h 1043"/>
                  <a:gd name="connsiteX111" fmla="*/ 504 w 5557"/>
                  <a:gd name="connsiteY111" fmla="*/ 284 h 1043"/>
                  <a:gd name="connsiteX112" fmla="*/ 457 w 5557"/>
                  <a:gd name="connsiteY112" fmla="*/ 239 h 1043"/>
                  <a:gd name="connsiteX113" fmla="*/ 409 w 5557"/>
                  <a:gd name="connsiteY113" fmla="*/ 199 h 1043"/>
                  <a:gd name="connsiteX114" fmla="*/ 358 w 5557"/>
                  <a:gd name="connsiteY114" fmla="*/ 168 h 1043"/>
                  <a:gd name="connsiteX115" fmla="*/ 308 w 5557"/>
                  <a:gd name="connsiteY115" fmla="*/ 145 h 1043"/>
                  <a:gd name="connsiteX116" fmla="*/ 256 w 5557"/>
                  <a:gd name="connsiteY116" fmla="*/ 127 h 1043"/>
                  <a:gd name="connsiteX117" fmla="*/ 209 w 5557"/>
                  <a:gd name="connsiteY117" fmla="*/ 112 h 1043"/>
                  <a:gd name="connsiteX118" fmla="*/ 163 w 5557"/>
                  <a:gd name="connsiteY118" fmla="*/ 104 h 1043"/>
                  <a:gd name="connsiteX119" fmla="*/ 122 w 5557"/>
                  <a:gd name="connsiteY119" fmla="*/ 100 h 1043"/>
                  <a:gd name="connsiteX120" fmla="*/ 85 w 5557"/>
                  <a:gd name="connsiteY120" fmla="*/ 95 h 1043"/>
                  <a:gd name="connsiteX121" fmla="*/ 31 w 5557"/>
                  <a:gd name="connsiteY121" fmla="*/ 95 h 1043"/>
                  <a:gd name="connsiteX122" fmla="*/ 17 w 5557"/>
                  <a:gd name="connsiteY122" fmla="*/ 98 h 1043"/>
                  <a:gd name="connsiteX123" fmla="*/ 11 w 5557"/>
                  <a:gd name="connsiteY123" fmla="*/ 98 h 1043"/>
                  <a:gd name="connsiteX124" fmla="*/ 0 w 5557"/>
                  <a:gd name="connsiteY124" fmla="*/ 13 h 1043"/>
                  <a:gd name="connsiteX125" fmla="*/ 9 w 5557"/>
                  <a:gd name="connsiteY125" fmla="*/ 13 h 1043"/>
                  <a:gd name="connsiteX126" fmla="*/ 29 w 5557"/>
                  <a:gd name="connsiteY126" fmla="*/ 10 h 1043"/>
                  <a:gd name="connsiteX127" fmla="*/ 91 w 5557"/>
                  <a:gd name="connsiteY127" fmla="*/ 10 h 1043"/>
                  <a:gd name="connsiteX128" fmla="*/ 135 w 5557"/>
                  <a:gd name="connsiteY128" fmla="*/ 13 h 1043"/>
                  <a:gd name="connsiteX129" fmla="*/ 182 w 5557"/>
                  <a:gd name="connsiteY129" fmla="*/ 19 h 1043"/>
                  <a:gd name="connsiteX130" fmla="*/ 234 w 5557"/>
                  <a:gd name="connsiteY130" fmla="*/ 29 h 1043"/>
                  <a:gd name="connsiteX131" fmla="*/ 287 w 5557"/>
                  <a:gd name="connsiteY131" fmla="*/ 46 h 1043"/>
                  <a:gd name="connsiteX132" fmla="*/ 345 w 5557"/>
                  <a:gd name="connsiteY132" fmla="*/ 66 h 1043"/>
                  <a:gd name="connsiteX133" fmla="*/ 403 w 5557"/>
                  <a:gd name="connsiteY133" fmla="*/ 93 h 1043"/>
                  <a:gd name="connsiteX134" fmla="*/ 459 w 5557"/>
                  <a:gd name="connsiteY134" fmla="*/ 131 h 1043"/>
                  <a:gd name="connsiteX135" fmla="*/ 514 w 5557"/>
                  <a:gd name="connsiteY135" fmla="*/ 174 h 1043"/>
                  <a:gd name="connsiteX136" fmla="*/ 568 w 5557"/>
                  <a:gd name="connsiteY136" fmla="*/ 228 h 1043"/>
                  <a:gd name="connsiteX137" fmla="*/ 618 w 5557"/>
                  <a:gd name="connsiteY137" fmla="*/ 292 h 1043"/>
                  <a:gd name="connsiteX138" fmla="*/ 667 w 5557"/>
                  <a:gd name="connsiteY138" fmla="*/ 367 h 1043"/>
                  <a:gd name="connsiteX139" fmla="*/ 754 w 5557"/>
                  <a:gd name="connsiteY139" fmla="*/ 516 h 1043"/>
                  <a:gd name="connsiteX140" fmla="*/ 787 w 5557"/>
                  <a:gd name="connsiteY140" fmla="*/ 575 h 1043"/>
                  <a:gd name="connsiteX141" fmla="*/ 820 w 5557"/>
                  <a:gd name="connsiteY141" fmla="*/ 631 h 1043"/>
                  <a:gd name="connsiteX142" fmla="*/ 853 w 5557"/>
                  <a:gd name="connsiteY142" fmla="*/ 684 h 1043"/>
                  <a:gd name="connsiteX143" fmla="*/ 886 w 5557"/>
                  <a:gd name="connsiteY143" fmla="*/ 736 h 1043"/>
                  <a:gd name="connsiteX144" fmla="*/ 921 w 5557"/>
                  <a:gd name="connsiteY144" fmla="*/ 782 h 1043"/>
                  <a:gd name="connsiteX145" fmla="*/ 958 w 5557"/>
                  <a:gd name="connsiteY145" fmla="*/ 825 h 1043"/>
                  <a:gd name="connsiteX146" fmla="*/ 1000 w 5557"/>
                  <a:gd name="connsiteY146" fmla="*/ 863 h 1043"/>
                  <a:gd name="connsiteX147" fmla="*/ 1043 w 5557"/>
                  <a:gd name="connsiteY147" fmla="*/ 894 h 1043"/>
                  <a:gd name="connsiteX148" fmla="*/ 1090 w 5557"/>
                  <a:gd name="connsiteY148" fmla="*/ 921 h 1043"/>
                  <a:gd name="connsiteX149" fmla="*/ 1140 w 5557"/>
                  <a:gd name="connsiteY149" fmla="*/ 939 h 1043"/>
                  <a:gd name="connsiteX150" fmla="*/ 1196 w 5557"/>
                  <a:gd name="connsiteY150" fmla="*/ 952 h 1043"/>
                  <a:gd name="connsiteX151" fmla="*/ 1258 w 5557"/>
                  <a:gd name="connsiteY151" fmla="*/ 956 h 1043"/>
                  <a:gd name="connsiteX152" fmla="*/ 1264 w 5557"/>
                  <a:gd name="connsiteY152" fmla="*/ 956 h 1043"/>
                  <a:gd name="connsiteX153" fmla="*/ 1324 w 5557"/>
                  <a:gd name="connsiteY153" fmla="*/ 950 h 1043"/>
                  <a:gd name="connsiteX154" fmla="*/ 1380 w 5557"/>
                  <a:gd name="connsiteY154" fmla="*/ 935 h 1043"/>
                  <a:gd name="connsiteX155" fmla="*/ 1433 w 5557"/>
                  <a:gd name="connsiteY155" fmla="*/ 913 h 1043"/>
                  <a:gd name="connsiteX156" fmla="*/ 1481 w 5557"/>
                  <a:gd name="connsiteY156" fmla="*/ 884 h 1043"/>
                  <a:gd name="connsiteX157" fmla="*/ 1526 w 5557"/>
                  <a:gd name="connsiteY157" fmla="*/ 846 h 1043"/>
                  <a:gd name="connsiteX158" fmla="*/ 1569 w 5557"/>
                  <a:gd name="connsiteY158" fmla="*/ 803 h 1043"/>
                  <a:gd name="connsiteX159" fmla="*/ 1609 w 5557"/>
                  <a:gd name="connsiteY159" fmla="*/ 755 h 1043"/>
                  <a:gd name="connsiteX160" fmla="*/ 1648 w 5557"/>
                  <a:gd name="connsiteY160" fmla="*/ 703 h 1043"/>
                  <a:gd name="connsiteX161" fmla="*/ 1687 w 5557"/>
                  <a:gd name="connsiteY161" fmla="*/ 649 h 1043"/>
                  <a:gd name="connsiteX162" fmla="*/ 1799 w 5557"/>
                  <a:gd name="connsiteY162" fmla="*/ 475 h 1043"/>
                  <a:gd name="connsiteX163" fmla="*/ 1838 w 5557"/>
                  <a:gd name="connsiteY163" fmla="*/ 415 h 1043"/>
                  <a:gd name="connsiteX164" fmla="*/ 1879 w 5557"/>
                  <a:gd name="connsiteY164" fmla="*/ 357 h 1043"/>
                  <a:gd name="connsiteX165" fmla="*/ 1923 w 5557"/>
                  <a:gd name="connsiteY165" fmla="*/ 299 h 1043"/>
                  <a:gd name="connsiteX166" fmla="*/ 1968 w 5557"/>
                  <a:gd name="connsiteY166" fmla="*/ 245 h 1043"/>
                  <a:gd name="connsiteX167" fmla="*/ 2015 w 5557"/>
                  <a:gd name="connsiteY167" fmla="*/ 193 h 1043"/>
                  <a:gd name="connsiteX168" fmla="*/ 2069 w 5557"/>
                  <a:gd name="connsiteY168" fmla="*/ 145 h 1043"/>
                  <a:gd name="connsiteX169" fmla="*/ 2125 w 5557"/>
                  <a:gd name="connsiteY169" fmla="*/ 104 h 1043"/>
                  <a:gd name="connsiteX170" fmla="*/ 2187 w 5557"/>
                  <a:gd name="connsiteY170" fmla="*/ 69 h 1043"/>
                  <a:gd name="connsiteX171" fmla="*/ 2253 w 5557"/>
                  <a:gd name="connsiteY171" fmla="*/ 39 h 1043"/>
                  <a:gd name="connsiteX172" fmla="*/ 2325 w 5557"/>
                  <a:gd name="connsiteY172" fmla="*/ 19 h 1043"/>
                  <a:gd name="connsiteX173" fmla="*/ 2404 w 5557"/>
                  <a:gd name="connsiteY173" fmla="*/ 6 h 1043"/>
                  <a:gd name="connsiteX174" fmla="*/ 2474 w 5557"/>
                  <a:gd name="connsiteY174" fmla="*/ 4 h 1043"/>
                  <a:gd name="connsiteX175" fmla="*/ 2540 w 5557"/>
                  <a:gd name="connsiteY175" fmla="*/ 13 h 1043"/>
                  <a:gd name="connsiteX176" fmla="*/ 2600 w 5557"/>
                  <a:gd name="connsiteY176" fmla="*/ 27 h 1043"/>
                  <a:gd name="connsiteX177" fmla="*/ 2658 w 5557"/>
                  <a:gd name="connsiteY177" fmla="*/ 50 h 1043"/>
                  <a:gd name="connsiteX178" fmla="*/ 2711 w 5557"/>
                  <a:gd name="connsiteY178" fmla="*/ 81 h 1043"/>
                  <a:gd name="connsiteX179" fmla="*/ 2761 w 5557"/>
                  <a:gd name="connsiteY179" fmla="*/ 116 h 1043"/>
                  <a:gd name="connsiteX180" fmla="*/ 2806 w 5557"/>
                  <a:gd name="connsiteY180" fmla="*/ 158 h 1043"/>
                  <a:gd name="connsiteX181" fmla="*/ 2852 w 5557"/>
                  <a:gd name="connsiteY181" fmla="*/ 203 h 1043"/>
                  <a:gd name="connsiteX182" fmla="*/ 2893 w 5557"/>
                  <a:gd name="connsiteY182" fmla="*/ 251 h 1043"/>
                  <a:gd name="connsiteX183" fmla="*/ 2932 w 5557"/>
                  <a:gd name="connsiteY183" fmla="*/ 303 h 1043"/>
                  <a:gd name="connsiteX184" fmla="*/ 2969 w 5557"/>
                  <a:gd name="connsiteY184" fmla="*/ 357 h 1043"/>
                  <a:gd name="connsiteX185" fmla="*/ 3004 w 5557"/>
                  <a:gd name="connsiteY185" fmla="*/ 413 h 1043"/>
                  <a:gd name="connsiteX186" fmla="*/ 3039 w 5557"/>
                  <a:gd name="connsiteY186" fmla="*/ 467 h 1043"/>
                  <a:gd name="connsiteX187" fmla="*/ 3073 w 5557"/>
                  <a:gd name="connsiteY187" fmla="*/ 523 h 1043"/>
                  <a:gd name="connsiteX188" fmla="*/ 3110 w 5557"/>
                  <a:gd name="connsiteY188" fmla="*/ 585 h 1043"/>
                  <a:gd name="connsiteX189" fmla="*/ 3147 w 5557"/>
                  <a:gd name="connsiteY189" fmla="*/ 643 h 1043"/>
                  <a:gd name="connsiteX190" fmla="*/ 3186 w 5557"/>
                  <a:gd name="connsiteY190" fmla="*/ 701 h 1043"/>
                  <a:gd name="connsiteX191" fmla="*/ 3223 w 5557"/>
                  <a:gd name="connsiteY191" fmla="*/ 755 h 1043"/>
                  <a:gd name="connsiteX192" fmla="*/ 3265 w 5557"/>
                  <a:gd name="connsiteY192" fmla="*/ 805 h 1043"/>
                  <a:gd name="connsiteX193" fmla="*/ 3306 w 5557"/>
                  <a:gd name="connsiteY193" fmla="*/ 848 h 1043"/>
                  <a:gd name="connsiteX194" fmla="*/ 3349 w 5557"/>
                  <a:gd name="connsiteY194" fmla="*/ 886 h 1043"/>
                  <a:gd name="connsiteX195" fmla="*/ 3395 w 5557"/>
                  <a:gd name="connsiteY195" fmla="*/ 917 h 1043"/>
                  <a:gd name="connsiteX196" fmla="*/ 3444 w 5557"/>
                  <a:gd name="connsiteY196" fmla="*/ 939 h 1043"/>
                  <a:gd name="connsiteX197" fmla="*/ 3498 w 5557"/>
                  <a:gd name="connsiteY197" fmla="*/ 952 h 1043"/>
                  <a:gd name="connsiteX198" fmla="*/ 3554 w 5557"/>
                  <a:gd name="connsiteY198" fmla="*/ 956 h 1043"/>
                  <a:gd name="connsiteX199" fmla="*/ 3609 w 5557"/>
                  <a:gd name="connsiteY199" fmla="*/ 950 h 1043"/>
                  <a:gd name="connsiteX200" fmla="*/ 3659 w 5557"/>
                  <a:gd name="connsiteY200" fmla="*/ 935 h 1043"/>
                  <a:gd name="connsiteX201" fmla="*/ 3706 w 5557"/>
                  <a:gd name="connsiteY201" fmla="*/ 915 h 1043"/>
                  <a:gd name="connsiteX202" fmla="*/ 3750 w 5557"/>
                  <a:gd name="connsiteY202" fmla="*/ 884 h 1043"/>
                  <a:gd name="connsiteX203" fmla="*/ 3789 w 5557"/>
                  <a:gd name="connsiteY203" fmla="*/ 848 h 1043"/>
                  <a:gd name="connsiteX204" fmla="*/ 3826 w 5557"/>
                  <a:gd name="connsiteY204" fmla="*/ 807 h 1043"/>
                  <a:gd name="connsiteX205" fmla="*/ 3861 w 5557"/>
                  <a:gd name="connsiteY205" fmla="*/ 759 h 1043"/>
                  <a:gd name="connsiteX206" fmla="*/ 3894 w 5557"/>
                  <a:gd name="connsiteY206" fmla="*/ 709 h 1043"/>
                  <a:gd name="connsiteX207" fmla="*/ 3927 w 5557"/>
                  <a:gd name="connsiteY207" fmla="*/ 655 h 1043"/>
                  <a:gd name="connsiteX208" fmla="*/ 3960 w 5557"/>
                  <a:gd name="connsiteY208" fmla="*/ 597 h 1043"/>
                  <a:gd name="connsiteX209" fmla="*/ 3993 w 5557"/>
                  <a:gd name="connsiteY209" fmla="*/ 537 h 1043"/>
                  <a:gd name="connsiteX210" fmla="*/ 4022 w 5557"/>
                  <a:gd name="connsiteY210" fmla="*/ 483 h 1043"/>
                  <a:gd name="connsiteX211" fmla="*/ 4084 w 5557"/>
                  <a:gd name="connsiteY211" fmla="*/ 375 h 1043"/>
                  <a:gd name="connsiteX212" fmla="*/ 4154 w 5557"/>
                  <a:gd name="connsiteY212" fmla="*/ 272 h 1043"/>
                  <a:gd name="connsiteX213" fmla="*/ 4192 w 5557"/>
                  <a:gd name="connsiteY213" fmla="*/ 224 h 1043"/>
                  <a:gd name="connsiteX214" fmla="*/ 4233 w 5557"/>
                  <a:gd name="connsiteY214" fmla="*/ 178 h 1043"/>
                  <a:gd name="connsiteX215" fmla="*/ 4276 w 5557"/>
                  <a:gd name="connsiteY215" fmla="*/ 137 h 1043"/>
                  <a:gd name="connsiteX216" fmla="*/ 4324 w 5557"/>
                  <a:gd name="connsiteY216" fmla="*/ 100 h 1043"/>
                  <a:gd name="connsiteX217" fmla="*/ 4375 w 5557"/>
                  <a:gd name="connsiteY217" fmla="*/ 66 h 1043"/>
                  <a:gd name="connsiteX218" fmla="*/ 4433 w 5557"/>
                  <a:gd name="connsiteY218" fmla="*/ 39 h 1043"/>
                  <a:gd name="connsiteX219" fmla="*/ 4493 w 5557"/>
                  <a:gd name="connsiteY219" fmla="*/ 19 h 1043"/>
                  <a:gd name="connsiteX220" fmla="*/ 4559 w 5557"/>
                  <a:gd name="connsiteY220" fmla="*/ 6 h 1043"/>
                  <a:gd name="connsiteX221" fmla="*/ 4631 w 5557"/>
                  <a:gd name="connsiteY221" fmla="*/ 0 h 1043"/>
                  <a:gd name="connsiteX0" fmla="*/ 4631 w 5408"/>
                  <a:gd name="connsiteY0" fmla="*/ 0 h 1043"/>
                  <a:gd name="connsiteX1" fmla="*/ 4681 w 5408"/>
                  <a:gd name="connsiteY1" fmla="*/ 0 h 1043"/>
                  <a:gd name="connsiteX2" fmla="*/ 4710 w 5408"/>
                  <a:gd name="connsiteY2" fmla="*/ 4 h 1043"/>
                  <a:gd name="connsiteX3" fmla="*/ 4741 w 5408"/>
                  <a:gd name="connsiteY3" fmla="*/ 13 h 1043"/>
                  <a:gd name="connsiteX4" fmla="*/ 4778 w 5408"/>
                  <a:gd name="connsiteY4" fmla="*/ 23 h 1043"/>
                  <a:gd name="connsiteX5" fmla="*/ 4819 w 5408"/>
                  <a:gd name="connsiteY5" fmla="*/ 39 h 1043"/>
                  <a:gd name="connsiteX6" fmla="*/ 4863 w 5408"/>
                  <a:gd name="connsiteY6" fmla="*/ 60 h 1043"/>
                  <a:gd name="connsiteX7" fmla="*/ 4910 w 5408"/>
                  <a:gd name="connsiteY7" fmla="*/ 89 h 1043"/>
                  <a:gd name="connsiteX8" fmla="*/ 4960 w 5408"/>
                  <a:gd name="connsiteY8" fmla="*/ 124 h 1043"/>
                  <a:gd name="connsiteX9" fmla="*/ 5009 w 5408"/>
                  <a:gd name="connsiteY9" fmla="*/ 170 h 1043"/>
                  <a:gd name="connsiteX10" fmla="*/ 5061 w 5408"/>
                  <a:gd name="connsiteY10" fmla="*/ 224 h 1043"/>
                  <a:gd name="connsiteX11" fmla="*/ 5112 w 5408"/>
                  <a:gd name="connsiteY11" fmla="*/ 286 h 1043"/>
                  <a:gd name="connsiteX12" fmla="*/ 5313 w 5408"/>
                  <a:gd name="connsiteY12" fmla="*/ 633 h 1043"/>
                  <a:gd name="connsiteX13" fmla="*/ 5408 w 5408"/>
                  <a:gd name="connsiteY13" fmla="*/ 769 h 1043"/>
                  <a:gd name="connsiteX14" fmla="*/ 5042 w 5408"/>
                  <a:gd name="connsiteY14" fmla="*/ 336 h 1043"/>
                  <a:gd name="connsiteX15" fmla="*/ 4993 w 5408"/>
                  <a:gd name="connsiteY15" fmla="*/ 276 h 1043"/>
                  <a:gd name="connsiteX16" fmla="*/ 4945 w 5408"/>
                  <a:gd name="connsiteY16" fmla="*/ 228 h 1043"/>
                  <a:gd name="connsiteX17" fmla="*/ 4900 w 5408"/>
                  <a:gd name="connsiteY17" fmla="*/ 189 h 1043"/>
                  <a:gd name="connsiteX18" fmla="*/ 4858 w 5408"/>
                  <a:gd name="connsiteY18" fmla="*/ 158 h 1043"/>
                  <a:gd name="connsiteX19" fmla="*/ 4819 w 5408"/>
                  <a:gd name="connsiteY19" fmla="*/ 135 h 1043"/>
                  <a:gd name="connsiteX20" fmla="*/ 4770 w 5408"/>
                  <a:gd name="connsiteY20" fmla="*/ 112 h 1043"/>
                  <a:gd name="connsiteX21" fmla="*/ 4726 w 5408"/>
                  <a:gd name="connsiteY21" fmla="*/ 98 h 1043"/>
                  <a:gd name="connsiteX22" fmla="*/ 4691 w 5408"/>
                  <a:gd name="connsiteY22" fmla="*/ 89 h 1043"/>
                  <a:gd name="connsiteX23" fmla="*/ 4662 w 5408"/>
                  <a:gd name="connsiteY23" fmla="*/ 87 h 1043"/>
                  <a:gd name="connsiteX24" fmla="*/ 4635 w 5408"/>
                  <a:gd name="connsiteY24" fmla="*/ 87 h 1043"/>
                  <a:gd name="connsiteX25" fmla="*/ 4569 w 5408"/>
                  <a:gd name="connsiteY25" fmla="*/ 93 h 1043"/>
                  <a:gd name="connsiteX26" fmla="*/ 4507 w 5408"/>
                  <a:gd name="connsiteY26" fmla="*/ 106 h 1043"/>
                  <a:gd name="connsiteX27" fmla="*/ 4452 w 5408"/>
                  <a:gd name="connsiteY27" fmla="*/ 127 h 1043"/>
                  <a:gd name="connsiteX28" fmla="*/ 4400 w 5408"/>
                  <a:gd name="connsiteY28" fmla="*/ 154 h 1043"/>
                  <a:gd name="connsiteX29" fmla="*/ 4353 w 5408"/>
                  <a:gd name="connsiteY29" fmla="*/ 187 h 1043"/>
                  <a:gd name="connsiteX30" fmla="*/ 4309 w 5408"/>
                  <a:gd name="connsiteY30" fmla="*/ 224 h 1043"/>
                  <a:gd name="connsiteX31" fmla="*/ 4270 w 5408"/>
                  <a:gd name="connsiteY31" fmla="*/ 268 h 1043"/>
                  <a:gd name="connsiteX32" fmla="*/ 4231 w 5408"/>
                  <a:gd name="connsiteY32" fmla="*/ 313 h 1043"/>
                  <a:gd name="connsiteX33" fmla="*/ 4196 w 5408"/>
                  <a:gd name="connsiteY33" fmla="*/ 363 h 1043"/>
                  <a:gd name="connsiteX34" fmla="*/ 4163 w 5408"/>
                  <a:gd name="connsiteY34" fmla="*/ 415 h 1043"/>
                  <a:gd name="connsiteX35" fmla="*/ 4101 w 5408"/>
                  <a:gd name="connsiteY35" fmla="*/ 523 h 1043"/>
                  <a:gd name="connsiteX36" fmla="*/ 4008 w 5408"/>
                  <a:gd name="connsiteY36" fmla="*/ 691 h 1043"/>
                  <a:gd name="connsiteX37" fmla="*/ 3975 w 5408"/>
                  <a:gd name="connsiteY37" fmla="*/ 747 h 1043"/>
                  <a:gd name="connsiteX38" fmla="*/ 3940 w 5408"/>
                  <a:gd name="connsiteY38" fmla="*/ 798 h 1043"/>
                  <a:gd name="connsiteX39" fmla="*/ 3905 w 5408"/>
                  <a:gd name="connsiteY39" fmla="*/ 848 h 1043"/>
                  <a:gd name="connsiteX40" fmla="*/ 3865 w 5408"/>
                  <a:gd name="connsiteY40" fmla="*/ 894 h 1043"/>
                  <a:gd name="connsiteX41" fmla="*/ 3824 w 5408"/>
                  <a:gd name="connsiteY41" fmla="*/ 935 h 1043"/>
                  <a:gd name="connsiteX42" fmla="*/ 3779 w 5408"/>
                  <a:gd name="connsiteY42" fmla="*/ 971 h 1043"/>
                  <a:gd name="connsiteX43" fmla="*/ 3729 w 5408"/>
                  <a:gd name="connsiteY43" fmla="*/ 1000 h 1043"/>
                  <a:gd name="connsiteX44" fmla="*/ 3677 w 5408"/>
                  <a:gd name="connsiteY44" fmla="*/ 1022 h 1043"/>
                  <a:gd name="connsiteX45" fmla="*/ 3620 w 5408"/>
                  <a:gd name="connsiteY45" fmla="*/ 1037 h 1043"/>
                  <a:gd name="connsiteX46" fmla="*/ 3556 w 5408"/>
                  <a:gd name="connsiteY46" fmla="*/ 1043 h 1043"/>
                  <a:gd name="connsiteX47" fmla="*/ 3547 w 5408"/>
                  <a:gd name="connsiteY47" fmla="*/ 1043 h 1043"/>
                  <a:gd name="connsiteX48" fmla="*/ 3485 w 5408"/>
                  <a:gd name="connsiteY48" fmla="*/ 1039 h 1043"/>
                  <a:gd name="connsiteX49" fmla="*/ 3426 w 5408"/>
                  <a:gd name="connsiteY49" fmla="*/ 1025 h 1043"/>
                  <a:gd name="connsiteX50" fmla="*/ 3372 w 5408"/>
                  <a:gd name="connsiteY50" fmla="*/ 1002 h 1043"/>
                  <a:gd name="connsiteX51" fmla="*/ 3320 w 5408"/>
                  <a:gd name="connsiteY51" fmla="*/ 973 h 1043"/>
                  <a:gd name="connsiteX52" fmla="*/ 3273 w 5408"/>
                  <a:gd name="connsiteY52" fmla="*/ 935 h 1043"/>
                  <a:gd name="connsiteX53" fmla="*/ 3229 w 5408"/>
                  <a:gd name="connsiteY53" fmla="*/ 894 h 1043"/>
                  <a:gd name="connsiteX54" fmla="*/ 3186 w 5408"/>
                  <a:gd name="connsiteY54" fmla="*/ 846 h 1043"/>
                  <a:gd name="connsiteX55" fmla="*/ 3147 w 5408"/>
                  <a:gd name="connsiteY55" fmla="*/ 796 h 1043"/>
                  <a:gd name="connsiteX56" fmla="*/ 3108 w 5408"/>
                  <a:gd name="connsiteY56" fmla="*/ 740 h 1043"/>
                  <a:gd name="connsiteX57" fmla="*/ 3070 w 5408"/>
                  <a:gd name="connsiteY57" fmla="*/ 684 h 1043"/>
                  <a:gd name="connsiteX58" fmla="*/ 2965 w 5408"/>
                  <a:gd name="connsiteY58" fmla="*/ 510 h 1043"/>
                  <a:gd name="connsiteX59" fmla="*/ 2928 w 5408"/>
                  <a:gd name="connsiteY59" fmla="*/ 452 h 1043"/>
                  <a:gd name="connsiteX60" fmla="*/ 2891 w 5408"/>
                  <a:gd name="connsiteY60" fmla="*/ 396 h 1043"/>
                  <a:gd name="connsiteX61" fmla="*/ 2854 w 5408"/>
                  <a:gd name="connsiteY61" fmla="*/ 342 h 1043"/>
                  <a:gd name="connsiteX62" fmla="*/ 2814 w 5408"/>
                  <a:gd name="connsiteY62" fmla="*/ 292 h 1043"/>
                  <a:gd name="connsiteX63" fmla="*/ 2773 w 5408"/>
                  <a:gd name="connsiteY63" fmla="*/ 247 h 1043"/>
                  <a:gd name="connsiteX64" fmla="*/ 2732 w 5408"/>
                  <a:gd name="connsiteY64" fmla="*/ 205 h 1043"/>
                  <a:gd name="connsiteX65" fmla="*/ 2686 w 5408"/>
                  <a:gd name="connsiteY65" fmla="*/ 168 h 1043"/>
                  <a:gd name="connsiteX66" fmla="*/ 2639 w 5408"/>
                  <a:gd name="connsiteY66" fmla="*/ 139 h 1043"/>
                  <a:gd name="connsiteX67" fmla="*/ 2587 w 5408"/>
                  <a:gd name="connsiteY67" fmla="*/ 116 h 1043"/>
                  <a:gd name="connsiteX68" fmla="*/ 2532 w 5408"/>
                  <a:gd name="connsiteY68" fmla="*/ 100 h 1043"/>
                  <a:gd name="connsiteX69" fmla="*/ 2474 w 5408"/>
                  <a:gd name="connsiteY69" fmla="*/ 91 h 1043"/>
                  <a:gd name="connsiteX70" fmla="*/ 2410 w 5408"/>
                  <a:gd name="connsiteY70" fmla="*/ 93 h 1043"/>
                  <a:gd name="connsiteX71" fmla="*/ 2342 w 5408"/>
                  <a:gd name="connsiteY71" fmla="*/ 104 h 1043"/>
                  <a:gd name="connsiteX72" fmla="*/ 2280 w 5408"/>
                  <a:gd name="connsiteY72" fmla="*/ 122 h 1043"/>
                  <a:gd name="connsiteX73" fmla="*/ 2222 w 5408"/>
                  <a:gd name="connsiteY73" fmla="*/ 147 h 1043"/>
                  <a:gd name="connsiteX74" fmla="*/ 2168 w 5408"/>
                  <a:gd name="connsiteY74" fmla="*/ 180 h 1043"/>
                  <a:gd name="connsiteX75" fmla="*/ 2117 w 5408"/>
                  <a:gd name="connsiteY75" fmla="*/ 218 h 1043"/>
                  <a:gd name="connsiteX76" fmla="*/ 2071 w 5408"/>
                  <a:gd name="connsiteY76" fmla="*/ 261 h 1043"/>
                  <a:gd name="connsiteX77" fmla="*/ 2026 w 5408"/>
                  <a:gd name="connsiteY77" fmla="*/ 307 h 1043"/>
                  <a:gd name="connsiteX78" fmla="*/ 1984 w 5408"/>
                  <a:gd name="connsiteY78" fmla="*/ 359 h 1043"/>
                  <a:gd name="connsiteX79" fmla="*/ 1945 w 5408"/>
                  <a:gd name="connsiteY79" fmla="*/ 413 h 1043"/>
                  <a:gd name="connsiteX80" fmla="*/ 1908 w 5408"/>
                  <a:gd name="connsiteY80" fmla="*/ 467 h 1043"/>
                  <a:gd name="connsiteX81" fmla="*/ 1871 w 5408"/>
                  <a:gd name="connsiteY81" fmla="*/ 523 h 1043"/>
                  <a:gd name="connsiteX82" fmla="*/ 1834 w 5408"/>
                  <a:gd name="connsiteY82" fmla="*/ 581 h 1043"/>
                  <a:gd name="connsiteX83" fmla="*/ 1799 w 5408"/>
                  <a:gd name="connsiteY83" fmla="*/ 637 h 1043"/>
                  <a:gd name="connsiteX84" fmla="*/ 1724 w 5408"/>
                  <a:gd name="connsiteY84" fmla="*/ 749 h 1043"/>
                  <a:gd name="connsiteX85" fmla="*/ 1685 w 5408"/>
                  <a:gd name="connsiteY85" fmla="*/ 801 h 1043"/>
                  <a:gd name="connsiteX86" fmla="*/ 1644 w 5408"/>
                  <a:gd name="connsiteY86" fmla="*/ 850 h 1043"/>
                  <a:gd name="connsiteX87" fmla="*/ 1600 w 5408"/>
                  <a:gd name="connsiteY87" fmla="*/ 896 h 1043"/>
                  <a:gd name="connsiteX88" fmla="*/ 1553 w 5408"/>
                  <a:gd name="connsiteY88" fmla="*/ 937 h 1043"/>
                  <a:gd name="connsiteX89" fmla="*/ 1503 w 5408"/>
                  <a:gd name="connsiteY89" fmla="*/ 973 h 1043"/>
                  <a:gd name="connsiteX90" fmla="*/ 1450 w 5408"/>
                  <a:gd name="connsiteY90" fmla="*/ 1002 h 1043"/>
                  <a:gd name="connsiteX91" fmla="*/ 1394 w 5408"/>
                  <a:gd name="connsiteY91" fmla="*/ 1025 h 1043"/>
                  <a:gd name="connsiteX92" fmla="*/ 1330 w 5408"/>
                  <a:gd name="connsiteY92" fmla="*/ 1037 h 1043"/>
                  <a:gd name="connsiteX93" fmla="*/ 1264 w 5408"/>
                  <a:gd name="connsiteY93" fmla="*/ 1043 h 1043"/>
                  <a:gd name="connsiteX94" fmla="*/ 1258 w 5408"/>
                  <a:gd name="connsiteY94" fmla="*/ 1043 h 1043"/>
                  <a:gd name="connsiteX95" fmla="*/ 1190 w 5408"/>
                  <a:gd name="connsiteY95" fmla="*/ 1039 h 1043"/>
                  <a:gd name="connsiteX96" fmla="*/ 1128 w 5408"/>
                  <a:gd name="connsiteY96" fmla="*/ 1027 h 1043"/>
                  <a:gd name="connsiteX97" fmla="*/ 1070 w 5408"/>
                  <a:gd name="connsiteY97" fmla="*/ 1008 h 1043"/>
                  <a:gd name="connsiteX98" fmla="*/ 1018 w 5408"/>
                  <a:gd name="connsiteY98" fmla="*/ 983 h 1043"/>
                  <a:gd name="connsiteX99" fmla="*/ 971 w 5408"/>
                  <a:gd name="connsiteY99" fmla="*/ 952 h 1043"/>
                  <a:gd name="connsiteX100" fmla="*/ 925 w 5408"/>
                  <a:gd name="connsiteY100" fmla="*/ 915 h 1043"/>
                  <a:gd name="connsiteX101" fmla="*/ 884 w 5408"/>
                  <a:gd name="connsiteY101" fmla="*/ 873 h 1043"/>
                  <a:gd name="connsiteX102" fmla="*/ 847 w 5408"/>
                  <a:gd name="connsiteY102" fmla="*/ 828 h 1043"/>
                  <a:gd name="connsiteX103" fmla="*/ 810 w 5408"/>
                  <a:gd name="connsiteY103" fmla="*/ 780 h 1043"/>
                  <a:gd name="connsiteX104" fmla="*/ 777 w 5408"/>
                  <a:gd name="connsiteY104" fmla="*/ 728 h 1043"/>
                  <a:gd name="connsiteX105" fmla="*/ 742 w 5408"/>
                  <a:gd name="connsiteY105" fmla="*/ 674 h 1043"/>
                  <a:gd name="connsiteX106" fmla="*/ 711 w 5408"/>
                  <a:gd name="connsiteY106" fmla="*/ 618 h 1043"/>
                  <a:gd name="connsiteX107" fmla="*/ 678 w 5408"/>
                  <a:gd name="connsiteY107" fmla="*/ 560 h 1043"/>
                  <a:gd name="connsiteX108" fmla="*/ 616 w 5408"/>
                  <a:gd name="connsiteY108" fmla="*/ 448 h 1043"/>
                  <a:gd name="connsiteX109" fmla="*/ 547 w 5408"/>
                  <a:gd name="connsiteY109" fmla="*/ 340 h 1043"/>
                  <a:gd name="connsiteX110" fmla="*/ 504 w 5408"/>
                  <a:gd name="connsiteY110" fmla="*/ 284 h 1043"/>
                  <a:gd name="connsiteX111" fmla="*/ 457 w 5408"/>
                  <a:gd name="connsiteY111" fmla="*/ 239 h 1043"/>
                  <a:gd name="connsiteX112" fmla="*/ 409 w 5408"/>
                  <a:gd name="connsiteY112" fmla="*/ 199 h 1043"/>
                  <a:gd name="connsiteX113" fmla="*/ 358 w 5408"/>
                  <a:gd name="connsiteY113" fmla="*/ 168 h 1043"/>
                  <a:gd name="connsiteX114" fmla="*/ 308 w 5408"/>
                  <a:gd name="connsiteY114" fmla="*/ 145 h 1043"/>
                  <a:gd name="connsiteX115" fmla="*/ 256 w 5408"/>
                  <a:gd name="connsiteY115" fmla="*/ 127 h 1043"/>
                  <a:gd name="connsiteX116" fmla="*/ 209 w 5408"/>
                  <a:gd name="connsiteY116" fmla="*/ 112 h 1043"/>
                  <a:gd name="connsiteX117" fmla="*/ 163 w 5408"/>
                  <a:gd name="connsiteY117" fmla="*/ 104 h 1043"/>
                  <a:gd name="connsiteX118" fmla="*/ 122 w 5408"/>
                  <a:gd name="connsiteY118" fmla="*/ 100 h 1043"/>
                  <a:gd name="connsiteX119" fmla="*/ 85 w 5408"/>
                  <a:gd name="connsiteY119" fmla="*/ 95 h 1043"/>
                  <a:gd name="connsiteX120" fmla="*/ 31 w 5408"/>
                  <a:gd name="connsiteY120" fmla="*/ 95 h 1043"/>
                  <a:gd name="connsiteX121" fmla="*/ 17 w 5408"/>
                  <a:gd name="connsiteY121" fmla="*/ 98 h 1043"/>
                  <a:gd name="connsiteX122" fmla="*/ 11 w 5408"/>
                  <a:gd name="connsiteY122" fmla="*/ 98 h 1043"/>
                  <a:gd name="connsiteX123" fmla="*/ 0 w 5408"/>
                  <a:gd name="connsiteY123" fmla="*/ 13 h 1043"/>
                  <a:gd name="connsiteX124" fmla="*/ 9 w 5408"/>
                  <a:gd name="connsiteY124" fmla="*/ 13 h 1043"/>
                  <a:gd name="connsiteX125" fmla="*/ 29 w 5408"/>
                  <a:gd name="connsiteY125" fmla="*/ 10 h 1043"/>
                  <a:gd name="connsiteX126" fmla="*/ 91 w 5408"/>
                  <a:gd name="connsiteY126" fmla="*/ 10 h 1043"/>
                  <a:gd name="connsiteX127" fmla="*/ 135 w 5408"/>
                  <a:gd name="connsiteY127" fmla="*/ 13 h 1043"/>
                  <a:gd name="connsiteX128" fmla="*/ 182 w 5408"/>
                  <a:gd name="connsiteY128" fmla="*/ 19 h 1043"/>
                  <a:gd name="connsiteX129" fmla="*/ 234 w 5408"/>
                  <a:gd name="connsiteY129" fmla="*/ 29 h 1043"/>
                  <a:gd name="connsiteX130" fmla="*/ 287 w 5408"/>
                  <a:gd name="connsiteY130" fmla="*/ 46 h 1043"/>
                  <a:gd name="connsiteX131" fmla="*/ 345 w 5408"/>
                  <a:gd name="connsiteY131" fmla="*/ 66 h 1043"/>
                  <a:gd name="connsiteX132" fmla="*/ 403 w 5408"/>
                  <a:gd name="connsiteY132" fmla="*/ 93 h 1043"/>
                  <a:gd name="connsiteX133" fmla="*/ 459 w 5408"/>
                  <a:gd name="connsiteY133" fmla="*/ 131 h 1043"/>
                  <a:gd name="connsiteX134" fmla="*/ 514 w 5408"/>
                  <a:gd name="connsiteY134" fmla="*/ 174 h 1043"/>
                  <a:gd name="connsiteX135" fmla="*/ 568 w 5408"/>
                  <a:gd name="connsiteY135" fmla="*/ 228 h 1043"/>
                  <a:gd name="connsiteX136" fmla="*/ 618 w 5408"/>
                  <a:gd name="connsiteY136" fmla="*/ 292 h 1043"/>
                  <a:gd name="connsiteX137" fmla="*/ 667 w 5408"/>
                  <a:gd name="connsiteY137" fmla="*/ 367 h 1043"/>
                  <a:gd name="connsiteX138" fmla="*/ 754 w 5408"/>
                  <a:gd name="connsiteY138" fmla="*/ 516 h 1043"/>
                  <a:gd name="connsiteX139" fmla="*/ 787 w 5408"/>
                  <a:gd name="connsiteY139" fmla="*/ 575 h 1043"/>
                  <a:gd name="connsiteX140" fmla="*/ 820 w 5408"/>
                  <a:gd name="connsiteY140" fmla="*/ 631 h 1043"/>
                  <a:gd name="connsiteX141" fmla="*/ 853 w 5408"/>
                  <a:gd name="connsiteY141" fmla="*/ 684 h 1043"/>
                  <a:gd name="connsiteX142" fmla="*/ 886 w 5408"/>
                  <a:gd name="connsiteY142" fmla="*/ 736 h 1043"/>
                  <a:gd name="connsiteX143" fmla="*/ 921 w 5408"/>
                  <a:gd name="connsiteY143" fmla="*/ 782 h 1043"/>
                  <a:gd name="connsiteX144" fmla="*/ 958 w 5408"/>
                  <a:gd name="connsiteY144" fmla="*/ 825 h 1043"/>
                  <a:gd name="connsiteX145" fmla="*/ 1000 w 5408"/>
                  <a:gd name="connsiteY145" fmla="*/ 863 h 1043"/>
                  <a:gd name="connsiteX146" fmla="*/ 1043 w 5408"/>
                  <a:gd name="connsiteY146" fmla="*/ 894 h 1043"/>
                  <a:gd name="connsiteX147" fmla="*/ 1090 w 5408"/>
                  <a:gd name="connsiteY147" fmla="*/ 921 h 1043"/>
                  <a:gd name="connsiteX148" fmla="*/ 1140 w 5408"/>
                  <a:gd name="connsiteY148" fmla="*/ 939 h 1043"/>
                  <a:gd name="connsiteX149" fmla="*/ 1196 w 5408"/>
                  <a:gd name="connsiteY149" fmla="*/ 952 h 1043"/>
                  <a:gd name="connsiteX150" fmla="*/ 1258 w 5408"/>
                  <a:gd name="connsiteY150" fmla="*/ 956 h 1043"/>
                  <a:gd name="connsiteX151" fmla="*/ 1264 w 5408"/>
                  <a:gd name="connsiteY151" fmla="*/ 956 h 1043"/>
                  <a:gd name="connsiteX152" fmla="*/ 1324 w 5408"/>
                  <a:gd name="connsiteY152" fmla="*/ 950 h 1043"/>
                  <a:gd name="connsiteX153" fmla="*/ 1380 w 5408"/>
                  <a:gd name="connsiteY153" fmla="*/ 935 h 1043"/>
                  <a:gd name="connsiteX154" fmla="*/ 1433 w 5408"/>
                  <a:gd name="connsiteY154" fmla="*/ 913 h 1043"/>
                  <a:gd name="connsiteX155" fmla="*/ 1481 w 5408"/>
                  <a:gd name="connsiteY155" fmla="*/ 884 h 1043"/>
                  <a:gd name="connsiteX156" fmla="*/ 1526 w 5408"/>
                  <a:gd name="connsiteY156" fmla="*/ 846 h 1043"/>
                  <a:gd name="connsiteX157" fmla="*/ 1569 w 5408"/>
                  <a:gd name="connsiteY157" fmla="*/ 803 h 1043"/>
                  <a:gd name="connsiteX158" fmla="*/ 1609 w 5408"/>
                  <a:gd name="connsiteY158" fmla="*/ 755 h 1043"/>
                  <a:gd name="connsiteX159" fmla="*/ 1648 w 5408"/>
                  <a:gd name="connsiteY159" fmla="*/ 703 h 1043"/>
                  <a:gd name="connsiteX160" fmla="*/ 1687 w 5408"/>
                  <a:gd name="connsiteY160" fmla="*/ 649 h 1043"/>
                  <a:gd name="connsiteX161" fmla="*/ 1799 w 5408"/>
                  <a:gd name="connsiteY161" fmla="*/ 475 h 1043"/>
                  <a:gd name="connsiteX162" fmla="*/ 1838 w 5408"/>
                  <a:gd name="connsiteY162" fmla="*/ 415 h 1043"/>
                  <a:gd name="connsiteX163" fmla="*/ 1879 w 5408"/>
                  <a:gd name="connsiteY163" fmla="*/ 357 h 1043"/>
                  <a:gd name="connsiteX164" fmla="*/ 1923 w 5408"/>
                  <a:gd name="connsiteY164" fmla="*/ 299 h 1043"/>
                  <a:gd name="connsiteX165" fmla="*/ 1968 w 5408"/>
                  <a:gd name="connsiteY165" fmla="*/ 245 h 1043"/>
                  <a:gd name="connsiteX166" fmla="*/ 2015 w 5408"/>
                  <a:gd name="connsiteY166" fmla="*/ 193 h 1043"/>
                  <a:gd name="connsiteX167" fmla="*/ 2069 w 5408"/>
                  <a:gd name="connsiteY167" fmla="*/ 145 h 1043"/>
                  <a:gd name="connsiteX168" fmla="*/ 2125 w 5408"/>
                  <a:gd name="connsiteY168" fmla="*/ 104 h 1043"/>
                  <a:gd name="connsiteX169" fmla="*/ 2187 w 5408"/>
                  <a:gd name="connsiteY169" fmla="*/ 69 h 1043"/>
                  <a:gd name="connsiteX170" fmla="*/ 2253 w 5408"/>
                  <a:gd name="connsiteY170" fmla="*/ 39 h 1043"/>
                  <a:gd name="connsiteX171" fmla="*/ 2325 w 5408"/>
                  <a:gd name="connsiteY171" fmla="*/ 19 h 1043"/>
                  <a:gd name="connsiteX172" fmla="*/ 2404 w 5408"/>
                  <a:gd name="connsiteY172" fmla="*/ 6 h 1043"/>
                  <a:gd name="connsiteX173" fmla="*/ 2474 w 5408"/>
                  <a:gd name="connsiteY173" fmla="*/ 4 h 1043"/>
                  <a:gd name="connsiteX174" fmla="*/ 2540 w 5408"/>
                  <a:gd name="connsiteY174" fmla="*/ 13 h 1043"/>
                  <a:gd name="connsiteX175" fmla="*/ 2600 w 5408"/>
                  <a:gd name="connsiteY175" fmla="*/ 27 h 1043"/>
                  <a:gd name="connsiteX176" fmla="*/ 2658 w 5408"/>
                  <a:gd name="connsiteY176" fmla="*/ 50 h 1043"/>
                  <a:gd name="connsiteX177" fmla="*/ 2711 w 5408"/>
                  <a:gd name="connsiteY177" fmla="*/ 81 h 1043"/>
                  <a:gd name="connsiteX178" fmla="*/ 2761 w 5408"/>
                  <a:gd name="connsiteY178" fmla="*/ 116 h 1043"/>
                  <a:gd name="connsiteX179" fmla="*/ 2806 w 5408"/>
                  <a:gd name="connsiteY179" fmla="*/ 158 h 1043"/>
                  <a:gd name="connsiteX180" fmla="*/ 2852 w 5408"/>
                  <a:gd name="connsiteY180" fmla="*/ 203 h 1043"/>
                  <a:gd name="connsiteX181" fmla="*/ 2893 w 5408"/>
                  <a:gd name="connsiteY181" fmla="*/ 251 h 1043"/>
                  <a:gd name="connsiteX182" fmla="*/ 2932 w 5408"/>
                  <a:gd name="connsiteY182" fmla="*/ 303 h 1043"/>
                  <a:gd name="connsiteX183" fmla="*/ 2969 w 5408"/>
                  <a:gd name="connsiteY183" fmla="*/ 357 h 1043"/>
                  <a:gd name="connsiteX184" fmla="*/ 3004 w 5408"/>
                  <a:gd name="connsiteY184" fmla="*/ 413 h 1043"/>
                  <a:gd name="connsiteX185" fmla="*/ 3039 w 5408"/>
                  <a:gd name="connsiteY185" fmla="*/ 467 h 1043"/>
                  <a:gd name="connsiteX186" fmla="*/ 3073 w 5408"/>
                  <a:gd name="connsiteY186" fmla="*/ 523 h 1043"/>
                  <a:gd name="connsiteX187" fmla="*/ 3110 w 5408"/>
                  <a:gd name="connsiteY187" fmla="*/ 585 h 1043"/>
                  <a:gd name="connsiteX188" fmla="*/ 3147 w 5408"/>
                  <a:gd name="connsiteY188" fmla="*/ 643 h 1043"/>
                  <a:gd name="connsiteX189" fmla="*/ 3186 w 5408"/>
                  <a:gd name="connsiteY189" fmla="*/ 701 h 1043"/>
                  <a:gd name="connsiteX190" fmla="*/ 3223 w 5408"/>
                  <a:gd name="connsiteY190" fmla="*/ 755 h 1043"/>
                  <a:gd name="connsiteX191" fmla="*/ 3265 w 5408"/>
                  <a:gd name="connsiteY191" fmla="*/ 805 h 1043"/>
                  <a:gd name="connsiteX192" fmla="*/ 3306 w 5408"/>
                  <a:gd name="connsiteY192" fmla="*/ 848 h 1043"/>
                  <a:gd name="connsiteX193" fmla="*/ 3349 w 5408"/>
                  <a:gd name="connsiteY193" fmla="*/ 886 h 1043"/>
                  <a:gd name="connsiteX194" fmla="*/ 3395 w 5408"/>
                  <a:gd name="connsiteY194" fmla="*/ 917 h 1043"/>
                  <a:gd name="connsiteX195" fmla="*/ 3444 w 5408"/>
                  <a:gd name="connsiteY195" fmla="*/ 939 h 1043"/>
                  <a:gd name="connsiteX196" fmla="*/ 3498 w 5408"/>
                  <a:gd name="connsiteY196" fmla="*/ 952 h 1043"/>
                  <a:gd name="connsiteX197" fmla="*/ 3554 w 5408"/>
                  <a:gd name="connsiteY197" fmla="*/ 956 h 1043"/>
                  <a:gd name="connsiteX198" fmla="*/ 3609 w 5408"/>
                  <a:gd name="connsiteY198" fmla="*/ 950 h 1043"/>
                  <a:gd name="connsiteX199" fmla="*/ 3659 w 5408"/>
                  <a:gd name="connsiteY199" fmla="*/ 935 h 1043"/>
                  <a:gd name="connsiteX200" fmla="*/ 3706 w 5408"/>
                  <a:gd name="connsiteY200" fmla="*/ 915 h 1043"/>
                  <a:gd name="connsiteX201" fmla="*/ 3750 w 5408"/>
                  <a:gd name="connsiteY201" fmla="*/ 884 h 1043"/>
                  <a:gd name="connsiteX202" fmla="*/ 3789 w 5408"/>
                  <a:gd name="connsiteY202" fmla="*/ 848 h 1043"/>
                  <a:gd name="connsiteX203" fmla="*/ 3826 w 5408"/>
                  <a:gd name="connsiteY203" fmla="*/ 807 h 1043"/>
                  <a:gd name="connsiteX204" fmla="*/ 3861 w 5408"/>
                  <a:gd name="connsiteY204" fmla="*/ 759 h 1043"/>
                  <a:gd name="connsiteX205" fmla="*/ 3894 w 5408"/>
                  <a:gd name="connsiteY205" fmla="*/ 709 h 1043"/>
                  <a:gd name="connsiteX206" fmla="*/ 3927 w 5408"/>
                  <a:gd name="connsiteY206" fmla="*/ 655 h 1043"/>
                  <a:gd name="connsiteX207" fmla="*/ 3960 w 5408"/>
                  <a:gd name="connsiteY207" fmla="*/ 597 h 1043"/>
                  <a:gd name="connsiteX208" fmla="*/ 3993 w 5408"/>
                  <a:gd name="connsiteY208" fmla="*/ 537 h 1043"/>
                  <a:gd name="connsiteX209" fmla="*/ 4022 w 5408"/>
                  <a:gd name="connsiteY209" fmla="*/ 483 h 1043"/>
                  <a:gd name="connsiteX210" fmla="*/ 4084 w 5408"/>
                  <a:gd name="connsiteY210" fmla="*/ 375 h 1043"/>
                  <a:gd name="connsiteX211" fmla="*/ 4154 w 5408"/>
                  <a:gd name="connsiteY211" fmla="*/ 272 h 1043"/>
                  <a:gd name="connsiteX212" fmla="*/ 4192 w 5408"/>
                  <a:gd name="connsiteY212" fmla="*/ 224 h 1043"/>
                  <a:gd name="connsiteX213" fmla="*/ 4233 w 5408"/>
                  <a:gd name="connsiteY213" fmla="*/ 178 h 1043"/>
                  <a:gd name="connsiteX214" fmla="*/ 4276 w 5408"/>
                  <a:gd name="connsiteY214" fmla="*/ 137 h 1043"/>
                  <a:gd name="connsiteX215" fmla="*/ 4324 w 5408"/>
                  <a:gd name="connsiteY215" fmla="*/ 100 h 1043"/>
                  <a:gd name="connsiteX216" fmla="*/ 4375 w 5408"/>
                  <a:gd name="connsiteY216" fmla="*/ 66 h 1043"/>
                  <a:gd name="connsiteX217" fmla="*/ 4433 w 5408"/>
                  <a:gd name="connsiteY217" fmla="*/ 39 h 1043"/>
                  <a:gd name="connsiteX218" fmla="*/ 4493 w 5408"/>
                  <a:gd name="connsiteY218" fmla="*/ 19 h 1043"/>
                  <a:gd name="connsiteX219" fmla="*/ 4559 w 5408"/>
                  <a:gd name="connsiteY219" fmla="*/ 6 h 1043"/>
                  <a:gd name="connsiteX220" fmla="*/ 4631 w 5408"/>
                  <a:gd name="connsiteY220" fmla="*/ 0 h 1043"/>
                  <a:gd name="connsiteX0" fmla="*/ 4631 w 5313"/>
                  <a:gd name="connsiteY0" fmla="*/ 0 h 1043"/>
                  <a:gd name="connsiteX1" fmla="*/ 4681 w 5313"/>
                  <a:gd name="connsiteY1" fmla="*/ 0 h 1043"/>
                  <a:gd name="connsiteX2" fmla="*/ 4710 w 5313"/>
                  <a:gd name="connsiteY2" fmla="*/ 4 h 1043"/>
                  <a:gd name="connsiteX3" fmla="*/ 4741 w 5313"/>
                  <a:gd name="connsiteY3" fmla="*/ 13 h 1043"/>
                  <a:gd name="connsiteX4" fmla="*/ 4778 w 5313"/>
                  <a:gd name="connsiteY4" fmla="*/ 23 h 1043"/>
                  <a:gd name="connsiteX5" fmla="*/ 4819 w 5313"/>
                  <a:gd name="connsiteY5" fmla="*/ 39 h 1043"/>
                  <a:gd name="connsiteX6" fmla="*/ 4863 w 5313"/>
                  <a:gd name="connsiteY6" fmla="*/ 60 h 1043"/>
                  <a:gd name="connsiteX7" fmla="*/ 4910 w 5313"/>
                  <a:gd name="connsiteY7" fmla="*/ 89 h 1043"/>
                  <a:gd name="connsiteX8" fmla="*/ 4960 w 5313"/>
                  <a:gd name="connsiteY8" fmla="*/ 124 h 1043"/>
                  <a:gd name="connsiteX9" fmla="*/ 5009 w 5313"/>
                  <a:gd name="connsiteY9" fmla="*/ 170 h 1043"/>
                  <a:gd name="connsiteX10" fmla="*/ 5061 w 5313"/>
                  <a:gd name="connsiteY10" fmla="*/ 224 h 1043"/>
                  <a:gd name="connsiteX11" fmla="*/ 5112 w 5313"/>
                  <a:gd name="connsiteY11" fmla="*/ 286 h 1043"/>
                  <a:gd name="connsiteX12" fmla="*/ 5313 w 5313"/>
                  <a:gd name="connsiteY12" fmla="*/ 633 h 1043"/>
                  <a:gd name="connsiteX13" fmla="*/ 5042 w 5313"/>
                  <a:gd name="connsiteY13" fmla="*/ 336 h 1043"/>
                  <a:gd name="connsiteX14" fmla="*/ 4993 w 5313"/>
                  <a:gd name="connsiteY14" fmla="*/ 276 h 1043"/>
                  <a:gd name="connsiteX15" fmla="*/ 4945 w 5313"/>
                  <a:gd name="connsiteY15" fmla="*/ 228 h 1043"/>
                  <a:gd name="connsiteX16" fmla="*/ 4900 w 5313"/>
                  <a:gd name="connsiteY16" fmla="*/ 189 h 1043"/>
                  <a:gd name="connsiteX17" fmla="*/ 4858 w 5313"/>
                  <a:gd name="connsiteY17" fmla="*/ 158 h 1043"/>
                  <a:gd name="connsiteX18" fmla="*/ 4819 w 5313"/>
                  <a:gd name="connsiteY18" fmla="*/ 135 h 1043"/>
                  <a:gd name="connsiteX19" fmla="*/ 4770 w 5313"/>
                  <a:gd name="connsiteY19" fmla="*/ 112 h 1043"/>
                  <a:gd name="connsiteX20" fmla="*/ 4726 w 5313"/>
                  <a:gd name="connsiteY20" fmla="*/ 98 h 1043"/>
                  <a:gd name="connsiteX21" fmla="*/ 4691 w 5313"/>
                  <a:gd name="connsiteY21" fmla="*/ 89 h 1043"/>
                  <a:gd name="connsiteX22" fmla="*/ 4662 w 5313"/>
                  <a:gd name="connsiteY22" fmla="*/ 87 h 1043"/>
                  <a:gd name="connsiteX23" fmla="*/ 4635 w 5313"/>
                  <a:gd name="connsiteY23" fmla="*/ 87 h 1043"/>
                  <a:gd name="connsiteX24" fmla="*/ 4569 w 5313"/>
                  <a:gd name="connsiteY24" fmla="*/ 93 h 1043"/>
                  <a:gd name="connsiteX25" fmla="*/ 4507 w 5313"/>
                  <a:gd name="connsiteY25" fmla="*/ 106 h 1043"/>
                  <a:gd name="connsiteX26" fmla="*/ 4452 w 5313"/>
                  <a:gd name="connsiteY26" fmla="*/ 127 h 1043"/>
                  <a:gd name="connsiteX27" fmla="*/ 4400 w 5313"/>
                  <a:gd name="connsiteY27" fmla="*/ 154 h 1043"/>
                  <a:gd name="connsiteX28" fmla="*/ 4353 w 5313"/>
                  <a:gd name="connsiteY28" fmla="*/ 187 h 1043"/>
                  <a:gd name="connsiteX29" fmla="*/ 4309 w 5313"/>
                  <a:gd name="connsiteY29" fmla="*/ 224 h 1043"/>
                  <a:gd name="connsiteX30" fmla="*/ 4270 w 5313"/>
                  <a:gd name="connsiteY30" fmla="*/ 268 h 1043"/>
                  <a:gd name="connsiteX31" fmla="*/ 4231 w 5313"/>
                  <a:gd name="connsiteY31" fmla="*/ 313 h 1043"/>
                  <a:gd name="connsiteX32" fmla="*/ 4196 w 5313"/>
                  <a:gd name="connsiteY32" fmla="*/ 363 h 1043"/>
                  <a:gd name="connsiteX33" fmla="*/ 4163 w 5313"/>
                  <a:gd name="connsiteY33" fmla="*/ 415 h 1043"/>
                  <a:gd name="connsiteX34" fmla="*/ 4101 w 5313"/>
                  <a:gd name="connsiteY34" fmla="*/ 523 h 1043"/>
                  <a:gd name="connsiteX35" fmla="*/ 4008 w 5313"/>
                  <a:gd name="connsiteY35" fmla="*/ 691 h 1043"/>
                  <a:gd name="connsiteX36" fmla="*/ 3975 w 5313"/>
                  <a:gd name="connsiteY36" fmla="*/ 747 h 1043"/>
                  <a:gd name="connsiteX37" fmla="*/ 3940 w 5313"/>
                  <a:gd name="connsiteY37" fmla="*/ 798 h 1043"/>
                  <a:gd name="connsiteX38" fmla="*/ 3905 w 5313"/>
                  <a:gd name="connsiteY38" fmla="*/ 848 h 1043"/>
                  <a:gd name="connsiteX39" fmla="*/ 3865 w 5313"/>
                  <a:gd name="connsiteY39" fmla="*/ 894 h 1043"/>
                  <a:gd name="connsiteX40" fmla="*/ 3824 w 5313"/>
                  <a:gd name="connsiteY40" fmla="*/ 935 h 1043"/>
                  <a:gd name="connsiteX41" fmla="*/ 3779 w 5313"/>
                  <a:gd name="connsiteY41" fmla="*/ 971 h 1043"/>
                  <a:gd name="connsiteX42" fmla="*/ 3729 w 5313"/>
                  <a:gd name="connsiteY42" fmla="*/ 1000 h 1043"/>
                  <a:gd name="connsiteX43" fmla="*/ 3677 w 5313"/>
                  <a:gd name="connsiteY43" fmla="*/ 1022 h 1043"/>
                  <a:gd name="connsiteX44" fmla="*/ 3620 w 5313"/>
                  <a:gd name="connsiteY44" fmla="*/ 1037 h 1043"/>
                  <a:gd name="connsiteX45" fmla="*/ 3556 w 5313"/>
                  <a:gd name="connsiteY45" fmla="*/ 1043 h 1043"/>
                  <a:gd name="connsiteX46" fmla="*/ 3547 w 5313"/>
                  <a:gd name="connsiteY46" fmla="*/ 1043 h 1043"/>
                  <a:gd name="connsiteX47" fmla="*/ 3485 w 5313"/>
                  <a:gd name="connsiteY47" fmla="*/ 1039 h 1043"/>
                  <a:gd name="connsiteX48" fmla="*/ 3426 w 5313"/>
                  <a:gd name="connsiteY48" fmla="*/ 1025 h 1043"/>
                  <a:gd name="connsiteX49" fmla="*/ 3372 w 5313"/>
                  <a:gd name="connsiteY49" fmla="*/ 1002 h 1043"/>
                  <a:gd name="connsiteX50" fmla="*/ 3320 w 5313"/>
                  <a:gd name="connsiteY50" fmla="*/ 973 h 1043"/>
                  <a:gd name="connsiteX51" fmla="*/ 3273 w 5313"/>
                  <a:gd name="connsiteY51" fmla="*/ 935 h 1043"/>
                  <a:gd name="connsiteX52" fmla="*/ 3229 w 5313"/>
                  <a:gd name="connsiteY52" fmla="*/ 894 h 1043"/>
                  <a:gd name="connsiteX53" fmla="*/ 3186 w 5313"/>
                  <a:gd name="connsiteY53" fmla="*/ 846 h 1043"/>
                  <a:gd name="connsiteX54" fmla="*/ 3147 w 5313"/>
                  <a:gd name="connsiteY54" fmla="*/ 796 h 1043"/>
                  <a:gd name="connsiteX55" fmla="*/ 3108 w 5313"/>
                  <a:gd name="connsiteY55" fmla="*/ 740 h 1043"/>
                  <a:gd name="connsiteX56" fmla="*/ 3070 w 5313"/>
                  <a:gd name="connsiteY56" fmla="*/ 684 h 1043"/>
                  <a:gd name="connsiteX57" fmla="*/ 2965 w 5313"/>
                  <a:gd name="connsiteY57" fmla="*/ 510 h 1043"/>
                  <a:gd name="connsiteX58" fmla="*/ 2928 w 5313"/>
                  <a:gd name="connsiteY58" fmla="*/ 452 h 1043"/>
                  <a:gd name="connsiteX59" fmla="*/ 2891 w 5313"/>
                  <a:gd name="connsiteY59" fmla="*/ 396 h 1043"/>
                  <a:gd name="connsiteX60" fmla="*/ 2854 w 5313"/>
                  <a:gd name="connsiteY60" fmla="*/ 342 h 1043"/>
                  <a:gd name="connsiteX61" fmla="*/ 2814 w 5313"/>
                  <a:gd name="connsiteY61" fmla="*/ 292 h 1043"/>
                  <a:gd name="connsiteX62" fmla="*/ 2773 w 5313"/>
                  <a:gd name="connsiteY62" fmla="*/ 247 h 1043"/>
                  <a:gd name="connsiteX63" fmla="*/ 2732 w 5313"/>
                  <a:gd name="connsiteY63" fmla="*/ 205 h 1043"/>
                  <a:gd name="connsiteX64" fmla="*/ 2686 w 5313"/>
                  <a:gd name="connsiteY64" fmla="*/ 168 h 1043"/>
                  <a:gd name="connsiteX65" fmla="*/ 2639 w 5313"/>
                  <a:gd name="connsiteY65" fmla="*/ 139 h 1043"/>
                  <a:gd name="connsiteX66" fmla="*/ 2587 w 5313"/>
                  <a:gd name="connsiteY66" fmla="*/ 116 h 1043"/>
                  <a:gd name="connsiteX67" fmla="*/ 2532 w 5313"/>
                  <a:gd name="connsiteY67" fmla="*/ 100 h 1043"/>
                  <a:gd name="connsiteX68" fmla="*/ 2474 w 5313"/>
                  <a:gd name="connsiteY68" fmla="*/ 91 h 1043"/>
                  <a:gd name="connsiteX69" fmla="*/ 2410 w 5313"/>
                  <a:gd name="connsiteY69" fmla="*/ 93 h 1043"/>
                  <a:gd name="connsiteX70" fmla="*/ 2342 w 5313"/>
                  <a:gd name="connsiteY70" fmla="*/ 104 h 1043"/>
                  <a:gd name="connsiteX71" fmla="*/ 2280 w 5313"/>
                  <a:gd name="connsiteY71" fmla="*/ 122 h 1043"/>
                  <a:gd name="connsiteX72" fmla="*/ 2222 w 5313"/>
                  <a:gd name="connsiteY72" fmla="*/ 147 h 1043"/>
                  <a:gd name="connsiteX73" fmla="*/ 2168 w 5313"/>
                  <a:gd name="connsiteY73" fmla="*/ 180 h 1043"/>
                  <a:gd name="connsiteX74" fmla="*/ 2117 w 5313"/>
                  <a:gd name="connsiteY74" fmla="*/ 218 h 1043"/>
                  <a:gd name="connsiteX75" fmla="*/ 2071 w 5313"/>
                  <a:gd name="connsiteY75" fmla="*/ 261 h 1043"/>
                  <a:gd name="connsiteX76" fmla="*/ 2026 w 5313"/>
                  <a:gd name="connsiteY76" fmla="*/ 307 h 1043"/>
                  <a:gd name="connsiteX77" fmla="*/ 1984 w 5313"/>
                  <a:gd name="connsiteY77" fmla="*/ 359 h 1043"/>
                  <a:gd name="connsiteX78" fmla="*/ 1945 w 5313"/>
                  <a:gd name="connsiteY78" fmla="*/ 413 h 1043"/>
                  <a:gd name="connsiteX79" fmla="*/ 1908 w 5313"/>
                  <a:gd name="connsiteY79" fmla="*/ 467 h 1043"/>
                  <a:gd name="connsiteX80" fmla="*/ 1871 w 5313"/>
                  <a:gd name="connsiteY80" fmla="*/ 523 h 1043"/>
                  <a:gd name="connsiteX81" fmla="*/ 1834 w 5313"/>
                  <a:gd name="connsiteY81" fmla="*/ 581 h 1043"/>
                  <a:gd name="connsiteX82" fmla="*/ 1799 w 5313"/>
                  <a:gd name="connsiteY82" fmla="*/ 637 h 1043"/>
                  <a:gd name="connsiteX83" fmla="*/ 1724 w 5313"/>
                  <a:gd name="connsiteY83" fmla="*/ 749 h 1043"/>
                  <a:gd name="connsiteX84" fmla="*/ 1685 w 5313"/>
                  <a:gd name="connsiteY84" fmla="*/ 801 h 1043"/>
                  <a:gd name="connsiteX85" fmla="*/ 1644 w 5313"/>
                  <a:gd name="connsiteY85" fmla="*/ 850 h 1043"/>
                  <a:gd name="connsiteX86" fmla="*/ 1600 w 5313"/>
                  <a:gd name="connsiteY86" fmla="*/ 896 h 1043"/>
                  <a:gd name="connsiteX87" fmla="*/ 1553 w 5313"/>
                  <a:gd name="connsiteY87" fmla="*/ 937 h 1043"/>
                  <a:gd name="connsiteX88" fmla="*/ 1503 w 5313"/>
                  <a:gd name="connsiteY88" fmla="*/ 973 h 1043"/>
                  <a:gd name="connsiteX89" fmla="*/ 1450 w 5313"/>
                  <a:gd name="connsiteY89" fmla="*/ 1002 h 1043"/>
                  <a:gd name="connsiteX90" fmla="*/ 1394 w 5313"/>
                  <a:gd name="connsiteY90" fmla="*/ 1025 h 1043"/>
                  <a:gd name="connsiteX91" fmla="*/ 1330 w 5313"/>
                  <a:gd name="connsiteY91" fmla="*/ 1037 h 1043"/>
                  <a:gd name="connsiteX92" fmla="*/ 1264 w 5313"/>
                  <a:gd name="connsiteY92" fmla="*/ 1043 h 1043"/>
                  <a:gd name="connsiteX93" fmla="*/ 1258 w 5313"/>
                  <a:gd name="connsiteY93" fmla="*/ 1043 h 1043"/>
                  <a:gd name="connsiteX94" fmla="*/ 1190 w 5313"/>
                  <a:gd name="connsiteY94" fmla="*/ 1039 h 1043"/>
                  <a:gd name="connsiteX95" fmla="*/ 1128 w 5313"/>
                  <a:gd name="connsiteY95" fmla="*/ 1027 h 1043"/>
                  <a:gd name="connsiteX96" fmla="*/ 1070 w 5313"/>
                  <a:gd name="connsiteY96" fmla="*/ 1008 h 1043"/>
                  <a:gd name="connsiteX97" fmla="*/ 1018 w 5313"/>
                  <a:gd name="connsiteY97" fmla="*/ 983 h 1043"/>
                  <a:gd name="connsiteX98" fmla="*/ 971 w 5313"/>
                  <a:gd name="connsiteY98" fmla="*/ 952 h 1043"/>
                  <a:gd name="connsiteX99" fmla="*/ 925 w 5313"/>
                  <a:gd name="connsiteY99" fmla="*/ 915 h 1043"/>
                  <a:gd name="connsiteX100" fmla="*/ 884 w 5313"/>
                  <a:gd name="connsiteY100" fmla="*/ 873 h 1043"/>
                  <a:gd name="connsiteX101" fmla="*/ 847 w 5313"/>
                  <a:gd name="connsiteY101" fmla="*/ 828 h 1043"/>
                  <a:gd name="connsiteX102" fmla="*/ 810 w 5313"/>
                  <a:gd name="connsiteY102" fmla="*/ 780 h 1043"/>
                  <a:gd name="connsiteX103" fmla="*/ 777 w 5313"/>
                  <a:gd name="connsiteY103" fmla="*/ 728 h 1043"/>
                  <a:gd name="connsiteX104" fmla="*/ 742 w 5313"/>
                  <a:gd name="connsiteY104" fmla="*/ 674 h 1043"/>
                  <a:gd name="connsiteX105" fmla="*/ 711 w 5313"/>
                  <a:gd name="connsiteY105" fmla="*/ 618 h 1043"/>
                  <a:gd name="connsiteX106" fmla="*/ 678 w 5313"/>
                  <a:gd name="connsiteY106" fmla="*/ 560 h 1043"/>
                  <a:gd name="connsiteX107" fmla="*/ 616 w 5313"/>
                  <a:gd name="connsiteY107" fmla="*/ 448 h 1043"/>
                  <a:gd name="connsiteX108" fmla="*/ 547 w 5313"/>
                  <a:gd name="connsiteY108" fmla="*/ 340 h 1043"/>
                  <a:gd name="connsiteX109" fmla="*/ 504 w 5313"/>
                  <a:gd name="connsiteY109" fmla="*/ 284 h 1043"/>
                  <a:gd name="connsiteX110" fmla="*/ 457 w 5313"/>
                  <a:gd name="connsiteY110" fmla="*/ 239 h 1043"/>
                  <a:gd name="connsiteX111" fmla="*/ 409 w 5313"/>
                  <a:gd name="connsiteY111" fmla="*/ 199 h 1043"/>
                  <a:gd name="connsiteX112" fmla="*/ 358 w 5313"/>
                  <a:gd name="connsiteY112" fmla="*/ 168 h 1043"/>
                  <a:gd name="connsiteX113" fmla="*/ 308 w 5313"/>
                  <a:gd name="connsiteY113" fmla="*/ 145 h 1043"/>
                  <a:gd name="connsiteX114" fmla="*/ 256 w 5313"/>
                  <a:gd name="connsiteY114" fmla="*/ 127 h 1043"/>
                  <a:gd name="connsiteX115" fmla="*/ 209 w 5313"/>
                  <a:gd name="connsiteY115" fmla="*/ 112 h 1043"/>
                  <a:gd name="connsiteX116" fmla="*/ 163 w 5313"/>
                  <a:gd name="connsiteY116" fmla="*/ 104 h 1043"/>
                  <a:gd name="connsiteX117" fmla="*/ 122 w 5313"/>
                  <a:gd name="connsiteY117" fmla="*/ 100 h 1043"/>
                  <a:gd name="connsiteX118" fmla="*/ 85 w 5313"/>
                  <a:gd name="connsiteY118" fmla="*/ 95 h 1043"/>
                  <a:gd name="connsiteX119" fmla="*/ 31 w 5313"/>
                  <a:gd name="connsiteY119" fmla="*/ 95 h 1043"/>
                  <a:gd name="connsiteX120" fmla="*/ 17 w 5313"/>
                  <a:gd name="connsiteY120" fmla="*/ 98 h 1043"/>
                  <a:gd name="connsiteX121" fmla="*/ 11 w 5313"/>
                  <a:gd name="connsiteY121" fmla="*/ 98 h 1043"/>
                  <a:gd name="connsiteX122" fmla="*/ 0 w 5313"/>
                  <a:gd name="connsiteY122" fmla="*/ 13 h 1043"/>
                  <a:gd name="connsiteX123" fmla="*/ 9 w 5313"/>
                  <a:gd name="connsiteY123" fmla="*/ 13 h 1043"/>
                  <a:gd name="connsiteX124" fmla="*/ 29 w 5313"/>
                  <a:gd name="connsiteY124" fmla="*/ 10 h 1043"/>
                  <a:gd name="connsiteX125" fmla="*/ 91 w 5313"/>
                  <a:gd name="connsiteY125" fmla="*/ 10 h 1043"/>
                  <a:gd name="connsiteX126" fmla="*/ 135 w 5313"/>
                  <a:gd name="connsiteY126" fmla="*/ 13 h 1043"/>
                  <a:gd name="connsiteX127" fmla="*/ 182 w 5313"/>
                  <a:gd name="connsiteY127" fmla="*/ 19 h 1043"/>
                  <a:gd name="connsiteX128" fmla="*/ 234 w 5313"/>
                  <a:gd name="connsiteY128" fmla="*/ 29 h 1043"/>
                  <a:gd name="connsiteX129" fmla="*/ 287 w 5313"/>
                  <a:gd name="connsiteY129" fmla="*/ 46 h 1043"/>
                  <a:gd name="connsiteX130" fmla="*/ 345 w 5313"/>
                  <a:gd name="connsiteY130" fmla="*/ 66 h 1043"/>
                  <a:gd name="connsiteX131" fmla="*/ 403 w 5313"/>
                  <a:gd name="connsiteY131" fmla="*/ 93 h 1043"/>
                  <a:gd name="connsiteX132" fmla="*/ 459 w 5313"/>
                  <a:gd name="connsiteY132" fmla="*/ 131 h 1043"/>
                  <a:gd name="connsiteX133" fmla="*/ 514 w 5313"/>
                  <a:gd name="connsiteY133" fmla="*/ 174 h 1043"/>
                  <a:gd name="connsiteX134" fmla="*/ 568 w 5313"/>
                  <a:gd name="connsiteY134" fmla="*/ 228 h 1043"/>
                  <a:gd name="connsiteX135" fmla="*/ 618 w 5313"/>
                  <a:gd name="connsiteY135" fmla="*/ 292 h 1043"/>
                  <a:gd name="connsiteX136" fmla="*/ 667 w 5313"/>
                  <a:gd name="connsiteY136" fmla="*/ 367 h 1043"/>
                  <a:gd name="connsiteX137" fmla="*/ 754 w 5313"/>
                  <a:gd name="connsiteY137" fmla="*/ 516 h 1043"/>
                  <a:gd name="connsiteX138" fmla="*/ 787 w 5313"/>
                  <a:gd name="connsiteY138" fmla="*/ 575 h 1043"/>
                  <a:gd name="connsiteX139" fmla="*/ 820 w 5313"/>
                  <a:gd name="connsiteY139" fmla="*/ 631 h 1043"/>
                  <a:gd name="connsiteX140" fmla="*/ 853 w 5313"/>
                  <a:gd name="connsiteY140" fmla="*/ 684 h 1043"/>
                  <a:gd name="connsiteX141" fmla="*/ 886 w 5313"/>
                  <a:gd name="connsiteY141" fmla="*/ 736 h 1043"/>
                  <a:gd name="connsiteX142" fmla="*/ 921 w 5313"/>
                  <a:gd name="connsiteY142" fmla="*/ 782 h 1043"/>
                  <a:gd name="connsiteX143" fmla="*/ 958 w 5313"/>
                  <a:gd name="connsiteY143" fmla="*/ 825 h 1043"/>
                  <a:gd name="connsiteX144" fmla="*/ 1000 w 5313"/>
                  <a:gd name="connsiteY144" fmla="*/ 863 h 1043"/>
                  <a:gd name="connsiteX145" fmla="*/ 1043 w 5313"/>
                  <a:gd name="connsiteY145" fmla="*/ 894 h 1043"/>
                  <a:gd name="connsiteX146" fmla="*/ 1090 w 5313"/>
                  <a:gd name="connsiteY146" fmla="*/ 921 h 1043"/>
                  <a:gd name="connsiteX147" fmla="*/ 1140 w 5313"/>
                  <a:gd name="connsiteY147" fmla="*/ 939 h 1043"/>
                  <a:gd name="connsiteX148" fmla="*/ 1196 w 5313"/>
                  <a:gd name="connsiteY148" fmla="*/ 952 h 1043"/>
                  <a:gd name="connsiteX149" fmla="*/ 1258 w 5313"/>
                  <a:gd name="connsiteY149" fmla="*/ 956 h 1043"/>
                  <a:gd name="connsiteX150" fmla="*/ 1264 w 5313"/>
                  <a:gd name="connsiteY150" fmla="*/ 956 h 1043"/>
                  <a:gd name="connsiteX151" fmla="*/ 1324 w 5313"/>
                  <a:gd name="connsiteY151" fmla="*/ 950 h 1043"/>
                  <a:gd name="connsiteX152" fmla="*/ 1380 w 5313"/>
                  <a:gd name="connsiteY152" fmla="*/ 935 h 1043"/>
                  <a:gd name="connsiteX153" fmla="*/ 1433 w 5313"/>
                  <a:gd name="connsiteY153" fmla="*/ 913 h 1043"/>
                  <a:gd name="connsiteX154" fmla="*/ 1481 w 5313"/>
                  <a:gd name="connsiteY154" fmla="*/ 884 h 1043"/>
                  <a:gd name="connsiteX155" fmla="*/ 1526 w 5313"/>
                  <a:gd name="connsiteY155" fmla="*/ 846 h 1043"/>
                  <a:gd name="connsiteX156" fmla="*/ 1569 w 5313"/>
                  <a:gd name="connsiteY156" fmla="*/ 803 h 1043"/>
                  <a:gd name="connsiteX157" fmla="*/ 1609 w 5313"/>
                  <a:gd name="connsiteY157" fmla="*/ 755 h 1043"/>
                  <a:gd name="connsiteX158" fmla="*/ 1648 w 5313"/>
                  <a:gd name="connsiteY158" fmla="*/ 703 h 1043"/>
                  <a:gd name="connsiteX159" fmla="*/ 1687 w 5313"/>
                  <a:gd name="connsiteY159" fmla="*/ 649 h 1043"/>
                  <a:gd name="connsiteX160" fmla="*/ 1799 w 5313"/>
                  <a:gd name="connsiteY160" fmla="*/ 475 h 1043"/>
                  <a:gd name="connsiteX161" fmla="*/ 1838 w 5313"/>
                  <a:gd name="connsiteY161" fmla="*/ 415 h 1043"/>
                  <a:gd name="connsiteX162" fmla="*/ 1879 w 5313"/>
                  <a:gd name="connsiteY162" fmla="*/ 357 h 1043"/>
                  <a:gd name="connsiteX163" fmla="*/ 1923 w 5313"/>
                  <a:gd name="connsiteY163" fmla="*/ 299 h 1043"/>
                  <a:gd name="connsiteX164" fmla="*/ 1968 w 5313"/>
                  <a:gd name="connsiteY164" fmla="*/ 245 h 1043"/>
                  <a:gd name="connsiteX165" fmla="*/ 2015 w 5313"/>
                  <a:gd name="connsiteY165" fmla="*/ 193 h 1043"/>
                  <a:gd name="connsiteX166" fmla="*/ 2069 w 5313"/>
                  <a:gd name="connsiteY166" fmla="*/ 145 h 1043"/>
                  <a:gd name="connsiteX167" fmla="*/ 2125 w 5313"/>
                  <a:gd name="connsiteY167" fmla="*/ 104 h 1043"/>
                  <a:gd name="connsiteX168" fmla="*/ 2187 w 5313"/>
                  <a:gd name="connsiteY168" fmla="*/ 69 h 1043"/>
                  <a:gd name="connsiteX169" fmla="*/ 2253 w 5313"/>
                  <a:gd name="connsiteY169" fmla="*/ 39 h 1043"/>
                  <a:gd name="connsiteX170" fmla="*/ 2325 w 5313"/>
                  <a:gd name="connsiteY170" fmla="*/ 19 h 1043"/>
                  <a:gd name="connsiteX171" fmla="*/ 2404 w 5313"/>
                  <a:gd name="connsiteY171" fmla="*/ 6 h 1043"/>
                  <a:gd name="connsiteX172" fmla="*/ 2474 w 5313"/>
                  <a:gd name="connsiteY172" fmla="*/ 4 h 1043"/>
                  <a:gd name="connsiteX173" fmla="*/ 2540 w 5313"/>
                  <a:gd name="connsiteY173" fmla="*/ 13 h 1043"/>
                  <a:gd name="connsiteX174" fmla="*/ 2600 w 5313"/>
                  <a:gd name="connsiteY174" fmla="*/ 27 h 1043"/>
                  <a:gd name="connsiteX175" fmla="*/ 2658 w 5313"/>
                  <a:gd name="connsiteY175" fmla="*/ 50 h 1043"/>
                  <a:gd name="connsiteX176" fmla="*/ 2711 w 5313"/>
                  <a:gd name="connsiteY176" fmla="*/ 81 h 1043"/>
                  <a:gd name="connsiteX177" fmla="*/ 2761 w 5313"/>
                  <a:gd name="connsiteY177" fmla="*/ 116 h 1043"/>
                  <a:gd name="connsiteX178" fmla="*/ 2806 w 5313"/>
                  <a:gd name="connsiteY178" fmla="*/ 158 h 1043"/>
                  <a:gd name="connsiteX179" fmla="*/ 2852 w 5313"/>
                  <a:gd name="connsiteY179" fmla="*/ 203 h 1043"/>
                  <a:gd name="connsiteX180" fmla="*/ 2893 w 5313"/>
                  <a:gd name="connsiteY180" fmla="*/ 251 h 1043"/>
                  <a:gd name="connsiteX181" fmla="*/ 2932 w 5313"/>
                  <a:gd name="connsiteY181" fmla="*/ 303 h 1043"/>
                  <a:gd name="connsiteX182" fmla="*/ 2969 w 5313"/>
                  <a:gd name="connsiteY182" fmla="*/ 357 h 1043"/>
                  <a:gd name="connsiteX183" fmla="*/ 3004 w 5313"/>
                  <a:gd name="connsiteY183" fmla="*/ 413 h 1043"/>
                  <a:gd name="connsiteX184" fmla="*/ 3039 w 5313"/>
                  <a:gd name="connsiteY184" fmla="*/ 467 h 1043"/>
                  <a:gd name="connsiteX185" fmla="*/ 3073 w 5313"/>
                  <a:gd name="connsiteY185" fmla="*/ 523 h 1043"/>
                  <a:gd name="connsiteX186" fmla="*/ 3110 w 5313"/>
                  <a:gd name="connsiteY186" fmla="*/ 585 h 1043"/>
                  <a:gd name="connsiteX187" fmla="*/ 3147 w 5313"/>
                  <a:gd name="connsiteY187" fmla="*/ 643 h 1043"/>
                  <a:gd name="connsiteX188" fmla="*/ 3186 w 5313"/>
                  <a:gd name="connsiteY188" fmla="*/ 701 h 1043"/>
                  <a:gd name="connsiteX189" fmla="*/ 3223 w 5313"/>
                  <a:gd name="connsiteY189" fmla="*/ 755 h 1043"/>
                  <a:gd name="connsiteX190" fmla="*/ 3265 w 5313"/>
                  <a:gd name="connsiteY190" fmla="*/ 805 h 1043"/>
                  <a:gd name="connsiteX191" fmla="*/ 3306 w 5313"/>
                  <a:gd name="connsiteY191" fmla="*/ 848 h 1043"/>
                  <a:gd name="connsiteX192" fmla="*/ 3349 w 5313"/>
                  <a:gd name="connsiteY192" fmla="*/ 886 h 1043"/>
                  <a:gd name="connsiteX193" fmla="*/ 3395 w 5313"/>
                  <a:gd name="connsiteY193" fmla="*/ 917 h 1043"/>
                  <a:gd name="connsiteX194" fmla="*/ 3444 w 5313"/>
                  <a:gd name="connsiteY194" fmla="*/ 939 h 1043"/>
                  <a:gd name="connsiteX195" fmla="*/ 3498 w 5313"/>
                  <a:gd name="connsiteY195" fmla="*/ 952 h 1043"/>
                  <a:gd name="connsiteX196" fmla="*/ 3554 w 5313"/>
                  <a:gd name="connsiteY196" fmla="*/ 956 h 1043"/>
                  <a:gd name="connsiteX197" fmla="*/ 3609 w 5313"/>
                  <a:gd name="connsiteY197" fmla="*/ 950 h 1043"/>
                  <a:gd name="connsiteX198" fmla="*/ 3659 w 5313"/>
                  <a:gd name="connsiteY198" fmla="*/ 935 h 1043"/>
                  <a:gd name="connsiteX199" fmla="*/ 3706 w 5313"/>
                  <a:gd name="connsiteY199" fmla="*/ 915 h 1043"/>
                  <a:gd name="connsiteX200" fmla="*/ 3750 w 5313"/>
                  <a:gd name="connsiteY200" fmla="*/ 884 h 1043"/>
                  <a:gd name="connsiteX201" fmla="*/ 3789 w 5313"/>
                  <a:gd name="connsiteY201" fmla="*/ 848 h 1043"/>
                  <a:gd name="connsiteX202" fmla="*/ 3826 w 5313"/>
                  <a:gd name="connsiteY202" fmla="*/ 807 h 1043"/>
                  <a:gd name="connsiteX203" fmla="*/ 3861 w 5313"/>
                  <a:gd name="connsiteY203" fmla="*/ 759 h 1043"/>
                  <a:gd name="connsiteX204" fmla="*/ 3894 w 5313"/>
                  <a:gd name="connsiteY204" fmla="*/ 709 h 1043"/>
                  <a:gd name="connsiteX205" fmla="*/ 3927 w 5313"/>
                  <a:gd name="connsiteY205" fmla="*/ 655 h 1043"/>
                  <a:gd name="connsiteX206" fmla="*/ 3960 w 5313"/>
                  <a:gd name="connsiteY206" fmla="*/ 597 h 1043"/>
                  <a:gd name="connsiteX207" fmla="*/ 3993 w 5313"/>
                  <a:gd name="connsiteY207" fmla="*/ 537 h 1043"/>
                  <a:gd name="connsiteX208" fmla="*/ 4022 w 5313"/>
                  <a:gd name="connsiteY208" fmla="*/ 483 h 1043"/>
                  <a:gd name="connsiteX209" fmla="*/ 4084 w 5313"/>
                  <a:gd name="connsiteY209" fmla="*/ 375 h 1043"/>
                  <a:gd name="connsiteX210" fmla="*/ 4154 w 5313"/>
                  <a:gd name="connsiteY210" fmla="*/ 272 h 1043"/>
                  <a:gd name="connsiteX211" fmla="*/ 4192 w 5313"/>
                  <a:gd name="connsiteY211" fmla="*/ 224 h 1043"/>
                  <a:gd name="connsiteX212" fmla="*/ 4233 w 5313"/>
                  <a:gd name="connsiteY212" fmla="*/ 178 h 1043"/>
                  <a:gd name="connsiteX213" fmla="*/ 4276 w 5313"/>
                  <a:gd name="connsiteY213" fmla="*/ 137 h 1043"/>
                  <a:gd name="connsiteX214" fmla="*/ 4324 w 5313"/>
                  <a:gd name="connsiteY214" fmla="*/ 100 h 1043"/>
                  <a:gd name="connsiteX215" fmla="*/ 4375 w 5313"/>
                  <a:gd name="connsiteY215" fmla="*/ 66 h 1043"/>
                  <a:gd name="connsiteX216" fmla="*/ 4433 w 5313"/>
                  <a:gd name="connsiteY216" fmla="*/ 39 h 1043"/>
                  <a:gd name="connsiteX217" fmla="*/ 4493 w 5313"/>
                  <a:gd name="connsiteY217" fmla="*/ 19 h 1043"/>
                  <a:gd name="connsiteX218" fmla="*/ 4559 w 5313"/>
                  <a:gd name="connsiteY218" fmla="*/ 6 h 1043"/>
                  <a:gd name="connsiteX219" fmla="*/ 4631 w 5313"/>
                  <a:gd name="connsiteY219" fmla="*/ 0 h 1043"/>
                  <a:gd name="connsiteX0" fmla="*/ 4631 w 5112"/>
                  <a:gd name="connsiteY0" fmla="*/ 0 h 1043"/>
                  <a:gd name="connsiteX1" fmla="*/ 4681 w 5112"/>
                  <a:gd name="connsiteY1" fmla="*/ 0 h 1043"/>
                  <a:gd name="connsiteX2" fmla="*/ 4710 w 5112"/>
                  <a:gd name="connsiteY2" fmla="*/ 4 h 1043"/>
                  <a:gd name="connsiteX3" fmla="*/ 4741 w 5112"/>
                  <a:gd name="connsiteY3" fmla="*/ 13 h 1043"/>
                  <a:gd name="connsiteX4" fmla="*/ 4778 w 5112"/>
                  <a:gd name="connsiteY4" fmla="*/ 23 h 1043"/>
                  <a:gd name="connsiteX5" fmla="*/ 4819 w 5112"/>
                  <a:gd name="connsiteY5" fmla="*/ 39 h 1043"/>
                  <a:gd name="connsiteX6" fmla="*/ 4863 w 5112"/>
                  <a:gd name="connsiteY6" fmla="*/ 60 h 1043"/>
                  <a:gd name="connsiteX7" fmla="*/ 4910 w 5112"/>
                  <a:gd name="connsiteY7" fmla="*/ 89 h 1043"/>
                  <a:gd name="connsiteX8" fmla="*/ 4960 w 5112"/>
                  <a:gd name="connsiteY8" fmla="*/ 124 h 1043"/>
                  <a:gd name="connsiteX9" fmla="*/ 5009 w 5112"/>
                  <a:gd name="connsiteY9" fmla="*/ 170 h 1043"/>
                  <a:gd name="connsiteX10" fmla="*/ 5061 w 5112"/>
                  <a:gd name="connsiteY10" fmla="*/ 224 h 1043"/>
                  <a:gd name="connsiteX11" fmla="*/ 5112 w 5112"/>
                  <a:gd name="connsiteY11" fmla="*/ 286 h 1043"/>
                  <a:gd name="connsiteX12" fmla="*/ 5042 w 5112"/>
                  <a:gd name="connsiteY12" fmla="*/ 336 h 1043"/>
                  <a:gd name="connsiteX13" fmla="*/ 4993 w 5112"/>
                  <a:gd name="connsiteY13" fmla="*/ 276 h 1043"/>
                  <a:gd name="connsiteX14" fmla="*/ 4945 w 5112"/>
                  <a:gd name="connsiteY14" fmla="*/ 228 h 1043"/>
                  <a:gd name="connsiteX15" fmla="*/ 4900 w 5112"/>
                  <a:gd name="connsiteY15" fmla="*/ 189 h 1043"/>
                  <a:gd name="connsiteX16" fmla="*/ 4858 w 5112"/>
                  <a:gd name="connsiteY16" fmla="*/ 158 h 1043"/>
                  <a:gd name="connsiteX17" fmla="*/ 4819 w 5112"/>
                  <a:gd name="connsiteY17" fmla="*/ 135 h 1043"/>
                  <a:gd name="connsiteX18" fmla="*/ 4770 w 5112"/>
                  <a:gd name="connsiteY18" fmla="*/ 112 h 1043"/>
                  <a:gd name="connsiteX19" fmla="*/ 4726 w 5112"/>
                  <a:gd name="connsiteY19" fmla="*/ 98 h 1043"/>
                  <a:gd name="connsiteX20" fmla="*/ 4691 w 5112"/>
                  <a:gd name="connsiteY20" fmla="*/ 89 h 1043"/>
                  <a:gd name="connsiteX21" fmla="*/ 4662 w 5112"/>
                  <a:gd name="connsiteY21" fmla="*/ 87 h 1043"/>
                  <a:gd name="connsiteX22" fmla="*/ 4635 w 5112"/>
                  <a:gd name="connsiteY22" fmla="*/ 87 h 1043"/>
                  <a:gd name="connsiteX23" fmla="*/ 4569 w 5112"/>
                  <a:gd name="connsiteY23" fmla="*/ 93 h 1043"/>
                  <a:gd name="connsiteX24" fmla="*/ 4507 w 5112"/>
                  <a:gd name="connsiteY24" fmla="*/ 106 h 1043"/>
                  <a:gd name="connsiteX25" fmla="*/ 4452 w 5112"/>
                  <a:gd name="connsiteY25" fmla="*/ 127 h 1043"/>
                  <a:gd name="connsiteX26" fmla="*/ 4400 w 5112"/>
                  <a:gd name="connsiteY26" fmla="*/ 154 h 1043"/>
                  <a:gd name="connsiteX27" fmla="*/ 4353 w 5112"/>
                  <a:gd name="connsiteY27" fmla="*/ 187 h 1043"/>
                  <a:gd name="connsiteX28" fmla="*/ 4309 w 5112"/>
                  <a:gd name="connsiteY28" fmla="*/ 224 h 1043"/>
                  <a:gd name="connsiteX29" fmla="*/ 4270 w 5112"/>
                  <a:gd name="connsiteY29" fmla="*/ 268 h 1043"/>
                  <a:gd name="connsiteX30" fmla="*/ 4231 w 5112"/>
                  <a:gd name="connsiteY30" fmla="*/ 313 h 1043"/>
                  <a:gd name="connsiteX31" fmla="*/ 4196 w 5112"/>
                  <a:gd name="connsiteY31" fmla="*/ 363 h 1043"/>
                  <a:gd name="connsiteX32" fmla="*/ 4163 w 5112"/>
                  <a:gd name="connsiteY32" fmla="*/ 415 h 1043"/>
                  <a:gd name="connsiteX33" fmla="*/ 4101 w 5112"/>
                  <a:gd name="connsiteY33" fmla="*/ 523 h 1043"/>
                  <a:gd name="connsiteX34" fmla="*/ 4008 w 5112"/>
                  <a:gd name="connsiteY34" fmla="*/ 691 h 1043"/>
                  <a:gd name="connsiteX35" fmla="*/ 3975 w 5112"/>
                  <a:gd name="connsiteY35" fmla="*/ 747 h 1043"/>
                  <a:gd name="connsiteX36" fmla="*/ 3940 w 5112"/>
                  <a:gd name="connsiteY36" fmla="*/ 798 h 1043"/>
                  <a:gd name="connsiteX37" fmla="*/ 3905 w 5112"/>
                  <a:gd name="connsiteY37" fmla="*/ 848 h 1043"/>
                  <a:gd name="connsiteX38" fmla="*/ 3865 w 5112"/>
                  <a:gd name="connsiteY38" fmla="*/ 894 h 1043"/>
                  <a:gd name="connsiteX39" fmla="*/ 3824 w 5112"/>
                  <a:gd name="connsiteY39" fmla="*/ 935 h 1043"/>
                  <a:gd name="connsiteX40" fmla="*/ 3779 w 5112"/>
                  <a:gd name="connsiteY40" fmla="*/ 971 h 1043"/>
                  <a:gd name="connsiteX41" fmla="*/ 3729 w 5112"/>
                  <a:gd name="connsiteY41" fmla="*/ 1000 h 1043"/>
                  <a:gd name="connsiteX42" fmla="*/ 3677 w 5112"/>
                  <a:gd name="connsiteY42" fmla="*/ 1022 h 1043"/>
                  <a:gd name="connsiteX43" fmla="*/ 3620 w 5112"/>
                  <a:gd name="connsiteY43" fmla="*/ 1037 h 1043"/>
                  <a:gd name="connsiteX44" fmla="*/ 3556 w 5112"/>
                  <a:gd name="connsiteY44" fmla="*/ 1043 h 1043"/>
                  <a:gd name="connsiteX45" fmla="*/ 3547 w 5112"/>
                  <a:gd name="connsiteY45" fmla="*/ 1043 h 1043"/>
                  <a:gd name="connsiteX46" fmla="*/ 3485 w 5112"/>
                  <a:gd name="connsiteY46" fmla="*/ 1039 h 1043"/>
                  <a:gd name="connsiteX47" fmla="*/ 3426 w 5112"/>
                  <a:gd name="connsiteY47" fmla="*/ 1025 h 1043"/>
                  <a:gd name="connsiteX48" fmla="*/ 3372 w 5112"/>
                  <a:gd name="connsiteY48" fmla="*/ 1002 h 1043"/>
                  <a:gd name="connsiteX49" fmla="*/ 3320 w 5112"/>
                  <a:gd name="connsiteY49" fmla="*/ 973 h 1043"/>
                  <a:gd name="connsiteX50" fmla="*/ 3273 w 5112"/>
                  <a:gd name="connsiteY50" fmla="*/ 935 h 1043"/>
                  <a:gd name="connsiteX51" fmla="*/ 3229 w 5112"/>
                  <a:gd name="connsiteY51" fmla="*/ 894 h 1043"/>
                  <a:gd name="connsiteX52" fmla="*/ 3186 w 5112"/>
                  <a:gd name="connsiteY52" fmla="*/ 846 h 1043"/>
                  <a:gd name="connsiteX53" fmla="*/ 3147 w 5112"/>
                  <a:gd name="connsiteY53" fmla="*/ 796 h 1043"/>
                  <a:gd name="connsiteX54" fmla="*/ 3108 w 5112"/>
                  <a:gd name="connsiteY54" fmla="*/ 740 h 1043"/>
                  <a:gd name="connsiteX55" fmla="*/ 3070 w 5112"/>
                  <a:gd name="connsiteY55" fmla="*/ 684 h 1043"/>
                  <a:gd name="connsiteX56" fmla="*/ 2965 w 5112"/>
                  <a:gd name="connsiteY56" fmla="*/ 510 h 1043"/>
                  <a:gd name="connsiteX57" fmla="*/ 2928 w 5112"/>
                  <a:gd name="connsiteY57" fmla="*/ 452 h 1043"/>
                  <a:gd name="connsiteX58" fmla="*/ 2891 w 5112"/>
                  <a:gd name="connsiteY58" fmla="*/ 396 h 1043"/>
                  <a:gd name="connsiteX59" fmla="*/ 2854 w 5112"/>
                  <a:gd name="connsiteY59" fmla="*/ 342 h 1043"/>
                  <a:gd name="connsiteX60" fmla="*/ 2814 w 5112"/>
                  <a:gd name="connsiteY60" fmla="*/ 292 h 1043"/>
                  <a:gd name="connsiteX61" fmla="*/ 2773 w 5112"/>
                  <a:gd name="connsiteY61" fmla="*/ 247 h 1043"/>
                  <a:gd name="connsiteX62" fmla="*/ 2732 w 5112"/>
                  <a:gd name="connsiteY62" fmla="*/ 205 h 1043"/>
                  <a:gd name="connsiteX63" fmla="*/ 2686 w 5112"/>
                  <a:gd name="connsiteY63" fmla="*/ 168 h 1043"/>
                  <a:gd name="connsiteX64" fmla="*/ 2639 w 5112"/>
                  <a:gd name="connsiteY64" fmla="*/ 139 h 1043"/>
                  <a:gd name="connsiteX65" fmla="*/ 2587 w 5112"/>
                  <a:gd name="connsiteY65" fmla="*/ 116 h 1043"/>
                  <a:gd name="connsiteX66" fmla="*/ 2532 w 5112"/>
                  <a:gd name="connsiteY66" fmla="*/ 100 h 1043"/>
                  <a:gd name="connsiteX67" fmla="*/ 2474 w 5112"/>
                  <a:gd name="connsiteY67" fmla="*/ 91 h 1043"/>
                  <a:gd name="connsiteX68" fmla="*/ 2410 w 5112"/>
                  <a:gd name="connsiteY68" fmla="*/ 93 h 1043"/>
                  <a:gd name="connsiteX69" fmla="*/ 2342 w 5112"/>
                  <a:gd name="connsiteY69" fmla="*/ 104 h 1043"/>
                  <a:gd name="connsiteX70" fmla="*/ 2280 w 5112"/>
                  <a:gd name="connsiteY70" fmla="*/ 122 h 1043"/>
                  <a:gd name="connsiteX71" fmla="*/ 2222 w 5112"/>
                  <a:gd name="connsiteY71" fmla="*/ 147 h 1043"/>
                  <a:gd name="connsiteX72" fmla="*/ 2168 w 5112"/>
                  <a:gd name="connsiteY72" fmla="*/ 180 h 1043"/>
                  <a:gd name="connsiteX73" fmla="*/ 2117 w 5112"/>
                  <a:gd name="connsiteY73" fmla="*/ 218 h 1043"/>
                  <a:gd name="connsiteX74" fmla="*/ 2071 w 5112"/>
                  <a:gd name="connsiteY74" fmla="*/ 261 h 1043"/>
                  <a:gd name="connsiteX75" fmla="*/ 2026 w 5112"/>
                  <a:gd name="connsiteY75" fmla="*/ 307 h 1043"/>
                  <a:gd name="connsiteX76" fmla="*/ 1984 w 5112"/>
                  <a:gd name="connsiteY76" fmla="*/ 359 h 1043"/>
                  <a:gd name="connsiteX77" fmla="*/ 1945 w 5112"/>
                  <a:gd name="connsiteY77" fmla="*/ 413 h 1043"/>
                  <a:gd name="connsiteX78" fmla="*/ 1908 w 5112"/>
                  <a:gd name="connsiteY78" fmla="*/ 467 h 1043"/>
                  <a:gd name="connsiteX79" fmla="*/ 1871 w 5112"/>
                  <a:gd name="connsiteY79" fmla="*/ 523 h 1043"/>
                  <a:gd name="connsiteX80" fmla="*/ 1834 w 5112"/>
                  <a:gd name="connsiteY80" fmla="*/ 581 h 1043"/>
                  <a:gd name="connsiteX81" fmla="*/ 1799 w 5112"/>
                  <a:gd name="connsiteY81" fmla="*/ 637 h 1043"/>
                  <a:gd name="connsiteX82" fmla="*/ 1724 w 5112"/>
                  <a:gd name="connsiteY82" fmla="*/ 749 h 1043"/>
                  <a:gd name="connsiteX83" fmla="*/ 1685 w 5112"/>
                  <a:gd name="connsiteY83" fmla="*/ 801 h 1043"/>
                  <a:gd name="connsiteX84" fmla="*/ 1644 w 5112"/>
                  <a:gd name="connsiteY84" fmla="*/ 850 h 1043"/>
                  <a:gd name="connsiteX85" fmla="*/ 1600 w 5112"/>
                  <a:gd name="connsiteY85" fmla="*/ 896 h 1043"/>
                  <a:gd name="connsiteX86" fmla="*/ 1553 w 5112"/>
                  <a:gd name="connsiteY86" fmla="*/ 937 h 1043"/>
                  <a:gd name="connsiteX87" fmla="*/ 1503 w 5112"/>
                  <a:gd name="connsiteY87" fmla="*/ 973 h 1043"/>
                  <a:gd name="connsiteX88" fmla="*/ 1450 w 5112"/>
                  <a:gd name="connsiteY88" fmla="*/ 1002 h 1043"/>
                  <a:gd name="connsiteX89" fmla="*/ 1394 w 5112"/>
                  <a:gd name="connsiteY89" fmla="*/ 1025 h 1043"/>
                  <a:gd name="connsiteX90" fmla="*/ 1330 w 5112"/>
                  <a:gd name="connsiteY90" fmla="*/ 1037 h 1043"/>
                  <a:gd name="connsiteX91" fmla="*/ 1264 w 5112"/>
                  <a:gd name="connsiteY91" fmla="*/ 1043 h 1043"/>
                  <a:gd name="connsiteX92" fmla="*/ 1258 w 5112"/>
                  <a:gd name="connsiteY92" fmla="*/ 1043 h 1043"/>
                  <a:gd name="connsiteX93" fmla="*/ 1190 w 5112"/>
                  <a:gd name="connsiteY93" fmla="*/ 1039 h 1043"/>
                  <a:gd name="connsiteX94" fmla="*/ 1128 w 5112"/>
                  <a:gd name="connsiteY94" fmla="*/ 1027 h 1043"/>
                  <a:gd name="connsiteX95" fmla="*/ 1070 w 5112"/>
                  <a:gd name="connsiteY95" fmla="*/ 1008 h 1043"/>
                  <a:gd name="connsiteX96" fmla="*/ 1018 w 5112"/>
                  <a:gd name="connsiteY96" fmla="*/ 983 h 1043"/>
                  <a:gd name="connsiteX97" fmla="*/ 971 w 5112"/>
                  <a:gd name="connsiteY97" fmla="*/ 952 h 1043"/>
                  <a:gd name="connsiteX98" fmla="*/ 925 w 5112"/>
                  <a:gd name="connsiteY98" fmla="*/ 915 h 1043"/>
                  <a:gd name="connsiteX99" fmla="*/ 884 w 5112"/>
                  <a:gd name="connsiteY99" fmla="*/ 873 h 1043"/>
                  <a:gd name="connsiteX100" fmla="*/ 847 w 5112"/>
                  <a:gd name="connsiteY100" fmla="*/ 828 h 1043"/>
                  <a:gd name="connsiteX101" fmla="*/ 810 w 5112"/>
                  <a:gd name="connsiteY101" fmla="*/ 780 h 1043"/>
                  <a:gd name="connsiteX102" fmla="*/ 777 w 5112"/>
                  <a:gd name="connsiteY102" fmla="*/ 728 h 1043"/>
                  <a:gd name="connsiteX103" fmla="*/ 742 w 5112"/>
                  <a:gd name="connsiteY103" fmla="*/ 674 h 1043"/>
                  <a:gd name="connsiteX104" fmla="*/ 711 w 5112"/>
                  <a:gd name="connsiteY104" fmla="*/ 618 h 1043"/>
                  <a:gd name="connsiteX105" fmla="*/ 678 w 5112"/>
                  <a:gd name="connsiteY105" fmla="*/ 560 h 1043"/>
                  <a:gd name="connsiteX106" fmla="*/ 616 w 5112"/>
                  <a:gd name="connsiteY106" fmla="*/ 448 h 1043"/>
                  <a:gd name="connsiteX107" fmla="*/ 547 w 5112"/>
                  <a:gd name="connsiteY107" fmla="*/ 340 h 1043"/>
                  <a:gd name="connsiteX108" fmla="*/ 504 w 5112"/>
                  <a:gd name="connsiteY108" fmla="*/ 284 h 1043"/>
                  <a:gd name="connsiteX109" fmla="*/ 457 w 5112"/>
                  <a:gd name="connsiteY109" fmla="*/ 239 h 1043"/>
                  <a:gd name="connsiteX110" fmla="*/ 409 w 5112"/>
                  <a:gd name="connsiteY110" fmla="*/ 199 h 1043"/>
                  <a:gd name="connsiteX111" fmla="*/ 358 w 5112"/>
                  <a:gd name="connsiteY111" fmla="*/ 168 h 1043"/>
                  <a:gd name="connsiteX112" fmla="*/ 308 w 5112"/>
                  <a:gd name="connsiteY112" fmla="*/ 145 h 1043"/>
                  <a:gd name="connsiteX113" fmla="*/ 256 w 5112"/>
                  <a:gd name="connsiteY113" fmla="*/ 127 h 1043"/>
                  <a:gd name="connsiteX114" fmla="*/ 209 w 5112"/>
                  <a:gd name="connsiteY114" fmla="*/ 112 h 1043"/>
                  <a:gd name="connsiteX115" fmla="*/ 163 w 5112"/>
                  <a:gd name="connsiteY115" fmla="*/ 104 h 1043"/>
                  <a:gd name="connsiteX116" fmla="*/ 122 w 5112"/>
                  <a:gd name="connsiteY116" fmla="*/ 100 h 1043"/>
                  <a:gd name="connsiteX117" fmla="*/ 85 w 5112"/>
                  <a:gd name="connsiteY117" fmla="*/ 95 h 1043"/>
                  <a:gd name="connsiteX118" fmla="*/ 31 w 5112"/>
                  <a:gd name="connsiteY118" fmla="*/ 95 h 1043"/>
                  <a:gd name="connsiteX119" fmla="*/ 17 w 5112"/>
                  <a:gd name="connsiteY119" fmla="*/ 98 h 1043"/>
                  <a:gd name="connsiteX120" fmla="*/ 11 w 5112"/>
                  <a:gd name="connsiteY120" fmla="*/ 98 h 1043"/>
                  <a:gd name="connsiteX121" fmla="*/ 0 w 5112"/>
                  <a:gd name="connsiteY121" fmla="*/ 13 h 1043"/>
                  <a:gd name="connsiteX122" fmla="*/ 9 w 5112"/>
                  <a:gd name="connsiteY122" fmla="*/ 13 h 1043"/>
                  <a:gd name="connsiteX123" fmla="*/ 29 w 5112"/>
                  <a:gd name="connsiteY123" fmla="*/ 10 h 1043"/>
                  <a:gd name="connsiteX124" fmla="*/ 91 w 5112"/>
                  <a:gd name="connsiteY124" fmla="*/ 10 h 1043"/>
                  <a:gd name="connsiteX125" fmla="*/ 135 w 5112"/>
                  <a:gd name="connsiteY125" fmla="*/ 13 h 1043"/>
                  <a:gd name="connsiteX126" fmla="*/ 182 w 5112"/>
                  <a:gd name="connsiteY126" fmla="*/ 19 h 1043"/>
                  <a:gd name="connsiteX127" fmla="*/ 234 w 5112"/>
                  <a:gd name="connsiteY127" fmla="*/ 29 h 1043"/>
                  <a:gd name="connsiteX128" fmla="*/ 287 w 5112"/>
                  <a:gd name="connsiteY128" fmla="*/ 46 h 1043"/>
                  <a:gd name="connsiteX129" fmla="*/ 345 w 5112"/>
                  <a:gd name="connsiteY129" fmla="*/ 66 h 1043"/>
                  <a:gd name="connsiteX130" fmla="*/ 403 w 5112"/>
                  <a:gd name="connsiteY130" fmla="*/ 93 h 1043"/>
                  <a:gd name="connsiteX131" fmla="*/ 459 w 5112"/>
                  <a:gd name="connsiteY131" fmla="*/ 131 h 1043"/>
                  <a:gd name="connsiteX132" fmla="*/ 514 w 5112"/>
                  <a:gd name="connsiteY132" fmla="*/ 174 h 1043"/>
                  <a:gd name="connsiteX133" fmla="*/ 568 w 5112"/>
                  <a:gd name="connsiteY133" fmla="*/ 228 h 1043"/>
                  <a:gd name="connsiteX134" fmla="*/ 618 w 5112"/>
                  <a:gd name="connsiteY134" fmla="*/ 292 h 1043"/>
                  <a:gd name="connsiteX135" fmla="*/ 667 w 5112"/>
                  <a:gd name="connsiteY135" fmla="*/ 367 h 1043"/>
                  <a:gd name="connsiteX136" fmla="*/ 754 w 5112"/>
                  <a:gd name="connsiteY136" fmla="*/ 516 h 1043"/>
                  <a:gd name="connsiteX137" fmla="*/ 787 w 5112"/>
                  <a:gd name="connsiteY137" fmla="*/ 575 h 1043"/>
                  <a:gd name="connsiteX138" fmla="*/ 820 w 5112"/>
                  <a:gd name="connsiteY138" fmla="*/ 631 h 1043"/>
                  <a:gd name="connsiteX139" fmla="*/ 853 w 5112"/>
                  <a:gd name="connsiteY139" fmla="*/ 684 h 1043"/>
                  <a:gd name="connsiteX140" fmla="*/ 886 w 5112"/>
                  <a:gd name="connsiteY140" fmla="*/ 736 h 1043"/>
                  <a:gd name="connsiteX141" fmla="*/ 921 w 5112"/>
                  <a:gd name="connsiteY141" fmla="*/ 782 h 1043"/>
                  <a:gd name="connsiteX142" fmla="*/ 958 w 5112"/>
                  <a:gd name="connsiteY142" fmla="*/ 825 h 1043"/>
                  <a:gd name="connsiteX143" fmla="*/ 1000 w 5112"/>
                  <a:gd name="connsiteY143" fmla="*/ 863 h 1043"/>
                  <a:gd name="connsiteX144" fmla="*/ 1043 w 5112"/>
                  <a:gd name="connsiteY144" fmla="*/ 894 h 1043"/>
                  <a:gd name="connsiteX145" fmla="*/ 1090 w 5112"/>
                  <a:gd name="connsiteY145" fmla="*/ 921 h 1043"/>
                  <a:gd name="connsiteX146" fmla="*/ 1140 w 5112"/>
                  <a:gd name="connsiteY146" fmla="*/ 939 h 1043"/>
                  <a:gd name="connsiteX147" fmla="*/ 1196 w 5112"/>
                  <a:gd name="connsiteY147" fmla="*/ 952 h 1043"/>
                  <a:gd name="connsiteX148" fmla="*/ 1258 w 5112"/>
                  <a:gd name="connsiteY148" fmla="*/ 956 h 1043"/>
                  <a:gd name="connsiteX149" fmla="*/ 1264 w 5112"/>
                  <a:gd name="connsiteY149" fmla="*/ 956 h 1043"/>
                  <a:gd name="connsiteX150" fmla="*/ 1324 w 5112"/>
                  <a:gd name="connsiteY150" fmla="*/ 950 h 1043"/>
                  <a:gd name="connsiteX151" fmla="*/ 1380 w 5112"/>
                  <a:gd name="connsiteY151" fmla="*/ 935 h 1043"/>
                  <a:gd name="connsiteX152" fmla="*/ 1433 w 5112"/>
                  <a:gd name="connsiteY152" fmla="*/ 913 h 1043"/>
                  <a:gd name="connsiteX153" fmla="*/ 1481 w 5112"/>
                  <a:gd name="connsiteY153" fmla="*/ 884 h 1043"/>
                  <a:gd name="connsiteX154" fmla="*/ 1526 w 5112"/>
                  <a:gd name="connsiteY154" fmla="*/ 846 h 1043"/>
                  <a:gd name="connsiteX155" fmla="*/ 1569 w 5112"/>
                  <a:gd name="connsiteY155" fmla="*/ 803 h 1043"/>
                  <a:gd name="connsiteX156" fmla="*/ 1609 w 5112"/>
                  <a:gd name="connsiteY156" fmla="*/ 755 h 1043"/>
                  <a:gd name="connsiteX157" fmla="*/ 1648 w 5112"/>
                  <a:gd name="connsiteY157" fmla="*/ 703 h 1043"/>
                  <a:gd name="connsiteX158" fmla="*/ 1687 w 5112"/>
                  <a:gd name="connsiteY158" fmla="*/ 649 h 1043"/>
                  <a:gd name="connsiteX159" fmla="*/ 1799 w 5112"/>
                  <a:gd name="connsiteY159" fmla="*/ 475 h 1043"/>
                  <a:gd name="connsiteX160" fmla="*/ 1838 w 5112"/>
                  <a:gd name="connsiteY160" fmla="*/ 415 h 1043"/>
                  <a:gd name="connsiteX161" fmla="*/ 1879 w 5112"/>
                  <a:gd name="connsiteY161" fmla="*/ 357 h 1043"/>
                  <a:gd name="connsiteX162" fmla="*/ 1923 w 5112"/>
                  <a:gd name="connsiteY162" fmla="*/ 299 h 1043"/>
                  <a:gd name="connsiteX163" fmla="*/ 1968 w 5112"/>
                  <a:gd name="connsiteY163" fmla="*/ 245 h 1043"/>
                  <a:gd name="connsiteX164" fmla="*/ 2015 w 5112"/>
                  <a:gd name="connsiteY164" fmla="*/ 193 h 1043"/>
                  <a:gd name="connsiteX165" fmla="*/ 2069 w 5112"/>
                  <a:gd name="connsiteY165" fmla="*/ 145 h 1043"/>
                  <a:gd name="connsiteX166" fmla="*/ 2125 w 5112"/>
                  <a:gd name="connsiteY166" fmla="*/ 104 h 1043"/>
                  <a:gd name="connsiteX167" fmla="*/ 2187 w 5112"/>
                  <a:gd name="connsiteY167" fmla="*/ 69 h 1043"/>
                  <a:gd name="connsiteX168" fmla="*/ 2253 w 5112"/>
                  <a:gd name="connsiteY168" fmla="*/ 39 h 1043"/>
                  <a:gd name="connsiteX169" fmla="*/ 2325 w 5112"/>
                  <a:gd name="connsiteY169" fmla="*/ 19 h 1043"/>
                  <a:gd name="connsiteX170" fmla="*/ 2404 w 5112"/>
                  <a:gd name="connsiteY170" fmla="*/ 6 h 1043"/>
                  <a:gd name="connsiteX171" fmla="*/ 2474 w 5112"/>
                  <a:gd name="connsiteY171" fmla="*/ 4 h 1043"/>
                  <a:gd name="connsiteX172" fmla="*/ 2540 w 5112"/>
                  <a:gd name="connsiteY172" fmla="*/ 13 h 1043"/>
                  <a:gd name="connsiteX173" fmla="*/ 2600 w 5112"/>
                  <a:gd name="connsiteY173" fmla="*/ 27 h 1043"/>
                  <a:gd name="connsiteX174" fmla="*/ 2658 w 5112"/>
                  <a:gd name="connsiteY174" fmla="*/ 50 h 1043"/>
                  <a:gd name="connsiteX175" fmla="*/ 2711 w 5112"/>
                  <a:gd name="connsiteY175" fmla="*/ 81 h 1043"/>
                  <a:gd name="connsiteX176" fmla="*/ 2761 w 5112"/>
                  <a:gd name="connsiteY176" fmla="*/ 116 h 1043"/>
                  <a:gd name="connsiteX177" fmla="*/ 2806 w 5112"/>
                  <a:gd name="connsiteY177" fmla="*/ 158 h 1043"/>
                  <a:gd name="connsiteX178" fmla="*/ 2852 w 5112"/>
                  <a:gd name="connsiteY178" fmla="*/ 203 h 1043"/>
                  <a:gd name="connsiteX179" fmla="*/ 2893 w 5112"/>
                  <a:gd name="connsiteY179" fmla="*/ 251 h 1043"/>
                  <a:gd name="connsiteX180" fmla="*/ 2932 w 5112"/>
                  <a:gd name="connsiteY180" fmla="*/ 303 h 1043"/>
                  <a:gd name="connsiteX181" fmla="*/ 2969 w 5112"/>
                  <a:gd name="connsiteY181" fmla="*/ 357 h 1043"/>
                  <a:gd name="connsiteX182" fmla="*/ 3004 w 5112"/>
                  <a:gd name="connsiteY182" fmla="*/ 413 h 1043"/>
                  <a:gd name="connsiteX183" fmla="*/ 3039 w 5112"/>
                  <a:gd name="connsiteY183" fmla="*/ 467 h 1043"/>
                  <a:gd name="connsiteX184" fmla="*/ 3073 w 5112"/>
                  <a:gd name="connsiteY184" fmla="*/ 523 h 1043"/>
                  <a:gd name="connsiteX185" fmla="*/ 3110 w 5112"/>
                  <a:gd name="connsiteY185" fmla="*/ 585 h 1043"/>
                  <a:gd name="connsiteX186" fmla="*/ 3147 w 5112"/>
                  <a:gd name="connsiteY186" fmla="*/ 643 h 1043"/>
                  <a:gd name="connsiteX187" fmla="*/ 3186 w 5112"/>
                  <a:gd name="connsiteY187" fmla="*/ 701 h 1043"/>
                  <a:gd name="connsiteX188" fmla="*/ 3223 w 5112"/>
                  <a:gd name="connsiteY188" fmla="*/ 755 h 1043"/>
                  <a:gd name="connsiteX189" fmla="*/ 3265 w 5112"/>
                  <a:gd name="connsiteY189" fmla="*/ 805 h 1043"/>
                  <a:gd name="connsiteX190" fmla="*/ 3306 w 5112"/>
                  <a:gd name="connsiteY190" fmla="*/ 848 h 1043"/>
                  <a:gd name="connsiteX191" fmla="*/ 3349 w 5112"/>
                  <a:gd name="connsiteY191" fmla="*/ 886 h 1043"/>
                  <a:gd name="connsiteX192" fmla="*/ 3395 w 5112"/>
                  <a:gd name="connsiteY192" fmla="*/ 917 h 1043"/>
                  <a:gd name="connsiteX193" fmla="*/ 3444 w 5112"/>
                  <a:gd name="connsiteY193" fmla="*/ 939 h 1043"/>
                  <a:gd name="connsiteX194" fmla="*/ 3498 w 5112"/>
                  <a:gd name="connsiteY194" fmla="*/ 952 h 1043"/>
                  <a:gd name="connsiteX195" fmla="*/ 3554 w 5112"/>
                  <a:gd name="connsiteY195" fmla="*/ 956 h 1043"/>
                  <a:gd name="connsiteX196" fmla="*/ 3609 w 5112"/>
                  <a:gd name="connsiteY196" fmla="*/ 950 h 1043"/>
                  <a:gd name="connsiteX197" fmla="*/ 3659 w 5112"/>
                  <a:gd name="connsiteY197" fmla="*/ 935 h 1043"/>
                  <a:gd name="connsiteX198" fmla="*/ 3706 w 5112"/>
                  <a:gd name="connsiteY198" fmla="*/ 915 h 1043"/>
                  <a:gd name="connsiteX199" fmla="*/ 3750 w 5112"/>
                  <a:gd name="connsiteY199" fmla="*/ 884 h 1043"/>
                  <a:gd name="connsiteX200" fmla="*/ 3789 w 5112"/>
                  <a:gd name="connsiteY200" fmla="*/ 848 h 1043"/>
                  <a:gd name="connsiteX201" fmla="*/ 3826 w 5112"/>
                  <a:gd name="connsiteY201" fmla="*/ 807 h 1043"/>
                  <a:gd name="connsiteX202" fmla="*/ 3861 w 5112"/>
                  <a:gd name="connsiteY202" fmla="*/ 759 h 1043"/>
                  <a:gd name="connsiteX203" fmla="*/ 3894 w 5112"/>
                  <a:gd name="connsiteY203" fmla="*/ 709 h 1043"/>
                  <a:gd name="connsiteX204" fmla="*/ 3927 w 5112"/>
                  <a:gd name="connsiteY204" fmla="*/ 655 h 1043"/>
                  <a:gd name="connsiteX205" fmla="*/ 3960 w 5112"/>
                  <a:gd name="connsiteY205" fmla="*/ 597 h 1043"/>
                  <a:gd name="connsiteX206" fmla="*/ 3993 w 5112"/>
                  <a:gd name="connsiteY206" fmla="*/ 537 h 1043"/>
                  <a:gd name="connsiteX207" fmla="*/ 4022 w 5112"/>
                  <a:gd name="connsiteY207" fmla="*/ 483 h 1043"/>
                  <a:gd name="connsiteX208" fmla="*/ 4084 w 5112"/>
                  <a:gd name="connsiteY208" fmla="*/ 375 h 1043"/>
                  <a:gd name="connsiteX209" fmla="*/ 4154 w 5112"/>
                  <a:gd name="connsiteY209" fmla="*/ 272 h 1043"/>
                  <a:gd name="connsiteX210" fmla="*/ 4192 w 5112"/>
                  <a:gd name="connsiteY210" fmla="*/ 224 h 1043"/>
                  <a:gd name="connsiteX211" fmla="*/ 4233 w 5112"/>
                  <a:gd name="connsiteY211" fmla="*/ 178 h 1043"/>
                  <a:gd name="connsiteX212" fmla="*/ 4276 w 5112"/>
                  <a:gd name="connsiteY212" fmla="*/ 137 h 1043"/>
                  <a:gd name="connsiteX213" fmla="*/ 4324 w 5112"/>
                  <a:gd name="connsiteY213" fmla="*/ 100 h 1043"/>
                  <a:gd name="connsiteX214" fmla="*/ 4375 w 5112"/>
                  <a:gd name="connsiteY214" fmla="*/ 66 h 1043"/>
                  <a:gd name="connsiteX215" fmla="*/ 4433 w 5112"/>
                  <a:gd name="connsiteY215" fmla="*/ 39 h 1043"/>
                  <a:gd name="connsiteX216" fmla="*/ 4493 w 5112"/>
                  <a:gd name="connsiteY216" fmla="*/ 19 h 1043"/>
                  <a:gd name="connsiteX217" fmla="*/ 4559 w 5112"/>
                  <a:gd name="connsiteY217" fmla="*/ 6 h 1043"/>
                  <a:gd name="connsiteX218" fmla="*/ 4631 w 5112"/>
                  <a:gd name="connsiteY218" fmla="*/ 0 h 1043"/>
                  <a:gd name="connsiteX0" fmla="*/ 4631 w 5066"/>
                  <a:gd name="connsiteY0" fmla="*/ 0 h 1043"/>
                  <a:gd name="connsiteX1" fmla="*/ 4681 w 5066"/>
                  <a:gd name="connsiteY1" fmla="*/ 0 h 1043"/>
                  <a:gd name="connsiteX2" fmla="*/ 4710 w 5066"/>
                  <a:gd name="connsiteY2" fmla="*/ 4 h 1043"/>
                  <a:gd name="connsiteX3" fmla="*/ 4741 w 5066"/>
                  <a:gd name="connsiteY3" fmla="*/ 13 h 1043"/>
                  <a:gd name="connsiteX4" fmla="*/ 4778 w 5066"/>
                  <a:gd name="connsiteY4" fmla="*/ 23 h 1043"/>
                  <a:gd name="connsiteX5" fmla="*/ 4819 w 5066"/>
                  <a:gd name="connsiteY5" fmla="*/ 39 h 1043"/>
                  <a:gd name="connsiteX6" fmla="*/ 4863 w 5066"/>
                  <a:gd name="connsiteY6" fmla="*/ 60 h 1043"/>
                  <a:gd name="connsiteX7" fmla="*/ 4910 w 5066"/>
                  <a:gd name="connsiteY7" fmla="*/ 89 h 1043"/>
                  <a:gd name="connsiteX8" fmla="*/ 4960 w 5066"/>
                  <a:gd name="connsiteY8" fmla="*/ 124 h 1043"/>
                  <a:gd name="connsiteX9" fmla="*/ 5009 w 5066"/>
                  <a:gd name="connsiteY9" fmla="*/ 170 h 1043"/>
                  <a:gd name="connsiteX10" fmla="*/ 5061 w 5066"/>
                  <a:gd name="connsiteY10" fmla="*/ 224 h 1043"/>
                  <a:gd name="connsiteX11" fmla="*/ 5042 w 5066"/>
                  <a:gd name="connsiteY11" fmla="*/ 336 h 1043"/>
                  <a:gd name="connsiteX12" fmla="*/ 4993 w 5066"/>
                  <a:gd name="connsiteY12" fmla="*/ 276 h 1043"/>
                  <a:gd name="connsiteX13" fmla="*/ 4945 w 5066"/>
                  <a:gd name="connsiteY13" fmla="*/ 228 h 1043"/>
                  <a:gd name="connsiteX14" fmla="*/ 4900 w 5066"/>
                  <a:gd name="connsiteY14" fmla="*/ 189 h 1043"/>
                  <a:gd name="connsiteX15" fmla="*/ 4858 w 5066"/>
                  <a:gd name="connsiteY15" fmla="*/ 158 h 1043"/>
                  <a:gd name="connsiteX16" fmla="*/ 4819 w 5066"/>
                  <a:gd name="connsiteY16" fmla="*/ 135 h 1043"/>
                  <a:gd name="connsiteX17" fmla="*/ 4770 w 5066"/>
                  <a:gd name="connsiteY17" fmla="*/ 112 h 1043"/>
                  <a:gd name="connsiteX18" fmla="*/ 4726 w 5066"/>
                  <a:gd name="connsiteY18" fmla="*/ 98 h 1043"/>
                  <a:gd name="connsiteX19" fmla="*/ 4691 w 5066"/>
                  <a:gd name="connsiteY19" fmla="*/ 89 h 1043"/>
                  <a:gd name="connsiteX20" fmla="*/ 4662 w 5066"/>
                  <a:gd name="connsiteY20" fmla="*/ 87 h 1043"/>
                  <a:gd name="connsiteX21" fmla="*/ 4635 w 5066"/>
                  <a:gd name="connsiteY21" fmla="*/ 87 h 1043"/>
                  <a:gd name="connsiteX22" fmla="*/ 4569 w 5066"/>
                  <a:gd name="connsiteY22" fmla="*/ 93 h 1043"/>
                  <a:gd name="connsiteX23" fmla="*/ 4507 w 5066"/>
                  <a:gd name="connsiteY23" fmla="*/ 106 h 1043"/>
                  <a:gd name="connsiteX24" fmla="*/ 4452 w 5066"/>
                  <a:gd name="connsiteY24" fmla="*/ 127 h 1043"/>
                  <a:gd name="connsiteX25" fmla="*/ 4400 w 5066"/>
                  <a:gd name="connsiteY25" fmla="*/ 154 h 1043"/>
                  <a:gd name="connsiteX26" fmla="*/ 4353 w 5066"/>
                  <a:gd name="connsiteY26" fmla="*/ 187 h 1043"/>
                  <a:gd name="connsiteX27" fmla="*/ 4309 w 5066"/>
                  <a:gd name="connsiteY27" fmla="*/ 224 h 1043"/>
                  <a:gd name="connsiteX28" fmla="*/ 4270 w 5066"/>
                  <a:gd name="connsiteY28" fmla="*/ 268 h 1043"/>
                  <a:gd name="connsiteX29" fmla="*/ 4231 w 5066"/>
                  <a:gd name="connsiteY29" fmla="*/ 313 h 1043"/>
                  <a:gd name="connsiteX30" fmla="*/ 4196 w 5066"/>
                  <a:gd name="connsiteY30" fmla="*/ 363 h 1043"/>
                  <a:gd name="connsiteX31" fmla="*/ 4163 w 5066"/>
                  <a:gd name="connsiteY31" fmla="*/ 415 h 1043"/>
                  <a:gd name="connsiteX32" fmla="*/ 4101 w 5066"/>
                  <a:gd name="connsiteY32" fmla="*/ 523 h 1043"/>
                  <a:gd name="connsiteX33" fmla="*/ 4008 w 5066"/>
                  <a:gd name="connsiteY33" fmla="*/ 691 h 1043"/>
                  <a:gd name="connsiteX34" fmla="*/ 3975 w 5066"/>
                  <a:gd name="connsiteY34" fmla="*/ 747 h 1043"/>
                  <a:gd name="connsiteX35" fmla="*/ 3940 w 5066"/>
                  <a:gd name="connsiteY35" fmla="*/ 798 h 1043"/>
                  <a:gd name="connsiteX36" fmla="*/ 3905 w 5066"/>
                  <a:gd name="connsiteY36" fmla="*/ 848 h 1043"/>
                  <a:gd name="connsiteX37" fmla="*/ 3865 w 5066"/>
                  <a:gd name="connsiteY37" fmla="*/ 894 h 1043"/>
                  <a:gd name="connsiteX38" fmla="*/ 3824 w 5066"/>
                  <a:gd name="connsiteY38" fmla="*/ 935 h 1043"/>
                  <a:gd name="connsiteX39" fmla="*/ 3779 w 5066"/>
                  <a:gd name="connsiteY39" fmla="*/ 971 h 1043"/>
                  <a:gd name="connsiteX40" fmla="*/ 3729 w 5066"/>
                  <a:gd name="connsiteY40" fmla="*/ 1000 h 1043"/>
                  <a:gd name="connsiteX41" fmla="*/ 3677 w 5066"/>
                  <a:gd name="connsiteY41" fmla="*/ 1022 h 1043"/>
                  <a:gd name="connsiteX42" fmla="*/ 3620 w 5066"/>
                  <a:gd name="connsiteY42" fmla="*/ 1037 h 1043"/>
                  <a:gd name="connsiteX43" fmla="*/ 3556 w 5066"/>
                  <a:gd name="connsiteY43" fmla="*/ 1043 h 1043"/>
                  <a:gd name="connsiteX44" fmla="*/ 3547 w 5066"/>
                  <a:gd name="connsiteY44" fmla="*/ 1043 h 1043"/>
                  <a:gd name="connsiteX45" fmla="*/ 3485 w 5066"/>
                  <a:gd name="connsiteY45" fmla="*/ 1039 h 1043"/>
                  <a:gd name="connsiteX46" fmla="*/ 3426 w 5066"/>
                  <a:gd name="connsiteY46" fmla="*/ 1025 h 1043"/>
                  <a:gd name="connsiteX47" fmla="*/ 3372 w 5066"/>
                  <a:gd name="connsiteY47" fmla="*/ 1002 h 1043"/>
                  <a:gd name="connsiteX48" fmla="*/ 3320 w 5066"/>
                  <a:gd name="connsiteY48" fmla="*/ 973 h 1043"/>
                  <a:gd name="connsiteX49" fmla="*/ 3273 w 5066"/>
                  <a:gd name="connsiteY49" fmla="*/ 935 h 1043"/>
                  <a:gd name="connsiteX50" fmla="*/ 3229 w 5066"/>
                  <a:gd name="connsiteY50" fmla="*/ 894 h 1043"/>
                  <a:gd name="connsiteX51" fmla="*/ 3186 w 5066"/>
                  <a:gd name="connsiteY51" fmla="*/ 846 h 1043"/>
                  <a:gd name="connsiteX52" fmla="*/ 3147 w 5066"/>
                  <a:gd name="connsiteY52" fmla="*/ 796 h 1043"/>
                  <a:gd name="connsiteX53" fmla="*/ 3108 w 5066"/>
                  <a:gd name="connsiteY53" fmla="*/ 740 h 1043"/>
                  <a:gd name="connsiteX54" fmla="*/ 3070 w 5066"/>
                  <a:gd name="connsiteY54" fmla="*/ 684 h 1043"/>
                  <a:gd name="connsiteX55" fmla="*/ 2965 w 5066"/>
                  <a:gd name="connsiteY55" fmla="*/ 510 h 1043"/>
                  <a:gd name="connsiteX56" fmla="*/ 2928 w 5066"/>
                  <a:gd name="connsiteY56" fmla="*/ 452 h 1043"/>
                  <a:gd name="connsiteX57" fmla="*/ 2891 w 5066"/>
                  <a:gd name="connsiteY57" fmla="*/ 396 h 1043"/>
                  <a:gd name="connsiteX58" fmla="*/ 2854 w 5066"/>
                  <a:gd name="connsiteY58" fmla="*/ 342 h 1043"/>
                  <a:gd name="connsiteX59" fmla="*/ 2814 w 5066"/>
                  <a:gd name="connsiteY59" fmla="*/ 292 h 1043"/>
                  <a:gd name="connsiteX60" fmla="*/ 2773 w 5066"/>
                  <a:gd name="connsiteY60" fmla="*/ 247 h 1043"/>
                  <a:gd name="connsiteX61" fmla="*/ 2732 w 5066"/>
                  <a:gd name="connsiteY61" fmla="*/ 205 h 1043"/>
                  <a:gd name="connsiteX62" fmla="*/ 2686 w 5066"/>
                  <a:gd name="connsiteY62" fmla="*/ 168 h 1043"/>
                  <a:gd name="connsiteX63" fmla="*/ 2639 w 5066"/>
                  <a:gd name="connsiteY63" fmla="*/ 139 h 1043"/>
                  <a:gd name="connsiteX64" fmla="*/ 2587 w 5066"/>
                  <a:gd name="connsiteY64" fmla="*/ 116 h 1043"/>
                  <a:gd name="connsiteX65" fmla="*/ 2532 w 5066"/>
                  <a:gd name="connsiteY65" fmla="*/ 100 h 1043"/>
                  <a:gd name="connsiteX66" fmla="*/ 2474 w 5066"/>
                  <a:gd name="connsiteY66" fmla="*/ 91 h 1043"/>
                  <a:gd name="connsiteX67" fmla="*/ 2410 w 5066"/>
                  <a:gd name="connsiteY67" fmla="*/ 93 h 1043"/>
                  <a:gd name="connsiteX68" fmla="*/ 2342 w 5066"/>
                  <a:gd name="connsiteY68" fmla="*/ 104 h 1043"/>
                  <a:gd name="connsiteX69" fmla="*/ 2280 w 5066"/>
                  <a:gd name="connsiteY69" fmla="*/ 122 h 1043"/>
                  <a:gd name="connsiteX70" fmla="*/ 2222 w 5066"/>
                  <a:gd name="connsiteY70" fmla="*/ 147 h 1043"/>
                  <a:gd name="connsiteX71" fmla="*/ 2168 w 5066"/>
                  <a:gd name="connsiteY71" fmla="*/ 180 h 1043"/>
                  <a:gd name="connsiteX72" fmla="*/ 2117 w 5066"/>
                  <a:gd name="connsiteY72" fmla="*/ 218 h 1043"/>
                  <a:gd name="connsiteX73" fmla="*/ 2071 w 5066"/>
                  <a:gd name="connsiteY73" fmla="*/ 261 h 1043"/>
                  <a:gd name="connsiteX74" fmla="*/ 2026 w 5066"/>
                  <a:gd name="connsiteY74" fmla="*/ 307 h 1043"/>
                  <a:gd name="connsiteX75" fmla="*/ 1984 w 5066"/>
                  <a:gd name="connsiteY75" fmla="*/ 359 h 1043"/>
                  <a:gd name="connsiteX76" fmla="*/ 1945 w 5066"/>
                  <a:gd name="connsiteY76" fmla="*/ 413 h 1043"/>
                  <a:gd name="connsiteX77" fmla="*/ 1908 w 5066"/>
                  <a:gd name="connsiteY77" fmla="*/ 467 h 1043"/>
                  <a:gd name="connsiteX78" fmla="*/ 1871 w 5066"/>
                  <a:gd name="connsiteY78" fmla="*/ 523 h 1043"/>
                  <a:gd name="connsiteX79" fmla="*/ 1834 w 5066"/>
                  <a:gd name="connsiteY79" fmla="*/ 581 h 1043"/>
                  <a:gd name="connsiteX80" fmla="*/ 1799 w 5066"/>
                  <a:gd name="connsiteY80" fmla="*/ 637 h 1043"/>
                  <a:gd name="connsiteX81" fmla="*/ 1724 w 5066"/>
                  <a:gd name="connsiteY81" fmla="*/ 749 h 1043"/>
                  <a:gd name="connsiteX82" fmla="*/ 1685 w 5066"/>
                  <a:gd name="connsiteY82" fmla="*/ 801 h 1043"/>
                  <a:gd name="connsiteX83" fmla="*/ 1644 w 5066"/>
                  <a:gd name="connsiteY83" fmla="*/ 850 h 1043"/>
                  <a:gd name="connsiteX84" fmla="*/ 1600 w 5066"/>
                  <a:gd name="connsiteY84" fmla="*/ 896 h 1043"/>
                  <a:gd name="connsiteX85" fmla="*/ 1553 w 5066"/>
                  <a:gd name="connsiteY85" fmla="*/ 937 h 1043"/>
                  <a:gd name="connsiteX86" fmla="*/ 1503 w 5066"/>
                  <a:gd name="connsiteY86" fmla="*/ 973 h 1043"/>
                  <a:gd name="connsiteX87" fmla="*/ 1450 w 5066"/>
                  <a:gd name="connsiteY87" fmla="*/ 1002 h 1043"/>
                  <a:gd name="connsiteX88" fmla="*/ 1394 w 5066"/>
                  <a:gd name="connsiteY88" fmla="*/ 1025 h 1043"/>
                  <a:gd name="connsiteX89" fmla="*/ 1330 w 5066"/>
                  <a:gd name="connsiteY89" fmla="*/ 1037 h 1043"/>
                  <a:gd name="connsiteX90" fmla="*/ 1264 w 5066"/>
                  <a:gd name="connsiteY90" fmla="*/ 1043 h 1043"/>
                  <a:gd name="connsiteX91" fmla="*/ 1258 w 5066"/>
                  <a:gd name="connsiteY91" fmla="*/ 1043 h 1043"/>
                  <a:gd name="connsiteX92" fmla="*/ 1190 w 5066"/>
                  <a:gd name="connsiteY92" fmla="*/ 1039 h 1043"/>
                  <a:gd name="connsiteX93" fmla="*/ 1128 w 5066"/>
                  <a:gd name="connsiteY93" fmla="*/ 1027 h 1043"/>
                  <a:gd name="connsiteX94" fmla="*/ 1070 w 5066"/>
                  <a:gd name="connsiteY94" fmla="*/ 1008 h 1043"/>
                  <a:gd name="connsiteX95" fmla="*/ 1018 w 5066"/>
                  <a:gd name="connsiteY95" fmla="*/ 983 h 1043"/>
                  <a:gd name="connsiteX96" fmla="*/ 971 w 5066"/>
                  <a:gd name="connsiteY96" fmla="*/ 952 h 1043"/>
                  <a:gd name="connsiteX97" fmla="*/ 925 w 5066"/>
                  <a:gd name="connsiteY97" fmla="*/ 915 h 1043"/>
                  <a:gd name="connsiteX98" fmla="*/ 884 w 5066"/>
                  <a:gd name="connsiteY98" fmla="*/ 873 h 1043"/>
                  <a:gd name="connsiteX99" fmla="*/ 847 w 5066"/>
                  <a:gd name="connsiteY99" fmla="*/ 828 h 1043"/>
                  <a:gd name="connsiteX100" fmla="*/ 810 w 5066"/>
                  <a:gd name="connsiteY100" fmla="*/ 780 h 1043"/>
                  <a:gd name="connsiteX101" fmla="*/ 777 w 5066"/>
                  <a:gd name="connsiteY101" fmla="*/ 728 h 1043"/>
                  <a:gd name="connsiteX102" fmla="*/ 742 w 5066"/>
                  <a:gd name="connsiteY102" fmla="*/ 674 h 1043"/>
                  <a:gd name="connsiteX103" fmla="*/ 711 w 5066"/>
                  <a:gd name="connsiteY103" fmla="*/ 618 h 1043"/>
                  <a:gd name="connsiteX104" fmla="*/ 678 w 5066"/>
                  <a:gd name="connsiteY104" fmla="*/ 560 h 1043"/>
                  <a:gd name="connsiteX105" fmla="*/ 616 w 5066"/>
                  <a:gd name="connsiteY105" fmla="*/ 448 h 1043"/>
                  <a:gd name="connsiteX106" fmla="*/ 547 w 5066"/>
                  <a:gd name="connsiteY106" fmla="*/ 340 h 1043"/>
                  <a:gd name="connsiteX107" fmla="*/ 504 w 5066"/>
                  <a:gd name="connsiteY107" fmla="*/ 284 h 1043"/>
                  <a:gd name="connsiteX108" fmla="*/ 457 w 5066"/>
                  <a:gd name="connsiteY108" fmla="*/ 239 h 1043"/>
                  <a:gd name="connsiteX109" fmla="*/ 409 w 5066"/>
                  <a:gd name="connsiteY109" fmla="*/ 199 h 1043"/>
                  <a:gd name="connsiteX110" fmla="*/ 358 w 5066"/>
                  <a:gd name="connsiteY110" fmla="*/ 168 h 1043"/>
                  <a:gd name="connsiteX111" fmla="*/ 308 w 5066"/>
                  <a:gd name="connsiteY111" fmla="*/ 145 h 1043"/>
                  <a:gd name="connsiteX112" fmla="*/ 256 w 5066"/>
                  <a:gd name="connsiteY112" fmla="*/ 127 h 1043"/>
                  <a:gd name="connsiteX113" fmla="*/ 209 w 5066"/>
                  <a:gd name="connsiteY113" fmla="*/ 112 h 1043"/>
                  <a:gd name="connsiteX114" fmla="*/ 163 w 5066"/>
                  <a:gd name="connsiteY114" fmla="*/ 104 h 1043"/>
                  <a:gd name="connsiteX115" fmla="*/ 122 w 5066"/>
                  <a:gd name="connsiteY115" fmla="*/ 100 h 1043"/>
                  <a:gd name="connsiteX116" fmla="*/ 85 w 5066"/>
                  <a:gd name="connsiteY116" fmla="*/ 95 h 1043"/>
                  <a:gd name="connsiteX117" fmla="*/ 31 w 5066"/>
                  <a:gd name="connsiteY117" fmla="*/ 95 h 1043"/>
                  <a:gd name="connsiteX118" fmla="*/ 17 w 5066"/>
                  <a:gd name="connsiteY118" fmla="*/ 98 h 1043"/>
                  <a:gd name="connsiteX119" fmla="*/ 11 w 5066"/>
                  <a:gd name="connsiteY119" fmla="*/ 98 h 1043"/>
                  <a:gd name="connsiteX120" fmla="*/ 0 w 5066"/>
                  <a:gd name="connsiteY120" fmla="*/ 13 h 1043"/>
                  <a:gd name="connsiteX121" fmla="*/ 9 w 5066"/>
                  <a:gd name="connsiteY121" fmla="*/ 13 h 1043"/>
                  <a:gd name="connsiteX122" fmla="*/ 29 w 5066"/>
                  <a:gd name="connsiteY122" fmla="*/ 10 h 1043"/>
                  <a:gd name="connsiteX123" fmla="*/ 91 w 5066"/>
                  <a:gd name="connsiteY123" fmla="*/ 10 h 1043"/>
                  <a:gd name="connsiteX124" fmla="*/ 135 w 5066"/>
                  <a:gd name="connsiteY124" fmla="*/ 13 h 1043"/>
                  <a:gd name="connsiteX125" fmla="*/ 182 w 5066"/>
                  <a:gd name="connsiteY125" fmla="*/ 19 h 1043"/>
                  <a:gd name="connsiteX126" fmla="*/ 234 w 5066"/>
                  <a:gd name="connsiteY126" fmla="*/ 29 h 1043"/>
                  <a:gd name="connsiteX127" fmla="*/ 287 w 5066"/>
                  <a:gd name="connsiteY127" fmla="*/ 46 h 1043"/>
                  <a:gd name="connsiteX128" fmla="*/ 345 w 5066"/>
                  <a:gd name="connsiteY128" fmla="*/ 66 h 1043"/>
                  <a:gd name="connsiteX129" fmla="*/ 403 w 5066"/>
                  <a:gd name="connsiteY129" fmla="*/ 93 h 1043"/>
                  <a:gd name="connsiteX130" fmla="*/ 459 w 5066"/>
                  <a:gd name="connsiteY130" fmla="*/ 131 h 1043"/>
                  <a:gd name="connsiteX131" fmla="*/ 514 w 5066"/>
                  <a:gd name="connsiteY131" fmla="*/ 174 h 1043"/>
                  <a:gd name="connsiteX132" fmla="*/ 568 w 5066"/>
                  <a:gd name="connsiteY132" fmla="*/ 228 h 1043"/>
                  <a:gd name="connsiteX133" fmla="*/ 618 w 5066"/>
                  <a:gd name="connsiteY133" fmla="*/ 292 h 1043"/>
                  <a:gd name="connsiteX134" fmla="*/ 667 w 5066"/>
                  <a:gd name="connsiteY134" fmla="*/ 367 h 1043"/>
                  <a:gd name="connsiteX135" fmla="*/ 754 w 5066"/>
                  <a:gd name="connsiteY135" fmla="*/ 516 h 1043"/>
                  <a:gd name="connsiteX136" fmla="*/ 787 w 5066"/>
                  <a:gd name="connsiteY136" fmla="*/ 575 h 1043"/>
                  <a:gd name="connsiteX137" fmla="*/ 820 w 5066"/>
                  <a:gd name="connsiteY137" fmla="*/ 631 h 1043"/>
                  <a:gd name="connsiteX138" fmla="*/ 853 w 5066"/>
                  <a:gd name="connsiteY138" fmla="*/ 684 h 1043"/>
                  <a:gd name="connsiteX139" fmla="*/ 886 w 5066"/>
                  <a:gd name="connsiteY139" fmla="*/ 736 h 1043"/>
                  <a:gd name="connsiteX140" fmla="*/ 921 w 5066"/>
                  <a:gd name="connsiteY140" fmla="*/ 782 h 1043"/>
                  <a:gd name="connsiteX141" fmla="*/ 958 w 5066"/>
                  <a:gd name="connsiteY141" fmla="*/ 825 h 1043"/>
                  <a:gd name="connsiteX142" fmla="*/ 1000 w 5066"/>
                  <a:gd name="connsiteY142" fmla="*/ 863 h 1043"/>
                  <a:gd name="connsiteX143" fmla="*/ 1043 w 5066"/>
                  <a:gd name="connsiteY143" fmla="*/ 894 h 1043"/>
                  <a:gd name="connsiteX144" fmla="*/ 1090 w 5066"/>
                  <a:gd name="connsiteY144" fmla="*/ 921 h 1043"/>
                  <a:gd name="connsiteX145" fmla="*/ 1140 w 5066"/>
                  <a:gd name="connsiteY145" fmla="*/ 939 h 1043"/>
                  <a:gd name="connsiteX146" fmla="*/ 1196 w 5066"/>
                  <a:gd name="connsiteY146" fmla="*/ 952 h 1043"/>
                  <a:gd name="connsiteX147" fmla="*/ 1258 w 5066"/>
                  <a:gd name="connsiteY147" fmla="*/ 956 h 1043"/>
                  <a:gd name="connsiteX148" fmla="*/ 1264 w 5066"/>
                  <a:gd name="connsiteY148" fmla="*/ 956 h 1043"/>
                  <a:gd name="connsiteX149" fmla="*/ 1324 w 5066"/>
                  <a:gd name="connsiteY149" fmla="*/ 950 h 1043"/>
                  <a:gd name="connsiteX150" fmla="*/ 1380 w 5066"/>
                  <a:gd name="connsiteY150" fmla="*/ 935 h 1043"/>
                  <a:gd name="connsiteX151" fmla="*/ 1433 w 5066"/>
                  <a:gd name="connsiteY151" fmla="*/ 913 h 1043"/>
                  <a:gd name="connsiteX152" fmla="*/ 1481 w 5066"/>
                  <a:gd name="connsiteY152" fmla="*/ 884 h 1043"/>
                  <a:gd name="connsiteX153" fmla="*/ 1526 w 5066"/>
                  <a:gd name="connsiteY153" fmla="*/ 846 h 1043"/>
                  <a:gd name="connsiteX154" fmla="*/ 1569 w 5066"/>
                  <a:gd name="connsiteY154" fmla="*/ 803 h 1043"/>
                  <a:gd name="connsiteX155" fmla="*/ 1609 w 5066"/>
                  <a:gd name="connsiteY155" fmla="*/ 755 h 1043"/>
                  <a:gd name="connsiteX156" fmla="*/ 1648 w 5066"/>
                  <a:gd name="connsiteY156" fmla="*/ 703 h 1043"/>
                  <a:gd name="connsiteX157" fmla="*/ 1687 w 5066"/>
                  <a:gd name="connsiteY157" fmla="*/ 649 h 1043"/>
                  <a:gd name="connsiteX158" fmla="*/ 1799 w 5066"/>
                  <a:gd name="connsiteY158" fmla="*/ 475 h 1043"/>
                  <a:gd name="connsiteX159" fmla="*/ 1838 w 5066"/>
                  <a:gd name="connsiteY159" fmla="*/ 415 h 1043"/>
                  <a:gd name="connsiteX160" fmla="*/ 1879 w 5066"/>
                  <a:gd name="connsiteY160" fmla="*/ 357 h 1043"/>
                  <a:gd name="connsiteX161" fmla="*/ 1923 w 5066"/>
                  <a:gd name="connsiteY161" fmla="*/ 299 h 1043"/>
                  <a:gd name="connsiteX162" fmla="*/ 1968 w 5066"/>
                  <a:gd name="connsiteY162" fmla="*/ 245 h 1043"/>
                  <a:gd name="connsiteX163" fmla="*/ 2015 w 5066"/>
                  <a:gd name="connsiteY163" fmla="*/ 193 h 1043"/>
                  <a:gd name="connsiteX164" fmla="*/ 2069 w 5066"/>
                  <a:gd name="connsiteY164" fmla="*/ 145 h 1043"/>
                  <a:gd name="connsiteX165" fmla="*/ 2125 w 5066"/>
                  <a:gd name="connsiteY165" fmla="*/ 104 h 1043"/>
                  <a:gd name="connsiteX166" fmla="*/ 2187 w 5066"/>
                  <a:gd name="connsiteY166" fmla="*/ 69 h 1043"/>
                  <a:gd name="connsiteX167" fmla="*/ 2253 w 5066"/>
                  <a:gd name="connsiteY167" fmla="*/ 39 h 1043"/>
                  <a:gd name="connsiteX168" fmla="*/ 2325 w 5066"/>
                  <a:gd name="connsiteY168" fmla="*/ 19 h 1043"/>
                  <a:gd name="connsiteX169" fmla="*/ 2404 w 5066"/>
                  <a:gd name="connsiteY169" fmla="*/ 6 h 1043"/>
                  <a:gd name="connsiteX170" fmla="*/ 2474 w 5066"/>
                  <a:gd name="connsiteY170" fmla="*/ 4 h 1043"/>
                  <a:gd name="connsiteX171" fmla="*/ 2540 w 5066"/>
                  <a:gd name="connsiteY171" fmla="*/ 13 h 1043"/>
                  <a:gd name="connsiteX172" fmla="*/ 2600 w 5066"/>
                  <a:gd name="connsiteY172" fmla="*/ 27 h 1043"/>
                  <a:gd name="connsiteX173" fmla="*/ 2658 w 5066"/>
                  <a:gd name="connsiteY173" fmla="*/ 50 h 1043"/>
                  <a:gd name="connsiteX174" fmla="*/ 2711 w 5066"/>
                  <a:gd name="connsiteY174" fmla="*/ 81 h 1043"/>
                  <a:gd name="connsiteX175" fmla="*/ 2761 w 5066"/>
                  <a:gd name="connsiteY175" fmla="*/ 116 h 1043"/>
                  <a:gd name="connsiteX176" fmla="*/ 2806 w 5066"/>
                  <a:gd name="connsiteY176" fmla="*/ 158 h 1043"/>
                  <a:gd name="connsiteX177" fmla="*/ 2852 w 5066"/>
                  <a:gd name="connsiteY177" fmla="*/ 203 h 1043"/>
                  <a:gd name="connsiteX178" fmla="*/ 2893 w 5066"/>
                  <a:gd name="connsiteY178" fmla="*/ 251 h 1043"/>
                  <a:gd name="connsiteX179" fmla="*/ 2932 w 5066"/>
                  <a:gd name="connsiteY179" fmla="*/ 303 h 1043"/>
                  <a:gd name="connsiteX180" fmla="*/ 2969 w 5066"/>
                  <a:gd name="connsiteY180" fmla="*/ 357 h 1043"/>
                  <a:gd name="connsiteX181" fmla="*/ 3004 w 5066"/>
                  <a:gd name="connsiteY181" fmla="*/ 413 h 1043"/>
                  <a:gd name="connsiteX182" fmla="*/ 3039 w 5066"/>
                  <a:gd name="connsiteY182" fmla="*/ 467 h 1043"/>
                  <a:gd name="connsiteX183" fmla="*/ 3073 w 5066"/>
                  <a:gd name="connsiteY183" fmla="*/ 523 h 1043"/>
                  <a:gd name="connsiteX184" fmla="*/ 3110 w 5066"/>
                  <a:gd name="connsiteY184" fmla="*/ 585 h 1043"/>
                  <a:gd name="connsiteX185" fmla="*/ 3147 w 5066"/>
                  <a:gd name="connsiteY185" fmla="*/ 643 h 1043"/>
                  <a:gd name="connsiteX186" fmla="*/ 3186 w 5066"/>
                  <a:gd name="connsiteY186" fmla="*/ 701 h 1043"/>
                  <a:gd name="connsiteX187" fmla="*/ 3223 w 5066"/>
                  <a:gd name="connsiteY187" fmla="*/ 755 h 1043"/>
                  <a:gd name="connsiteX188" fmla="*/ 3265 w 5066"/>
                  <a:gd name="connsiteY188" fmla="*/ 805 h 1043"/>
                  <a:gd name="connsiteX189" fmla="*/ 3306 w 5066"/>
                  <a:gd name="connsiteY189" fmla="*/ 848 h 1043"/>
                  <a:gd name="connsiteX190" fmla="*/ 3349 w 5066"/>
                  <a:gd name="connsiteY190" fmla="*/ 886 h 1043"/>
                  <a:gd name="connsiteX191" fmla="*/ 3395 w 5066"/>
                  <a:gd name="connsiteY191" fmla="*/ 917 h 1043"/>
                  <a:gd name="connsiteX192" fmla="*/ 3444 w 5066"/>
                  <a:gd name="connsiteY192" fmla="*/ 939 h 1043"/>
                  <a:gd name="connsiteX193" fmla="*/ 3498 w 5066"/>
                  <a:gd name="connsiteY193" fmla="*/ 952 h 1043"/>
                  <a:gd name="connsiteX194" fmla="*/ 3554 w 5066"/>
                  <a:gd name="connsiteY194" fmla="*/ 956 h 1043"/>
                  <a:gd name="connsiteX195" fmla="*/ 3609 w 5066"/>
                  <a:gd name="connsiteY195" fmla="*/ 950 h 1043"/>
                  <a:gd name="connsiteX196" fmla="*/ 3659 w 5066"/>
                  <a:gd name="connsiteY196" fmla="*/ 935 h 1043"/>
                  <a:gd name="connsiteX197" fmla="*/ 3706 w 5066"/>
                  <a:gd name="connsiteY197" fmla="*/ 915 h 1043"/>
                  <a:gd name="connsiteX198" fmla="*/ 3750 w 5066"/>
                  <a:gd name="connsiteY198" fmla="*/ 884 h 1043"/>
                  <a:gd name="connsiteX199" fmla="*/ 3789 w 5066"/>
                  <a:gd name="connsiteY199" fmla="*/ 848 h 1043"/>
                  <a:gd name="connsiteX200" fmla="*/ 3826 w 5066"/>
                  <a:gd name="connsiteY200" fmla="*/ 807 h 1043"/>
                  <a:gd name="connsiteX201" fmla="*/ 3861 w 5066"/>
                  <a:gd name="connsiteY201" fmla="*/ 759 h 1043"/>
                  <a:gd name="connsiteX202" fmla="*/ 3894 w 5066"/>
                  <a:gd name="connsiteY202" fmla="*/ 709 h 1043"/>
                  <a:gd name="connsiteX203" fmla="*/ 3927 w 5066"/>
                  <a:gd name="connsiteY203" fmla="*/ 655 h 1043"/>
                  <a:gd name="connsiteX204" fmla="*/ 3960 w 5066"/>
                  <a:gd name="connsiteY204" fmla="*/ 597 h 1043"/>
                  <a:gd name="connsiteX205" fmla="*/ 3993 w 5066"/>
                  <a:gd name="connsiteY205" fmla="*/ 537 h 1043"/>
                  <a:gd name="connsiteX206" fmla="*/ 4022 w 5066"/>
                  <a:gd name="connsiteY206" fmla="*/ 483 h 1043"/>
                  <a:gd name="connsiteX207" fmla="*/ 4084 w 5066"/>
                  <a:gd name="connsiteY207" fmla="*/ 375 h 1043"/>
                  <a:gd name="connsiteX208" fmla="*/ 4154 w 5066"/>
                  <a:gd name="connsiteY208" fmla="*/ 272 h 1043"/>
                  <a:gd name="connsiteX209" fmla="*/ 4192 w 5066"/>
                  <a:gd name="connsiteY209" fmla="*/ 224 h 1043"/>
                  <a:gd name="connsiteX210" fmla="*/ 4233 w 5066"/>
                  <a:gd name="connsiteY210" fmla="*/ 178 h 1043"/>
                  <a:gd name="connsiteX211" fmla="*/ 4276 w 5066"/>
                  <a:gd name="connsiteY211" fmla="*/ 137 h 1043"/>
                  <a:gd name="connsiteX212" fmla="*/ 4324 w 5066"/>
                  <a:gd name="connsiteY212" fmla="*/ 100 h 1043"/>
                  <a:gd name="connsiteX213" fmla="*/ 4375 w 5066"/>
                  <a:gd name="connsiteY213" fmla="*/ 66 h 1043"/>
                  <a:gd name="connsiteX214" fmla="*/ 4433 w 5066"/>
                  <a:gd name="connsiteY214" fmla="*/ 39 h 1043"/>
                  <a:gd name="connsiteX215" fmla="*/ 4493 w 5066"/>
                  <a:gd name="connsiteY215" fmla="*/ 19 h 1043"/>
                  <a:gd name="connsiteX216" fmla="*/ 4559 w 5066"/>
                  <a:gd name="connsiteY216" fmla="*/ 6 h 1043"/>
                  <a:gd name="connsiteX217" fmla="*/ 4631 w 5066"/>
                  <a:gd name="connsiteY217" fmla="*/ 0 h 1043"/>
                  <a:gd name="connsiteX0" fmla="*/ 4631 w 5061"/>
                  <a:gd name="connsiteY0" fmla="*/ 0 h 1043"/>
                  <a:gd name="connsiteX1" fmla="*/ 4681 w 5061"/>
                  <a:gd name="connsiteY1" fmla="*/ 0 h 1043"/>
                  <a:gd name="connsiteX2" fmla="*/ 4710 w 5061"/>
                  <a:gd name="connsiteY2" fmla="*/ 4 h 1043"/>
                  <a:gd name="connsiteX3" fmla="*/ 4741 w 5061"/>
                  <a:gd name="connsiteY3" fmla="*/ 13 h 1043"/>
                  <a:gd name="connsiteX4" fmla="*/ 4778 w 5061"/>
                  <a:gd name="connsiteY4" fmla="*/ 23 h 1043"/>
                  <a:gd name="connsiteX5" fmla="*/ 4819 w 5061"/>
                  <a:gd name="connsiteY5" fmla="*/ 39 h 1043"/>
                  <a:gd name="connsiteX6" fmla="*/ 4863 w 5061"/>
                  <a:gd name="connsiteY6" fmla="*/ 60 h 1043"/>
                  <a:gd name="connsiteX7" fmla="*/ 4910 w 5061"/>
                  <a:gd name="connsiteY7" fmla="*/ 89 h 1043"/>
                  <a:gd name="connsiteX8" fmla="*/ 4960 w 5061"/>
                  <a:gd name="connsiteY8" fmla="*/ 124 h 1043"/>
                  <a:gd name="connsiteX9" fmla="*/ 5009 w 5061"/>
                  <a:gd name="connsiteY9" fmla="*/ 170 h 1043"/>
                  <a:gd name="connsiteX10" fmla="*/ 5061 w 5061"/>
                  <a:gd name="connsiteY10" fmla="*/ 224 h 1043"/>
                  <a:gd name="connsiteX11" fmla="*/ 4993 w 5061"/>
                  <a:gd name="connsiteY11" fmla="*/ 276 h 1043"/>
                  <a:gd name="connsiteX12" fmla="*/ 4945 w 5061"/>
                  <a:gd name="connsiteY12" fmla="*/ 228 h 1043"/>
                  <a:gd name="connsiteX13" fmla="*/ 4900 w 5061"/>
                  <a:gd name="connsiteY13" fmla="*/ 189 h 1043"/>
                  <a:gd name="connsiteX14" fmla="*/ 4858 w 5061"/>
                  <a:gd name="connsiteY14" fmla="*/ 158 h 1043"/>
                  <a:gd name="connsiteX15" fmla="*/ 4819 w 5061"/>
                  <a:gd name="connsiteY15" fmla="*/ 135 h 1043"/>
                  <a:gd name="connsiteX16" fmla="*/ 4770 w 5061"/>
                  <a:gd name="connsiteY16" fmla="*/ 112 h 1043"/>
                  <a:gd name="connsiteX17" fmla="*/ 4726 w 5061"/>
                  <a:gd name="connsiteY17" fmla="*/ 98 h 1043"/>
                  <a:gd name="connsiteX18" fmla="*/ 4691 w 5061"/>
                  <a:gd name="connsiteY18" fmla="*/ 89 h 1043"/>
                  <a:gd name="connsiteX19" fmla="*/ 4662 w 5061"/>
                  <a:gd name="connsiteY19" fmla="*/ 87 h 1043"/>
                  <a:gd name="connsiteX20" fmla="*/ 4635 w 5061"/>
                  <a:gd name="connsiteY20" fmla="*/ 87 h 1043"/>
                  <a:gd name="connsiteX21" fmla="*/ 4569 w 5061"/>
                  <a:gd name="connsiteY21" fmla="*/ 93 h 1043"/>
                  <a:gd name="connsiteX22" fmla="*/ 4507 w 5061"/>
                  <a:gd name="connsiteY22" fmla="*/ 106 h 1043"/>
                  <a:gd name="connsiteX23" fmla="*/ 4452 w 5061"/>
                  <a:gd name="connsiteY23" fmla="*/ 127 h 1043"/>
                  <a:gd name="connsiteX24" fmla="*/ 4400 w 5061"/>
                  <a:gd name="connsiteY24" fmla="*/ 154 h 1043"/>
                  <a:gd name="connsiteX25" fmla="*/ 4353 w 5061"/>
                  <a:gd name="connsiteY25" fmla="*/ 187 h 1043"/>
                  <a:gd name="connsiteX26" fmla="*/ 4309 w 5061"/>
                  <a:gd name="connsiteY26" fmla="*/ 224 h 1043"/>
                  <a:gd name="connsiteX27" fmla="*/ 4270 w 5061"/>
                  <a:gd name="connsiteY27" fmla="*/ 268 h 1043"/>
                  <a:gd name="connsiteX28" fmla="*/ 4231 w 5061"/>
                  <a:gd name="connsiteY28" fmla="*/ 313 h 1043"/>
                  <a:gd name="connsiteX29" fmla="*/ 4196 w 5061"/>
                  <a:gd name="connsiteY29" fmla="*/ 363 h 1043"/>
                  <a:gd name="connsiteX30" fmla="*/ 4163 w 5061"/>
                  <a:gd name="connsiteY30" fmla="*/ 415 h 1043"/>
                  <a:gd name="connsiteX31" fmla="*/ 4101 w 5061"/>
                  <a:gd name="connsiteY31" fmla="*/ 523 h 1043"/>
                  <a:gd name="connsiteX32" fmla="*/ 4008 w 5061"/>
                  <a:gd name="connsiteY32" fmla="*/ 691 h 1043"/>
                  <a:gd name="connsiteX33" fmla="*/ 3975 w 5061"/>
                  <a:gd name="connsiteY33" fmla="*/ 747 h 1043"/>
                  <a:gd name="connsiteX34" fmla="*/ 3940 w 5061"/>
                  <a:gd name="connsiteY34" fmla="*/ 798 h 1043"/>
                  <a:gd name="connsiteX35" fmla="*/ 3905 w 5061"/>
                  <a:gd name="connsiteY35" fmla="*/ 848 h 1043"/>
                  <a:gd name="connsiteX36" fmla="*/ 3865 w 5061"/>
                  <a:gd name="connsiteY36" fmla="*/ 894 h 1043"/>
                  <a:gd name="connsiteX37" fmla="*/ 3824 w 5061"/>
                  <a:gd name="connsiteY37" fmla="*/ 935 h 1043"/>
                  <a:gd name="connsiteX38" fmla="*/ 3779 w 5061"/>
                  <a:gd name="connsiteY38" fmla="*/ 971 h 1043"/>
                  <a:gd name="connsiteX39" fmla="*/ 3729 w 5061"/>
                  <a:gd name="connsiteY39" fmla="*/ 1000 h 1043"/>
                  <a:gd name="connsiteX40" fmla="*/ 3677 w 5061"/>
                  <a:gd name="connsiteY40" fmla="*/ 1022 h 1043"/>
                  <a:gd name="connsiteX41" fmla="*/ 3620 w 5061"/>
                  <a:gd name="connsiteY41" fmla="*/ 1037 h 1043"/>
                  <a:gd name="connsiteX42" fmla="*/ 3556 w 5061"/>
                  <a:gd name="connsiteY42" fmla="*/ 1043 h 1043"/>
                  <a:gd name="connsiteX43" fmla="*/ 3547 w 5061"/>
                  <a:gd name="connsiteY43" fmla="*/ 1043 h 1043"/>
                  <a:gd name="connsiteX44" fmla="*/ 3485 w 5061"/>
                  <a:gd name="connsiteY44" fmla="*/ 1039 h 1043"/>
                  <a:gd name="connsiteX45" fmla="*/ 3426 w 5061"/>
                  <a:gd name="connsiteY45" fmla="*/ 1025 h 1043"/>
                  <a:gd name="connsiteX46" fmla="*/ 3372 w 5061"/>
                  <a:gd name="connsiteY46" fmla="*/ 1002 h 1043"/>
                  <a:gd name="connsiteX47" fmla="*/ 3320 w 5061"/>
                  <a:gd name="connsiteY47" fmla="*/ 973 h 1043"/>
                  <a:gd name="connsiteX48" fmla="*/ 3273 w 5061"/>
                  <a:gd name="connsiteY48" fmla="*/ 935 h 1043"/>
                  <a:gd name="connsiteX49" fmla="*/ 3229 w 5061"/>
                  <a:gd name="connsiteY49" fmla="*/ 894 h 1043"/>
                  <a:gd name="connsiteX50" fmla="*/ 3186 w 5061"/>
                  <a:gd name="connsiteY50" fmla="*/ 846 h 1043"/>
                  <a:gd name="connsiteX51" fmla="*/ 3147 w 5061"/>
                  <a:gd name="connsiteY51" fmla="*/ 796 h 1043"/>
                  <a:gd name="connsiteX52" fmla="*/ 3108 w 5061"/>
                  <a:gd name="connsiteY52" fmla="*/ 740 h 1043"/>
                  <a:gd name="connsiteX53" fmla="*/ 3070 w 5061"/>
                  <a:gd name="connsiteY53" fmla="*/ 684 h 1043"/>
                  <a:gd name="connsiteX54" fmla="*/ 2965 w 5061"/>
                  <a:gd name="connsiteY54" fmla="*/ 510 h 1043"/>
                  <a:gd name="connsiteX55" fmla="*/ 2928 w 5061"/>
                  <a:gd name="connsiteY55" fmla="*/ 452 h 1043"/>
                  <a:gd name="connsiteX56" fmla="*/ 2891 w 5061"/>
                  <a:gd name="connsiteY56" fmla="*/ 396 h 1043"/>
                  <a:gd name="connsiteX57" fmla="*/ 2854 w 5061"/>
                  <a:gd name="connsiteY57" fmla="*/ 342 h 1043"/>
                  <a:gd name="connsiteX58" fmla="*/ 2814 w 5061"/>
                  <a:gd name="connsiteY58" fmla="*/ 292 h 1043"/>
                  <a:gd name="connsiteX59" fmla="*/ 2773 w 5061"/>
                  <a:gd name="connsiteY59" fmla="*/ 247 h 1043"/>
                  <a:gd name="connsiteX60" fmla="*/ 2732 w 5061"/>
                  <a:gd name="connsiteY60" fmla="*/ 205 h 1043"/>
                  <a:gd name="connsiteX61" fmla="*/ 2686 w 5061"/>
                  <a:gd name="connsiteY61" fmla="*/ 168 h 1043"/>
                  <a:gd name="connsiteX62" fmla="*/ 2639 w 5061"/>
                  <a:gd name="connsiteY62" fmla="*/ 139 h 1043"/>
                  <a:gd name="connsiteX63" fmla="*/ 2587 w 5061"/>
                  <a:gd name="connsiteY63" fmla="*/ 116 h 1043"/>
                  <a:gd name="connsiteX64" fmla="*/ 2532 w 5061"/>
                  <a:gd name="connsiteY64" fmla="*/ 100 h 1043"/>
                  <a:gd name="connsiteX65" fmla="*/ 2474 w 5061"/>
                  <a:gd name="connsiteY65" fmla="*/ 91 h 1043"/>
                  <a:gd name="connsiteX66" fmla="*/ 2410 w 5061"/>
                  <a:gd name="connsiteY66" fmla="*/ 93 h 1043"/>
                  <a:gd name="connsiteX67" fmla="*/ 2342 w 5061"/>
                  <a:gd name="connsiteY67" fmla="*/ 104 h 1043"/>
                  <a:gd name="connsiteX68" fmla="*/ 2280 w 5061"/>
                  <a:gd name="connsiteY68" fmla="*/ 122 h 1043"/>
                  <a:gd name="connsiteX69" fmla="*/ 2222 w 5061"/>
                  <a:gd name="connsiteY69" fmla="*/ 147 h 1043"/>
                  <a:gd name="connsiteX70" fmla="*/ 2168 w 5061"/>
                  <a:gd name="connsiteY70" fmla="*/ 180 h 1043"/>
                  <a:gd name="connsiteX71" fmla="*/ 2117 w 5061"/>
                  <a:gd name="connsiteY71" fmla="*/ 218 h 1043"/>
                  <a:gd name="connsiteX72" fmla="*/ 2071 w 5061"/>
                  <a:gd name="connsiteY72" fmla="*/ 261 h 1043"/>
                  <a:gd name="connsiteX73" fmla="*/ 2026 w 5061"/>
                  <a:gd name="connsiteY73" fmla="*/ 307 h 1043"/>
                  <a:gd name="connsiteX74" fmla="*/ 1984 w 5061"/>
                  <a:gd name="connsiteY74" fmla="*/ 359 h 1043"/>
                  <a:gd name="connsiteX75" fmla="*/ 1945 w 5061"/>
                  <a:gd name="connsiteY75" fmla="*/ 413 h 1043"/>
                  <a:gd name="connsiteX76" fmla="*/ 1908 w 5061"/>
                  <a:gd name="connsiteY76" fmla="*/ 467 h 1043"/>
                  <a:gd name="connsiteX77" fmla="*/ 1871 w 5061"/>
                  <a:gd name="connsiteY77" fmla="*/ 523 h 1043"/>
                  <a:gd name="connsiteX78" fmla="*/ 1834 w 5061"/>
                  <a:gd name="connsiteY78" fmla="*/ 581 h 1043"/>
                  <a:gd name="connsiteX79" fmla="*/ 1799 w 5061"/>
                  <a:gd name="connsiteY79" fmla="*/ 637 h 1043"/>
                  <a:gd name="connsiteX80" fmla="*/ 1724 w 5061"/>
                  <a:gd name="connsiteY80" fmla="*/ 749 h 1043"/>
                  <a:gd name="connsiteX81" fmla="*/ 1685 w 5061"/>
                  <a:gd name="connsiteY81" fmla="*/ 801 h 1043"/>
                  <a:gd name="connsiteX82" fmla="*/ 1644 w 5061"/>
                  <a:gd name="connsiteY82" fmla="*/ 850 h 1043"/>
                  <a:gd name="connsiteX83" fmla="*/ 1600 w 5061"/>
                  <a:gd name="connsiteY83" fmla="*/ 896 h 1043"/>
                  <a:gd name="connsiteX84" fmla="*/ 1553 w 5061"/>
                  <a:gd name="connsiteY84" fmla="*/ 937 h 1043"/>
                  <a:gd name="connsiteX85" fmla="*/ 1503 w 5061"/>
                  <a:gd name="connsiteY85" fmla="*/ 973 h 1043"/>
                  <a:gd name="connsiteX86" fmla="*/ 1450 w 5061"/>
                  <a:gd name="connsiteY86" fmla="*/ 1002 h 1043"/>
                  <a:gd name="connsiteX87" fmla="*/ 1394 w 5061"/>
                  <a:gd name="connsiteY87" fmla="*/ 1025 h 1043"/>
                  <a:gd name="connsiteX88" fmla="*/ 1330 w 5061"/>
                  <a:gd name="connsiteY88" fmla="*/ 1037 h 1043"/>
                  <a:gd name="connsiteX89" fmla="*/ 1264 w 5061"/>
                  <a:gd name="connsiteY89" fmla="*/ 1043 h 1043"/>
                  <a:gd name="connsiteX90" fmla="*/ 1258 w 5061"/>
                  <a:gd name="connsiteY90" fmla="*/ 1043 h 1043"/>
                  <a:gd name="connsiteX91" fmla="*/ 1190 w 5061"/>
                  <a:gd name="connsiteY91" fmla="*/ 1039 h 1043"/>
                  <a:gd name="connsiteX92" fmla="*/ 1128 w 5061"/>
                  <a:gd name="connsiteY92" fmla="*/ 1027 h 1043"/>
                  <a:gd name="connsiteX93" fmla="*/ 1070 w 5061"/>
                  <a:gd name="connsiteY93" fmla="*/ 1008 h 1043"/>
                  <a:gd name="connsiteX94" fmla="*/ 1018 w 5061"/>
                  <a:gd name="connsiteY94" fmla="*/ 983 h 1043"/>
                  <a:gd name="connsiteX95" fmla="*/ 971 w 5061"/>
                  <a:gd name="connsiteY95" fmla="*/ 952 h 1043"/>
                  <a:gd name="connsiteX96" fmla="*/ 925 w 5061"/>
                  <a:gd name="connsiteY96" fmla="*/ 915 h 1043"/>
                  <a:gd name="connsiteX97" fmla="*/ 884 w 5061"/>
                  <a:gd name="connsiteY97" fmla="*/ 873 h 1043"/>
                  <a:gd name="connsiteX98" fmla="*/ 847 w 5061"/>
                  <a:gd name="connsiteY98" fmla="*/ 828 h 1043"/>
                  <a:gd name="connsiteX99" fmla="*/ 810 w 5061"/>
                  <a:gd name="connsiteY99" fmla="*/ 780 h 1043"/>
                  <a:gd name="connsiteX100" fmla="*/ 777 w 5061"/>
                  <a:gd name="connsiteY100" fmla="*/ 728 h 1043"/>
                  <a:gd name="connsiteX101" fmla="*/ 742 w 5061"/>
                  <a:gd name="connsiteY101" fmla="*/ 674 h 1043"/>
                  <a:gd name="connsiteX102" fmla="*/ 711 w 5061"/>
                  <a:gd name="connsiteY102" fmla="*/ 618 h 1043"/>
                  <a:gd name="connsiteX103" fmla="*/ 678 w 5061"/>
                  <a:gd name="connsiteY103" fmla="*/ 560 h 1043"/>
                  <a:gd name="connsiteX104" fmla="*/ 616 w 5061"/>
                  <a:gd name="connsiteY104" fmla="*/ 448 h 1043"/>
                  <a:gd name="connsiteX105" fmla="*/ 547 w 5061"/>
                  <a:gd name="connsiteY105" fmla="*/ 340 h 1043"/>
                  <a:gd name="connsiteX106" fmla="*/ 504 w 5061"/>
                  <a:gd name="connsiteY106" fmla="*/ 284 h 1043"/>
                  <a:gd name="connsiteX107" fmla="*/ 457 w 5061"/>
                  <a:gd name="connsiteY107" fmla="*/ 239 h 1043"/>
                  <a:gd name="connsiteX108" fmla="*/ 409 w 5061"/>
                  <a:gd name="connsiteY108" fmla="*/ 199 h 1043"/>
                  <a:gd name="connsiteX109" fmla="*/ 358 w 5061"/>
                  <a:gd name="connsiteY109" fmla="*/ 168 h 1043"/>
                  <a:gd name="connsiteX110" fmla="*/ 308 w 5061"/>
                  <a:gd name="connsiteY110" fmla="*/ 145 h 1043"/>
                  <a:gd name="connsiteX111" fmla="*/ 256 w 5061"/>
                  <a:gd name="connsiteY111" fmla="*/ 127 h 1043"/>
                  <a:gd name="connsiteX112" fmla="*/ 209 w 5061"/>
                  <a:gd name="connsiteY112" fmla="*/ 112 h 1043"/>
                  <a:gd name="connsiteX113" fmla="*/ 163 w 5061"/>
                  <a:gd name="connsiteY113" fmla="*/ 104 h 1043"/>
                  <a:gd name="connsiteX114" fmla="*/ 122 w 5061"/>
                  <a:gd name="connsiteY114" fmla="*/ 100 h 1043"/>
                  <a:gd name="connsiteX115" fmla="*/ 85 w 5061"/>
                  <a:gd name="connsiteY115" fmla="*/ 95 h 1043"/>
                  <a:gd name="connsiteX116" fmla="*/ 31 w 5061"/>
                  <a:gd name="connsiteY116" fmla="*/ 95 h 1043"/>
                  <a:gd name="connsiteX117" fmla="*/ 17 w 5061"/>
                  <a:gd name="connsiteY117" fmla="*/ 98 h 1043"/>
                  <a:gd name="connsiteX118" fmla="*/ 11 w 5061"/>
                  <a:gd name="connsiteY118" fmla="*/ 98 h 1043"/>
                  <a:gd name="connsiteX119" fmla="*/ 0 w 5061"/>
                  <a:gd name="connsiteY119" fmla="*/ 13 h 1043"/>
                  <a:gd name="connsiteX120" fmla="*/ 9 w 5061"/>
                  <a:gd name="connsiteY120" fmla="*/ 13 h 1043"/>
                  <a:gd name="connsiteX121" fmla="*/ 29 w 5061"/>
                  <a:gd name="connsiteY121" fmla="*/ 10 h 1043"/>
                  <a:gd name="connsiteX122" fmla="*/ 91 w 5061"/>
                  <a:gd name="connsiteY122" fmla="*/ 10 h 1043"/>
                  <a:gd name="connsiteX123" fmla="*/ 135 w 5061"/>
                  <a:gd name="connsiteY123" fmla="*/ 13 h 1043"/>
                  <a:gd name="connsiteX124" fmla="*/ 182 w 5061"/>
                  <a:gd name="connsiteY124" fmla="*/ 19 h 1043"/>
                  <a:gd name="connsiteX125" fmla="*/ 234 w 5061"/>
                  <a:gd name="connsiteY125" fmla="*/ 29 h 1043"/>
                  <a:gd name="connsiteX126" fmla="*/ 287 w 5061"/>
                  <a:gd name="connsiteY126" fmla="*/ 46 h 1043"/>
                  <a:gd name="connsiteX127" fmla="*/ 345 w 5061"/>
                  <a:gd name="connsiteY127" fmla="*/ 66 h 1043"/>
                  <a:gd name="connsiteX128" fmla="*/ 403 w 5061"/>
                  <a:gd name="connsiteY128" fmla="*/ 93 h 1043"/>
                  <a:gd name="connsiteX129" fmla="*/ 459 w 5061"/>
                  <a:gd name="connsiteY129" fmla="*/ 131 h 1043"/>
                  <a:gd name="connsiteX130" fmla="*/ 514 w 5061"/>
                  <a:gd name="connsiteY130" fmla="*/ 174 h 1043"/>
                  <a:gd name="connsiteX131" fmla="*/ 568 w 5061"/>
                  <a:gd name="connsiteY131" fmla="*/ 228 h 1043"/>
                  <a:gd name="connsiteX132" fmla="*/ 618 w 5061"/>
                  <a:gd name="connsiteY132" fmla="*/ 292 h 1043"/>
                  <a:gd name="connsiteX133" fmla="*/ 667 w 5061"/>
                  <a:gd name="connsiteY133" fmla="*/ 367 h 1043"/>
                  <a:gd name="connsiteX134" fmla="*/ 754 w 5061"/>
                  <a:gd name="connsiteY134" fmla="*/ 516 h 1043"/>
                  <a:gd name="connsiteX135" fmla="*/ 787 w 5061"/>
                  <a:gd name="connsiteY135" fmla="*/ 575 h 1043"/>
                  <a:gd name="connsiteX136" fmla="*/ 820 w 5061"/>
                  <a:gd name="connsiteY136" fmla="*/ 631 h 1043"/>
                  <a:gd name="connsiteX137" fmla="*/ 853 w 5061"/>
                  <a:gd name="connsiteY137" fmla="*/ 684 h 1043"/>
                  <a:gd name="connsiteX138" fmla="*/ 886 w 5061"/>
                  <a:gd name="connsiteY138" fmla="*/ 736 h 1043"/>
                  <a:gd name="connsiteX139" fmla="*/ 921 w 5061"/>
                  <a:gd name="connsiteY139" fmla="*/ 782 h 1043"/>
                  <a:gd name="connsiteX140" fmla="*/ 958 w 5061"/>
                  <a:gd name="connsiteY140" fmla="*/ 825 h 1043"/>
                  <a:gd name="connsiteX141" fmla="*/ 1000 w 5061"/>
                  <a:gd name="connsiteY141" fmla="*/ 863 h 1043"/>
                  <a:gd name="connsiteX142" fmla="*/ 1043 w 5061"/>
                  <a:gd name="connsiteY142" fmla="*/ 894 h 1043"/>
                  <a:gd name="connsiteX143" fmla="*/ 1090 w 5061"/>
                  <a:gd name="connsiteY143" fmla="*/ 921 h 1043"/>
                  <a:gd name="connsiteX144" fmla="*/ 1140 w 5061"/>
                  <a:gd name="connsiteY144" fmla="*/ 939 h 1043"/>
                  <a:gd name="connsiteX145" fmla="*/ 1196 w 5061"/>
                  <a:gd name="connsiteY145" fmla="*/ 952 h 1043"/>
                  <a:gd name="connsiteX146" fmla="*/ 1258 w 5061"/>
                  <a:gd name="connsiteY146" fmla="*/ 956 h 1043"/>
                  <a:gd name="connsiteX147" fmla="*/ 1264 w 5061"/>
                  <a:gd name="connsiteY147" fmla="*/ 956 h 1043"/>
                  <a:gd name="connsiteX148" fmla="*/ 1324 w 5061"/>
                  <a:gd name="connsiteY148" fmla="*/ 950 h 1043"/>
                  <a:gd name="connsiteX149" fmla="*/ 1380 w 5061"/>
                  <a:gd name="connsiteY149" fmla="*/ 935 h 1043"/>
                  <a:gd name="connsiteX150" fmla="*/ 1433 w 5061"/>
                  <a:gd name="connsiteY150" fmla="*/ 913 h 1043"/>
                  <a:gd name="connsiteX151" fmla="*/ 1481 w 5061"/>
                  <a:gd name="connsiteY151" fmla="*/ 884 h 1043"/>
                  <a:gd name="connsiteX152" fmla="*/ 1526 w 5061"/>
                  <a:gd name="connsiteY152" fmla="*/ 846 h 1043"/>
                  <a:gd name="connsiteX153" fmla="*/ 1569 w 5061"/>
                  <a:gd name="connsiteY153" fmla="*/ 803 h 1043"/>
                  <a:gd name="connsiteX154" fmla="*/ 1609 w 5061"/>
                  <a:gd name="connsiteY154" fmla="*/ 755 h 1043"/>
                  <a:gd name="connsiteX155" fmla="*/ 1648 w 5061"/>
                  <a:gd name="connsiteY155" fmla="*/ 703 h 1043"/>
                  <a:gd name="connsiteX156" fmla="*/ 1687 w 5061"/>
                  <a:gd name="connsiteY156" fmla="*/ 649 h 1043"/>
                  <a:gd name="connsiteX157" fmla="*/ 1799 w 5061"/>
                  <a:gd name="connsiteY157" fmla="*/ 475 h 1043"/>
                  <a:gd name="connsiteX158" fmla="*/ 1838 w 5061"/>
                  <a:gd name="connsiteY158" fmla="*/ 415 h 1043"/>
                  <a:gd name="connsiteX159" fmla="*/ 1879 w 5061"/>
                  <a:gd name="connsiteY159" fmla="*/ 357 h 1043"/>
                  <a:gd name="connsiteX160" fmla="*/ 1923 w 5061"/>
                  <a:gd name="connsiteY160" fmla="*/ 299 h 1043"/>
                  <a:gd name="connsiteX161" fmla="*/ 1968 w 5061"/>
                  <a:gd name="connsiteY161" fmla="*/ 245 h 1043"/>
                  <a:gd name="connsiteX162" fmla="*/ 2015 w 5061"/>
                  <a:gd name="connsiteY162" fmla="*/ 193 h 1043"/>
                  <a:gd name="connsiteX163" fmla="*/ 2069 w 5061"/>
                  <a:gd name="connsiteY163" fmla="*/ 145 h 1043"/>
                  <a:gd name="connsiteX164" fmla="*/ 2125 w 5061"/>
                  <a:gd name="connsiteY164" fmla="*/ 104 h 1043"/>
                  <a:gd name="connsiteX165" fmla="*/ 2187 w 5061"/>
                  <a:gd name="connsiteY165" fmla="*/ 69 h 1043"/>
                  <a:gd name="connsiteX166" fmla="*/ 2253 w 5061"/>
                  <a:gd name="connsiteY166" fmla="*/ 39 h 1043"/>
                  <a:gd name="connsiteX167" fmla="*/ 2325 w 5061"/>
                  <a:gd name="connsiteY167" fmla="*/ 19 h 1043"/>
                  <a:gd name="connsiteX168" fmla="*/ 2404 w 5061"/>
                  <a:gd name="connsiteY168" fmla="*/ 6 h 1043"/>
                  <a:gd name="connsiteX169" fmla="*/ 2474 w 5061"/>
                  <a:gd name="connsiteY169" fmla="*/ 4 h 1043"/>
                  <a:gd name="connsiteX170" fmla="*/ 2540 w 5061"/>
                  <a:gd name="connsiteY170" fmla="*/ 13 h 1043"/>
                  <a:gd name="connsiteX171" fmla="*/ 2600 w 5061"/>
                  <a:gd name="connsiteY171" fmla="*/ 27 h 1043"/>
                  <a:gd name="connsiteX172" fmla="*/ 2658 w 5061"/>
                  <a:gd name="connsiteY172" fmla="*/ 50 h 1043"/>
                  <a:gd name="connsiteX173" fmla="*/ 2711 w 5061"/>
                  <a:gd name="connsiteY173" fmla="*/ 81 h 1043"/>
                  <a:gd name="connsiteX174" fmla="*/ 2761 w 5061"/>
                  <a:gd name="connsiteY174" fmla="*/ 116 h 1043"/>
                  <a:gd name="connsiteX175" fmla="*/ 2806 w 5061"/>
                  <a:gd name="connsiteY175" fmla="*/ 158 h 1043"/>
                  <a:gd name="connsiteX176" fmla="*/ 2852 w 5061"/>
                  <a:gd name="connsiteY176" fmla="*/ 203 h 1043"/>
                  <a:gd name="connsiteX177" fmla="*/ 2893 w 5061"/>
                  <a:gd name="connsiteY177" fmla="*/ 251 h 1043"/>
                  <a:gd name="connsiteX178" fmla="*/ 2932 w 5061"/>
                  <a:gd name="connsiteY178" fmla="*/ 303 h 1043"/>
                  <a:gd name="connsiteX179" fmla="*/ 2969 w 5061"/>
                  <a:gd name="connsiteY179" fmla="*/ 357 h 1043"/>
                  <a:gd name="connsiteX180" fmla="*/ 3004 w 5061"/>
                  <a:gd name="connsiteY180" fmla="*/ 413 h 1043"/>
                  <a:gd name="connsiteX181" fmla="*/ 3039 w 5061"/>
                  <a:gd name="connsiteY181" fmla="*/ 467 h 1043"/>
                  <a:gd name="connsiteX182" fmla="*/ 3073 w 5061"/>
                  <a:gd name="connsiteY182" fmla="*/ 523 h 1043"/>
                  <a:gd name="connsiteX183" fmla="*/ 3110 w 5061"/>
                  <a:gd name="connsiteY183" fmla="*/ 585 h 1043"/>
                  <a:gd name="connsiteX184" fmla="*/ 3147 w 5061"/>
                  <a:gd name="connsiteY184" fmla="*/ 643 h 1043"/>
                  <a:gd name="connsiteX185" fmla="*/ 3186 w 5061"/>
                  <a:gd name="connsiteY185" fmla="*/ 701 h 1043"/>
                  <a:gd name="connsiteX186" fmla="*/ 3223 w 5061"/>
                  <a:gd name="connsiteY186" fmla="*/ 755 h 1043"/>
                  <a:gd name="connsiteX187" fmla="*/ 3265 w 5061"/>
                  <a:gd name="connsiteY187" fmla="*/ 805 h 1043"/>
                  <a:gd name="connsiteX188" fmla="*/ 3306 w 5061"/>
                  <a:gd name="connsiteY188" fmla="*/ 848 h 1043"/>
                  <a:gd name="connsiteX189" fmla="*/ 3349 w 5061"/>
                  <a:gd name="connsiteY189" fmla="*/ 886 h 1043"/>
                  <a:gd name="connsiteX190" fmla="*/ 3395 w 5061"/>
                  <a:gd name="connsiteY190" fmla="*/ 917 h 1043"/>
                  <a:gd name="connsiteX191" fmla="*/ 3444 w 5061"/>
                  <a:gd name="connsiteY191" fmla="*/ 939 h 1043"/>
                  <a:gd name="connsiteX192" fmla="*/ 3498 w 5061"/>
                  <a:gd name="connsiteY192" fmla="*/ 952 h 1043"/>
                  <a:gd name="connsiteX193" fmla="*/ 3554 w 5061"/>
                  <a:gd name="connsiteY193" fmla="*/ 956 h 1043"/>
                  <a:gd name="connsiteX194" fmla="*/ 3609 w 5061"/>
                  <a:gd name="connsiteY194" fmla="*/ 950 h 1043"/>
                  <a:gd name="connsiteX195" fmla="*/ 3659 w 5061"/>
                  <a:gd name="connsiteY195" fmla="*/ 935 h 1043"/>
                  <a:gd name="connsiteX196" fmla="*/ 3706 w 5061"/>
                  <a:gd name="connsiteY196" fmla="*/ 915 h 1043"/>
                  <a:gd name="connsiteX197" fmla="*/ 3750 w 5061"/>
                  <a:gd name="connsiteY197" fmla="*/ 884 h 1043"/>
                  <a:gd name="connsiteX198" fmla="*/ 3789 w 5061"/>
                  <a:gd name="connsiteY198" fmla="*/ 848 h 1043"/>
                  <a:gd name="connsiteX199" fmla="*/ 3826 w 5061"/>
                  <a:gd name="connsiteY199" fmla="*/ 807 h 1043"/>
                  <a:gd name="connsiteX200" fmla="*/ 3861 w 5061"/>
                  <a:gd name="connsiteY200" fmla="*/ 759 h 1043"/>
                  <a:gd name="connsiteX201" fmla="*/ 3894 w 5061"/>
                  <a:gd name="connsiteY201" fmla="*/ 709 h 1043"/>
                  <a:gd name="connsiteX202" fmla="*/ 3927 w 5061"/>
                  <a:gd name="connsiteY202" fmla="*/ 655 h 1043"/>
                  <a:gd name="connsiteX203" fmla="*/ 3960 w 5061"/>
                  <a:gd name="connsiteY203" fmla="*/ 597 h 1043"/>
                  <a:gd name="connsiteX204" fmla="*/ 3993 w 5061"/>
                  <a:gd name="connsiteY204" fmla="*/ 537 h 1043"/>
                  <a:gd name="connsiteX205" fmla="*/ 4022 w 5061"/>
                  <a:gd name="connsiteY205" fmla="*/ 483 h 1043"/>
                  <a:gd name="connsiteX206" fmla="*/ 4084 w 5061"/>
                  <a:gd name="connsiteY206" fmla="*/ 375 h 1043"/>
                  <a:gd name="connsiteX207" fmla="*/ 4154 w 5061"/>
                  <a:gd name="connsiteY207" fmla="*/ 272 h 1043"/>
                  <a:gd name="connsiteX208" fmla="*/ 4192 w 5061"/>
                  <a:gd name="connsiteY208" fmla="*/ 224 h 1043"/>
                  <a:gd name="connsiteX209" fmla="*/ 4233 w 5061"/>
                  <a:gd name="connsiteY209" fmla="*/ 178 h 1043"/>
                  <a:gd name="connsiteX210" fmla="*/ 4276 w 5061"/>
                  <a:gd name="connsiteY210" fmla="*/ 137 h 1043"/>
                  <a:gd name="connsiteX211" fmla="*/ 4324 w 5061"/>
                  <a:gd name="connsiteY211" fmla="*/ 100 h 1043"/>
                  <a:gd name="connsiteX212" fmla="*/ 4375 w 5061"/>
                  <a:gd name="connsiteY212" fmla="*/ 66 h 1043"/>
                  <a:gd name="connsiteX213" fmla="*/ 4433 w 5061"/>
                  <a:gd name="connsiteY213" fmla="*/ 39 h 1043"/>
                  <a:gd name="connsiteX214" fmla="*/ 4493 w 5061"/>
                  <a:gd name="connsiteY214" fmla="*/ 19 h 1043"/>
                  <a:gd name="connsiteX215" fmla="*/ 4559 w 5061"/>
                  <a:gd name="connsiteY215" fmla="*/ 6 h 1043"/>
                  <a:gd name="connsiteX216" fmla="*/ 4631 w 5061"/>
                  <a:gd name="connsiteY216" fmla="*/ 0 h 1043"/>
                  <a:gd name="connsiteX0" fmla="*/ 4631 w 5061"/>
                  <a:gd name="connsiteY0" fmla="*/ 0 h 1043"/>
                  <a:gd name="connsiteX1" fmla="*/ 4681 w 5061"/>
                  <a:gd name="connsiteY1" fmla="*/ 0 h 1043"/>
                  <a:gd name="connsiteX2" fmla="*/ 4710 w 5061"/>
                  <a:gd name="connsiteY2" fmla="*/ 4 h 1043"/>
                  <a:gd name="connsiteX3" fmla="*/ 4741 w 5061"/>
                  <a:gd name="connsiteY3" fmla="*/ 13 h 1043"/>
                  <a:gd name="connsiteX4" fmla="*/ 4778 w 5061"/>
                  <a:gd name="connsiteY4" fmla="*/ 23 h 1043"/>
                  <a:gd name="connsiteX5" fmla="*/ 4819 w 5061"/>
                  <a:gd name="connsiteY5" fmla="*/ 39 h 1043"/>
                  <a:gd name="connsiteX6" fmla="*/ 4863 w 5061"/>
                  <a:gd name="connsiteY6" fmla="*/ 60 h 1043"/>
                  <a:gd name="connsiteX7" fmla="*/ 4910 w 5061"/>
                  <a:gd name="connsiteY7" fmla="*/ 89 h 1043"/>
                  <a:gd name="connsiteX8" fmla="*/ 4960 w 5061"/>
                  <a:gd name="connsiteY8" fmla="*/ 124 h 1043"/>
                  <a:gd name="connsiteX9" fmla="*/ 5009 w 5061"/>
                  <a:gd name="connsiteY9" fmla="*/ 170 h 1043"/>
                  <a:gd name="connsiteX10" fmla="*/ 5061 w 5061"/>
                  <a:gd name="connsiteY10" fmla="*/ 224 h 1043"/>
                  <a:gd name="connsiteX11" fmla="*/ 4945 w 5061"/>
                  <a:gd name="connsiteY11" fmla="*/ 228 h 1043"/>
                  <a:gd name="connsiteX12" fmla="*/ 4900 w 5061"/>
                  <a:gd name="connsiteY12" fmla="*/ 189 h 1043"/>
                  <a:gd name="connsiteX13" fmla="*/ 4858 w 5061"/>
                  <a:gd name="connsiteY13" fmla="*/ 158 h 1043"/>
                  <a:gd name="connsiteX14" fmla="*/ 4819 w 5061"/>
                  <a:gd name="connsiteY14" fmla="*/ 135 h 1043"/>
                  <a:gd name="connsiteX15" fmla="*/ 4770 w 5061"/>
                  <a:gd name="connsiteY15" fmla="*/ 112 h 1043"/>
                  <a:gd name="connsiteX16" fmla="*/ 4726 w 5061"/>
                  <a:gd name="connsiteY16" fmla="*/ 98 h 1043"/>
                  <a:gd name="connsiteX17" fmla="*/ 4691 w 5061"/>
                  <a:gd name="connsiteY17" fmla="*/ 89 h 1043"/>
                  <a:gd name="connsiteX18" fmla="*/ 4662 w 5061"/>
                  <a:gd name="connsiteY18" fmla="*/ 87 h 1043"/>
                  <a:gd name="connsiteX19" fmla="*/ 4635 w 5061"/>
                  <a:gd name="connsiteY19" fmla="*/ 87 h 1043"/>
                  <a:gd name="connsiteX20" fmla="*/ 4569 w 5061"/>
                  <a:gd name="connsiteY20" fmla="*/ 93 h 1043"/>
                  <a:gd name="connsiteX21" fmla="*/ 4507 w 5061"/>
                  <a:gd name="connsiteY21" fmla="*/ 106 h 1043"/>
                  <a:gd name="connsiteX22" fmla="*/ 4452 w 5061"/>
                  <a:gd name="connsiteY22" fmla="*/ 127 h 1043"/>
                  <a:gd name="connsiteX23" fmla="*/ 4400 w 5061"/>
                  <a:gd name="connsiteY23" fmla="*/ 154 h 1043"/>
                  <a:gd name="connsiteX24" fmla="*/ 4353 w 5061"/>
                  <a:gd name="connsiteY24" fmla="*/ 187 h 1043"/>
                  <a:gd name="connsiteX25" fmla="*/ 4309 w 5061"/>
                  <a:gd name="connsiteY25" fmla="*/ 224 h 1043"/>
                  <a:gd name="connsiteX26" fmla="*/ 4270 w 5061"/>
                  <a:gd name="connsiteY26" fmla="*/ 268 h 1043"/>
                  <a:gd name="connsiteX27" fmla="*/ 4231 w 5061"/>
                  <a:gd name="connsiteY27" fmla="*/ 313 h 1043"/>
                  <a:gd name="connsiteX28" fmla="*/ 4196 w 5061"/>
                  <a:gd name="connsiteY28" fmla="*/ 363 h 1043"/>
                  <a:gd name="connsiteX29" fmla="*/ 4163 w 5061"/>
                  <a:gd name="connsiteY29" fmla="*/ 415 h 1043"/>
                  <a:gd name="connsiteX30" fmla="*/ 4101 w 5061"/>
                  <a:gd name="connsiteY30" fmla="*/ 523 h 1043"/>
                  <a:gd name="connsiteX31" fmla="*/ 4008 w 5061"/>
                  <a:gd name="connsiteY31" fmla="*/ 691 h 1043"/>
                  <a:gd name="connsiteX32" fmla="*/ 3975 w 5061"/>
                  <a:gd name="connsiteY32" fmla="*/ 747 h 1043"/>
                  <a:gd name="connsiteX33" fmla="*/ 3940 w 5061"/>
                  <a:gd name="connsiteY33" fmla="*/ 798 h 1043"/>
                  <a:gd name="connsiteX34" fmla="*/ 3905 w 5061"/>
                  <a:gd name="connsiteY34" fmla="*/ 848 h 1043"/>
                  <a:gd name="connsiteX35" fmla="*/ 3865 w 5061"/>
                  <a:gd name="connsiteY35" fmla="*/ 894 h 1043"/>
                  <a:gd name="connsiteX36" fmla="*/ 3824 w 5061"/>
                  <a:gd name="connsiteY36" fmla="*/ 935 h 1043"/>
                  <a:gd name="connsiteX37" fmla="*/ 3779 w 5061"/>
                  <a:gd name="connsiteY37" fmla="*/ 971 h 1043"/>
                  <a:gd name="connsiteX38" fmla="*/ 3729 w 5061"/>
                  <a:gd name="connsiteY38" fmla="*/ 1000 h 1043"/>
                  <a:gd name="connsiteX39" fmla="*/ 3677 w 5061"/>
                  <a:gd name="connsiteY39" fmla="*/ 1022 h 1043"/>
                  <a:gd name="connsiteX40" fmla="*/ 3620 w 5061"/>
                  <a:gd name="connsiteY40" fmla="*/ 1037 h 1043"/>
                  <a:gd name="connsiteX41" fmla="*/ 3556 w 5061"/>
                  <a:gd name="connsiteY41" fmla="*/ 1043 h 1043"/>
                  <a:gd name="connsiteX42" fmla="*/ 3547 w 5061"/>
                  <a:gd name="connsiteY42" fmla="*/ 1043 h 1043"/>
                  <a:gd name="connsiteX43" fmla="*/ 3485 w 5061"/>
                  <a:gd name="connsiteY43" fmla="*/ 1039 h 1043"/>
                  <a:gd name="connsiteX44" fmla="*/ 3426 w 5061"/>
                  <a:gd name="connsiteY44" fmla="*/ 1025 h 1043"/>
                  <a:gd name="connsiteX45" fmla="*/ 3372 w 5061"/>
                  <a:gd name="connsiteY45" fmla="*/ 1002 h 1043"/>
                  <a:gd name="connsiteX46" fmla="*/ 3320 w 5061"/>
                  <a:gd name="connsiteY46" fmla="*/ 973 h 1043"/>
                  <a:gd name="connsiteX47" fmla="*/ 3273 w 5061"/>
                  <a:gd name="connsiteY47" fmla="*/ 935 h 1043"/>
                  <a:gd name="connsiteX48" fmla="*/ 3229 w 5061"/>
                  <a:gd name="connsiteY48" fmla="*/ 894 h 1043"/>
                  <a:gd name="connsiteX49" fmla="*/ 3186 w 5061"/>
                  <a:gd name="connsiteY49" fmla="*/ 846 h 1043"/>
                  <a:gd name="connsiteX50" fmla="*/ 3147 w 5061"/>
                  <a:gd name="connsiteY50" fmla="*/ 796 h 1043"/>
                  <a:gd name="connsiteX51" fmla="*/ 3108 w 5061"/>
                  <a:gd name="connsiteY51" fmla="*/ 740 h 1043"/>
                  <a:gd name="connsiteX52" fmla="*/ 3070 w 5061"/>
                  <a:gd name="connsiteY52" fmla="*/ 684 h 1043"/>
                  <a:gd name="connsiteX53" fmla="*/ 2965 w 5061"/>
                  <a:gd name="connsiteY53" fmla="*/ 510 h 1043"/>
                  <a:gd name="connsiteX54" fmla="*/ 2928 w 5061"/>
                  <a:gd name="connsiteY54" fmla="*/ 452 h 1043"/>
                  <a:gd name="connsiteX55" fmla="*/ 2891 w 5061"/>
                  <a:gd name="connsiteY55" fmla="*/ 396 h 1043"/>
                  <a:gd name="connsiteX56" fmla="*/ 2854 w 5061"/>
                  <a:gd name="connsiteY56" fmla="*/ 342 h 1043"/>
                  <a:gd name="connsiteX57" fmla="*/ 2814 w 5061"/>
                  <a:gd name="connsiteY57" fmla="*/ 292 h 1043"/>
                  <a:gd name="connsiteX58" fmla="*/ 2773 w 5061"/>
                  <a:gd name="connsiteY58" fmla="*/ 247 h 1043"/>
                  <a:gd name="connsiteX59" fmla="*/ 2732 w 5061"/>
                  <a:gd name="connsiteY59" fmla="*/ 205 h 1043"/>
                  <a:gd name="connsiteX60" fmla="*/ 2686 w 5061"/>
                  <a:gd name="connsiteY60" fmla="*/ 168 h 1043"/>
                  <a:gd name="connsiteX61" fmla="*/ 2639 w 5061"/>
                  <a:gd name="connsiteY61" fmla="*/ 139 h 1043"/>
                  <a:gd name="connsiteX62" fmla="*/ 2587 w 5061"/>
                  <a:gd name="connsiteY62" fmla="*/ 116 h 1043"/>
                  <a:gd name="connsiteX63" fmla="*/ 2532 w 5061"/>
                  <a:gd name="connsiteY63" fmla="*/ 100 h 1043"/>
                  <a:gd name="connsiteX64" fmla="*/ 2474 w 5061"/>
                  <a:gd name="connsiteY64" fmla="*/ 91 h 1043"/>
                  <a:gd name="connsiteX65" fmla="*/ 2410 w 5061"/>
                  <a:gd name="connsiteY65" fmla="*/ 93 h 1043"/>
                  <a:gd name="connsiteX66" fmla="*/ 2342 w 5061"/>
                  <a:gd name="connsiteY66" fmla="*/ 104 h 1043"/>
                  <a:gd name="connsiteX67" fmla="*/ 2280 w 5061"/>
                  <a:gd name="connsiteY67" fmla="*/ 122 h 1043"/>
                  <a:gd name="connsiteX68" fmla="*/ 2222 w 5061"/>
                  <a:gd name="connsiteY68" fmla="*/ 147 h 1043"/>
                  <a:gd name="connsiteX69" fmla="*/ 2168 w 5061"/>
                  <a:gd name="connsiteY69" fmla="*/ 180 h 1043"/>
                  <a:gd name="connsiteX70" fmla="*/ 2117 w 5061"/>
                  <a:gd name="connsiteY70" fmla="*/ 218 h 1043"/>
                  <a:gd name="connsiteX71" fmla="*/ 2071 w 5061"/>
                  <a:gd name="connsiteY71" fmla="*/ 261 h 1043"/>
                  <a:gd name="connsiteX72" fmla="*/ 2026 w 5061"/>
                  <a:gd name="connsiteY72" fmla="*/ 307 h 1043"/>
                  <a:gd name="connsiteX73" fmla="*/ 1984 w 5061"/>
                  <a:gd name="connsiteY73" fmla="*/ 359 h 1043"/>
                  <a:gd name="connsiteX74" fmla="*/ 1945 w 5061"/>
                  <a:gd name="connsiteY74" fmla="*/ 413 h 1043"/>
                  <a:gd name="connsiteX75" fmla="*/ 1908 w 5061"/>
                  <a:gd name="connsiteY75" fmla="*/ 467 h 1043"/>
                  <a:gd name="connsiteX76" fmla="*/ 1871 w 5061"/>
                  <a:gd name="connsiteY76" fmla="*/ 523 h 1043"/>
                  <a:gd name="connsiteX77" fmla="*/ 1834 w 5061"/>
                  <a:gd name="connsiteY77" fmla="*/ 581 h 1043"/>
                  <a:gd name="connsiteX78" fmla="*/ 1799 w 5061"/>
                  <a:gd name="connsiteY78" fmla="*/ 637 h 1043"/>
                  <a:gd name="connsiteX79" fmla="*/ 1724 w 5061"/>
                  <a:gd name="connsiteY79" fmla="*/ 749 h 1043"/>
                  <a:gd name="connsiteX80" fmla="*/ 1685 w 5061"/>
                  <a:gd name="connsiteY80" fmla="*/ 801 h 1043"/>
                  <a:gd name="connsiteX81" fmla="*/ 1644 w 5061"/>
                  <a:gd name="connsiteY81" fmla="*/ 850 h 1043"/>
                  <a:gd name="connsiteX82" fmla="*/ 1600 w 5061"/>
                  <a:gd name="connsiteY82" fmla="*/ 896 h 1043"/>
                  <a:gd name="connsiteX83" fmla="*/ 1553 w 5061"/>
                  <a:gd name="connsiteY83" fmla="*/ 937 h 1043"/>
                  <a:gd name="connsiteX84" fmla="*/ 1503 w 5061"/>
                  <a:gd name="connsiteY84" fmla="*/ 973 h 1043"/>
                  <a:gd name="connsiteX85" fmla="*/ 1450 w 5061"/>
                  <a:gd name="connsiteY85" fmla="*/ 1002 h 1043"/>
                  <a:gd name="connsiteX86" fmla="*/ 1394 w 5061"/>
                  <a:gd name="connsiteY86" fmla="*/ 1025 h 1043"/>
                  <a:gd name="connsiteX87" fmla="*/ 1330 w 5061"/>
                  <a:gd name="connsiteY87" fmla="*/ 1037 h 1043"/>
                  <a:gd name="connsiteX88" fmla="*/ 1264 w 5061"/>
                  <a:gd name="connsiteY88" fmla="*/ 1043 h 1043"/>
                  <a:gd name="connsiteX89" fmla="*/ 1258 w 5061"/>
                  <a:gd name="connsiteY89" fmla="*/ 1043 h 1043"/>
                  <a:gd name="connsiteX90" fmla="*/ 1190 w 5061"/>
                  <a:gd name="connsiteY90" fmla="*/ 1039 h 1043"/>
                  <a:gd name="connsiteX91" fmla="*/ 1128 w 5061"/>
                  <a:gd name="connsiteY91" fmla="*/ 1027 h 1043"/>
                  <a:gd name="connsiteX92" fmla="*/ 1070 w 5061"/>
                  <a:gd name="connsiteY92" fmla="*/ 1008 h 1043"/>
                  <a:gd name="connsiteX93" fmla="*/ 1018 w 5061"/>
                  <a:gd name="connsiteY93" fmla="*/ 983 h 1043"/>
                  <a:gd name="connsiteX94" fmla="*/ 971 w 5061"/>
                  <a:gd name="connsiteY94" fmla="*/ 952 h 1043"/>
                  <a:gd name="connsiteX95" fmla="*/ 925 w 5061"/>
                  <a:gd name="connsiteY95" fmla="*/ 915 h 1043"/>
                  <a:gd name="connsiteX96" fmla="*/ 884 w 5061"/>
                  <a:gd name="connsiteY96" fmla="*/ 873 h 1043"/>
                  <a:gd name="connsiteX97" fmla="*/ 847 w 5061"/>
                  <a:gd name="connsiteY97" fmla="*/ 828 h 1043"/>
                  <a:gd name="connsiteX98" fmla="*/ 810 w 5061"/>
                  <a:gd name="connsiteY98" fmla="*/ 780 h 1043"/>
                  <a:gd name="connsiteX99" fmla="*/ 777 w 5061"/>
                  <a:gd name="connsiteY99" fmla="*/ 728 h 1043"/>
                  <a:gd name="connsiteX100" fmla="*/ 742 w 5061"/>
                  <a:gd name="connsiteY100" fmla="*/ 674 h 1043"/>
                  <a:gd name="connsiteX101" fmla="*/ 711 w 5061"/>
                  <a:gd name="connsiteY101" fmla="*/ 618 h 1043"/>
                  <a:gd name="connsiteX102" fmla="*/ 678 w 5061"/>
                  <a:gd name="connsiteY102" fmla="*/ 560 h 1043"/>
                  <a:gd name="connsiteX103" fmla="*/ 616 w 5061"/>
                  <a:gd name="connsiteY103" fmla="*/ 448 h 1043"/>
                  <a:gd name="connsiteX104" fmla="*/ 547 w 5061"/>
                  <a:gd name="connsiteY104" fmla="*/ 340 h 1043"/>
                  <a:gd name="connsiteX105" fmla="*/ 504 w 5061"/>
                  <a:gd name="connsiteY105" fmla="*/ 284 h 1043"/>
                  <a:gd name="connsiteX106" fmla="*/ 457 w 5061"/>
                  <a:gd name="connsiteY106" fmla="*/ 239 h 1043"/>
                  <a:gd name="connsiteX107" fmla="*/ 409 w 5061"/>
                  <a:gd name="connsiteY107" fmla="*/ 199 h 1043"/>
                  <a:gd name="connsiteX108" fmla="*/ 358 w 5061"/>
                  <a:gd name="connsiteY108" fmla="*/ 168 h 1043"/>
                  <a:gd name="connsiteX109" fmla="*/ 308 w 5061"/>
                  <a:gd name="connsiteY109" fmla="*/ 145 h 1043"/>
                  <a:gd name="connsiteX110" fmla="*/ 256 w 5061"/>
                  <a:gd name="connsiteY110" fmla="*/ 127 h 1043"/>
                  <a:gd name="connsiteX111" fmla="*/ 209 w 5061"/>
                  <a:gd name="connsiteY111" fmla="*/ 112 h 1043"/>
                  <a:gd name="connsiteX112" fmla="*/ 163 w 5061"/>
                  <a:gd name="connsiteY112" fmla="*/ 104 h 1043"/>
                  <a:gd name="connsiteX113" fmla="*/ 122 w 5061"/>
                  <a:gd name="connsiteY113" fmla="*/ 100 h 1043"/>
                  <a:gd name="connsiteX114" fmla="*/ 85 w 5061"/>
                  <a:gd name="connsiteY114" fmla="*/ 95 h 1043"/>
                  <a:gd name="connsiteX115" fmla="*/ 31 w 5061"/>
                  <a:gd name="connsiteY115" fmla="*/ 95 h 1043"/>
                  <a:gd name="connsiteX116" fmla="*/ 17 w 5061"/>
                  <a:gd name="connsiteY116" fmla="*/ 98 h 1043"/>
                  <a:gd name="connsiteX117" fmla="*/ 11 w 5061"/>
                  <a:gd name="connsiteY117" fmla="*/ 98 h 1043"/>
                  <a:gd name="connsiteX118" fmla="*/ 0 w 5061"/>
                  <a:gd name="connsiteY118" fmla="*/ 13 h 1043"/>
                  <a:gd name="connsiteX119" fmla="*/ 9 w 5061"/>
                  <a:gd name="connsiteY119" fmla="*/ 13 h 1043"/>
                  <a:gd name="connsiteX120" fmla="*/ 29 w 5061"/>
                  <a:gd name="connsiteY120" fmla="*/ 10 h 1043"/>
                  <a:gd name="connsiteX121" fmla="*/ 91 w 5061"/>
                  <a:gd name="connsiteY121" fmla="*/ 10 h 1043"/>
                  <a:gd name="connsiteX122" fmla="*/ 135 w 5061"/>
                  <a:gd name="connsiteY122" fmla="*/ 13 h 1043"/>
                  <a:gd name="connsiteX123" fmla="*/ 182 w 5061"/>
                  <a:gd name="connsiteY123" fmla="*/ 19 h 1043"/>
                  <a:gd name="connsiteX124" fmla="*/ 234 w 5061"/>
                  <a:gd name="connsiteY124" fmla="*/ 29 h 1043"/>
                  <a:gd name="connsiteX125" fmla="*/ 287 w 5061"/>
                  <a:gd name="connsiteY125" fmla="*/ 46 h 1043"/>
                  <a:gd name="connsiteX126" fmla="*/ 345 w 5061"/>
                  <a:gd name="connsiteY126" fmla="*/ 66 h 1043"/>
                  <a:gd name="connsiteX127" fmla="*/ 403 w 5061"/>
                  <a:gd name="connsiteY127" fmla="*/ 93 h 1043"/>
                  <a:gd name="connsiteX128" fmla="*/ 459 w 5061"/>
                  <a:gd name="connsiteY128" fmla="*/ 131 h 1043"/>
                  <a:gd name="connsiteX129" fmla="*/ 514 w 5061"/>
                  <a:gd name="connsiteY129" fmla="*/ 174 h 1043"/>
                  <a:gd name="connsiteX130" fmla="*/ 568 w 5061"/>
                  <a:gd name="connsiteY130" fmla="*/ 228 h 1043"/>
                  <a:gd name="connsiteX131" fmla="*/ 618 w 5061"/>
                  <a:gd name="connsiteY131" fmla="*/ 292 h 1043"/>
                  <a:gd name="connsiteX132" fmla="*/ 667 w 5061"/>
                  <a:gd name="connsiteY132" fmla="*/ 367 h 1043"/>
                  <a:gd name="connsiteX133" fmla="*/ 754 w 5061"/>
                  <a:gd name="connsiteY133" fmla="*/ 516 h 1043"/>
                  <a:gd name="connsiteX134" fmla="*/ 787 w 5061"/>
                  <a:gd name="connsiteY134" fmla="*/ 575 h 1043"/>
                  <a:gd name="connsiteX135" fmla="*/ 820 w 5061"/>
                  <a:gd name="connsiteY135" fmla="*/ 631 h 1043"/>
                  <a:gd name="connsiteX136" fmla="*/ 853 w 5061"/>
                  <a:gd name="connsiteY136" fmla="*/ 684 h 1043"/>
                  <a:gd name="connsiteX137" fmla="*/ 886 w 5061"/>
                  <a:gd name="connsiteY137" fmla="*/ 736 h 1043"/>
                  <a:gd name="connsiteX138" fmla="*/ 921 w 5061"/>
                  <a:gd name="connsiteY138" fmla="*/ 782 h 1043"/>
                  <a:gd name="connsiteX139" fmla="*/ 958 w 5061"/>
                  <a:gd name="connsiteY139" fmla="*/ 825 h 1043"/>
                  <a:gd name="connsiteX140" fmla="*/ 1000 w 5061"/>
                  <a:gd name="connsiteY140" fmla="*/ 863 h 1043"/>
                  <a:gd name="connsiteX141" fmla="*/ 1043 w 5061"/>
                  <a:gd name="connsiteY141" fmla="*/ 894 h 1043"/>
                  <a:gd name="connsiteX142" fmla="*/ 1090 w 5061"/>
                  <a:gd name="connsiteY142" fmla="*/ 921 h 1043"/>
                  <a:gd name="connsiteX143" fmla="*/ 1140 w 5061"/>
                  <a:gd name="connsiteY143" fmla="*/ 939 h 1043"/>
                  <a:gd name="connsiteX144" fmla="*/ 1196 w 5061"/>
                  <a:gd name="connsiteY144" fmla="*/ 952 h 1043"/>
                  <a:gd name="connsiteX145" fmla="*/ 1258 w 5061"/>
                  <a:gd name="connsiteY145" fmla="*/ 956 h 1043"/>
                  <a:gd name="connsiteX146" fmla="*/ 1264 w 5061"/>
                  <a:gd name="connsiteY146" fmla="*/ 956 h 1043"/>
                  <a:gd name="connsiteX147" fmla="*/ 1324 w 5061"/>
                  <a:gd name="connsiteY147" fmla="*/ 950 h 1043"/>
                  <a:gd name="connsiteX148" fmla="*/ 1380 w 5061"/>
                  <a:gd name="connsiteY148" fmla="*/ 935 h 1043"/>
                  <a:gd name="connsiteX149" fmla="*/ 1433 w 5061"/>
                  <a:gd name="connsiteY149" fmla="*/ 913 h 1043"/>
                  <a:gd name="connsiteX150" fmla="*/ 1481 w 5061"/>
                  <a:gd name="connsiteY150" fmla="*/ 884 h 1043"/>
                  <a:gd name="connsiteX151" fmla="*/ 1526 w 5061"/>
                  <a:gd name="connsiteY151" fmla="*/ 846 h 1043"/>
                  <a:gd name="connsiteX152" fmla="*/ 1569 w 5061"/>
                  <a:gd name="connsiteY152" fmla="*/ 803 h 1043"/>
                  <a:gd name="connsiteX153" fmla="*/ 1609 w 5061"/>
                  <a:gd name="connsiteY153" fmla="*/ 755 h 1043"/>
                  <a:gd name="connsiteX154" fmla="*/ 1648 w 5061"/>
                  <a:gd name="connsiteY154" fmla="*/ 703 h 1043"/>
                  <a:gd name="connsiteX155" fmla="*/ 1687 w 5061"/>
                  <a:gd name="connsiteY155" fmla="*/ 649 h 1043"/>
                  <a:gd name="connsiteX156" fmla="*/ 1799 w 5061"/>
                  <a:gd name="connsiteY156" fmla="*/ 475 h 1043"/>
                  <a:gd name="connsiteX157" fmla="*/ 1838 w 5061"/>
                  <a:gd name="connsiteY157" fmla="*/ 415 h 1043"/>
                  <a:gd name="connsiteX158" fmla="*/ 1879 w 5061"/>
                  <a:gd name="connsiteY158" fmla="*/ 357 h 1043"/>
                  <a:gd name="connsiteX159" fmla="*/ 1923 w 5061"/>
                  <a:gd name="connsiteY159" fmla="*/ 299 h 1043"/>
                  <a:gd name="connsiteX160" fmla="*/ 1968 w 5061"/>
                  <a:gd name="connsiteY160" fmla="*/ 245 h 1043"/>
                  <a:gd name="connsiteX161" fmla="*/ 2015 w 5061"/>
                  <a:gd name="connsiteY161" fmla="*/ 193 h 1043"/>
                  <a:gd name="connsiteX162" fmla="*/ 2069 w 5061"/>
                  <a:gd name="connsiteY162" fmla="*/ 145 h 1043"/>
                  <a:gd name="connsiteX163" fmla="*/ 2125 w 5061"/>
                  <a:gd name="connsiteY163" fmla="*/ 104 h 1043"/>
                  <a:gd name="connsiteX164" fmla="*/ 2187 w 5061"/>
                  <a:gd name="connsiteY164" fmla="*/ 69 h 1043"/>
                  <a:gd name="connsiteX165" fmla="*/ 2253 w 5061"/>
                  <a:gd name="connsiteY165" fmla="*/ 39 h 1043"/>
                  <a:gd name="connsiteX166" fmla="*/ 2325 w 5061"/>
                  <a:gd name="connsiteY166" fmla="*/ 19 h 1043"/>
                  <a:gd name="connsiteX167" fmla="*/ 2404 w 5061"/>
                  <a:gd name="connsiteY167" fmla="*/ 6 h 1043"/>
                  <a:gd name="connsiteX168" fmla="*/ 2474 w 5061"/>
                  <a:gd name="connsiteY168" fmla="*/ 4 h 1043"/>
                  <a:gd name="connsiteX169" fmla="*/ 2540 w 5061"/>
                  <a:gd name="connsiteY169" fmla="*/ 13 h 1043"/>
                  <a:gd name="connsiteX170" fmla="*/ 2600 w 5061"/>
                  <a:gd name="connsiteY170" fmla="*/ 27 h 1043"/>
                  <a:gd name="connsiteX171" fmla="*/ 2658 w 5061"/>
                  <a:gd name="connsiteY171" fmla="*/ 50 h 1043"/>
                  <a:gd name="connsiteX172" fmla="*/ 2711 w 5061"/>
                  <a:gd name="connsiteY172" fmla="*/ 81 h 1043"/>
                  <a:gd name="connsiteX173" fmla="*/ 2761 w 5061"/>
                  <a:gd name="connsiteY173" fmla="*/ 116 h 1043"/>
                  <a:gd name="connsiteX174" fmla="*/ 2806 w 5061"/>
                  <a:gd name="connsiteY174" fmla="*/ 158 h 1043"/>
                  <a:gd name="connsiteX175" fmla="*/ 2852 w 5061"/>
                  <a:gd name="connsiteY175" fmla="*/ 203 h 1043"/>
                  <a:gd name="connsiteX176" fmla="*/ 2893 w 5061"/>
                  <a:gd name="connsiteY176" fmla="*/ 251 h 1043"/>
                  <a:gd name="connsiteX177" fmla="*/ 2932 w 5061"/>
                  <a:gd name="connsiteY177" fmla="*/ 303 h 1043"/>
                  <a:gd name="connsiteX178" fmla="*/ 2969 w 5061"/>
                  <a:gd name="connsiteY178" fmla="*/ 357 h 1043"/>
                  <a:gd name="connsiteX179" fmla="*/ 3004 w 5061"/>
                  <a:gd name="connsiteY179" fmla="*/ 413 h 1043"/>
                  <a:gd name="connsiteX180" fmla="*/ 3039 w 5061"/>
                  <a:gd name="connsiteY180" fmla="*/ 467 h 1043"/>
                  <a:gd name="connsiteX181" fmla="*/ 3073 w 5061"/>
                  <a:gd name="connsiteY181" fmla="*/ 523 h 1043"/>
                  <a:gd name="connsiteX182" fmla="*/ 3110 w 5061"/>
                  <a:gd name="connsiteY182" fmla="*/ 585 h 1043"/>
                  <a:gd name="connsiteX183" fmla="*/ 3147 w 5061"/>
                  <a:gd name="connsiteY183" fmla="*/ 643 h 1043"/>
                  <a:gd name="connsiteX184" fmla="*/ 3186 w 5061"/>
                  <a:gd name="connsiteY184" fmla="*/ 701 h 1043"/>
                  <a:gd name="connsiteX185" fmla="*/ 3223 w 5061"/>
                  <a:gd name="connsiteY185" fmla="*/ 755 h 1043"/>
                  <a:gd name="connsiteX186" fmla="*/ 3265 w 5061"/>
                  <a:gd name="connsiteY186" fmla="*/ 805 h 1043"/>
                  <a:gd name="connsiteX187" fmla="*/ 3306 w 5061"/>
                  <a:gd name="connsiteY187" fmla="*/ 848 h 1043"/>
                  <a:gd name="connsiteX188" fmla="*/ 3349 w 5061"/>
                  <a:gd name="connsiteY188" fmla="*/ 886 h 1043"/>
                  <a:gd name="connsiteX189" fmla="*/ 3395 w 5061"/>
                  <a:gd name="connsiteY189" fmla="*/ 917 h 1043"/>
                  <a:gd name="connsiteX190" fmla="*/ 3444 w 5061"/>
                  <a:gd name="connsiteY190" fmla="*/ 939 h 1043"/>
                  <a:gd name="connsiteX191" fmla="*/ 3498 w 5061"/>
                  <a:gd name="connsiteY191" fmla="*/ 952 h 1043"/>
                  <a:gd name="connsiteX192" fmla="*/ 3554 w 5061"/>
                  <a:gd name="connsiteY192" fmla="*/ 956 h 1043"/>
                  <a:gd name="connsiteX193" fmla="*/ 3609 w 5061"/>
                  <a:gd name="connsiteY193" fmla="*/ 950 h 1043"/>
                  <a:gd name="connsiteX194" fmla="*/ 3659 w 5061"/>
                  <a:gd name="connsiteY194" fmla="*/ 935 h 1043"/>
                  <a:gd name="connsiteX195" fmla="*/ 3706 w 5061"/>
                  <a:gd name="connsiteY195" fmla="*/ 915 h 1043"/>
                  <a:gd name="connsiteX196" fmla="*/ 3750 w 5061"/>
                  <a:gd name="connsiteY196" fmla="*/ 884 h 1043"/>
                  <a:gd name="connsiteX197" fmla="*/ 3789 w 5061"/>
                  <a:gd name="connsiteY197" fmla="*/ 848 h 1043"/>
                  <a:gd name="connsiteX198" fmla="*/ 3826 w 5061"/>
                  <a:gd name="connsiteY198" fmla="*/ 807 h 1043"/>
                  <a:gd name="connsiteX199" fmla="*/ 3861 w 5061"/>
                  <a:gd name="connsiteY199" fmla="*/ 759 h 1043"/>
                  <a:gd name="connsiteX200" fmla="*/ 3894 w 5061"/>
                  <a:gd name="connsiteY200" fmla="*/ 709 h 1043"/>
                  <a:gd name="connsiteX201" fmla="*/ 3927 w 5061"/>
                  <a:gd name="connsiteY201" fmla="*/ 655 h 1043"/>
                  <a:gd name="connsiteX202" fmla="*/ 3960 w 5061"/>
                  <a:gd name="connsiteY202" fmla="*/ 597 h 1043"/>
                  <a:gd name="connsiteX203" fmla="*/ 3993 w 5061"/>
                  <a:gd name="connsiteY203" fmla="*/ 537 h 1043"/>
                  <a:gd name="connsiteX204" fmla="*/ 4022 w 5061"/>
                  <a:gd name="connsiteY204" fmla="*/ 483 h 1043"/>
                  <a:gd name="connsiteX205" fmla="*/ 4084 w 5061"/>
                  <a:gd name="connsiteY205" fmla="*/ 375 h 1043"/>
                  <a:gd name="connsiteX206" fmla="*/ 4154 w 5061"/>
                  <a:gd name="connsiteY206" fmla="*/ 272 h 1043"/>
                  <a:gd name="connsiteX207" fmla="*/ 4192 w 5061"/>
                  <a:gd name="connsiteY207" fmla="*/ 224 h 1043"/>
                  <a:gd name="connsiteX208" fmla="*/ 4233 w 5061"/>
                  <a:gd name="connsiteY208" fmla="*/ 178 h 1043"/>
                  <a:gd name="connsiteX209" fmla="*/ 4276 w 5061"/>
                  <a:gd name="connsiteY209" fmla="*/ 137 h 1043"/>
                  <a:gd name="connsiteX210" fmla="*/ 4324 w 5061"/>
                  <a:gd name="connsiteY210" fmla="*/ 100 h 1043"/>
                  <a:gd name="connsiteX211" fmla="*/ 4375 w 5061"/>
                  <a:gd name="connsiteY211" fmla="*/ 66 h 1043"/>
                  <a:gd name="connsiteX212" fmla="*/ 4433 w 5061"/>
                  <a:gd name="connsiteY212" fmla="*/ 39 h 1043"/>
                  <a:gd name="connsiteX213" fmla="*/ 4493 w 5061"/>
                  <a:gd name="connsiteY213" fmla="*/ 19 h 1043"/>
                  <a:gd name="connsiteX214" fmla="*/ 4559 w 5061"/>
                  <a:gd name="connsiteY214" fmla="*/ 6 h 1043"/>
                  <a:gd name="connsiteX215" fmla="*/ 4631 w 5061"/>
                  <a:gd name="connsiteY215" fmla="*/ 0 h 1043"/>
                  <a:gd name="connsiteX0" fmla="*/ 4631 w 5061"/>
                  <a:gd name="connsiteY0" fmla="*/ 0 h 1043"/>
                  <a:gd name="connsiteX1" fmla="*/ 4681 w 5061"/>
                  <a:gd name="connsiteY1" fmla="*/ 0 h 1043"/>
                  <a:gd name="connsiteX2" fmla="*/ 4710 w 5061"/>
                  <a:gd name="connsiteY2" fmla="*/ 4 h 1043"/>
                  <a:gd name="connsiteX3" fmla="*/ 4741 w 5061"/>
                  <a:gd name="connsiteY3" fmla="*/ 13 h 1043"/>
                  <a:gd name="connsiteX4" fmla="*/ 4778 w 5061"/>
                  <a:gd name="connsiteY4" fmla="*/ 23 h 1043"/>
                  <a:gd name="connsiteX5" fmla="*/ 4819 w 5061"/>
                  <a:gd name="connsiteY5" fmla="*/ 39 h 1043"/>
                  <a:gd name="connsiteX6" fmla="*/ 4863 w 5061"/>
                  <a:gd name="connsiteY6" fmla="*/ 60 h 1043"/>
                  <a:gd name="connsiteX7" fmla="*/ 4910 w 5061"/>
                  <a:gd name="connsiteY7" fmla="*/ 89 h 1043"/>
                  <a:gd name="connsiteX8" fmla="*/ 4960 w 5061"/>
                  <a:gd name="connsiteY8" fmla="*/ 124 h 1043"/>
                  <a:gd name="connsiteX9" fmla="*/ 5009 w 5061"/>
                  <a:gd name="connsiteY9" fmla="*/ 170 h 1043"/>
                  <a:gd name="connsiteX10" fmla="*/ 5061 w 5061"/>
                  <a:gd name="connsiteY10" fmla="*/ 224 h 1043"/>
                  <a:gd name="connsiteX11" fmla="*/ 4900 w 5061"/>
                  <a:gd name="connsiteY11" fmla="*/ 189 h 1043"/>
                  <a:gd name="connsiteX12" fmla="*/ 4858 w 5061"/>
                  <a:gd name="connsiteY12" fmla="*/ 158 h 1043"/>
                  <a:gd name="connsiteX13" fmla="*/ 4819 w 5061"/>
                  <a:gd name="connsiteY13" fmla="*/ 135 h 1043"/>
                  <a:gd name="connsiteX14" fmla="*/ 4770 w 5061"/>
                  <a:gd name="connsiteY14" fmla="*/ 112 h 1043"/>
                  <a:gd name="connsiteX15" fmla="*/ 4726 w 5061"/>
                  <a:gd name="connsiteY15" fmla="*/ 98 h 1043"/>
                  <a:gd name="connsiteX16" fmla="*/ 4691 w 5061"/>
                  <a:gd name="connsiteY16" fmla="*/ 89 h 1043"/>
                  <a:gd name="connsiteX17" fmla="*/ 4662 w 5061"/>
                  <a:gd name="connsiteY17" fmla="*/ 87 h 1043"/>
                  <a:gd name="connsiteX18" fmla="*/ 4635 w 5061"/>
                  <a:gd name="connsiteY18" fmla="*/ 87 h 1043"/>
                  <a:gd name="connsiteX19" fmla="*/ 4569 w 5061"/>
                  <a:gd name="connsiteY19" fmla="*/ 93 h 1043"/>
                  <a:gd name="connsiteX20" fmla="*/ 4507 w 5061"/>
                  <a:gd name="connsiteY20" fmla="*/ 106 h 1043"/>
                  <a:gd name="connsiteX21" fmla="*/ 4452 w 5061"/>
                  <a:gd name="connsiteY21" fmla="*/ 127 h 1043"/>
                  <a:gd name="connsiteX22" fmla="*/ 4400 w 5061"/>
                  <a:gd name="connsiteY22" fmla="*/ 154 h 1043"/>
                  <a:gd name="connsiteX23" fmla="*/ 4353 w 5061"/>
                  <a:gd name="connsiteY23" fmla="*/ 187 h 1043"/>
                  <a:gd name="connsiteX24" fmla="*/ 4309 w 5061"/>
                  <a:gd name="connsiteY24" fmla="*/ 224 h 1043"/>
                  <a:gd name="connsiteX25" fmla="*/ 4270 w 5061"/>
                  <a:gd name="connsiteY25" fmla="*/ 268 h 1043"/>
                  <a:gd name="connsiteX26" fmla="*/ 4231 w 5061"/>
                  <a:gd name="connsiteY26" fmla="*/ 313 h 1043"/>
                  <a:gd name="connsiteX27" fmla="*/ 4196 w 5061"/>
                  <a:gd name="connsiteY27" fmla="*/ 363 h 1043"/>
                  <a:gd name="connsiteX28" fmla="*/ 4163 w 5061"/>
                  <a:gd name="connsiteY28" fmla="*/ 415 h 1043"/>
                  <a:gd name="connsiteX29" fmla="*/ 4101 w 5061"/>
                  <a:gd name="connsiteY29" fmla="*/ 523 h 1043"/>
                  <a:gd name="connsiteX30" fmla="*/ 4008 w 5061"/>
                  <a:gd name="connsiteY30" fmla="*/ 691 h 1043"/>
                  <a:gd name="connsiteX31" fmla="*/ 3975 w 5061"/>
                  <a:gd name="connsiteY31" fmla="*/ 747 h 1043"/>
                  <a:gd name="connsiteX32" fmla="*/ 3940 w 5061"/>
                  <a:gd name="connsiteY32" fmla="*/ 798 h 1043"/>
                  <a:gd name="connsiteX33" fmla="*/ 3905 w 5061"/>
                  <a:gd name="connsiteY33" fmla="*/ 848 h 1043"/>
                  <a:gd name="connsiteX34" fmla="*/ 3865 w 5061"/>
                  <a:gd name="connsiteY34" fmla="*/ 894 h 1043"/>
                  <a:gd name="connsiteX35" fmla="*/ 3824 w 5061"/>
                  <a:gd name="connsiteY35" fmla="*/ 935 h 1043"/>
                  <a:gd name="connsiteX36" fmla="*/ 3779 w 5061"/>
                  <a:gd name="connsiteY36" fmla="*/ 971 h 1043"/>
                  <a:gd name="connsiteX37" fmla="*/ 3729 w 5061"/>
                  <a:gd name="connsiteY37" fmla="*/ 1000 h 1043"/>
                  <a:gd name="connsiteX38" fmla="*/ 3677 w 5061"/>
                  <a:gd name="connsiteY38" fmla="*/ 1022 h 1043"/>
                  <a:gd name="connsiteX39" fmla="*/ 3620 w 5061"/>
                  <a:gd name="connsiteY39" fmla="*/ 1037 h 1043"/>
                  <a:gd name="connsiteX40" fmla="*/ 3556 w 5061"/>
                  <a:gd name="connsiteY40" fmla="*/ 1043 h 1043"/>
                  <a:gd name="connsiteX41" fmla="*/ 3547 w 5061"/>
                  <a:gd name="connsiteY41" fmla="*/ 1043 h 1043"/>
                  <a:gd name="connsiteX42" fmla="*/ 3485 w 5061"/>
                  <a:gd name="connsiteY42" fmla="*/ 1039 h 1043"/>
                  <a:gd name="connsiteX43" fmla="*/ 3426 w 5061"/>
                  <a:gd name="connsiteY43" fmla="*/ 1025 h 1043"/>
                  <a:gd name="connsiteX44" fmla="*/ 3372 w 5061"/>
                  <a:gd name="connsiteY44" fmla="*/ 1002 h 1043"/>
                  <a:gd name="connsiteX45" fmla="*/ 3320 w 5061"/>
                  <a:gd name="connsiteY45" fmla="*/ 973 h 1043"/>
                  <a:gd name="connsiteX46" fmla="*/ 3273 w 5061"/>
                  <a:gd name="connsiteY46" fmla="*/ 935 h 1043"/>
                  <a:gd name="connsiteX47" fmla="*/ 3229 w 5061"/>
                  <a:gd name="connsiteY47" fmla="*/ 894 h 1043"/>
                  <a:gd name="connsiteX48" fmla="*/ 3186 w 5061"/>
                  <a:gd name="connsiteY48" fmla="*/ 846 h 1043"/>
                  <a:gd name="connsiteX49" fmla="*/ 3147 w 5061"/>
                  <a:gd name="connsiteY49" fmla="*/ 796 h 1043"/>
                  <a:gd name="connsiteX50" fmla="*/ 3108 w 5061"/>
                  <a:gd name="connsiteY50" fmla="*/ 740 h 1043"/>
                  <a:gd name="connsiteX51" fmla="*/ 3070 w 5061"/>
                  <a:gd name="connsiteY51" fmla="*/ 684 h 1043"/>
                  <a:gd name="connsiteX52" fmla="*/ 2965 w 5061"/>
                  <a:gd name="connsiteY52" fmla="*/ 510 h 1043"/>
                  <a:gd name="connsiteX53" fmla="*/ 2928 w 5061"/>
                  <a:gd name="connsiteY53" fmla="*/ 452 h 1043"/>
                  <a:gd name="connsiteX54" fmla="*/ 2891 w 5061"/>
                  <a:gd name="connsiteY54" fmla="*/ 396 h 1043"/>
                  <a:gd name="connsiteX55" fmla="*/ 2854 w 5061"/>
                  <a:gd name="connsiteY55" fmla="*/ 342 h 1043"/>
                  <a:gd name="connsiteX56" fmla="*/ 2814 w 5061"/>
                  <a:gd name="connsiteY56" fmla="*/ 292 h 1043"/>
                  <a:gd name="connsiteX57" fmla="*/ 2773 w 5061"/>
                  <a:gd name="connsiteY57" fmla="*/ 247 h 1043"/>
                  <a:gd name="connsiteX58" fmla="*/ 2732 w 5061"/>
                  <a:gd name="connsiteY58" fmla="*/ 205 h 1043"/>
                  <a:gd name="connsiteX59" fmla="*/ 2686 w 5061"/>
                  <a:gd name="connsiteY59" fmla="*/ 168 h 1043"/>
                  <a:gd name="connsiteX60" fmla="*/ 2639 w 5061"/>
                  <a:gd name="connsiteY60" fmla="*/ 139 h 1043"/>
                  <a:gd name="connsiteX61" fmla="*/ 2587 w 5061"/>
                  <a:gd name="connsiteY61" fmla="*/ 116 h 1043"/>
                  <a:gd name="connsiteX62" fmla="*/ 2532 w 5061"/>
                  <a:gd name="connsiteY62" fmla="*/ 100 h 1043"/>
                  <a:gd name="connsiteX63" fmla="*/ 2474 w 5061"/>
                  <a:gd name="connsiteY63" fmla="*/ 91 h 1043"/>
                  <a:gd name="connsiteX64" fmla="*/ 2410 w 5061"/>
                  <a:gd name="connsiteY64" fmla="*/ 93 h 1043"/>
                  <a:gd name="connsiteX65" fmla="*/ 2342 w 5061"/>
                  <a:gd name="connsiteY65" fmla="*/ 104 h 1043"/>
                  <a:gd name="connsiteX66" fmla="*/ 2280 w 5061"/>
                  <a:gd name="connsiteY66" fmla="*/ 122 h 1043"/>
                  <a:gd name="connsiteX67" fmla="*/ 2222 w 5061"/>
                  <a:gd name="connsiteY67" fmla="*/ 147 h 1043"/>
                  <a:gd name="connsiteX68" fmla="*/ 2168 w 5061"/>
                  <a:gd name="connsiteY68" fmla="*/ 180 h 1043"/>
                  <a:gd name="connsiteX69" fmla="*/ 2117 w 5061"/>
                  <a:gd name="connsiteY69" fmla="*/ 218 h 1043"/>
                  <a:gd name="connsiteX70" fmla="*/ 2071 w 5061"/>
                  <a:gd name="connsiteY70" fmla="*/ 261 h 1043"/>
                  <a:gd name="connsiteX71" fmla="*/ 2026 w 5061"/>
                  <a:gd name="connsiteY71" fmla="*/ 307 h 1043"/>
                  <a:gd name="connsiteX72" fmla="*/ 1984 w 5061"/>
                  <a:gd name="connsiteY72" fmla="*/ 359 h 1043"/>
                  <a:gd name="connsiteX73" fmla="*/ 1945 w 5061"/>
                  <a:gd name="connsiteY73" fmla="*/ 413 h 1043"/>
                  <a:gd name="connsiteX74" fmla="*/ 1908 w 5061"/>
                  <a:gd name="connsiteY74" fmla="*/ 467 h 1043"/>
                  <a:gd name="connsiteX75" fmla="*/ 1871 w 5061"/>
                  <a:gd name="connsiteY75" fmla="*/ 523 h 1043"/>
                  <a:gd name="connsiteX76" fmla="*/ 1834 w 5061"/>
                  <a:gd name="connsiteY76" fmla="*/ 581 h 1043"/>
                  <a:gd name="connsiteX77" fmla="*/ 1799 w 5061"/>
                  <a:gd name="connsiteY77" fmla="*/ 637 h 1043"/>
                  <a:gd name="connsiteX78" fmla="*/ 1724 w 5061"/>
                  <a:gd name="connsiteY78" fmla="*/ 749 h 1043"/>
                  <a:gd name="connsiteX79" fmla="*/ 1685 w 5061"/>
                  <a:gd name="connsiteY79" fmla="*/ 801 h 1043"/>
                  <a:gd name="connsiteX80" fmla="*/ 1644 w 5061"/>
                  <a:gd name="connsiteY80" fmla="*/ 850 h 1043"/>
                  <a:gd name="connsiteX81" fmla="*/ 1600 w 5061"/>
                  <a:gd name="connsiteY81" fmla="*/ 896 h 1043"/>
                  <a:gd name="connsiteX82" fmla="*/ 1553 w 5061"/>
                  <a:gd name="connsiteY82" fmla="*/ 937 h 1043"/>
                  <a:gd name="connsiteX83" fmla="*/ 1503 w 5061"/>
                  <a:gd name="connsiteY83" fmla="*/ 973 h 1043"/>
                  <a:gd name="connsiteX84" fmla="*/ 1450 w 5061"/>
                  <a:gd name="connsiteY84" fmla="*/ 1002 h 1043"/>
                  <a:gd name="connsiteX85" fmla="*/ 1394 w 5061"/>
                  <a:gd name="connsiteY85" fmla="*/ 1025 h 1043"/>
                  <a:gd name="connsiteX86" fmla="*/ 1330 w 5061"/>
                  <a:gd name="connsiteY86" fmla="*/ 1037 h 1043"/>
                  <a:gd name="connsiteX87" fmla="*/ 1264 w 5061"/>
                  <a:gd name="connsiteY87" fmla="*/ 1043 h 1043"/>
                  <a:gd name="connsiteX88" fmla="*/ 1258 w 5061"/>
                  <a:gd name="connsiteY88" fmla="*/ 1043 h 1043"/>
                  <a:gd name="connsiteX89" fmla="*/ 1190 w 5061"/>
                  <a:gd name="connsiteY89" fmla="*/ 1039 h 1043"/>
                  <a:gd name="connsiteX90" fmla="*/ 1128 w 5061"/>
                  <a:gd name="connsiteY90" fmla="*/ 1027 h 1043"/>
                  <a:gd name="connsiteX91" fmla="*/ 1070 w 5061"/>
                  <a:gd name="connsiteY91" fmla="*/ 1008 h 1043"/>
                  <a:gd name="connsiteX92" fmla="*/ 1018 w 5061"/>
                  <a:gd name="connsiteY92" fmla="*/ 983 h 1043"/>
                  <a:gd name="connsiteX93" fmla="*/ 971 w 5061"/>
                  <a:gd name="connsiteY93" fmla="*/ 952 h 1043"/>
                  <a:gd name="connsiteX94" fmla="*/ 925 w 5061"/>
                  <a:gd name="connsiteY94" fmla="*/ 915 h 1043"/>
                  <a:gd name="connsiteX95" fmla="*/ 884 w 5061"/>
                  <a:gd name="connsiteY95" fmla="*/ 873 h 1043"/>
                  <a:gd name="connsiteX96" fmla="*/ 847 w 5061"/>
                  <a:gd name="connsiteY96" fmla="*/ 828 h 1043"/>
                  <a:gd name="connsiteX97" fmla="*/ 810 w 5061"/>
                  <a:gd name="connsiteY97" fmla="*/ 780 h 1043"/>
                  <a:gd name="connsiteX98" fmla="*/ 777 w 5061"/>
                  <a:gd name="connsiteY98" fmla="*/ 728 h 1043"/>
                  <a:gd name="connsiteX99" fmla="*/ 742 w 5061"/>
                  <a:gd name="connsiteY99" fmla="*/ 674 h 1043"/>
                  <a:gd name="connsiteX100" fmla="*/ 711 w 5061"/>
                  <a:gd name="connsiteY100" fmla="*/ 618 h 1043"/>
                  <a:gd name="connsiteX101" fmla="*/ 678 w 5061"/>
                  <a:gd name="connsiteY101" fmla="*/ 560 h 1043"/>
                  <a:gd name="connsiteX102" fmla="*/ 616 w 5061"/>
                  <a:gd name="connsiteY102" fmla="*/ 448 h 1043"/>
                  <a:gd name="connsiteX103" fmla="*/ 547 w 5061"/>
                  <a:gd name="connsiteY103" fmla="*/ 340 h 1043"/>
                  <a:gd name="connsiteX104" fmla="*/ 504 w 5061"/>
                  <a:gd name="connsiteY104" fmla="*/ 284 h 1043"/>
                  <a:gd name="connsiteX105" fmla="*/ 457 w 5061"/>
                  <a:gd name="connsiteY105" fmla="*/ 239 h 1043"/>
                  <a:gd name="connsiteX106" fmla="*/ 409 w 5061"/>
                  <a:gd name="connsiteY106" fmla="*/ 199 h 1043"/>
                  <a:gd name="connsiteX107" fmla="*/ 358 w 5061"/>
                  <a:gd name="connsiteY107" fmla="*/ 168 h 1043"/>
                  <a:gd name="connsiteX108" fmla="*/ 308 w 5061"/>
                  <a:gd name="connsiteY108" fmla="*/ 145 h 1043"/>
                  <a:gd name="connsiteX109" fmla="*/ 256 w 5061"/>
                  <a:gd name="connsiteY109" fmla="*/ 127 h 1043"/>
                  <a:gd name="connsiteX110" fmla="*/ 209 w 5061"/>
                  <a:gd name="connsiteY110" fmla="*/ 112 h 1043"/>
                  <a:gd name="connsiteX111" fmla="*/ 163 w 5061"/>
                  <a:gd name="connsiteY111" fmla="*/ 104 h 1043"/>
                  <a:gd name="connsiteX112" fmla="*/ 122 w 5061"/>
                  <a:gd name="connsiteY112" fmla="*/ 100 h 1043"/>
                  <a:gd name="connsiteX113" fmla="*/ 85 w 5061"/>
                  <a:gd name="connsiteY113" fmla="*/ 95 h 1043"/>
                  <a:gd name="connsiteX114" fmla="*/ 31 w 5061"/>
                  <a:gd name="connsiteY114" fmla="*/ 95 h 1043"/>
                  <a:gd name="connsiteX115" fmla="*/ 17 w 5061"/>
                  <a:gd name="connsiteY115" fmla="*/ 98 h 1043"/>
                  <a:gd name="connsiteX116" fmla="*/ 11 w 5061"/>
                  <a:gd name="connsiteY116" fmla="*/ 98 h 1043"/>
                  <a:gd name="connsiteX117" fmla="*/ 0 w 5061"/>
                  <a:gd name="connsiteY117" fmla="*/ 13 h 1043"/>
                  <a:gd name="connsiteX118" fmla="*/ 9 w 5061"/>
                  <a:gd name="connsiteY118" fmla="*/ 13 h 1043"/>
                  <a:gd name="connsiteX119" fmla="*/ 29 w 5061"/>
                  <a:gd name="connsiteY119" fmla="*/ 10 h 1043"/>
                  <a:gd name="connsiteX120" fmla="*/ 91 w 5061"/>
                  <a:gd name="connsiteY120" fmla="*/ 10 h 1043"/>
                  <a:gd name="connsiteX121" fmla="*/ 135 w 5061"/>
                  <a:gd name="connsiteY121" fmla="*/ 13 h 1043"/>
                  <a:gd name="connsiteX122" fmla="*/ 182 w 5061"/>
                  <a:gd name="connsiteY122" fmla="*/ 19 h 1043"/>
                  <a:gd name="connsiteX123" fmla="*/ 234 w 5061"/>
                  <a:gd name="connsiteY123" fmla="*/ 29 h 1043"/>
                  <a:gd name="connsiteX124" fmla="*/ 287 w 5061"/>
                  <a:gd name="connsiteY124" fmla="*/ 46 h 1043"/>
                  <a:gd name="connsiteX125" fmla="*/ 345 w 5061"/>
                  <a:gd name="connsiteY125" fmla="*/ 66 h 1043"/>
                  <a:gd name="connsiteX126" fmla="*/ 403 w 5061"/>
                  <a:gd name="connsiteY126" fmla="*/ 93 h 1043"/>
                  <a:gd name="connsiteX127" fmla="*/ 459 w 5061"/>
                  <a:gd name="connsiteY127" fmla="*/ 131 h 1043"/>
                  <a:gd name="connsiteX128" fmla="*/ 514 w 5061"/>
                  <a:gd name="connsiteY128" fmla="*/ 174 h 1043"/>
                  <a:gd name="connsiteX129" fmla="*/ 568 w 5061"/>
                  <a:gd name="connsiteY129" fmla="*/ 228 h 1043"/>
                  <a:gd name="connsiteX130" fmla="*/ 618 w 5061"/>
                  <a:gd name="connsiteY130" fmla="*/ 292 h 1043"/>
                  <a:gd name="connsiteX131" fmla="*/ 667 w 5061"/>
                  <a:gd name="connsiteY131" fmla="*/ 367 h 1043"/>
                  <a:gd name="connsiteX132" fmla="*/ 754 w 5061"/>
                  <a:gd name="connsiteY132" fmla="*/ 516 h 1043"/>
                  <a:gd name="connsiteX133" fmla="*/ 787 w 5061"/>
                  <a:gd name="connsiteY133" fmla="*/ 575 h 1043"/>
                  <a:gd name="connsiteX134" fmla="*/ 820 w 5061"/>
                  <a:gd name="connsiteY134" fmla="*/ 631 h 1043"/>
                  <a:gd name="connsiteX135" fmla="*/ 853 w 5061"/>
                  <a:gd name="connsiteY135" fmla="*/ 684 h 1043"/>
                  <a:gd name="connsiteX136" fmla="*/ 886 w 5061"/>
                  <a:gd name="connsiteY136" fmla="*/ 736 h 1043"/>
                  <a:gd name="connsiteX137" fmla="*/ 921 w 5061"/>
                  <a:gd name="connsiteY137" fmla="*/ 782 h 1043"/>
                  <a:gd name="connsiteX138" fmla="*/ 958 w 5061"/>
                  <a:gd name="connsiteY138" fmla="*/ 825 h 1043"/>
                  <a:gd name="connsiteX139" fmla="*/ 1000 w 5061"/>
                  <a:gd name="connsiteY139" fmla="*/ 863 h 1043"/>
                  <a:gd name="connsiteX140" fmla="*/ 1043 w 5061"/>
                  <a:gd name="connsiteY140" fmla="*/ 894 h 1043"/>
                  <a:gd name="connsiteX141" fmla="*/ 1090 w 5061"/>
                  <a:gd name="connsiteY141" fmla="*/ 921 h 1043"/>
                  <a:gd name="connsiteX142" fmla="*/ 1140 w 5061"/>
                  <a:gd name="connsiteY142" fmla="*/ 939 h 1043"/>
                  <a:gd name="connsiteX143" fmla="*/ 1196 w 5061"/>
                  <a:gd name="connsiteY143" fmla="*/ 952 h 1043"/>
                  <a:gd name="connsiteX144" fmla="*/ 1258 w 5061"/>
                  <a:gd name="connsiteY144" fmla="*/ 956 h 1043"/>
                  <a:gd name="connsiteX145" fmla="*/ 1264 w 5061"/>
                  <a:gd name="connsiteY145" fmla="*/ 956 h 1043"/>
                  <a:gd name="connsiteX146" fmla="*/ 1324 w 5061"/>
                  <a:gd name="connsiteY146" fmla="*/ 950 h 1043"/>
                  <a:gd name="connsiteX147" fmla="*/ 1380 w 5061"/>
                  <a:gd name="connsiteY147" fmla="*/ 935 h 1043"/>
                  <a:gd name="connsiteX148" fmla="*/ 1433 w 5061"/>
                  <a:gd name="connsiteY148" fmla="*/ 913 h 1043"/>
                  <a:gd name="connsiteX149" fmla="*/ 1481 w 5061"/>
                  <a:gd name="connsiteY149" fmla="*/ 884 h 1043"/>
                  <a:gd name="connsiteX150" fmla="*/ 1526 w 5061"/>
                  <a:gd name="connsiteY150" fmla="*/ 846 h 1043"/>
                  <a:gd name="connsiteX151" fmla="*/ 1569 w 5061"/>
                  <a:gd name="connsiteY151" fmla="*/ 803 h 1043"/>
                  <a:gd name="connsiteX152" fmla="*/ 1609 w 5061"/>
                  <a:gd name="connsiteY152" fmla="*/ 755 h 1043"/>
                  <a:gd name="connsiteX153" fmla="*/ 1648 w 5061"/>
                  <a:gd name="connsiteY153" fmla="*/ 703 h 1043"/>
                  <a:gd name="connsiteX154" fmla="*/ 1687 w 5061"/>
                  <a:gd name="connsiteY154" fmla="*/ 649 h 1043"/>
                  <a:gd name="connsiteX155" fmla="*/ 1799 w 5061"/>
                  <a:gd name="connsiteY155" fmla="*/ 475 h 1043"/>
                  <a:gd name="connsiteX156" fmla="*/ 1838 w 5061"/>
                  <a:gd name="connsiteY156" fmla="*/ 415 h 1043"/>
                  <a:gd name="connsiteX157" fmla="*/ 1879 w 5061"/>
                  <a:gd name="connsiteY157" fmla="*/ 357 h 1043"/>
                  <a:gd name="connsiteX158" fmla="*/ 1923 w 5061"/>
                  <a:gd name="connsiteY158" fmla="*/ 299 h 1043"/>
                  <a:gd name="connsiteX159" fmla="*/ 1968 w 5061"/>
                  <a:gd name="connsiteY159" fmla="*/ 245 h 1043"/>
                  <a:gd name="connsiteX160" fmla="*/ 2015 w 5061"/>
                  <a:gd name="connsiteY160" fmla="*/ 193 h 1043"/>
                  <a:gd name="connsiteX161" fmla="*/ 2069 w 5061"/>
                  <a:gd name="connsiteY161" fmla="*/ 145 h 1043"/>
                  <a:gd name="connsiteX162" fmla="*/ 2125 w 5061"/>
                  <a:gd name="connsiteY162" fmla="*/ 104 h 1043"/>
                  <a:gd name="connsiteX163" fmla="*/ 2187 w 5061"/>
                  <a:gd name="connsiteY163" fmla="*/ 69 h 1043"/>
                  <a:gd name="connsiteX164" fmla="*/ 2253 w 5061"/>
                  <a:gd name="connsiteY164" fmla="*/ 39 h 1043"/>
                  <a:gd name="connsiteX165" fmla="*/ 2325 w 5061"/>
                  <a:gd name="connsiteY165" fmla="*/ 19 h 1043"/>
                  <a:gd name="connsiteX166" fmla="*/ 2404 w 5061"/>
                  <a:gd name="connsiteY166" fmla="*/ 6 h 1043"/>
                  <a:gd name="connsiteX167" fmla="*/ 2474 w 5061"/>
                  <a:gd name="connsiteY167" fmla="*/ 4 h 1043"/>
                  <a:gd name="connsiteX168" fmla="*/ 2540 w 5061"/>
                  <a:gd name="connsiteY168" fmla="*/ 13 h 1043"/>
                  <a:gd name="connsiteX169" fmla="*/ 2600 w 5061"/>
                  <a:gd name="connsiteY169" fmla="*/ 27 h 1043"/>
                  <a:gd name="connsiteX170" fmla="*/ 2658 w 5061"/>
                  <a:gd name="connsiteY170" fmla="*/ 50 h 1043"/>
                  <a:gd name="connsiteX171" fmla="*/ 2711 w 5061"/>
                  <a:gd name="connsiteY171" fmla="*/ 81 h 1043"/>
                  <a:gd name="connsiteX172" fmla="*/ 2761 w 5061"/>
                  <a:gd name="connsiteY172" fmla="*/ 116 h 1043"/>
                  <a:gd name="connsiteX173" fmla="*/ 2806 w 5061"/>
                  <a:gd name="connsiteY173" fmla="*/ 158 h 1043"/>
                  <a:gd name="connsiteX174" fmla="*/ 2852 w 5061"/>
                  <a:gd name="connsiteY174" fmla="*/ 203 h 1043"/>
                  <a:gd name="connsiteX175" fmla="*/ 2893 w 5061"/>
                  <a:gd name="connsiteY175" fmla="*/ 251 h 1043"/>
                  <a:gd name="connsiteX176" fmla="*/ 2932 w 5061"/>
                  <a:gd name="connsiteY176" fmla="*/ 303 h 1043"/>
                  <a:gd name="connsiteX177" fmla="*/ 2969 w 5061"/>
                  <a:gd name="connsiteY177" fmla="*/ 357 h 1043"/>
                  <a:gd name="connsiteX178" fmla="*/ 3004 w 5061"/>
                  <a:gd name="connsiteY178" fmla="*/ 413 h 1043"/>
                  <a:gd name="connsiteX179" fmla="*/ 3039 w 5061"/>
                  <a:gd name="connsiteY179" fmla="*/ 467 h 1043"/>
                  <a:gd name="connsiteX180" fmla="*/ 3073 w 5061"/>
                  <a:gd name="connsiteY180" fmla="*/ 523 h 1043"/>
                  <a:gd name="connsiteX181" fmla="*/ 3110 w 5061"/>
                  <a:gd name="connsiteY181" fmla="*/ 585 h 1043"/>
                  <a:gd name="connsiteX182" fmla="*/ 3147 w 5061"/>
                  <a:gd name="connsiteY182" fmla="*/ 643 h 1043"/>
                  <a:gd name="connsiteX183" fmla="*/ 3186 w 5061"/>
                  <a:gd name="connsiteY183" fmla="*/ 701 h 1043"/>
                  <a:gd name="connsiteX184" fmla="*/ 3223 w 5061"/>
                  <a:gd name="connsiteY184" fmla="*/ 755 h 1043"/>
                  <a:gd name="connsiteX185" fmla="*/ 3265 w 5061"/>
                  <a:gd name="connsiteY185" fmla="*/ 805 h 1043"/>
                  <a:gd name="connsiteX186" fmla="*/ 3306 w 5061"/>
                  <a:gd name="connsiteY186" fmla="*/ 848 h 1043"/>
                  <a:gd name="connsiteX187" fmla="*/ 3349 w 5061"/>
                  <a:gd name="connsiteY187" fmla="*/ 886 h 1043"/>
                  <a:gd name="connsiteX188" fmla="*/ 3395 w 5061"/>
                  <a:gd name="connsiteY188" fmla="*/ 917 h 1043"/>
                  <a:gd name="connsiteX189" fmla="*/ 3444 w 5061"/>
                  <a:gd name="connsiteY189" fmla="*/ 939 h 1043"/>
                  <a:gd name="connsiteX190" fmla="*/ 3498 w 5061"/>
                  <a:gd name="connsiteY190" fmla="*/ 952 h 1043"/>
                  <a:gd name="connsiteX191" fmla="*/ 3554 w 5061"/>
                  <a:gd name="connsiteY191" fmla="*/ 956 h 1043"/>
                  <a:gd name="connsiteX192" fmla="*/ 3609 w 5061"/>
                  <a:gd name="connsiteY192" fmla="*/ 950 h 1043"/>
                  <a:gd name="connsiteX193" fmla="*/ 3659 w 5061"/>
                  <a:gd name="connsiteY193" fmla="*/ 935 h 1043"/>
                  <a:gd name="connsiteX194" fmla="*/ 3706 w 5061"/>
                  <a:gd name="connsiteY194" fmla="*/ 915 h 1043"/>
                  <a:gd name="connsiteX195" fmla="*/ 3750 w 5061"/>
                  <a:gd name="connsiteY195" fmla="*/ 884 h 1043"/>
                  <a:gd name="connsiteX196" fmla="*/ 3789 w 5061"/>
                  <a:gd name="connsiteY196" fmla="*/ 848 h 1043"/>
                  <a:gd name="connsiteX197" fmla="*/ 3826 w 5061"/>
                  <a:gd name="connsiteY197" fmla="*/ 807 h 1043"/>
                  <a:gd name="connsiteX198" fmla="*/ 3861 w 5061"/>
                  <a:gd name="connsiteY198" fmla="*/ 759 h 1043"/>
                  <a:gd name="connsiteX199" fmla="*/ 3894 w 5061"/>
                  <a:gd name="connsiteY199" fmla="*/ 709 h 1043"/>
                  <a:gd name="connsiteX200" fmla="*/ 3927 w 5061"/>
                  <a:gd name="connsiteY200" fmla="*/ 655 h 1043"/>
                  <a:gd name="connsiteX201" fmla="*/ 3960 w 5061"/>
                  <a:gd name="connsiteY201" fmla="*/ 597 h 1043"/>
                  <a:gd name="connsiteX202" fmla="*/ 3993 w 5061"/>
                  <a:gd name="connsiteY202" fmla="*/ 537 h 1043"/>
                  <a:gd name="connsiteX203" fmla="*/ 4022 w 5061"/>
                  <a:gd name="connsiteY203" fmla="*/ 483 h 1043"/>
                  <a:gd name="connsiteX204" fmla="*/ 4084 w 5061"/>
                  <a:gd name="connsiteY204" fmla="*/ 375 h 1043"/>
                  <a:gd name="connsiteX205" fmla="*/ 4154 w 5061"/>
                  <a:gd name="connsiteY205" fmla="*/ 272 h 1043"/>
                  <a:gd name="connsiteX206" fmla="*/ 4192 w 5061"/>
                  <a:gd name="connsiteY206" fmla="*/ 224 h 1043"/>
                  <a:gd name="connsiteX207" fmla="*/ 4233 w 5061"/>
                  <a:gd name="connsiteY207" fmla="*/ 178 h 1043"/>
                  <a:gd name="connsiteX208" fmla="*/ 4276 w 5061"/>
                  <a:gd name="connsiteY208" fmla="*/ 137 h 1043"/>
                  <a:gd name="connsiteX209" fmla="*/ 4324 w 5061"/>
                  <a:gd name="connsiteY209" fmla="*/ 100 h 1043"/>
                  <a:gd name="connsiteX210" fmla="*/ 4375 w 5061"/>
                  <a:gd name="connsiteY210" fmla="*/ 66 h 1043"/>
                  <a:gd name="connsiteX211" fmla="*/ 4433 w 5061"/>
                  <a:gd name="connsiteY211" fmla="*/ 39 h 1043"/>
                  <a:gd name="connsiteX212" fmla="*/ 4493 w 5061"/>
                  <a:gd name="connsiteY212" fmla="*/ 19 h 1043"/>
                  <a:gd name="connsiteX213" fmla="*/ 4559 w 5061"/>
                  <a:gd name="connsiteY213" fmla="*/ 6 h 1043"/>
                  <a:gd name="connsiteX214" fmla="*/ 4631 w 5061"/>
                  <a:gd name="connsiteY214" fmla="*/ 0 h 1043"/>
                  <a:gd name="connsiteX0" fmla="*/ 4631 w 5061"/>
                  <a:gd name="connsiteY0" fmla="*/ 0 h 1043"/>
                  <a:gd name="connsiteX1" fmla="*/ 4681 w 5061"/>
                  <a:gd name="connsiteY1" fmla="*/ 0 h 1043"/>
                  <a:gd name="connsiteX2" fmla="*/ 4710 w 5061"/>
                  <a:gd name="connsiteY2" fmla="*/ 4 h 1043"/>
                  <a:gd name="connsiteX3" fmla="*/ 4741 w 5061"/>
                  <a:gd name="connsiteY3" fmla="*/ 13 h 1043"/>
                  <a:gd name="connsiteX4" fmla="*/ 4778 w 5061"/>
                  <a:gd name="connsiteY4" fmla="*/ 23 h 1043"/>
                  <a:gd name="connsiteX5" fmla="*/ 4819 w 5061"/>
                  <a:gd name="connsiteY5" fmla="*/ 39 h 1043"/>
                  <a:gd name="connsiteX6" fmla="*/ 4863 w 5061"/>
                  <a:gd name="connsiteY6" fmla="*/ 60 h 1043"/>
                  <a:gd name="connsiteX7" fmla="*/ 4910 w 5061"/>
                  <a:gd name="connsiteY7" fmla="*/ 89 h 1043"/>
                  <a:gd name="connsiteX8" fmla="*/ 4960 w 5061"/>
                  <a:gd name="connsiteY8" fmla="*/ 124 h 1043"/>
                  <a:gd name="connsiteX9" fmla="*/ 5009 w 5061"/>
                  <a:gd name="connsiteY9" fmla="*/ 170 h 1043"/>
                  <a:gd name="connsiteX10" fmla="*/ 5061 w 5061"/>
                  <a:gd name="connsiteY10" fmla="*/ 224 h 1043"/>
                  <a:gd name="connsiteX11" fmla="*/ 4900 w 5061"/>
                  <a:gd name="connsiteY11" fmla="*/ 189 h 1043"/>
                  <a:gd name="connsiteX12" fmla="*/ 4819 w 5061"/>
                  <a:gd name="connsiteY12" fmla="*/ 135 h 1043"/>
                  <a:gd name="connsiteX13" fmla="*/ 4770 w 5061"/>
                  <a:gd name="connsiteY13" fmla="*/ 112 h 1043"/>
                  <a:gd name="connsiteX14" fmla="*/ 4726 w 5061"/>
                  <a:gd name="connsiteY14" fmla="*/ 98 h 1043"/>
                  <a:gd name="connsiteX15" fmla="*/ 4691 w 5061"/>
                  <a:gd name="connsiteY15" fmla="*/ 89 h 1043"/>
                  <a:gd name="connsiteX16" fmla="*/ 4662 w 5061"/>
                  <a:gd name="connsiteY16" fmla="*/ 87 h 1043"/>
                  <a:gd name="connsiteX17" fmla="*/ 4635 w 5061"/>
                  <a:gd name="connsiteY17" fmla="*/ 87 h 1043"/>
                  <a:gd name="connsiteX18" fmla="*/ 4569 w 5061"/>
                  <a:gd name="connsiteY18" fmla="*/ 93 h 1043"/>
                  <a:gd name="connsiteX19" fmla="*/ 4507 w 5061"/>
                  <a:gd name="connsiteY19" fmla="*/ 106 h 1043"/>
                  <a:gd name="connsiteX20" fmla="*/ 4452 w 5061"/>
                  <a:gd name="connsiteY20" fmla="*/ 127 h 1043"/>
                  <a:gd name="connsiteX21" fmla="*/ 4400 w 5061"/>
                  <a:gd name="connsiteY21" fmla="*/ 154 h 1043"/>
                  <a:gd name="connsiteX22" fmla="*/ 4353 w 5061"/>
                  <a:gd name="connsiteY22" fmla="*/ 187 h 1043"/>
                  <a:gd name="connsiteX23" fmla="*/ 4309 w 5061"/>
                  <a:gd name="connsiteY23" fmla="*/ 224 h 1043"/>
                  <a:gd name="connsiteX24" fmla="*/ 4270 w 5061"/>
                  <a:gd name="connsiteY24" fmla="*/ 268 h 1043"/>
                  <a:gd name="connsiteX25" fmla="*/ 4231 w 5061"/>
                  <a:gd name="connsiteY25" fmla="*/ 313 h 1043"/>
                  <a:gd name="connsiteX26" fmla="*/ 4196 w 5061"/>
                  <a:gd name="connsiteY26" fmla="*/ 363 h 1043"/>
                  <a:gd name="connsiteX27" fmla="*/ 4163 w 5061"/>
                  <a:gd name="connsiteY27" fmla="*/ 415 h 1043"/>
                  <a:gd name="connsiteX28" fmla="*/ 4101 w 5061"/>
                  <a:gd name="connsiteY28" fmla="*/ 523 h 1043"/>
                  <a:gd name="connsiteX29" fmla="*/ 4008 w 5061"/>
                  <a:gd name="connsiteY29" fmla="*/ 691 h 1043"/>
                  <a:gd name="connsiteX30" fmla="*/ 3975 w 5061"/>
                  <a:gd name="connsiteY30" fmla="*/ 747 h 1043"/>
                  <a:gd name="connsiteX31" fmla="*/ 3940 w 5061"/>
                  <a:gd name="connsiteY31" fmla="*/ 798 h 1043"/>
                  <a:gd name="connsiteX32" fmla="*/ 3905 w 5061"/>
                  <a:gd name="connsiteY32" fmla="*/ 848 h 1043"/>
                  <a:gd name="connsiteX33" fmla="*/ 3865 w 5061"/>
                  <a:gd name="connsiteY33" fmla="*/ 894 h 1043"/>
                  <a:gd name="connsiteX34" fmla="*/ 3824 w 5061"/>
                  <a:gd name="connsiteY34" fmla="*/ 935 h 1043"/>
                  <a:gd name="connsiteX35" fmla="*/ 3779 w 5061"/>
                  <a:gd name="connsiteY35" fmla="*/ 971 h 1043"/>
                  <a:gd name="connsiteX36" fmla="*/ 3729 w 5061"/>
                  <a:gd name="connsiteY36" fmla="*/ 1000 h 1043"/>
                  <a:gd name="connsiteX37" fmla="*/ 3677 w 5061"/>
                  <a:gd name="connsiteY37" fmla="*/ 1022 h 1043"/>
                  <a:gd name="connsiteX38" fmla="*/ 3620 w 5061"/>
                  <a:gd name="connsiteY38" fmla="*/ 1037 h 1043"/>
                  <a:gd name="connsiteX39" fmla="*/ 3556 w 5061"/>
                  <a:gd name="connsiteY39" fmla="*/ 1043 h 1043"/>
                  <a:gd name="connsiteX40" fmla="*/ 3547 w 5061"/>
                  <a:gd name="connsiteY40" fmla="*/ 1043 h 1043"/>
                  <a:gd name="connsiteX41" fmla="*/ 3485 w 5061"/>
                  <a:gd name="connsiteY41" fmla="*/ 1039 h 1043"/>
                  <a:gd name="connsiteX42" fmla="*/ 3426 w 5061"/>
                  <a:gd name="connsiteY42" fmla="*/ 1025 h 1043"/>
                  <a:gd name="connsiteX43" fmla="*/ 3372 w 5061"/>
                  <a:gd name="connsiteY43" fmla="*/ 1002 h 1043"/>
                  <a:gd name="connsiteX44" fmla="*/ 3320 w 5061"/>
                  <a:gd name="connsiteY44" fmla="*/ 973 h 1043"/>
                  <a:gd name="connsiteX45" fmla="*/ 3273 w 5061"/>
                  <a:gd name="connsiteY45" fmla="*/ 935 h 1043"/>
                  <a:gd name="connsiteX46" fmla="*/ 3229 w 5061"/>
                  <a:gd name="connsiteY46" fmla="*/ 894 h 1043"/>
                  <a:gd name="connsiteX47" fmla="*/ 3186 w 5061"/>
                  <a:gd name="connsiteY47" fmla="*/ 846 h 1043"/>
                  <a:gd name="connsiteX48" fmla="*/ 3147 w 5061"/>
                  <a:gd name="connsiteY48" fmla="*/ 796 h 1043"/>
                  <a:gd name="connsiteX49" fmla="*/ 3108 w 5061"/>
                  <a:gd name="connsiteY49" fmla="*/ 740 h 1043"/>
                  <a:gd name="connsiteX50" fmla="*/ 3070 w 5061"/>
                  <a:gd name="connsiteY50" fmla="*/ 684 h 1043"/>
                  <a:gd name="connsiteX51" fmla="*/ 2965 w 5061"/>
                  <a:gd name="connsiteY51" fmla="*/ 510 h 1043"/>
                  <a:gd name="connsiteX52" fmla="*/ 2928 w 5061"/>
                  <a:gd name="connsiteY52" fmla="*/ 452 h 1043"/>
                  <a:gd name="connsiteX53" fmla="*/ 2891 w 5061"/>
                  <a:gd name="connsiteY53" fmla="*/ 396 h 1043"/>
                  <a:gd name="connsiteX54" fmla="*/ 2854 w 5061"/>
                  <a:gd name="connsiteY54" fmla="*/ 342 h 1043"/>
                  <a:gd name="connsiteX55" fmla="*/ 2814 w 5061"/>
                  <a:gd name="connsiteY55" fmla="*/ 292 h 1043"/>
                  <a:gd name="connsiteX56" fmla="*/ 2773 w 5061"/>
                  <a:gd name="connsiteY56" fmla="*/ 247 h 1043"/>
                  <a:gd name="connsiteX57" fmla="*/ 2732 w 5061"/>
                  <a:gd name="connsiteY57" fmla="*/ 205 h 1043"/>
                  <a:gd name="connsiteX58" fmla="*/ 2686 w 5061"/>
                  <a:gd name="connsiteY58" fmla="*/ 168 h 1043"/>
                  <a:gd name="connsiteX59" fmla="*/ 2639 w 5061"/>
                  <a:gd name="connsiteY59" fmla="*/ 139 h 1043"/>
                  <a:gd name="connsiteX60" fmla="*/ 2587 w 5061"/>
                  <a:gd name="connsiteY60" fmla="*/ 116 h 1043"/>
                  <a:gd name="connsiteX61" fmla="*/ 2532 w 5061"/>
                  <a:gd name="connsiteY61" fmla="*/ 100 h 1043"/>
                  <a:gd name="connsiteX62" fmla="*/ 2474 w 5061"/>
                  <a:gd name="connsiteY62" fmla="*/ 91 h 1043"/>
                  <a:gd name="connsiteX63" fmla="*/ 2410 w 5061"/>
                  <a:gd name="connsiteY63" fmla="*/ 93 h 1043"/>
                  <a:gd name="connsiteX64" fmla="*/ 2342 w 5061"/>
                  <a:gd name="connsiteY64" fmla="*/ 104 h 1043"/>
                  <a:gd name="connsiteX65" fmla="*/ 2280 w 5061"/>
                  <a:gd name="connsiteY65" fmla="*/ 122 h 1043"/>
                  <a:gd name="connsiteX66" fmla="*/ 2222 w 5061"/>
                  <a:gd name="connsiteY66" fmla="*/ 147 h 1043"/>
                  <a:gd name="connsiteX67" fmla="*/ 2168 w 5061"/>
                  <a:gd name="connsiteY67" fmla="*/ 180 h 1043"/>
                  <a:gd name="connsiteX68" fmla="*/ 2117 w 5061"/>
                  <a:gd name="connsiteY68" fmla="*/ 218 h 1043"/>
                  <a:gd name="connsiteX69" fmla="*/ 2071 w 5061"/>
                  <a:gd name="connsiteY69" fmla="*/ 261 h 1043"/>
                  <a:gd name="connsiteX70" fmla="*/ 2026 w 5061"/>
                  <a:gd name="connsiteY70" fmla="*/ 307 h 1043"/>
                  <a:gd name="connsiteX71" fmla="*/ 1984 w 5061"/>
                  <a:gd name="connsiteY71" fmla="*/ 359 h 1043"/>
                  <a:gd name="connsiteX72" fmla="*/ 1945 w 5061"/>
                  <a:gd name="connsiteY72" fmla="*/ 413 h 1043"/>
                  <a:gd name="connsiteX73" fmla="*/ 1908 w 5061"/>
                  <a:gd name="connsiteY73" fmla="*/ 467 h 1043"/>
                  <a:gd name="connsiteX74" fmla="*/ 1871 w 5061"/>
                  <a:gd name="connsiteY74" fmla="*/ 523 h 1043"/>
                  <a:gd name="connsiteX75" fmla="*/ 1834 w 5061"/>
                  <a:gd name="connsiteY75" fmla="*/ 581 h 1043"/>
                  <a:gd name="connsiteX76" fmla="*/ 1799 w 5061"/>
                  <a:gd name="connsiteY76" fmla="*/ 637 h 1043"/>
                  <a:gd name="connsiteX77" fmla="*/ 1724 w 5061"/>
                  <a:gd name="connsiteY77" fmla="*/ 749 h 1043"/>
                  <a:gd name="connsiteX78" fmla="*/ 1685 w 5061"/>
                  <a:gd name="connsiteY78" fmla="*/ 801 h 1043"/>
                  <a:gd name="connsiteX79" fmla="*/ 1644 w 5061"/>
                  <a:gd name="connsiteY79" fmla="*/ 850 h 1043"/>
                  <a:gd name="connsiteX80" fmla="*/ 1600 w 5061"/>
                  <a:gd name="connsiteY80" fmla="*/ 896 h 1043"/>
                  <a:gd name="connsiteX81" fmla="*/ 1553 w 5061"/>
                  <a:gd name="connsiteY81" fmla="*/ 937 h 1043"/>
                  <a:gd name="connsiteX82" fmla="*/ 1503 w 5061"/>
                  <a:gd name="connsiteY82" fmla="*/ 973 h 1043"/>
                  <a:gd name="connsiteX83" fmla="*/ 1450 w 5061"/>
                  <a:gd name="connsiteY83" fmla="*/ 1002 h 1043"/>
                  <a:gd name="connsiteX84" fmla="*/ 1394 w 5061"/>
                  <a:gd name="connsiteY84" fmla="*/ 1025 h 1043"/>
                  <a:gd name="connsiteX85" fmla="*/ 1330 w 5061"/>
                  <a:gd name="connsiteY85" fmla="*/ 1037 h 1043"/>
                  <a:gd name="connsiteX86" fmla="*/ 1264 w 5061"/>
                  <a:gd name="connsiteY86" fmla="*/ 1043 h 1043"/>
                  <a:gd name="connsiteX87" fmla="*/ 1258 w 5061"/>
                  <a:gd name="connsiteY87" fmla="*/ 1043 h 1043"/>
                  <a:gd name="connsiteX88" fmla="*/ 1190 w 5061"/>
                  <a:gd name="connsiteY88" fmla="*/ 1039 h 1043"/>
                  <a:gd name="connsiteX89" fmla="*/ 1128 w 5061"/>
                  <a:gd name="connsiteY89" fmla="*/ 1027 h 1043"/>
                  <a:gd name="connsiteX90" fmla="*/ 1070 w 5061"/>
                  <a:gd name="connsiteY90" fmla="*/ 1008 h 1043"/>
                  <a:gd name="connsiteX91" fmla="*/ 1018 w 5061"/>
                  <a:gd name="connsiteY91" fmla="*/ 983 h 1043"/>
                  <a:gd name="connsiteX92" fmla="*/ 971 w 5061"/>
                  <a:gd name="connsiteY92" fmla="*/ 952 h 1043"/>
                  <a:gd name="connsiteX93" fmla="*/ 925 w 5061"/>
                  <a:gd name="connsiteY93" fmla="*/ 915 h 1043"/>
                  <a:gd name="connsiteX94" fmla="*/ 884 w 5061"/>
                  <a:gd name="connsiteY94" fmla="*/ 873 h 1043"/>
                  <a:gd name="connsiteX95" fmla="*/ 847 w 5061"/>
                  <a:gd name="connsiteY95" fmla="*/ 828 h 1043"/>
                  <a:gd name="connsiteX96" fmla="*/ 810 w 5061"/>
                  <a:gd name="connsiteY96" fmla="*/ 780 h 1043"/>
                  <a:gd name="connsiteX97" fmla="*/ 777 w 5061"/>
                  <a:gd name="connsiteY97" fmla="*/ 728 h 1043"/>
                  <a:gd name="connsiteX98" fmla="*/ 742 w 5061"/>
                  <a:gd name="connsiteY98" fmla="*/ 674 h 1043"/>
                  <a:gd name="connsiteX99" fmla="*/ 711 w 5061"/>
                  <a:gd name="connsiteY99" fmla="*/ 618 h 1043"/>
                  <a:gd name="connsiteX100" fmla="*/ 678 w 5061"/>
                  <a:gd name="connsiteY100" fmla="*/ 560 h 1043"/>
                  <a:gd name="connsiteX101" fmla="*/ 616 w 5061"/>
                  <a:gd name="connsiteY101" fmla="*/ 448 h 1043"/>
                  <a:gd name="connsiteX102" fmla="*/ 547 w 5061"/>
                  <a:gd name="connsiteY102" fmla="*/ 340 h 1043"/>
                  <a:gd name="connsiteX103" fmla="*/ 504 w 5061"/>
                  <a:gd name="connsiteY103" fmla="*/ 284 h 1043"/>
                  <a:gd name="connsiteX104" fmla="*/ 457 w 5061"/>
                  <a:gd name="connsiteY104" fmla="*/ 239 h 1043"/>
                  <a:gd name="connsiteX105" fmla="*/ 409 w 5061"/>
                  <a:gd name="connsiteY105" fmla="*/ 199 h 1043"/>
                  <a:gd name="connsiteX106" fmla="*/ 358 w 5061"/>
                  <a:gd name="connsiteY106" fmla="*/ 168 h 1043"/>
                  <a:gd name="connsiteX107" fmla="*/ 308 w 5061"/>
                  <a:gd name="connsiteY107" fmla="*/ 145 h 1043"/>
                  <a:gd name="connsiteX108" fmla="*/ 256 w 5061"/>
                  <a:gd name="connsiteY108" fmla="*/ 127 h 1043"/>
                  <a:gd name="connsiteX109" fmla="*/ 209 w 5061"/>
                  <a:gd name="connsiteY109" fmla="*/ 112 h 1043"/>
                  <a:gd name="connsiteX110" fmla="*/ 163 w 5061"/>
                  <a:gd name="connsiteY110" fmla="*/ 104 h 1043"/>
                  <a:gd name="connsiteX111" fmla="*/ 122 w 5061"/>
                  <a:gd name="connsiteY111" fmla="*/ 100 h 1043"/>
                  <a:gd name="connsiteX112" fmla="*/ 85 w 5061"/>
                  <a:gd name="connsiteY112" fmla="*/ 95 h 1043"/>
                  <a:gd name="connsiteX113" fmla="*/ 31 w 5061"/>
                  <a:gd name="connsiteY113" fmla="*/ 95 h 1043"/>
                  <a:gd name="connsiteX114" fmla="*/ 17 w 5061"/>
                  <a:gd name="connsiteY114" fmla="*/ 98 h 1043"/>
                  <a:gd name="connsiteX115" fmla="*/ 11 w 5061"/>
                  <a:gd name="connsiteY115" fmla="*/ 98 h 1043"/>
                  <a:gd name="connsiteX116" fmla="*/ 0 w 5061"/>
                  <a:gd name="connsiteY116" fmla="*/ 13 h 1043"/>
                  <a:gd name="connsiteX117" fmla="*/ 9 w 5061"/>
                  <a:gd name="connsiteY117" fmla="*/ 13 h 1043"/>
                  <a:gd name="connsiteX118" fmla="*/ 29 w 5061"/>
                  <a:gd name="connsiteY118" fmla="*/ 10 h 1043"/>
                  <a:gd name="connsiteX119" fmla="*/ 91 w 5061"/>
                  <a:gd name="connsiteY119" fmla="*/ 10 h 1043"/>
                  <a:gd name="connsiteX120" fmla="*/ 135 w 5061"/>
                  <a:gd name="connsiteY120" fmla="*/ 13 h 1043"/>
                  <a:gd name="connsiteX121" fmla="*/ 182 w 5061"/>
                  <a:gd name="connsiteY121" fmla="*/ 19 h 1043"/>
                  <a:gd name="connsiteX122" fmla="*/ 234 w 5061"/>
                  <a:gd name="connsiteY122" fmla="*/ 29 h 1043"/>
                  <a:gd name="connsiteX123" fmla="*/ 287 w 5061"/>
                  <a:gd name="connsiteY123" fmla="*/ 46 h 1043"/>
                  <a:gd name="connsiteX124" fmla="*/ 345 w 5061"/>
                  <a:gd name="connsiteY124" fmla="*/ 66 h 1043"/>
                  <a:gd name="connsiteX125" fmla="*/ 403 w 5061"/>
                  <a:gd name="connsiteY125" fmla="*/ 93 h 1043"/>
                  <a:gd name="connsiteX126" fmla="*/ 459 w 5061"/>
                  <a:gd name="connsiteY126" fmla="*/ 131 h 1043"/>
                  <a:gd name="connsiteX127" fmla="*/ 514 w 5061"/>
                  <a:gd name="connsiteY127" fmla="*/ 174 h 1043"/>
                  <a:gd name="connsiteX128" fmla="*/ 568 w 5061"/>
                  <a:gd name="connsiteY128" fmla="*/ 228 h 1043"/>
                  <a:gd name="connsiteX129" fmla="*/ 618 w 5061"/>
                  <a:gd name="connsiteY129" fmla="*/ 292 h 1043"/>
                  <a:gd name="connsiteX130" fmla="*/ 667 w 5061"/>
                  <a:gd name="connsiteY130" fmla="*/ 367 h 1043"/>
                  <a:gd name="connsiteX131" fmla="*/ 754 w 5061"/>
                  <a:gd name="connsiteY131" fmla="*/ 516 h 1043"/>
                  <a:gd name="connsiteX132" fmla="*/ 787 w 5061"/>
                  <a:gd name="connsiteY132" fmla="*/ 575 h 1043"/>
                  <a:gd name="connsiteX133" fmla="*/ 820 w 5061"/>
                  <a:gd name="connsiteY133" fmla="*/ 631 h 1043"/>
                  <a:gd name="connsiteX134" fmla="*/ 853 w 5061"/>
                  <a:gd name="connsiteY134" fmla="*/ 684 h 1043"/>
                  <a:gd name="connsiteX135" fmla="*/ 886 w 5061"/>
                  <a:gd name="connsiteY135" fmla="*/ 736 h 1043"/>
                  <a:gd name="connsiteX136" fmla="*/ 921 w 5061"/>
                  <a:gd name="connsiteY136" fmla="*/ 782 h 1043"/>
                  <a:gd name="connsiteX137" fmla="*/ 958 w 5061"/>
                  <a:gd name="connsiteY137" fmla="*/ 825 h 1043"/>
                  <a:gd name="connsiteX138" fmla="*/ 1000 w 5061"/>
                  <a:gd name="connsiteY138" fmla="*/ 863 h 1043"/>
                  <a:gd name="connsiteX139" fmla="*/ 1043 w 5061"/>
                  <a:gd name="connsiteY139" fmla="*/ 894 h 1043"/>
                  <a:gd name="connsiteX140" fmla="*/ 1090 w 5061"/>
                  <a:gd name="connsiteY140" fmla="*/ 921 h 1043"/>
                  <a:gd name="connsiteX141" fmla="*/ 1140 w 5061"/>
                  <a:gd name="connsiteY141" fmla="*/ 939 h 1043"/>
                  <a:gd name="connsiteX142" fmla="*/ 1196 w 5061"/>
                  <a:gd name="connsiteY142" fmla="*/ 952 h 1043"/>
                  <a:gd name="connsiteX143" fmla="*/ 1258 w 5061"/>
                  <a:gd name="connsiteY143" fmla="*/ 956 h 1043"/>
                  <a:gd name="connsiteX144" fmla="*/ 1264 w 5061"/>
                  <a:gd name="connsiteY144" fmla="*/ 956 h 1043"/>
                  <a:gd name="connsiteX145" fmla="*/ 1324 w 5061"/>
                  <a:gd name="connsiteY145" fmla="*/ 950 h 1043"/>
                  <a:gd name="connsiteX146" fmla="*/ 1380 w 5061"/>
                  <a:gd name="connsiteY146" fmla="*/ 935 h 1043"/>
                  <a:gd name="connsiteX147" fmla="*/ 1433 w 5061"/>
                  <a:gd name="connsiteY147" fmla="*/ 913 h 1043"/>
                  <a:gd name="connsiteX148" fmla="*/ 1481 w 5061"/>
                  <a:gd name="connsiteY148" fmla="*/ 884 h 1043"/>
                  <a:gd name="connsiteX149" fmla="*/ 1526 w 5061"/>
                  <a:gd name="connsiteY149" fmla="*/ 846 h 1043"/>
                  <a:gd name="connsiteX150" fmla="*/ 1569 w 5061"/>
                  <a:gd name="connsiteY150" fmla="*/ 803 h 1043"/>
                  <a:gd name="connsiteX151" fmla="*/ 1609 w 5061"/>
                  <a:gd name="connsiteY151" fmla="*/ 755 h 1043"/>
                  <a:gd name="connsiteX152" fmla="*/ 1648 w 5061"/>
                  <a:gd name="connsiteY152" fmla="*/ 703 h 1043"/>
                  <a:gd name="connsiteX153" fmla="*/ 1687 w 5061"/>
                  <a:gd name="connsiteY153" fmla="*/ 649 h 1043"/>
                  <a:gd name="connsiteX154" fmla="*/ 1799 w 5061"/>
                  <a:gd name="connsiteY154" fmla="*/ 475 h 1043"/>
                  <a:gd name="connsiteX155" fmla="*/ 1838 w 5061"/>
                  <a:gd name="connsiteY155" fmla="*/ 415 h 1043"/>
                  <a:gd name="connsiteX156" fmla="*/ 1879 w 5061"/>
                  <a:gd name="connsiteY156" fmla="*/ 357 h 1043"/>
                  <a:gd name="connsiteX157" fmla="*/ 1923 w 5061"/>
                  <a:gd name="connsiteY157" fmla="*/ 299 h 1043"/>
                  <a:gd name="connsiteX158" fmla="*/ 1968 w 5061"/>
                  <a:gd name="connsiteY158" fmla="*/ 245 h 1043"/>
                  <a:gd name="connsiteX159" fmla="*/ 2015 w 5061"/>
                  <a:gd name="connsiteY159" fmla="*/ 193 h 1043"/>
                  <a:gd name="connsiteX160" fmla="*/ 2069 w 5061"/>
                  <a:gd name="connsiteY160" fmla="*/ 145 h 1043"/>
                  <a:gd name="connsiteX161" fmla="*/ 2125 w 5061"/>
                  <a:gd name="connsiteY161" fmla="*/ 104 h 1043"/>
                  <a:gd name="connsiteX162" fmla="*/ 2187 w 5061"/>
                  <a:gd name="connsiteY162" fmla="*/ 69 h 1043"/>
                  <a:gd name="connsiteX163" fmla="*/ 2253 w 5061"/>
                  <a:gd name="connsiteY163" fmla="*/ 39 h 1043"/>
                  <a:gd name="connsiteX164" fmla="*/ 2325 w 5061"/>
                  <a:gd name="connsiteY164" fmla="*/ 19 h 1043"/>
                  <a:gd name="connsiteX165" fmla="*/ 2404 w 5061"/>
                  <a:gd name="connsiteY165" fmla="*/ 6 h 1043"/>
                  <a:gd name="connsiteX166" fmla="*/ 2474 w 5061"/>
                  <a:gd name="connsiteY166" fmla="*/ 4 h 1043"/>
                  <a:gd name="connsiteX167" fmla="*/ 2540 w 5061"/>
                  <a:gd name="connsiteY167" fmla="*/ 13 h 1043"/>
                  <a:gd name="connsiteX168" fmla="*/ 2600 w 5061"/>
                  <a:gd name="connsiteY168" fmla="*/ 27 h 1043"/>
                  <a:gd name="connsiteX169" fmla="*/ 2658 w 5061"/>
                  <a:gd name="connsiteY169" fmla="*/ 50 h 1043"/>
                  <a:gd name="connsiteX170" fmla="*/ 2711 w 5061"/>
                  <a:gd name="connsiteY170" fmla="*/ 81 h 1043"/>
                  <a:gd name="connsiteX171" fmla="*/ 2761 w 5061"/>
                  <a:gd name="connsiteY171" fmla="*/ 116 h 1043"/>
                  <a:gd name="connsiteX172" fmla="*/ 2806 w 5061"/>
                  <a:gd name="connsiteY172" fmla="*/ 158 h 1043"/>
                  <a:gd name="connsiteX173" fmla="*/ 2852 w 5061"/>
                  <a:gd name="connsiteY173" fmla="*/ 203 h 1043"/>
                  <a:gd name="connsiteX174" fmla="*/ 2893 w 5061"/>
                  <a:gd name="connsiteY174" fmla="*/ 251 h 1043"/>
                  <a:gd name="connsiteX175" fmla="*/ 2932 w 5061"/>
                  <a:gd name="connsiteY175" fmla="*/ 303 h 1043"/>
                  <a:gd name="connsiteX176" fmla="*/ 2969 w 5061"/>
                  <a:gd name="connsiteY176" fmla="*/ 357 h 1043"/>
                  <a:gd name="connsiteX177" fmla="*/ 3004 w 5061"/>
                  <a:gd name="connsiteY177" fmla="*/ 413 h 1043"/>
                  <a:gd name="connsiteX178" fmla="*/ 3039 w 5061"/>
                  <a:gd name="connsiteY178" fmla="*/ 467 h 1043"/>
                  <a:gd name="connsiteX179" fmla="*/ 3073 w 5061"/>
                  <a:gd name="connsiteY179" fmla="*/ 523 h 1043"/>
                  <a:gd name="connsiteX180" fmla="*/ 3110 w 5061"/>
                  <a:gd name="connsiteY180" fmla="*/ 585 h 1043"/>
                  <a:gd name="connsiteX181" fmla="*/ 3147 w 5061"/>
                  <a:gd name="connsiteY181" fmla="*/ 643 h 1043"/>
                  <a:gd name="connsiteX182" fmla="*/ 3186 w 5061"/>
                  <a:gd name="connsiteY182" fmla="*/ 701 h 1043"/>
                  <a:gd name="connsiteX183" fmla="*/ 3223 w 5061"/>
                  <a:gd name="connsiteY183" fmla="*/ 755 h 1043"/>
                  <a:gd name="connsiteX184" fmla="*/ 3265 w 5061"/>
                  <a:gd name="connsiteY184" fmla="*/ 805 h 1043"/>
                  <a:gd name="connsiteX185" fmla="*/ 3306 w 5061"/>
                  <a:gd name="connsiteY185" fmla="*/ 848 h 1043"/>
                  <a:gd name="connsiteX186" fmla="*/ 3349 w 5061"/>
                  <a:gd name="connsiteY186" fmla="*/ 886 h 1043"/>
                  <a:gd name="connsiteX187" fmla="*/ 3395 w 5061"/>
                  <a:gd name="connsiteY187" fmla="*/ 917 h 1043"/>
                  <a:gd name="connsiteX188" fmla="*/ 3444 w 5061"/>
                  <a:gd name="connsiteY188" fmla="*/ 939 h 1043"/>
                  <a:gd name="connsiteX189" fmla="*/ 3498 w 5061"/>
                  <a:gd name="connsiteY189" fmla="*/ 952 h 1043"/>
                  <a:gd name="connsiteX190" fmla="*/ 3554 w 5061"/>
                  <a:gd name="connsiteY190" fmla="*/ 956 h 1043"/>
                  <a:gd name="connsiteX191" fmla="*/ 3609 w 5061"/>
                  <a:gd name="connsiteY191" fmla="*/ 950 h 1043"/>
                  <a:gd name="connsiteX192" fmla="*/ 3659 w 5061"/>
                  <a:gd name="connsiteY192" fmla="*/ 935 h 1043"/>
                  <a:gd name="connsiteX193" fmla="*/ 3706 w 5061"/>
                  <a:gd name="connsiteY193" fmla="*/ 915 h 1043"/>
                  <a:gd name="connsiteX194" fmla="*/ 3750 w 5061"/>
                  <a:gd name="connsiteY194" fmla="*/ 884 h 1043"/>
                  <a:gd name="connsiteX195" fmla="*/ 3789 w 5061"/>
                  <a:gd name="connsiteY195" fmla="*/ 848 h 1043"/>
                  <a:gd name="connsiteX196" fmla="*/ 3826 w 5061"/>
                  <a:gd name="connsiteY196" fmla="*/ 807 h 1043"/>
                  <a:gd name="connsiteX197" fmla="*/ 3861 w 5061"/>
                  <a:gd name="connsiteY197" fmla="*/ 759 h 1043"/>
                  <a:gd name="connsiteX198" fmla="*/ 3894 w 5061"/>
                  <a:gd name="connsiteY198" fmla="*/ 709 h 1043"/>
                  <a:gd name="connsiteX199" fmla="*/ 3927 w 5061"/>
                  <a:gd name="connsiteY199" fmla="*/ 655 h 1043"/>
                  <a:gd name="connsiteX200" fmla="*/ 3960 w 5061"/>
                  <a:gd name="connsiteY200" fmla="*/ 597 h 1043"/>
                  <a:gd name="connsiteX201" fmla="*/ 3993 w 5061"/>
                  <a:gd name="connsiteY201" fmla="*/ 537 h 1043"/>
                  <a:gd name="connsiteX202" fmla="*/ 4022 w 5061"/>
                  <a:gd name="connsiteY202" fmla="*/ 483 h 1043"/>
                  <a:gd name="connsiteX203" fmla="*/ 4084 w 5061"/>
                  <a:gd name="connsiteY203" fmla="*/ 375 h 1043"/>
                  <a:gd name="connsiteX204" fmla="*/ 4154 w 5061"/>
                  <a:gd name="connsiteY204" fmla="*/ 272 h 1043"/>
                  <a:gd name="connsiteX205" fmla="*/ 4192 w 5061"/>
                  <a:gd name="connsiteY205" fmla="*/ 224 h 1043"/>
                  <a:gd name="connsiteX206" fmla="*/ 4233 w 5061"/>
                  <a:gd name="connsiteY206" fmla="*/ 178 h 1043"/>
                  <a:gd name="connsiteX207" fmla="*/ 4276 w 5061"/>
                  <a:gd name="connsiteY207" fmla="*/ 137 h 1043"/>
                  <a:gd name="connsiteX208" fmla="*/ 4324 w 5061"/>
                  <a:gd name="connsiteY208" fmla="*/ 100 h 1043"/>
                  <a:gd name="connsiteX209" fmla="*/ 4375 w 5061"/>
                  <a:gd name="connsiteY209" fmla="*/ 66 h 1043"/>
                  <a:gd name="connsiteX210" fmla="*/ 4433 w 5061"/>
                  <a:gd name="connsiteY210" fmla="*/ 39 h 1043"/>
                  <a:gd name="connsiteX211" fmla="*/ 4493 w 5061"/>
                  <a:gd name="connsiteY211" fmla="*/ 19 h 1043"/>
                  <a:gd name="connsiteX212" fmla="*/ 4559 w 5061"/>
                  <a:gd name="connsiteY212" fmla="*/ 6 h 1043"/>
                  <a:gd name="connsiteX213" fmla="*/ 4631 w 5061"/>
                  <a:gd name="connsiteY213" fmla="*/ 0 h 1043"/>
                  <a:gd name="connsiteX0" fmla="*/ 4631 w 5061"/>
                  <a:gd name="connsiteY0" fmla="*/ 0 h 1043"/>
                  <a:gd name="connsiteX1" fmla="*/ 4681 w 5061"/>
                  <a:gd name="connsiteY1" fmla="*/ 0 h 1043"/>
                  <a:gd name="connsiteX2" fmla="*/ 4710 w 5061"/>
                  <a:gd name="connsiteY2" fmla="*/ 4 h 1043"/>
                  <a:gd name="connsiteX3" fmla="*/ 4741 w 5061"/>
                  <a:gd name="connsiteY3" fmla="*/ 13 h 1043"/>
                  <a:gd name="connsiteX4" fmla="*/ 4778 w 5061"/>
                  <a:gd name="connsiteY4" fmla="*/ 23 h 1043"/>
                  <a:gd name="connsiteX5" fmla="*/ 4819 w 5061"/>
                  <a:gd name="connsiteY5" fmla="*/ 39 h 1043"/>
                  <a:gd name="connsiteX6" fmla="*/ 4863 w 5061"/>
                  <a:gd name="connsiteY6" fmla="*/ 60 h 1043"/>
                  <a:gd name="connsiteX7" fmla="*/ 4910 w 5061"/>
                  <a:gd name="connsiteY7" fmla="*/ 89 h 1043"/>
                  <a:gd name="connsiteX8" fmla="*/ 4960 w 5061"/>
                  <a:gd name="connsiteY8" fmla="*/ 124 h 1043"/>
                  <a:gd name="connsiteX9" fmla="*/ 5009 w 5061"/>
                  <a:gd name="connsiteY9" fmla="*/ 170 h 1043"/>
                  <a:gd name="connsiteX10" fmla="*/ 5061 w 5061"/>
                  <a:gd name="connsiteY10" fmla="*/ 224 h 1043"/>
                  <a:gd name="connsiteX11" fmla="*/ 4900 w 5061"/>
                  <a:gd name="connsiteY11" fmla="*/ 189 h 1043"/>
                  <a:gd name="connsiteX12" fmla="*/ 4770 w 5061"/>
                  <a:gd name="connsiteY12" fmla="*/ 112 h 1043"/>
                  <a:gd name="connsiteX13" fmla="*/ 4726 w 5061"/>
                  <a:gd name="connsiteY13" fmla="*/ 98 h 1043"/>
                  <a:gd name="connsiteX14" fmla="*/ 4691 w 5061"/>
                  <a:gd name="connsiteY14" fmla="*/ 89 h 1043"/>
                  <a:gd name="connsiteX15" fmla="*/ 4662 w 5061"/>
                  <a:gd name="connsiteY15" fmla="*/ 87 h 1043"/>
                  <a:gd name="connsiteX16" fmla="*/ 4635 w 5061"/>
                  <a:gd name="connsiteY16" fmla="*/ 87 h 1043"/>
                  <a:gd name="connsiteX17" fmla="*/ 4569 w 5061"/>
                  <a:gd name="connsiteY17" fmla="*/ 93 h 1043"/>
                  <a:gd name="connsiteX18" fmla="*/ 4507 w 5061"/>
                  <a:gd name="connsiteY18" fmla="*/ 106 h 1043"/>
                  <a:gd name="connsiteX19" fmla="*/ 4452 w 5061"/>
                  <a:gd name="connsiteY19" fmla="*/ 127 h 1043"/>
                  <a:gd name="connsiteX20" fmla="*/ 4400 w 5061"/>
                  <a:gd name="connsiteY20" fmla="*/ 154 h 1043"/>
                  <a:gd name="connsiteX21" fmla="*/ 4353 w 5061"/>
                  <a:gd name="connsiteY21" fmla="*/ 187 h 1043"/>
                  <a:gd name="connsiteX22" fmla="*/ 4309 w 5061"/>
                  <a:gd name="connsiteY22" fmla="*/ 224 h 1043"/>
                  <a:gd name="connsiteX23" fmla="*/ 4270 w 5061"/>
                  <a:gd name="connsiteY23" fmla="*/ 268 h 1043"/>
                  <a:gd name="connsiteX24" fmla="*/ 4231 w 5061"/>
                  <a:gd name="connsiteY24" fmla="*/ 313 h 1043"/>
                  <a:gd name="connsiteX25" fmla="*/ 4196 w 5061"/>
                  <a:gd name="connsiteY25" fmla="*/ 363 h 1043"/>
                  <a:gd name="connsiteX26" fmla="*/ 4163 w 5061"/>
                  <a:gd name="connsiteY26" fmla="*/ 415 h 1043"/>
                  <a:gd name="connsiteX27" fmla="*/ 4101 w 5061"/>
                  <a:gd name="connsiteY27" fmla="*/ 523 h 1043"/>
                  <a:gd name="connsiteX28" fmla="*/ 4008 w 5061"/>
                  <a:gd name="connsiteY28" fmla="*/ 691 h 1043"/>
                  <a:gd name="connsiteX29" fmla="*/ 3975 w 5061"/>
                  <a:gd name="connsiteY29" fmla="*/ 747 h 1043"/>
                  <a:gd name="connsiteX30" fmla="*/ 3940 w 5061"/>
                  <a:gd name="connsiteY30" fmla="*/ 798 h 1043"/>
                  <a:gd name="connsiteX31" fmla="*/ 3905 w 5061"/>
                  <a:gd name="connsiteY31" fmla="*/ 848 h 1043"/>
                  <a:gd name="connsiteX32" fmla="*/ 3865 w 5061"/>
                  <a:gd name="connsiteY32" fmla="*/ 894 h 1043"/>
                  <a:gd name="connsiteX33" fmla="*/ 3824 w 5061"/>
                  <a:gd name="connsiteY33" fmla="*/ 935 h 1043"/>
                  <a:gd name="connsiteX34" fmla="*/ 3779 w 5061"/>
                  <a:gd name="connsiteY34" fmla="*/ 971 h 1043"/>
                  <a:gd name="connsiteX35" fmla="*/ 3729 w 5061"/>
                  <a:gd name="connsiteY35" fmla="*/ 1000 h 1043"/>
                  <a:gd name="connsiteX36" fmla="*/ 3677 w 5061"/>
                  <a:gd name="connsiteY36" fmla="*/ 1022 h 1043"/>
                  <a:gd name="connsiteX37" fmla="*/ 3620 w 5061"/>
                  <a:gd name="connsiteY37" fmla="*/ 1037 h 1043"/>
                  <a:gd name="connsiteX38" fmla="*/ 3556 w 5061"/>
                  <a:gd name="connsiteY38" fmla="*/ 1043 h 1043"/>
                  <a:gd name="connsiteX39" fmla="*/ 3547 w 5061"/>
                  <a:gd name="connsiteY39" fmla="*/ 1043 h 1043"/>
                  <a:gd name="connsiteX40" fmla="*/ 3485 w 5061"/>
                  <a:gd name="connsiteY40" fmla="*/ 1039 h 1043"/>
                  <a:gd name="connsiteX41" fmla="*/ 3426 w 5061"/>
                  <a:gd name="connsiteY41" fmla="*/ 1025 h 1043"/>
                  <a:gd name="connsiteX42" fmla="*/ 3372 w 5061"/>
                  <a:gd name="connsiteY42" fmla="*/ 1002 h 1043"/>
                  <a:gd name="connsiteX43" fmla="*/ 3320 w 5061"/>
                  <a:gd name="connsiteY43" fmla="*/ 973 h 1043"/>
                  <a:gd name="connsiteX44" fmla="*/ 3273 w 5061"/>
                  <a:gd name="connsiteY44" fmla="*/ 935 h 1043"/>
                  <a:gd name="connsiteX45" fmla="*/ 3229 w 5061"/>
                  <a:gd name="connsiteY45" fmla="*/ 894 h 1043"/>
                  <a:gd name="connsiteX46" fmla="*/ 3186 w 5061"/>
                  <a:gd name="connsiteY46" fmla="*/ 846 h 1043"/>
                  <a:gd name="connsiteX47" fmla="*/ 3147 w 5061"/>
                  <a:gd name="connsiteY47" fmla="*/ 796 h 1043"/>
                  <a:gd name="connsiteX48" fmla="*/ 3108 w 5061"/>
                  <a:gd name="connsiteY48" fmla="*/ 740 h 1043"/>
                  <a:gd name="connsiteX49" fmla="*/ 3070 w 5061"/>
                  <a:gd name="connsiteY49" fmla="*/ 684 h 1043"/>
                  <a:gd name="connsiteX50" fmla="*/ 2965 w 5061"/>
                  <a:gd name="connsiteY50" fmla="*/ 510 h 1043"/>
                  <a:gd name="connsiteX51" fmla="*/ 2928 w 5061"/>
                  <a:gd name="connsiteY51" fmla="*/ 452 h 1043"/>
                  <a:gd name="connsiteX52" fmla="*/ 2891 w 5061"/>
                  <a:gd name="connsiteY52" fmla="*/ 396 h 1043"/>
                  <a:gd name="connsiteX53" fmla="*/ 2854 w 5061"/>
                  <a:gd name="connsiteY53" fmla="*/ 342 h 1043"/>
                  <a:gd name="connsiteX54" fmla="*/ 2814 w 5061"/>
                  <a:gd name="connsiteY54" fmla="*/ 292 h 1043"/>
                  <a:gd name="connsiteX55" fmla="*/ 2773 w 5061"/>
                  <a:gd name="connsiteY55" fmla="*/ 247 h 1043"/>
                  <a:gd name="connsiteX56" fmla="*/ 2732 w 5061"/>
                  <a:gd name="connsiteY56" fmla="*/ 205 h 1043"/>
                  <a:gd name="connsiteX57" fmla="*/ 2686 w 5061"/>
                  <a:gd name="connsiteY57" fmla="*/ 168 h 1043"/>
                  <a:gd name="connsiteX58" fmla="*/ 2639 w 5061"/>
                  <a:gd name="connsiteY58" fmla="*/ 139 h 1043"/>
                  <a:gd name="connsiteX59" fmla="*/ 2587 w 5061"/>
                  <a:gd name="connsiteY59" fmla="*/ 116 h 1043"/>
                  <a:gd name="connsiteX60" fmla="*/ 2532 w 5061"/>
                  <a:gd name="connsiteY60" fmla="*/ 100 h 1043"/>
                  <a:gd name="connsiteX61" fmla="*/ 2474 w 5061"/>
                  <a:gd name="connsiteY61" fmla="*/ 91 h 1043"/>
                  <a:gd name="connsiteX62" fmla="*/ 2410 w 5061"/>
                  <a:gd name="connsiteY62" fmla="*/ 93 h 1043"/>
                  <a:gd name="connsiteX63" fmla="*/ 2342 w 5061"/>
                  <a:gd name="connsiteY63" fmla="*/ 104 h 1043"/>
                  <a:gd name="connsiteX64" fmla="*/ 2280 w 5061"/>
                  <a:gd name="connsiteY64" fmla="*/ 122 h 1043"/>
                  <a:gd name="connsiteX65" fmla="*/ 2222 w 5061"/>
                  <a:gd name="connsiteY65" fmla="*/ 147 h 1043"/>
                  <a:gd name="connsiteX66" fmla="*/ 2168 w 5061"/>
                  <a:gd name="connsiteY66" fmla="*/ 180 h 1043"/>
                  <a:gd name="connsiteX67" fmla="*/ 2117 w 5061"/>
                  <a:gd name="connsiteY67" fmla="*/ 218 h 1043"/>
                  <a:gd name="connsiteX68" fmla="*/ 2071 w 5061"/>
                  <a:gd name="connsiteY68" fmla="*/ 261 h 1043"/>
                  <a:gd name="connsiteX69" fmla="*/ 2026 w 5061"/>
                  <a:gd name="connsiteY69" fmla="*/ 307 h 1043"/>
                  <a:gd name="connsiteX70" fmla="*/ 1984 w 5061"/>
                  <a:gd name="connsiteY70" fmla="*/ 359 h 1043"/>
                  <a:gd name="connsiteX71" fmla="*/ 1945 w 5061"/>
                  <a:gd name="connsiteY71" fmla="*/ 413 h 1043"/>
                  <a:gd name="connsiteX72" fmla="*/ 1908 w 5061"/>
                  <a:gd name="connsiteY72" fmla="*/ 467 h 1043"/>
                  <a:gd name="connsiteX73" fmla="*/ 1871 w 5061"/>
                  <a:gd name="connsiteY73" fmla="*/ 523 h 1043"/>
                  <a:gd name="connsiteX74" fmla="*/ 1834 w 5061"/>
                  <a:gd name="connsiteY74" fmla="*/ 581 h 1043"/>
                  <a:gd name="connsiteX75" fmla="*/ 1799 w 5061"/>
                  <a:gd name="connsiteY75" fmla="*/ 637 h 1043"/>
                  <a:gd name="connsiteX76" fmla="*/ 1724 w 5061"/>
                  <a:gd name="connsiteY76" fmla="*/ 749 h 1043"/>
                  <a:gd name="connsiteX77" fmla="*/ 1685 w 5061"/>
                  <a:gd name="connsiteY77" fmla="*/ 801 h 1043"/>
                  <a:gd name="connsiteX78" fmla="*/ 1644 w 5061"/>
                  <a:gd name="connsiteY78" fmla="*/ 850 h 1043"/>
                  <a:gd name="connsiteX79" fmla="*/ 1600 w 5061"/>
                  <a:gd name="connsiteY79" fmla="*/ 896 h 1043"/>
                  <a:gd name="connsiteX80" fmla="*/ 1553 w 5061"/>
                  <a:gd name="connsiteY80" fmla="*/ 937 h 1043"/>
                  <a:gd name="connsiteX81" fmla="*/ 1503 w 5061"/>
                  <a:gd name="connsiteY81" fmla="*/ 973 h 1043"/>
                  <a:gd name="connsiteX82" fmla="*/ 1450 w 5061"/>
                  <a:gd name="connsiteY82" fmla="*/ 1002 h 1043"/>
                  <a:gd name="connsiteX83" fmla="*/ 1394 w 5061"/>
                  <a:gd name="connsiteY83" fmla="*/ 1025 h 1043"/>
                  <a:gd name="connsiteX84" fmla="*/ 1330 w 5061"/>
                  <a:gd name="connsiteY84" fmla="*/ 1037 h 1043"/>
                  <a:gd name="connsiteX85" fmla="*/ 1264 w 5061"/>
                  <a:gd name="connsiteY85" fmla="*/ 1043 h 1043"/>
                  <a:gd name="connsiteX86" fmla="*/ 1258 w 5061"/>
                  <a:gd name="connsiteY86" fmla="*/ 1043 h 1043"/>
                  <a:gd name="connsiteX87" fmla="*/ 1190 w 5061"/>
                  <a:gd name="connsiteY87" fmla="*/ 1039 h 1043"/>
                  <a:gd name="connsiteX88" fmla="*/ 1128 w 5061"/>
                  <a:gd name="connsiteY88" fmla="*/ 1027 h 1043"/>
                  <a:gd name="connsiteX89" fmla="*/ 1070 w 5061"/>
                  <a:gd name="connsiteY89" fmla="*/ 1008 h 1043"/>
                  <a:gd name="connsiteX90" fmla="*/ 1018 w 5061"/>
                  <a:gd name="connsiteY90" fmla="*/ 983 h 1043"/>
                  <a:gd name="connsiteX91" fmla="*/ 971 w 5061"/>
                  <a:gd name="connsiteY91" fmla="*/ 952 h 1043"/>
                  <a:gd name="connsiteX92" fmla="*/ 925 w 5061"/>
                  <a:gd name="connsiteY92" fmla="*/ 915 h 1043"/>
                  <a:gd name="connsiteX93" fmla="*/ 884 w 5061"/>
                  <a:gd name="connsiteY93" fmla="*/ 873 h 1043"/>
                  <a:gd name="connsiteX94" fmla="*/ 847 w 5061"/>
                  <a:gd name="connsiteY94" fmla="*/ 828 h 1043"/>
                  <a:gd name="connsiteX95" fmla="*/ 810 w 5061"/>
                  <a:gd name="connsiteY95" fmla="*/ 780 h 1043"/>
                  <a:gd name="connsiteX96" fmla="*/ 777 w 5061"/>
                  <a:gd name="connsiteY96" fmla="*/ 728 h 1043"/>
                  <a:gd name="connsiteX97" fmla="*/ 742 w 5061"/>
                  <a:gd name="connsiteY97" fmla="*/ 674 h 1043"/>
                  <a:gd name="connsiteX98" fmla="*/ 711 w 5061"/>
                  <a:gd name="connsiteY98" fmla="*/ 618 h 1043"/>
                  <a:gd name="connsiteX99" fmla="*/ 678 w 5061"/>
                  <a:gd name="connsiteY99" fmla="*/ 560 h 1043"/>
                  <a:gd name="connsiteX100" fmla="*/ 616 w 5061"/>
                  <a:gd name="connsiteY100" fmla="*/ 448 h 1043"/>
                  <a:gd name="connsiteX101" fmla="*/ 547 w 5061"/>
                  <a:gd name="connsiteY101" fmla="*/ 340 h 1043"/>
                  <a:gd name="connsiteX102" fmla="*/ 504 w 5061"/>
                  <a:gd name="connsiteY102" fmla="*/ 284 h 1043"/>
                  <a:gd name="connsiteX103" fmla="*/ 457 w 5061"/>
                  <a:gd name="connsiteY103" fmla="*/ 239 h 1043"/>
                  <a:gd name="connsiteX104" fmla="*/ 409 w 5061"/>
                  <a:gd name="connsiteY104" fmla="*/ 199 h 1043"/>
                  <a:gd name="connsiteX105" fmla="*/ 358 w 5061"/>
                  <a:gd name="connsiteY105" fmla="*/ 168 h 1043"/>
                  <a:gd name="connsiteX106" fmla="*/ 308 w 5061"/>
                  <a:gd name="connsiteY106" fmla="*/ 145 h 1043"/>
                  <a:gd name="connsiteX107" fmla="*/ 256 w 5061"/>
                  <a:gd name="connsiteY107" fmla="*/ 127 h 1043"/>
                  <a:gd name="connsiteX108" fmla="*/ 209 w 5061"/>
                  <a:gd name="connsiteY108" fmla="*/ 112 h 1043"/>
                  <a:gd name="connsiteX109" fmla="*/ 163 w 5061"/>
                  <a:gd name="connsiteY109" fmla="*/ 104 h 1043"/>
                  <a:gd name="connsiteX110" fmla="*/ 122 w 5061"/>
                  <a:gd name="connsiteY110" fmla="*/ 100 h 1043"/>
                  <a:gd name="connsiteX111" fmla="*/ 85 w 5061"/>
                  <a:gd name="connsiteY111" fmla="*/ 95 h 1043"/>
                  <a:gd name="connsiteX112" fmla="*/ 31 w 5061"/>
                  <a:gd name="connsiteY112" fmla="*/ 95 h 1043"/>
                  <a:gd name="connsiteX113" fmla="*/ 17 w 5061"/>
                  <a:gd name="connsiteY113" fmla="*/ 98 h 1043"/>
                  <a:gd name="connsiteX114" fmla="*/ 11 w 5061"/>
                  <a:gd name="connsiteY114" fmla="*/ 98 h 1043"/>
                  <a:gd name="connsiteX115" fmla="*/ 0 w 5061"/>
                  <a:gd name="connsiteY115" fmla="*/ 13 h 1043"/>
                  <a:gd name="connsiteX116" fmla="*/ 9 w 5061"/>
                  <a:gd name="connsiteY116" fmla="*/ 13 h 1043"/>
                  <a:gd name="connsiteX117" fmla="*/ 29 w 5061"/>
                  <a:gd name="connsiteY117" fmla="*/ 10 h 1043"/>
                  <a:gd name="connsiteX118" fmla="*/ 91 w 5061"/>
                  <a:gd name="connsiteY118" fmla="*/ 10 h 1043"/>
                  <a:gd name="connsiteX119" fmla="*/ 135 w 5061"/>
                  <a:gd name="connsiteY119" fmla="*/ 13 h 1043"/>
                  <a:gd name="connsiteX120" fmla="*/ 182 w 5061"/>
                  <a:gd name="connsiteY120" fmla="*/ 19 h 1043"/>
                  <a:gd name="connsiteX121" fmla="*/ 234 w 5061"/>
                  <a:gd name="connsiteY121" fmla="*/ 29 h 1043"/>
                  <a:gd name="connsiteX122" fmla="*/ 287 w 5061"/>
                  <a:gd name="connsiteY122" fmla="*/ 46 h 1043"/>
                  <a:gd name="connsiteX123" fmla="*/ 345 w 5061"/>
                  <a:gd name="connsiteY123" fmla="*/ 66 h 1043"/>
                  <a:gd name="connsiteX124" fmla="*/ 403 w 5061"/>
                  <a:gd name="connsiteY124" fmla="*/ 93 h 1043"/>
                  <a:gd name="connsiteX125" fmla="*/ 459 w 5061"/>
                  <a:gd name="connsiteY125" fmla="*/ 131 h 1043"/>
                  <a:gd name="connsiteX126" fmla="*/ 514 w 5061"/>
                  <a:gd name="connsiteY126" fmla="*/ 174 h 1043"/>
                  <a:gd name="connsiteX127" fmla="*/ 568 w 5061"/>
                  <a:gd name="connsiteY127" fmla="*/ 228 h 1043"/>
                  <a:gd name="connsiteX128" fmla="*/ 618 w 5061"/>
                  <a:gd name="connsiteY128" fmla="*/ 292 h 1043"/>
                  <a:gd name="connsiteX129" fmla="*/ 667 w 5061"/>
                  <a:gd name="connsiteY129" fmla="*/ 367 h 1043"/>
                  <a:gd name="connsiteX130" fmla="*/ 754 w 5061"/>
                  <a:gd name="connsiteY130" fmla="*/ 516 h 1043"/>
                  <a:gd name="connsiteX131" fmla="*/ 787 w 5061"/>
                  <a:gd name="connsiteY131" fmla="*/ 575 h 1043"/>
                  <a:gd name="connsiteX132" fmla="*/ 820 w 5061"/>
                  <a:gd name="connsiteY132" fmla="*/ 631 h 1043"/>
                  <a:gd name="connsiteX133" fmla="*/ 853 w 5061"/>
                  <a:gd name="connsiteY133" fmla="*/ 684 h 1043"/>
                  <a:gd name="connsiteX134" fmla="*/ 886 w 5061"/>
                  <a:gd name="connsiteY134" fmla="*/ 736 h 1043"/>
                  <a:gd name="connsiteX135" fmla="*/ 921 w 5061"/>
                  <a:gd name="connsiteY135" fmla="*/ 782 h 1043"/>
                  <a:gd name="connsiteX136" fmla="*/ 958 w 5061"/>
                  <a:gd name="connsiteY136" fmla="*/ 825 h 1043"/>
                  <a:gd name="connsiteX137" fmla="*/ 1000 w 5061"/>
                  <a:gd name="connsiteY137" fmla="*/ 863 h 1043"/>
                  <a:gd name="connsiteX138" fmla="*/ 1043 w 5061"/>
                  <a:gd name="connsiteY138" fmla="*/ 894 h 1043"/>
                  <a:gd name="connsiteX139" fmla="*/ 1090 w 5061"/>
                  <a:gd name="connsiteY139" fmla="*/ 921 h 1043"/>
                  <a:gd name="connsiteX140" fmla="*/ 1140 w 5061"/>
                  <a:gd name="connsiteY140" fmla="*/ 939 h 1043"/>
                  <a:gd name="connsiteX141" fmla="*/ 1196 w 5061"/>
                  <a:gd name="connsiteY141" fmla="*/ 952 h 1043"/>
                  <a:gd name="connsiteX142" fmla="*/ 1258 w 5061"/>
                  <a:gd name="connsiteY142" fmla="*/ 956 h 1043"/>
                  <a:gd name="connsiteX143" fmla="*/ 1264 w 5061"/>
                  <a:gd name="connsiteY143" fmla="*/ 956 h 1043"/>
                  <a:gd name="connsiteX144" fmla="*/ 1324 w 5061"/>
                  <a:gd name="connsiteY144" fmla="*/ 950 h 1043"/>
                  <a:gd name="connsiteX145" fmla="*/ 1380 w 5061"/>
                  <a:gd name="connsiteY145" fmla="*/ 935 h 1043"/>
                  <a:gd name="connsiteX146" fmla="*/ 1433 w 5061"/>
                  <a:gd name="connsiteY146" fmla="*/ 913 h 1043"/>
                  <a:gd name="connsiteX147" fmla="*/ 1481 w 5061"/>
                  <a:gd name="connsiteY147" fmla="*/ 884 h 1043"/>
                  <a:gd name="connsiteX148" fmla="*/ 1526 w 5061"/>
                  <a:gd name="connsiteY148" fmla="*/ 846 h 1043"/>
                  <a:gd name="connsiteX149" fmla="*/ 1569 w 5061"/>
                  <a:gd name="connsiteY149" fmla="*/ 803 h 1043"/>
                  <a:gd name="connsiteX150" fmla="*/ 1609 w 5061"/>
                  <a:gd name="connsiteY150" fmla="*/ 755 h 1043"/>
                  <a:gd name="connsiteX151" fmla="*/ 1648 w 5061"/>
                  <a:gd name="connsiteY151" fmla="*/ 703 h 1043"/>
                  <a:gd name="connsiteX152" fmla="*/ 1687 w 5061"/>
                  <a:gd name="connsiteY152" fmla="*/ 649 h 1043"/>
                  <a:gd name="connsiteX153" fmla="*/ 1799 w 5061"/>
                  <a:gd name="connsiteY153" fmla="*/ 475 h 1043"/>
                  <a:gd name="connsiteX154" fmla="*/ 1838 w 5061"/>
                  <a:gd name="connsiteY154" fmla="*/ 415 h 1043"/>
                  <a:gd name="connsiteX155" fmla="*/ 1879 w 5061"/>
                  <a:gd name="connsiteY155" fmla="*/ 357 h 1043"/>
                  <a:gd name="connsiteX156" fmla="*/ 1923 w 5061"/>
                  <a:gd name="connsiteY156" fmla="*/ 299 h 1043"/>
                  <a:gd name="connsiteX157" fmla="*/ 1968 w 5061"/>
                  <a:gd name="connsiteY157" fmla="*/ 245 h 1043"/>
                  <a:gd name="connsiteX158" fmla="*/ 2015 w 5061"/>
                  <a:gd name="connsiteY158" fmla="*/ 193 h 1043"/>
                  <a:gd name="connsiteX159" fmla="*/ 2069 w 5061"/>
                  <a:gd name="connsiteY159" fmla="*/ 145 h 1043"/>
                  <a:gd name="connsiteX160" fmla="*/ 2125 w 5061"/>
                  <a:gd name="connsiteY160" fmla="*/ 104 h 1043"/>
                  <a:gd name="connsiteX161" fmla="*/ 2187 w 5061"/>
                  <a:gd name="connsiteY161" fmla="*/ 69 h 1043"/>
                  <a:gd name="connsiteX162" fmla="*/ 2253 w 5061"/>
                  <a:gd name="connsiteY162" fmla="*/ 39 h 1043"/>
                  <a:gd name="connsiteX163" fmla="*/ 2325 w 5061"/>
                  <a:gd name="connsiteY163" fmla="*/ 19 h 1043"/>
                  <a:gd name="connsiteX164" fmla="*/ 2404 w 5061"/>
                  <a:gd name="connsiteY164" fmla="*/ 6 h 1043"/>
                  <a:gd name="connsiteX165" fmla="*/ 2474 w 5061"/>
                  <a:gd name="connsiteY165" fmla="*/ 4 h 1043"/>
                  <a:gd name="connsiteX166" fmla="*/ 2540 w 5061"/>
                  <a:gd name="connsiteY166" fmla="*/ 13 h 1043"/>
                  <a:gd name="connsiteX167" fmla="*/ 2600 w 5061"/>
                  <a:gd name="connsiteY167" fmla="*/ 27 h 1043"/>
                  <a:gd name="connsiteX168" fmla="*/ 2658 w 5061"/>
                  <a:gd name="connsiteY168" fmla="*/ 50 h 1043"/>
                  <a:gd name="connsiteX169" fmla="*/ 2711 w 5061"/>
                  <a:gd name="connsiteY169" fmla="*/ 81 h 1043"/>
                  <a:gd name="connsiteX170" fmla="*/ 2761 w 5061"/>
                  <a:gd name="connsiteY170" fmla="*/ 116 h 1043"/>
                  <a:gd name="connsiteX171" fmla="*/ 2806 w 5061"/>
                  <a:gd name="connsiteY171" fmla="*/ 158 h 1043"/>
                  <a:gd name="connsiteX172" fmla="*/ 2852 w 5061"/>
                  <a:gd name="connsiteY172" fmla="*/ 203 h 1043"/>
                  <a:gd name="connsiteX173" fmla="*/ 2893 w 5061"/>
                  <a:gd name="connsiteY173" fmla="*/ 251 h 1043"/>
                  <a:gd name="connsiteX174" fmla="*/ 2932 w 5061"/>
                  <a:gd name="connsiteY174" fmla="*/ 303 h 1043"/>
                  <a:gd name="connsiteX175" fmla="*/ 2969 w 5061"/>
                  <a:gd name="connsiteY175" fmla="*/ 357 h 1043"/>
                  <a:gd name="connsiteX176" fmla="*/ 3004 w 5061"/>
                  <a:gd name="connsiteY176" fmla="*/ 413 h 1043"/>
                  <a:gd name="connsiteX177" fmla="*/ 3039 w 5061"/>
                  <a:gd name="connsiteY177" fmla="*/ 467 h 1043"/>
                  <a:gd name="connsiteX178" fmla="*/ 3073 w 5061"/>
                  <a:gd name="connsiteY178" fmla="*/ 523 h 1043"/>
                  <a:gd name="connsiteX179" fmla="*/ 3110 w 5061"/>
                  <a:gd name="connsiteY179" fmla="*/ 585 h 1043"/>
                  <a:gd name="connsiteX180" fmla="*/ 3147 w 5061"/>
                  <a:gd name="connsiteY180" fmla="*/ 643 h 1043"/>
                  <a:gd name="connsiteX181" fmla="*/ 3186 w 5061"/>
                  <a:gd name="connsiteY181" fmla="*/ 701 h 1043"/>
                  <a:gd name="connsiteX182" fmla="*/ 3223 w 5061"/>
                  <a:gd name="connsiteY182" fmla="*/ 755 h 1043"/>
                  <a:gd name="connsiteX183" fmla="*/ 3265 w 5061"/>
                  <a:gd name="connsiteY183" fmla="*/ 805 h 1043"/>
                  <a:gd name="connsiteX184" fmla="*/ 3306 w 5061"/>
                  <a:gd name="connsiteY184" fmla="*/ 848 h 1043"/>
                  <a:gd name="connsiteX185" fmla="*/ 3349 w 5061"/>
                  <a:gd name="connsiteY185" fmla="*/ 886 h 1043"/>
                  <a:gd name="connsiteX186" fmla="*/ 3395 w 5061"/>
                  <a:gd name="connsiteY186" fmla="*/ 917 h 1043"/>
                  <a:gd name="connsiteX187" fmla="*/ 3444 w 5061"/>
                  <a:gd name="connsiteY187" fmla="*/ 939 h 1043"/>
                  <a:gd name="connsiteX188" fmla="*/ 3498 w 5061"/>
                  <a:gd name="connsiteY188" fmla="*/ 952 h 1043"/>
                  <a:gd name="connsiteX189" fmla="*/ 3554 w 5061"/>
                  <a:gd name="connsiteY189" fmla="*/ 956 h 1043"/>
                  <a:gd name="connsiteX190" fmla="*/ 3609 w 5061"/>
                  <a:gd name="connsiteY190" fmla="*/ 950 h 1043"/>
                  <a:gd name="connsiteX191" fmla="*/ 3659 w 5061"/>
                  <a:gd name="connsiteY191" fmla="*/ 935 h 1043"/>
                  <a:gd name="connsiteX192" fmla="*/ 3706 w 5061"/>
                  <a:gd name="connsiteY192" fmla="*/ 915 h 1043"/>
                  <a:gd name="connsiteX193" fmla="*/ 3750 w 5061"/>
                  <a:gd name="connsiteY193" fmla="*/ 884 h 1043"/>
                  <a:gd name="connsiteX194" fmla="*/ 3789 w 5061"/>
                  <a:gd name="connsiteY194" fmla="*/ 848 h 1043"/>
                  <a:gd name="connsiteX195" fmla="*/ 3826 w 5061"/>
                  <a:gd name="connsiteY195" fmla="*/ 807 h 1043"/>
                  <a:gd name="connsiteX196" fmla="*/ 3861 w 5061"/>
                  <a:gd name="connsiteY196" fmla="*/ 759 h 1043"/>
                  <a:gd name="connsiteX197" fmla="*/ 3894 w 5061"/>
                  <a:gd name="connsiteY197" fmla="*/ 709 h 1043"/>
                  <a:gd name="connsiteX198" fmla="*/ 3927 w 5061"/>
                  <a:gd name="connsiteY198" fmla="*/ 655 h 1043"/>
                  <a:gd name="connsiteX199" fmla="*/ 3960 w 5061"/>
                  <a:gd name="connsiteY199" fmla="*/ 597 h 1043"/>
                  <a:gd name="connsiteX200" fmla="*/ 3993 w 5061"/>
                  <a:gd name="connsiteY200" fmla="*/ 537 h 1043"/>
                  <a:gd name="connsiteX201" fmla="*/ 4022 w 5061"/>
                  <a:gd name="connsiteY201" fmla="*/ 483 h 1043"/>
                  <a:gd name="connsiteX202" fmla="*/ 4084 w 5061"/>
                  <a:gd name="connsiteY202" fmla="*/ 375 h 1043"/>
                  <a:gd name="connsiteX203" fmla="*/ 4154 w 5061"/>
                  <a:gd name="connsiteY203" fmla="*/ 272 h 1043"/>
                  <a:gd name="connsiteX204" fmla="*/ 4192 w 5061"/>
                  <a:gd name="connsiteY204" fmla="*/ 224 h 1043"/>
                  <a:gd name="connsiteX205" fmla="*/ 4233 w 5061"/>
                  <a:gd name="connsiteY205" fmla="*/ 178 h 1043"/>
                  <a:gd name="connsiteX206" fmla="*/ 4276 w 5061"/>
                  <a:gd name="connsiteY206" fmla="*/ 137 h 1043"/>
                  <a:gd name="connsiteX207" fmla="*/ 4324 w 5061"/>
                  <a:gd name="connsiteY207" fmla="*/ 100 h 1043"/>
                  <a:gd name="connsiteX208" fmla="*/ 4375 w 5061"/>
                  <a:gd name="connsiteY208" fmla="*/ 66 h 1043"/>
                  <a:gd name="connsiteX209" fmla="*/ 4433 w 5061"/>
                  <a:gd name="connsiteY209" fmla="*/ 39 h 1043"/>
                  <a:gd name="connsiteX210" fmla="*/ 4493 w 5061"/>
                  <a:gd name="connsiteY210" fmla="*/ 19 h 1043"/>
                  <a:gd name="connsiteX211" fmla="*/ 4559 w 5061"/>
                  <a:gd name="connsiteY211" fmla="*/ 6 h 1043"/>
                  <a:gd name="connsiteX212" fmla="*/ 4631 w 5061"/>
                  <a:gd name="connsiteY212" fmla="*/ 0 h 1043"/>
                  <a:gd name="connsiteX0" fmla="*/ 4631 w 5061"/>
                  <a:gd name="connsiteY0" fmla="*/ 0 h 1043"/>
                  <a:gd name="connsiteX1" fmla="*/ 4681 w 5061"/>
                  <a:gd name="connsiteY1" fmla="*/ 0 h 1043"/>
                  <a:gd name="connsiteX2" fmla="*/ 4710 w 5061"/>
                  <a:gd name="connsiteY2" fmla="*/ 4 h 1043"/>
                  <a:gd name="connsiteX3" fmla="*/ 4741 w 5061"/>
                  <a:gd name="connsiteY3" fmla="*/ 13 h 1043"/>
                  <a:gd name="connsiteX4" fmla="*/ 4778 w 5061"/>
                  <a:gd name="connsiteY4" fmla="*/ 23 h 1043"/>
                  <a:gd name="connsiteX5" fmla="*/ 4819 w 5061"/>
                  <a:gd name="connsiteY5" fmla="*/ 39 h 1043"/>
                  <a:gd name="connsiteX6" fmla="*/ 4863 w 5061"/>
                  <a:gd name="connsiteY6" fmla="*/ 60 h 1043"/>
                  <a:gd name="connsiteX7" fmla="*/ 4910 w 5061"/>
                  <a:gd name="connsiteY7" fmla="*/ 89 h 1043"/>
                  <a:gd name="connsiteX8" fmla="*/ 4960 w 5061"/>
                  <a:gd name="connsiteY8" fmla="*/ 124 h 1043"/>
                  <a:gd name="connsiteX9" fmla="*/ 5009 w 5061"/>
                  <a:gd name="connsiteY9" fmla="*/ 170 h 1043"/>
                  <a:gd name="connsiteX10" fmla="*/ 5061 w 5061"/>
                  <a:gd name="connsiteY10" fmla="*/ 224 h 1043"/>
                  <a:gd name="connsiteX11" fmla="*/ 4900 w 5061"/>
                  <a:gd name="connsiteY11" fmla="*/ 189 h 1043"/>
                  <a:gd name="connsiteX12" fmla="*/ 4770 w 5061"/>
                  <a:gd name="connsiteY12" fmla="*/ 112 h 1043"/>
                  <a:gd name="connsiteX13" fmla="*/ 4691 w 5061"/>
                  <a:gd name="connsiteY13" fmla="*/ 89 h 1043"/>
                  <a:gd name="connsiteX14" fmla="*/ 4662 w 5061"/>
                  <a:gd name="connsiteY14" fmla="*/ 87 h 1043"/>
                  <a:gd name="connsiteX15" fmla="*/ 4635 w 5061"/>
                  <a:gd name="connsiteY15" fmla="*/ 87 h 1043"/>
                  <a:gd name="connsiteX16" fmla="*/ 4569 w 5061"/>
                  <a:gd name="connsiteY16" fmla="*/ 93 h 1043"/>
                  <a:gd name="connsiteX17" fmla="*/ 4507 w 5061"/>
                  <a:gd name="connsiteY17" fmla="*/ 106 h 1043"/>
                  <a:gd name="connsiteX18" fmla="*/ 4452 w 5061"/>
                  <a:gd name="connsiteY18" fmla="*/ 127 h 1043"/>
                  <a:gd name="connsiteX19" fmla="*/ 4400 w 5061"/>
                  <a:gd name="connsiteY19" fmla="*/ 154 h 1043"/>
                  <a:gd name="connsiteX20" fmla="*/ 4353 w 5061"/>
                  <a:gd name="connsiteY20" fmla="*/ 187 h 1043"/>
                  <a:gd name="connsiteX21" fmla="*/ 4309 w 5061"/>
                  <a:gd name="connsiteY21" fmla="*/ 224 h 1043"/>
                  <a:gd name="connsiteX22" fmla="*/ 4270 w 5061"/>
                  <a:gd name="connsiteY22" fmla="*/ 268 h 1043"/>
                  <a:gd name="connsiteX23" fmla="*/ 4231 w 5061"/>
                  <a:gd name="connsiteY23" fmla="*/ 313 h 1043"/>
                  <a:gd name="connsiteX24" fmla="*/ 4196 w 5061"/>
                  <a:gd name="connsiteY24" fmla="*/ 363 h 1043"/>
                  <a:gd name="connsiteX25" fmla="*/ 4163 w 5061"/>
                  <a:gd name="connsiteY25" fmla="*/ 415 h 1043"/>
                  <a:gd name="connsiteX26" fmla="*/ 4101 w 5061"/>
                  <a:gd name="connsiteY26" fmla="*/ 523 h 1043"/>
                  <a:gd name="connsiteX27" fmla="*/ 4008 w 5061"/>
                  <a:gd name="connsiteY27" fmla="*/ 691 h 1043"/>
                  <a:gd name="connsiteX28" fmla="*/ 3975 w 5061"/>
                  <a:gd name="connsiteY28" fmla="*/ 747 h 1043"/>
                  <a:gd name="connsiteX29" fmla="*/ 3940 w 5061"/>
                  <a:gd name="connsiteY29" fmla="*/ 798 h 1043"/>
                  <a:gd name="connsiteX30" fmla="*/ 3905 w 5061"/>
                  <a:gd name="connsiteY30" fmla="*/ 848 h 1043"/>
                  <a:gd name="connsiteX31" fmla="*/ 3865 w 5061"/>
                  <a:gd name="connsiteY31" fmla="*/ 894 h 1043"/>
                  <a:gd name="connsiteX32" fmla="*/ 3824 w 5061"/>
                  <a:gd name="connsiteY32" fmla="*/ 935 h 1043"/>
                  <a:gd name="connsiteX33" fmla="*/ 3779 w 5061"/>
                  <a:gd name="connsiteY33" fmla="*/ 971 h 1043"/>
                  <a:gd name="connsiteX34" fmla="*/ 3729 w 5061"/>
                  <a:gd name="connsiteY34" fmla="*/ 1000 h 1043"/>
                  <a:gd name="connsiteX35" fmla="*/ 3677 w 5061"/>
                  <a:gd name="connsiteY35" fmla="*/ 1022 h 1043"/>
                  <a:gd name="connsiteX36" fmla="*/ 3620 w 5061"/>
                  <a:gd name="connsiteY36" fmla="*/ 1037 h 1043"/>
                  <a:gd name="connsiteX37" fmla="*/ 3556 w 5061"/>
                  <a:gd name="connsiteY37" fmla="*/ 1043 h 1043"/>
                  <a:gd name="connsiteX38" fmla="*/ 3547 w 5061"/>
                  <a:gd name="connsiteY38" fmla="*/ 1043 h 1043"/>
                  <a:gd name="connsiteX39" fmla="*/ 3485 w 5061"/>
                  <a:gd name="connsiteY39" fmla="*/ 1039 h 1043"/>
                  <a:gd name="connsiteX40" fmla="*/ 3426 w 5061"/>
                  <a:gd name="connsiteY40" fmla="*/ 1025 h 1043"/>
                  <a:gd name="connsiteX41" fmla="*/ 3372 w 5061"/>
                  <a:gd name="connsiteY41" fmla="*/ 1002 h 1043"/>
                  <a:gd name="connsiteX42" fmla="*/ 3320 w 5061"/>
                  <a:gd name="connsiteY42" fmla="*/ 973 h 1043"/>
                  <a:gd name="connsiteX43" fmla="*/ 3273 w 5061"/>
                  <a:gd name="connsiteY43" fmla="*/ 935 h 1043"/>
                  <a:gd name="connsiteX44" fmla="*/ 3229 w 5061"/>
                  <a:gd name="connsiteY44" fmla="*/ 894 h 1043"/>
                  <a:gd name="connsiteX45" fmla="*/ 3186 w 5061"/>
                  <a:gd name="connsiteY45" fmla="*/ 846 h 1043"/>
                  <a:gd name="connsiteX46" fmla="*/ 3147 w 5061"/>
                  <a:gd name="connsiteY46" fmla="*/ 796 h 1043"/>
                  <a:gd name="connsiteX47" fmla="*/ 3108 w 5061"/>
                  <a:gd name="connsiteY47" fmla="*/ 740 h 1043"/>
                  <a:gd name="connsiteX48" fmla="*/ 3070 w 5061"/>
                  <a:gd name="connsiteY48" fmla="*/ 684 h 1043"/>
                  <a:gd name="connsiteX49" fmla="*/ 2965 w 5061"/>
                  <a:gd name="connsiteY49" fmla="*/ 510 h 1043"/>
                  <a:gd name="connsiteX50" fmla="*/ 2928 w 5061"/>
                  <a:gd name="connsiteY50" fmla="*/ 452 h 1043"/>
                  <a:gd name="connsiteX51" fmla="*/ 2891 w 5061"/>
                  <a:gd name="connsiteY51" fmla="*/ 396 h 1043"/>
                  <a:gd name="connsiteX52" fmla="*/ 2854 w 5061"/>
                  <a:gd name="connsiteY52" fmla="*/ 342 h 1043"/>
                  <a:gd name="connsiteX53" fmla="*/ 2814 w 5061"/>
                  <a:gd name="connsiteY53" fmla="*/ 292 h 1043"/>
                  <a:gd name="connsiteX54" fmla="*/ 2773 w 5061"/>
                  <a:gd name="connsiteY54" fmla="*/ 247 h 1043"/>
                  <a:gd name="connsiteX55" fmla="*/ 2732 w 5061"/>
                  <a:gd name="connsiteY55" fmla="*/ 205 h 1043"/>
                  <a:gd name="connsiteX56" fmla="*/ 2686 w 5061"/>
                  <a:gd name="connsiteY56" fmla="*/ 168 h 1043"/>
                  <a:gd name="connsiteX57" fmla="*/ 2639 w 5061"/>
                  <a:gd name="connsiteY57" fmla="*/ 139 h 1043"/>
                  <a:gd name="connsiteX58" fmla="*/ 2587 w 5061"/>
                  <a:gd name="connsiteY58" fmla="*/ 116 h 1043"/>
                  <a:gd name="connsiteX59" fmla="*/ 2532 w 5061"/>
                  <a:gd name="connsiteY59" fmla="*/ 100 h 1043"/>
                  <a:gd name="connsiteX60" fmla="*/ 2474 w 5061"/>
                  <a:gd name="connsiteY60" fmla="*/ 91 h 1043"/>
                  <a:gd name="connsiteX61" fmla="*/ 2410 w 5061"/>
                  <a:gd name="connsiteY61" fmla="*/ 93 h 1043"/>
                  <a:gd name="connsiteX62" fmla="*/ 2342 w 5061"/>
                  <a:gd name="connsiteY62" fmla="*/ 104 h 1043"/>
                  <a:gd name="connsiteX63" fmla="*/ 2280 w 5061"/>
                  <a:gd name="connsiteY63" fmla="*/ 122 h 1043"/>
                  <a:gd name="connsiteX64" fmla="*/ 2222 w 5061"/>
                  <a:gd name="connsiteY64" fmla="*/ 147 h 1043"/>
                  <a:gd name="connsiteX65" fmla="*/ 2168 w 5061"/>
                  <a:gd name="connsiteY65" fmla="*/ 180 h 1043"/>
                  <a:gd name="connsiteX66" fmla="*/ 2117 w 5061"/>
                  <a:gd name="connsiteY66" fmla="*/ 218 h 1043"/>
                  <a:gd name="connsiteX67" fmla="*/ 2071 w 5061"/>
                  <a:gd name="connsiteY67" fmla="*/ 261 h 1043"/>
                  <a:gd name="connsiteX68" fmla="*/ 2026 w 5061"/>
                  <a:gd name="connsiteY68" fmla="*/ 307 h 1043"/>
                  <a:gd name="connsiteX69" fmla="*/ 1984 w 5061"/>
                  <a:gd name="connsiteY69" fmla="*/ 359 h 1043"/>
                  <a:gd name="connsiteX70" fmla="*/ 1945 w 5061"/>
                  <a:gd name="connsiteY70" fmla="*/ 413 h 1043"/>
                  <a:gd name="connsiteX71" fmla="*/ 1908 w 5061"/>
                  <a:gd name="connsiteY71" fmla="*/ 467 h 1043"/>
                  <a:gd name="connsiteX72" fmla="*/ 1871 w 5061"/>
                  <a:gd name="connsiteY72" fmla="*/ 523 h 1043"/>
                  <a:gd name="connsiteX73" fmla="*/ 1834 w 5061"/>
                  <a:gd name="connsiteY73" fmla="*/ 581 h 1043"/>
                  <a:gd name="connsiteX74" fmla="*/ 1799 w 5061"/>
                  <a:gd name="connsiteY74" fmla="*/ 637 h 1043"/>
                  <a:gd name="connsiteX75" fmla="*/ 1724 w 5061"/>
                  <a:gd name="connsiteY75" fmla="*/ 749 h 1043"/>
                  <a:gd name="connsiteX76" fmla="*/ 1685 w 5061"/>
                  <a:gd name="connsiteY76" fmla="*/ 801 h 1043"/>
                  <a:gd name="connsiteX77" fmla="*/ 1644 w 5061"/>
                  <a:gd name="connsiteY77" fmla="*/ 850 h 1043"/>
                  <a:gd name="connsiteX78" fmla="*/ 1600 w 5061"/>
                  <a:gd name="connsiteY78" fmla="*/ 896 h 1043"/>
                  <a:gd name="connsiteX79" fmla="*/ 1553 w 5061"/>
                  <a:gd name="connsiteY79" fmla="*/ 937 h 1043"/>
                  <a:gd name="connsiteX80" fmla="*/ 1503 w 5061"/>
                  <a:gd name="connsiteY80" fmla="*/ 973 h 1043"/>
                  <a:gd name="connsiteX81" fmla="*/ 1450 w 5061"/>
                  <a:gd name="connsiteY81" fmla="*/ 1002 h 1043"/>
                  <a:gd name="connsiteX82" fmla="*/ 1394 w 5061"/>
                  <a:gd name="connsiteY82" fmla="*/ 1025 h 1043"/>
                  <a:gd name="connsiteX83" fmla="*/ 1330 w 5061"/>
                  <a:gd name="connsiteY83" fmla="*/ 1037 h 1043"/>
                  <a:gd name="connsiteX84" fmla="*/ 1264 w 5061"/>
                  <a:gd name="connsiteY84" fmla="*/ 1043 h 1043"/>
                  <a:gd name="connsiteX85" fmla="*/ 1258 w 5061"/>
                  <a:gd name="connsiteY85" fmla="*/ 1043 h 1043"/>
                  <a:gd name="connsiteX86" fmla="*/ 1190 w 5061"/>
                  <a:gd name="connsiteY86" fmla="*/ 1039 h 1043"/>
                  <a:gd name="connsiteX87" fmla="*/ 1128 w 5061"/>
                  <a:gd name="connsiteY87" fmla="*/ 1027 h 1043"/>
                  <a:gd name="connsiteX88" fmla="*/ 1070 w 5061"/>
                  <a:gd name="connsiteY88" fmla="*/ 1008 h 1043"/>
                  <a:gd name="connsiteX89" fmla="*/ 1018 w 5061"/>
                  <a:gd name="connsiteY89" fmla="*/ 983 h 1043"/>
                  <a:gd name="connsiteX90" fmla="*/ 971 w 5061"/>
                  <a:gd name="connsiteY90" fmla="*/ 952 h 1043"/>
                  <a:gd name="connsiteX91" fmla="*/ 925 w 5061"/>
                  <a:gd name="connsiteY91" fmla="*/ 915 h 1043"/>
                  <a:gd name="connsiteX92" fmla="*/ 884 w 5061"/>
                  <a:gd name="connsiteY92" fmla="*/ 873 h 1043"/>
                  <a:gd name="connsiteX93" fmla="*/ 847 w 5061"/>
                  <a:gd name="connsiteY93" fmla="*/ 828 h 1043"/>
                  <a:gd name="connsiteX94" fmla="*/ 810 w 5061"/>
                  <a:gd name="connsiteY94" fmla="*/ 780 h 1043"/>
                  <a:gd name="connsiteX95" fmla="*/ 777 w 5061"/>
                  <a:gd name="connsiteY95" fmla="*/ 728 h 1043"/>
                  <a:gd name="connsiteX96" fmla="*/ 742 w 5061"/>
                  <a:gd name="connsiteY96" fmla="*/ 674 h 1043"/>
                  <a:gd name="connsiteX97" fmla="*/ 711 w 5061"/>
                  <a:gd name="connsiteY97" fmla="*/ 618 h 1043"/>
                  <a:gd name="connsiteX98" fmla="*/ 678 w 5061"/>
                  <a:gd name="connsiteY98" fmla="*/ 560 h 1043"/>
                  <a:gd name="connsiteX99" fmla="*/ 616 w 5061"/>
                  <a:gd name="connsiteY99" fmla="*/ 448 h 1043"/>
                  <a:gd name="connsiteX100" fmla="*/ 547 w 5061"/>
                  <a:gd name="connsiteY100" fmla="*/ 340 h 1043"/>
                  <a:gd name="connsiteX101" fmla="*/ 504 w 5061"/>
                  <a:gd name="connsiteY101" fmla="*/ 284 h 1043"/>
                  <a:gd name="connsiteX102" fmla="*/ 457 w 5061"/>
                  <a:gd name="connsiteY102" fmla="*/ 239 h 1043"/>
                  <a:gd name="connsiteX103" fmla="*/ 409 w 5061"/>
                  <a:gd name="connsiteY103" fmla="*/ 199 h 1043"/>
                  <a:gd name="connsiteX104" fmla="*/ 358 w 5061"/>
                  <a:gd name="connsiteY104" fmla="*/ 168 h 1043"/>
                  <a:gd name="connsiteX105" fmla="*/ 308 w 5061"/>
                  <a:gd name="connsiteY105" fmla="*/ 145 h 1043"/>
                  <a:gd name="connsiteX106" fmla="*/ 256 w 5061"/>
                  <a:gd name="connsiteY106" fmla="*/ 127 h 1043"/>
                  <a:gd name="connsiteX107" fmla="*/ 209 w 5061"/>
                  <a:gd name="connsiteY107" fmla="*/ 112 h 1043"/>
                  <a:gd name="connsiteX108" fmla="*/ 163 w 5061"/>
                  <a:gd name="connsiteY108" fmla="*/ 104 h 1043"/>
                  <a:gd name="connsiteX109" fmla="*/ 122 w 5061"/>
                  <a:gd name="connsiteY109" fmla="*/ 100 h 1043"/>
                  <a:gd name="connsiteX110" fmla="*/ 85 w 5061"/>
                  <a:gd name="connsiteY110" fmla="*/ 95 h 1043"/>
                  <a:gd name="connsiteX111" fmla="*/ 31 w 5061"/>
                  <a:gd name="connsiteY111" fmla="*/ 95 h 1043"/>
                  <a:gd name="connsiteX112" fmla="*/ 17 w 5061"/>
                  <a:gd name="connsiteY112" fmla="*/ 98 h 1043"/>
                  <a:gd name="connsiteX113" fmla="*/ 11 w 5061"/>
                  <a:gd name="connsiteY113" fmla="*/ 98 h 1043"/>
                  <a:gd name="connsiteX114" fmla="*/ 0 w 5061"/>
                  <a:gd name="connsiteY114" fmla="*/ 13 h 1043"/>
                  <a:gd name="connsiteX115" fmla="*/ 9 w 5061"/>
                  <a:gd name="connsiteY115" fmla="*/ 13 h 1043"/>
                  <a:gd name="connsiteX116" fmla="*/ 29 w 5061"/>
                  <a:gd name="connsiteY116" fmla="*/ 10 h 1043"/>
                  <a:gd name="connsiteX117" fmla="*/ 91 w 5061"/>
                  <a:gd name="connsiteY117" fmla="*/ 10 h 1043"/>
                  <a:gd name="connsiteX118" fmla="*/ 135 w 5061"/>
                  <a:gd name="connsiteY118" fmla="*/ 13 h 1043"/>
                  <a:gd name="connsiteX119" fmla="*/ 182 w 5061"/>
                  <a:gd name="connsiteY119" fmla="*/ 19 h 1043"/>
                  <a:gd name="connsiteX120" fmla="*/ 234 w 5061"/>
                  <a:gd name="connsiteY120" fmla="*/ 29 h 1043"/>
                  <a:gd name="connsiteX121" fmla="*/ 287 w 5061"/>
                  <a:gd name="connsiteY121" fmla="*/ 46 h 1043"/>
                  <a:gd name="connsiteX122" fmla="*/ 345 w 5061"/>
                  <a:gd name="connsiteY122" fmla="*/ 66 h 1043"/>
                  <a:gd name="connsiteX123" fmla="*/ 403 w 5061"/>
                  <a:gd name="connsiteY123" fmla="*/ 93 h 1043"/>
                  <a:gd name="connsiteX124" fmla="*/ 459 w 5061"/>
                  <a:gd name="connsiteY124" fmla="*/ 131 h 1043"/>
                  <a:gd name="connsiteX125" fmla="*/ 514 w 5061"/>
                  <a:gd name="connsiteY125" fmla="*/ 174 h 1043"/>
                  <a:gd name="connsiteX126" fmla="*/ 568 w 5061"/>
                  <a:gd name="connsiteY126" fmla="*/ 228 h 1043"/>
                  <a:gd name="connsiteX127" fmla="*/ 618 w 5061"/>
                  <a:gd name="connsiteY127" fmla="*/ 292 h 1043"/>
                  <a:gd name="connsiteX128" fmla="*/ 667 w 5061"/>
                  <a:gd name="connsiteY128" fmla="*/ 367 h 1043"/>
                  <a:gd name="connsiteX129" fmla="*/ 754 w 5061"/>
                  <a:gd name="connsiteY129" fmla="*/ 516 h 1043"/>
                  <a:gd name="connsiteX130" fmla="*/ 787 w 5061"/>
                  <a:gd name="connsiteY130" fmla="*/ 575 h 1043"/>
                  <a:gd name="connsiteX131" fmla="*/ 820 w 5061"/>
                  <a:gd name="connsiteY131" fmla="*/ 631 h 1043"/>
                  <a:gd name="connsiteX132" fmla="*/ 853 w 5061"/>
                  <a:gd name="connsiteY132" fmla="*/ 684 h 1043"/>
                  <a:gd name="connsiteX133" fmla="*/ 886 w 5061"/>
                  <a:gd name="connsiteY133" fmla="*/ 736 h 1043"/>
                  <a:gd name="connsiteX134" fmla="*/ 921 w 5061"/>
                  <a:gd name="connsiteY134" fmla="*/ 782 h 1043"/>
                  <a:gd name="connsiteX135" fmla="*/ 958 w 5061"/>
                  <a:gd name="connsiteY135" fmla="*/ 825 h 1043"/>
                  <a:gd name="connsiteX136" fmla="*/ 1000 w 5061"/>
                  <a:gd name="connsiteY136" fmla="*/ 863 h 1043"/>
                  <a:gd name="connsiteX137" fmla="*/ 1043 w 5061"/>
                  <a:gd name="connsiteY137" fmla="*/ 894 h 1043"/>
                  <a:gd name="connsiteX138" fmla="*/ 1090 w 5061"/>
                  <a:gd name="connsiteY138" fmla="*/ 921 h 1043"/>
                  <a:gd name="connsiteX139" fmla="*/ 1140 w 5061"/>
                  <a:gd name="connsiteY139" fmla="*/ 939 h 1043"/>
                  <a:gd name="connsiteX140" fmla="*/ 1196 w 5061"/>
                  <a:gd name="connsiteY140" fmla="*/ 952 h 1043"/>
                  <a:gd name="connsiteX141" fmla="*/ 1258 w 5061"/>
                  <a:gd name="connsiteY141" fmla="*/ 956 h 1043"/>
                  <a:gd name="connsiteX142" fmla="*/ 1264 w 5061"/>
                  <a:gd name="connsiteY142" fmla="*/ 956 h 1043"/>
                  <a:gd name="connsiteX143" fmla="*/ 1324 w 5061"/>
                  <a:gd name="connsiteY143" fmla="*/ 950 h 1043"/>
                  <a:gd name="connsiteX144" fmla="*/ 1380 w 5061"/>
                  <a:gd name="connsiteY144" fmla="*/ 935 h 1043"/>
                  <a:gd name="connsiteX145" fmla="*/ 1433 w 5061"/>
                  <a:gd name="connsiteY145" fmla="*/ 913 h 1043"/>
                  <a:gd name="connsiteX146" fmla="*/ 1481 w 5061"/>
                  <a:gd name="connsiteY146" fmla="*/ 884 h 1043"/>
                  <a:gd name="connsiteX147" fmla="*/ 1526 w 5061"/>
                  <a:gd name="connsiteY147" fmla="*/ 846 h 1043"/>
                  <a:gd name="connsiteX148" fmla="*/ 1569 w 5061"/>
                  <a:gd name="connsiteY148" fmla="*/ 803 h 1043"/>
                  <a:gd name="connsiteX149" fmla="*/ 1609 w 5061"/>
                  <a:gd name="connsiteY149" fmla="*/ 755 h 1043"/>
                  <a:gd name="connsiteX150" fmla="*/ 1648 w 5061"/>
                  <a:gd name="connsiteY150" fmla="*/ 703 h 1043"/>
                  <a:gd name="connsiteX151" fmla="*/ 1687 w 5061"/>
                  <a:gd name="connsiteY151" fmla="*/ 649 h 1043"/>
                  <a:gd name="connsiteX152" fmla="*/ 1799 w 5061"/>
                  <a:gd name="connsiteY152" fmla="*/ 475 h 1043"/>
                  <a:gd name="connsiteX153" fmla="*/ 1838 w 5061"/>
                  <a:gd name="connsiteY153" fmla="*/ 415 h 1043"/>
                  <a:gd name="connsiteX154" fmla="*/ 1879 w 5061"/>
                  <a:gd name="connsiteY154" fmla="*/ 357 h 1043"/>
                  <a:gd name="connsiteX155" fmla="*/ 1923 w 5061"/>
                  <a:gd name="connsiteY155" fmla="*/ 299 h 1043"/>
                  <a:gd name="connsiteX156" fmla="*/ 1968 w 5061"/>
                  <a:gd name="connsiteY156" fmla="*/ 245 h 1043"/>
                  <a:gd name="connsiteX157" fmla="*/ 2015 w 5061"/>
                  <a:gd name="connsiteY157" fmla="*/ 193 h 1043"/>
                  <a:gd name="connsiteX158" fmla="*/ 2069 w 5061"/>
                  <a:gd name="connsiteY158" fmla="*/ 145 h 1043"/>
                  <a:gd name="connsiteX159" fmla="*/ 2125 w 5061"/>
                  <a:gd name="connsiteY159" fmla="*/ 104 h 1043"/>
                  <a:gd name="connsiteX160" fmla="*/ 2187 w 5061"/>
                  <a:gd name="connsiteY160" fmla="*/ 69 h 1043"/>
                  <a:gd name="connsiteX161" fmla="*/ 2253 w 5061"/>
                  <a:gd name="connsiteY161" fmla="*/ 39 h 1043"/>
                  <a:gd name="connsiteX162" fmla="*/ 2325 w 5061"/>
                  <a:gd name="connsiteY162" fmla="*/ 19 h 1043"/>
                  <a:gd name="connsiteX163" fmla="*/ 2404 w 5061"/>
                  <a:gd name="connsiteY163" fmla="*/ 6 h 1043"/>
                  <a:gd name="connsiteX164" fmla="*/ 2474 w 5061"/>
                  <a:gd name="connsiteY164" fmla="*/ 4 h 1043"/>
                  <a:gd name="connsiteX165" fmla="*/ 2540 w 5061"/>
                  <a:gd name="connsiteY165" fmla="*/ 13 h 1043"/>
                  <a:gd name="connsiteX166" fmla="*/ 2600 w 5061"/>
                  <a:gd name="connsiteY166" fmla="*/ 27 h 1043"/>
                  <a:gd name="connsiteX167" fmla="*/ 2658 w 5061"/>
                  <a:gd name="connsiteY167" fmla="*/ 50 h 1043"/>
                  <a:gd name="connsiteX168" fmla="*/ 2711 w 5061"/>
                  <a:gd name="connsiteY168" fmla="*/ 81 h 1043"/>
                  <a:gd name="connsiteX169" fmla="*/ 2761 w 5061"/>
                  <a:gd name="connsiteY169" fmla="*/ 116 h 1043"/>
                  <a:gd name="connsiteX170" fmla="*/ 2806 w 5061"/>
                  <a:gd name="connsiteY170" fmla="*/ 158 h 1043"/>
                  <a:gd name="connsiteX171" fmla="*/ 2852 w 5061"/>
                  <a:gd name="connsiteY171" fmla="*/ 203 h 1043"/>
                  <a:gd name="connsiteX172" fmla="*/ 2893 w 5061"/>
                  <a:gd name="connsiteY172" fmla="*/ 251 h 1043"/>
                  <a:gd name="connsiteX173" fmla="*/ 2932 w 5061"/>
                  <a:gd name="connsiteY173" fmla="*/ 303 h 1043"/>
                  <a:gd name="connsiteX174" fmla="*/ 2969 w 5061"/>
                  <a:gd name="connsiteY174" fmla="*/ 357 h 1043"/>
                  <a:gd name="connsiteX175" fmla="*/ 3004 w 5061"/>
                  <a:gd name="connsiteY175" fmla="*/ 413 h 1043"/>
                  <a:gd name="connsiteX176" fmla="*/ 3039 w 5061"/>
                  <a:gd name="connsiteY176" fmla="*/ 467 h 1043"/>
                  <a:gd name="connsiteX177" fmla="*/ 3073 w 5061"/>
                  <a:gd name="connsiteY177" fmla="*/ 523 h 1043"/>
                  <a:gd name="connsiteX178" fmla="*/ 3110 w 5061"/>
                  <a:gd name="connsiteY178" fmla="*/ 585 h 1043"/>
                  <a:gd name="connsiteX179" fmla="*/ 3147 w 5061"/>
                  <a:gd name="connsiteY179" fmla="*/ 643 h 1043"/>
                  <a:gd name="connsiteX180" fmla="*/ 3186 w 5061"/>
                  <a:gd name="connsiteY180" fmla="*/ 701 h 1043"/>
                  <a:gd name="connsiteX181" fmla="*/ 3223 w 5061"/>
                  <a:gd name="connsiteY181" fmla="*/ 755 h 1043"/>
                  <a:gd name="connsiteX182" fmla="*/ 3265 w 5061"/>
                  <a:gd name="connsiteY182" fmla="*/ 805 h 1043"/>
                  <a:gd name="connsiteX183" fmla="*/ 3306 w 5061"/>
                  <a:gd name="connsiteY183" fmla="*/ 848 h 1043"/>
                  <a:gd name="connsiteX184" fmla="*/ 3349 w 5061"/>
                  <a:gd name="connsiteY184" fmla="*/ 886 h 1043"/>
                  <a:gd name="connsiteX185" fmla="*/ 3395 w 5061"/>
                  <a:gd name="connsiteY185" fmla="*/ 917 h 1043"/>
                  <a:gd name="connsiteX186" fmla="*/ 3444 w 5061"/>
                  <a:gd name="connsiteY186" fmla="*/ 939 h 1043"/>
                  <a:gd name="connsiteX187" fmla="*/ 3498 w 5061"/>
                  <a:gd name="connsiteY187" fmla="*/ 952 h 1043"/>
                  <a:gd name="connsiteX188" fmla="*/ 3554 w 5061"/>
                  <a:gd name="connsiteY188" fmla="*/ 956 h 1043"/>
                  <a:gd name="connsiteX189" fmla="*/ 3609 w 5061"/>
                  <a:gd name="connsiteY189" fmla="*/ 950 h 1043"/>
                  <a:gd name="connsiteX190" fmla="*/ 3659 w 5061"/>
                  <a:gd name="connsiteY190" fmla="*/ 935 h 1043"/>
                  <a:gd name="connsiteX191" fmla="*/ 3706 w 5061"/>
                  <a:gd name="connsiteY191" fmla="*/ 915 h 1043"/>
                  <a:gd name="connsiteX192" fmla="*/ 3750 w 5061"/>
                  <a:gd name="connsiteY192" fmla="*/ 884 h 1043"/>
                  <a:gd name="connsiteX193" fmla="*/ 3789 w 5061"/>
                  <a:gd name="connsiteY193" fmla="*/ 848 h 1043"/>
                  <a:gd name="connsiteX194" fmla="*/ 3826 w 5061"/>
                  <a:gd name="connsiteY194" fmla="*/ 807 h 1043"/>
                  <a:gd name="connsiteX195" fmla="*/ 3861 w 5061"/>
                  <a:gd name="connsiteY195" fmla="*/ 759 h 1043"/>
                  <a:gd name="connsiteX196" fmla="*/ 3894 w 5061"/>
                  <a:gd name="connsiteY196" fmla="*/ 709 h 1043"/>
                  <a:gd name="connsiteX197" fmla="*/ 3927 w 5061"/>
                  <a:gd name="connsiteY197" fmla="*/ 655 h 1043"/>
                  <a:gd name="connsiteX198" fmla="*/ 3960 w 5061"/>
                  <a:gd name="connsiteY198" fmla="*/ 597 h 1043"/>
                  <a:gd name="connsiteX199" fmla="*/ 3993 w 5061"/>
                  <a:gd name="connsiteY199" fmla="*/ 537 h 1043"/>
                  <a:gd name="connsiteX200" fmla="*/ 4022 w 5061"/>
                  <a:gd name="connsiteY200" fmla="*/ 483 h 1043"/>
                  <a:gd name="connsiteX201" fmla="*/ 4084 w 5061"/>
                  <a:gd name="connsiteY201" fmla="*/ 375 h 1043"/>
                  <a:gd name="connsiteX202" fmla="*/ 4154 w 5061"/>
                  <a:gd name="connsiteY202" fmla="*/ 272 h 1043"/>
                  <a:gd name="connsiteX203" fmla="*/ 4192 w 5061"/>
                  <a:gd name="connsiteY203" fmla="*/ 224 h 1043"/>
                  <a:gd name="connsiteX204" fmla="*/ 4233 w 5061"/>
                  <a:gd name="connsiteY204" fmla="*/ 178 h 1043"/>
                  <a:gd name="connsiteX205" fmla="*/ 4276 w 5061"/>
                  <a:gd name="connsiteY205" fmla="*/ 137 h 1043"/>
                  <a:gd name="connsiteX206" fmla="*/ 4324 w 5061"/>
                  <a:gd name="connsiteY206" fmla="*/ 100 h 1043"/>
                  <a:gd name="connsiteX207" fmla="*/ 4375 w 5061"/>
                  <a:gd name="connsiteY207" fmla="*/ 66 h 1043"/>
                  <a:gd name="connsiteX208" fmla="*/ 4433 w 5061"/>
                  <a:gd name="connsiteY208" fmla="*/ 39 h 1043"/>
                  <a:gd name="connsiteX209" fmla="*/ 4493 w 5061"/>
                  <a:gd name="connsiteY209" fmla="*/ 19 h 1043"/>
                  <a:gd name="connsiteX210" fmla="*/ 4559 w 5061"/>
                  <a:gd name="connsiteY210" fmla="*/ 6 h 1043"/>
                  <a:gd name="connsiteX211" fmla="*/ 4631 w 5061"/>
                  <a:gd name="connsiteY211" fmla="*/ 0 h 1043"/>
                  <a:gd name="connsiteX0" fmla="*/ 4631 w 5061"/>
                  <a:gd name="connsiteY0" fmla="*/ 0 h 1043"/>
                  <a:gd name="connsiteX1" fmla="*/ 4681 w 5061"/>
                  <a:gd name="connsiteY1" fmla="*/ 0 h 1043"/>
                  <a:gd name="connsiteX2" fmla="*/ 4710 w 5061"/>
                  <a:gd name="connsiteY2" fmla="*/ 4 h 1043"/>
                  <a:gd name="connsiteX3" fmla="*/ 4741 w 5061"/>
                  <a:gd name="connsiteY3" fmla="*/ 13 h 1043"/>
                  <a:gd name="connsiteX4" fmla="*/ 4778 w 5061"/>
                  <a:gd name="connsiteY4" fmla="*/ 23 h 1043"/>
                  <a:gd name="connsiteX5" fmla="*/ 4819 w 5061"/>
                  <a:gd name="connsiteY5" fmla="*/ 39 h 1043"/>
                  <a:gd name="connsiteX6" fmla="*/ 4863 w 5061"/>
                  <a:gd name="connsiteY6" fmla="*/ 60 h 1043"/>
                  <a:gd name="connsiteX7" fmla="*/ 4910 w 5061"/>
                  <a:gd name="connsiteY7" fmla="*/ 89 h 1043"/>
                  <a:gd name="connsiteX8" fmla="*/ 4960 w 5061"/>
                  <a:gd name="connsiteY8" fmla="*/ 124 h 1043"/>
                  <a:gd name="connsiteX9" fmla="*/ 5009 w 5061"/>
                  <a:gd name="connsiteY9" fmla="*/ 170 h 1043"/>
                  <a:gd name="connsiteX10" fmla="*/ 5061 w 5061"/>
                  <a:gd name="connsiteY10" fmla="*/ 224 h 1043"/>
                  <a:gd name="connsiteX11" fmla="*/ 4900 w 5061"/>
                  <a:gd name="connsiteY11" fmla="*/ 189 h 1043"/>
                  <a:gd name="connsiteX12" fmla="*/ 4770 w 5061"/>
                  <a:gd name="connsiteY12" fmla="*/ 112 h 1043"/>
                  <a:gd name="connsiteX13" fmla="*/ 4691 w 5061"/>
                  <a:gd name="connsiteY13" fmla="*/ 89 h 1043"/>
                  <a:gd name="connsiteX14" fmla="*/ 4662 w 5061"/>
                  <a:gd name="connsiteY14" fmla="*/ 87 h 1043"/>
                  <a:gd name="connsiteX15" fmla="*/ 4569 w 5061"/>
                  <a:gd name="connsiteY15" fmla="*/ 93 h 1043"/>
                  <a:gd name="connsiteX16" fmla="*/ 4507 w 5061"/>
                  <a:gd name="connsiteY16" fmla="*/ 106 h 1043"/>
                  <a:gd name="connsiteX17" fmla="*/ 4452 w 5061"/>
                  <a:gd name="connsiteY17" fmla="*/ 127 h 1043"/>
                  <a:gd name="connsiteX18" fmla="*/ 4400 w 5061"/>
                  <a:gd name="connsiteY18" fmla="*/ 154 h 1043"/>
                  <a:gd name="connsiteX19" fmla="*/ 4353 w 5061"/>
                  <a:gd name="connsiteY19" fmla="*/ 187 h 1043"/>
                  <a:gd name="connsiteX20" fmla="*/ 4309 w 5061"/>
                  <a:gd name="connsiteY20" fmla="*/ 224 h 1043"/>
                  <a:gd name="connsiteX21" fmla="*/ 4270 w 5061"/>
                  <a:gd name="connsiteY21" fmla="*/ 268 h 1043"/>
                  <a:gd name="connsiteX22" fmla="*/ 4231 w 5061"/>
                  <a:gd name="connsiteY22" fmla="*/ 313 h 1043"/>
                  <a:gd name="connsiteX23" fmla="*/ 4196 w 5061"/>
                  <a:gd name="connsiteY23" fmla="*/ 363 h 1043"/>
                  <a:gd name="connsiteX24" fmla="*/ 4163 w 5061"/>
                  <a:gd name="connsiteY24" fmla="*/ 415 h 1043"/>
                  <a:gd name="connsiteX25" fmla="*/ 4101 w 5061"/>
                  <a:gd name="connsiteY25" fmla="*/ 523 h 1043"/>
                  <a:gd name="connsiteX26" fmla="*/ 4008 w 5061"/>
                  <a:gd name="connsiteY26" fmla="*/ 691 h 1043"/>
                  <a:gd name="connsiteX27" fmla="*/ 3975 w 5061"/>
                  <a:gd name="connsiteY27" fmla="*/ 747 h 1043"/>
                  <a:gd name="connsiteX28" fmla="*/ 3940 w 5061"/>
                  <a:gd name="connsiteY28" fmla="*/ 798 h 1043"/>
                  <a:gd name="connsiteX29" fmla="*/ 3905 w 5061"/>
                  <a:gd name="connsiteY29" fmla="*/ 848 h 1043"/>
                  <a:gd name="connsiteX30" fmla="*/ 3865 w 5061"/>
                  <a:gd name="connsiteY30" fmla="*/ 894 h 1043"/>
                  <a:gd name="connsiteX31" fmla="*/ 3824 w 5061"/>
                  <a:gd name="connsiteY31" fmla="*/ 935 h 1043"/>
                  <a:gd name="connsiteX32" fmla="*/ 3779 w 5061"/>
                  <a:gd name="connsiteY32" fmla="*/ 971 h 1043"/>
                  <a:gd name="connsiteX33" fmla="*/ 3729 w 5061"/>
                  <a:gd name="connsiteY33" fmla="*/ 1000 h 1043"/>
                  <a:gd name="connsiteX34" fmla="*/ 3677 w 5061"/>
                  <a:gd name="connsiteY34" fmla="*/ 1022 h 1043"/>
                  <a:gd name="connsiteX35" fmla="*/ 3620 w 5061"/>
                  <a:gd name="connsiteY35" fmla="*/ 1037 h 1043"/>
                  <a:gd name="connsiteX36" fmla="*/ 3556 w 5061"/>
                  <a:gd name="connsiteY36" fmla="*/ 1043 h 1043"/>
                  <a:gd name="connsiteX37" fmla="*/ 3547 w 5061"/>
                  <a:gd name="connsiteY37" fmla="*/ 1043 h 1043"/>
                  <a:gd name="connsiteX38" fmla="*/ 3485 w 5061"/>
                  <a:gd name="connsiteY38" fmla="*/ 1039 h 1043"/>
                  <a:gd name="connsiteX39" fmla="*/ 3426 w 5061"/>
                  <a:gd name="connsiteY39" fmla="*/ 1025 h 1043"/>
                  <a:gd name="connsiteX40" fmla="*/ 3372 w 5061"/>
                  <a:gd name="connsiteY40" fmla="*/ 1002 h 1043"/>
                  <a:gd name="connsiteX41" fmla="*/ 3320 w 5061"/>
                  <a:gd name="connsiteY41" fmla="*/ 973 h 1043"/>
                  <a:gd name="connsiteX42" fmla="*/ 3273 w 5061"/>
                  <a:gd name="connsiteY42" fmla="*/ 935 h 1043"/>
                  <a:gd name="connsiteX43" fmla="*/ 3229 w 5061"/>
                  <a:gd name="connsiteY43" fmla="*/ 894 h 1043"/>
                  <a:gd name="connsiteX44" fmla="*/ 3186 w 5061"/>
                  <a:gd name="connsiteY44" fmla="*/ 846 h 1043"/>
                  <a:gd name="connsiteX45" fmla="*/ 3147 w 5061"/>
                  <a:gd name="connsiteY45" fmla="*/ 796 h 1043"/>
                  <a:gd name="connsiteX46" fmla="*/ 3108 w 5061"/>
                  <a:gd name="connsiteY46" fmla="*/ 740 h 1043"/>
                  <a:gd name="connsiteX47" fmla="*/ 3070 w 5061"/>
                  <a:gd name="connsiteY47" fmla="*/ 684 h 1043"/>
                  <a:gd name="connsiteX48" fmla="*/ 2965 w 5061"/>
                  <a:gd name="connsiteY48" fmla="*/ 510 h 1043"/>
                  <a:gd name="connsiteX49" fmla="*/ 2928 w 5061"/>
                  <a:gd name="connsiteY49" fmla="*/ 452 h 1043"/>
                  <a:gd name="connsiteX50" fmla="*/ 2891 w 5061"/>
                  <a:gd name="connsiteY50" fmla="*/ 396 h 1043"/>
                  <a:gd name="connsiteX51" fmla="*/ 2854 w 5061"/>
                  <a:gd name="connsiteY51" fmla="*/ 342 h 1043"/>
                  <a:gd name="connsiteX52" fmla="*/ 2814 w 5061"/>
                  <a:gd name="connsiteY52" fmla="*/ 292 h 1043"/>
                  <a:gd name="connsiteX53" fmla="*/ 2773 w 5061"/>
                  <a:gd name="connsiteY53" fmla="*/ 247 h 1043"/>
                  <a:gd name="connsiteX54" fmla="*/ 2732 w 5061"/>
                  <a:gd name="connsiteY54" fmla="*/ 205 h 1043"/>
                  <a:gd name="connsiteX55" fmla="*/ 2686 w 5061"/>
                  <a:gd name="connsiteY55" fmla="*/ 168 h 1043"/>
                  <a:gd name="connsiteX56" fmla="*/ 2639 w 5061"/>
                  <a:gd name="connsiteY56" fmla="*/ 139 h 1043"/>
                  <a:gd name="connsiteX57" fmla="*/ 2587 w 5061"/>
                  <a:gd name="connsiteY57" fmla="*/ 116 h 1043"/>
                  <a:gd name="connsiteX58" fmla="*/ 2532 w 5061"/>
                  <a:gd name="connsiteY58" fmla="*/ 100 h 1043"/>
                  <a:gd name="connsiteX59" fmla="*/ 2474 w 5061"/>
                  <a:gd name="connsiteY59" fmla="*/ 91 h 1043"/>
                  <a:gd name="connsiteX60" fmla="*/ 2410 w 5061"/>
                  <a:gd name="connsiteY60" fmla="*/ 93 h 1043"/>
                  <a:gd name="connsiteX61" fmla="*/ 2342 w 5061"/>
                  <a:gd name="connsiteY61" fmla="*/ 104 h 1043"/>
                  <a:gd name="connsiteX62" fmla="*/ 2280 w 5061"/>
                  <a:gd name="connsiteY62" fmla="*/ 122 h 1043"/>
                  <a:gd name="connsiteX63" fmla="*/ 2222 w 5061"/>
                  <a:gd name="connsiteY63" fmla="*/ 147 h 1043"/>
                  <a:gd name="connsiteX64" fmla="*/ 2168 w 5061"/>
                  <a:gd name="connsiteY64" fmla="*/ 180 h 1043"/>
                  <a:gd name="connsiteX65" fmla="*/ 2117 w 5061"/>
                  <a:gd name="connsiteY65" fmla="*/ 218 h 1043"/>
                  <a:gd name="connsiteX66" fmla="*/ 2071 w 5061"/>
                  <a:gd name="connsiteY66" fmla="*/ 261 h 1043"/>
                  <a:gd name="connsiteX67" fmla="*/ 2026 w 5061"/>
                  <a:gd name="connsiteY67" fmla="*/ 307 h 1043"/>
                  <a:gd name="connsiteX68" fmla="*/ 1984 w 5061"/>
                  <a:gd name="connsiteY68" fmla="*/ 359 h 1043"/>
                  <a:gd name="connsiteX69" fmla="*/ 1945 w 5061"/>
                  <a:gd name="connsiteY69" fmla="*/ 413 h 1043"/>
                  <a:gd name="connsiteX70" fmla="*/ 1908 w 5061"/>
                  <a:gd name="connsiteY70" fmla="*/ 467 h 1043"/>
                  <a:gd name="connsiteX71" fmla="*/ 1871 w 5061"/>
                  <a:gd name="connsiteY71" fmla="*/ 523 h 1043"/>
                  <a:gd name="connsiteX72" fmla="*/ 1834 w 5061"/>
                  <a:gd name="connsiteY72" fmla="*/ 581 h 1043"/>
                  <a:gd name="connsiteX73" fmla="*/ 1799 w 5061"/>
                  <a:gd name="connsiteY73" fmla="*/ 637 h 1043"/>
                  <a:gd name="connsiteX74" fmla="*/ 1724 w 5061"/>
                  <a:gd name="connsiteY74" fmla="*/ 749 h 1043"/>
                  <a:gd name="connsiteX75" fmla="*/ 1685 w 5061"/>
                  <a:gd name="connsiteY75" fmla="*/ 801 h 1043"/>
                  <a:gd name="connsiteX76" fmla="*/ 1644 w 5061"/>
                  <a:gd name="connsiteY76" fmla="*/ 850 h 1043"/>
                  <a:gd name="connsiteX77" fmla="*/ 1600 w 5061"/>
                  <a:gd name="connsiteY77" fmla="*/ 896 h 1043"/>
                  <a:gd name="connsiteX78" fmla="*/ 1553 w 5061"/>
                  <a:gd name="connsiteY78" fmla="*/ 937 h 1043"/>
                  <a:gd name="connsiteX79" fmla="*/ 1503 w 5061"/>
                  <a:gd name="connsiteY79" fmla="*/ 973 h 1043"/>
                  <a:gd name="connsiteX80" fmla="*/ 1450 w 5061"/>
                  <a:gd name="connsiteY80" fmla="*/ 1002 h 1043"/>
                  <a:gd name="connsiteX81" fmla="*/ 1394 w 5061"/>
                  <a:gd name="connsiteY81" fmla="*/ 1025 h 1043"/>
                  <a:gd name="connsiteX82" fmla="*/ 1330 w 5061"/>
                  <a:gd name="connsiteY82" fmla="*/ 1037 h 1043"/>
                  <a:gd name="connsiteX83" fmla="*/ 1264 w 5061"/>
                  <a:gd name="connsiteY83" fmla="*/ 1043 h 1043"/>
                  <a:gd name="connsiteX84" fmla="*/ 1258 w 5061"/>
                  <a:gd name="connsiteY84" fmla="*/ 1043 h 1043"/>
                  <a:gd name="connsiteX85" fmla="*/ 1190 w 5061"/>
                  <a:gd name="connsiteY85" fmla="*/ 1039 h 1043"/>
                  <a:gd name="connsiteX86" fmla="*/ 1128 w 5061"/>
                  <a:gd name="connsiteY86" fmla="*/ 1027 h 1043"/>
                  <a:gd name="connsiteX87" fmla="*/ 1070 w 5061"/>
                  <a:gd name="connsiteY87" fmla="*/ 1008 h 1043"/>
                  <a:gd name="connsiteX88" fmla="*/ 1018 w 5061"/>
                  <a:gd name="connsiteY88" fmla="*/ 983 h 1043"/>
                  <a:gd name="connsiteX89" fmla="*/ 971 w 5061"/>
                  <a:gd name="connsiteY89" fmla="*/ 952 h 1043"/>
                  <a:gd name="connsiteX90" fmla="*/ 925 w 5061"/>
                  <a:gd name="connsiteY90" fmla="*/ 915 h 1043"/>
                  <a:gd name="connsiteX91" fmla="*/ 884 w 5061"/>
                  <a:gd name="connsiteY91" fmla="*/ 873 h 1043"/>
                  <a:gd name="connsiteX92" fmla="*/ 847 w 5061"/>
                  <a:gd name="connsiteY92" fmla="*/ 828 h 1043"/>
                  <a:gd name="connsiteX93" fmla="*/ 810 w 5061"/>
                  <a:gd name="connsiteY93" fmla="*/ 780 h 1043"/>
                  <a:gd name="connsiteX94" fmla="*/ 777 w 5061"/>
                  <a:gd name="connsiteY94" fmla="*/ 728 h 1043"/>
                  <a:gd name="connsiteX95" fmla="*/ 742 w 5061"/>
                  <a:gd name="connsiteY95" fmla="*/ 674 h 1043"/>
                  <a:gd name="connsiteX96" fmla="*/ 711 w 5061"/>
                  <a:gd name="connsiteY96" fmla="*/ 618 h 1043"/>
                  <a:gd name="connsiteX97" fmla="*/ 678 w 5061"/>
                  <a:gd name="connsiteY97" fmla="*/ 560 h 1043"/>
                  <a:gd name="connsiteX98" fmla="*/ 616 w 5061"/>
                  <a:gd name="connsiteY98" fmla="*/ 448 h 1043"/>
                  <a:gd name="connsiteX99" fmla="*/ 547 w 5061"/>
                  <a:gd name="connsiteY99" fmla="*/ 340 h 1043"/>
                  <a:gd name="connsiteX100" fmla="*/ 504 w 5061"/>
                  <a:gd name="connsiteY100" fmla="*/ 284 h 1043"/>
                  <a:gd name="connsiteX101" fmla="*/ 457 w 5061"/>
                  <a:gd name="connsiteY101" fmla="*/ 239 h 1043"/>
                  <a:gd name="connsiteX102" fmla="*/ 409 w 5061"/>
                  <a:gd name="connsiteY102" fmla="*/ 199 h 1043"/>
                  <a:gd name="connsiteX103" fmla="*/ 358 w 5061"/>
                  <a:gd name="connsiteY103" fmla="*/ 168 h 1043"/>
                  <a:gd name="connsiteX104" fmla="*/ 308 w 5061"/>
                  <a:gd name="connsiteY104" fmla="*/ 145 h 1043"/>
                  <a:gd name="connsiteX105" fmla="*/ 256 w 5061"/>
                  <a:gd name="connsiteY105" fmla="*/ 127 h 1043"/>
                  <a:gd name="connsiteX106" fmla="*/ 209 w 5061"/>
                  <a:gd name="connsiteY106" fmla="*/ 112 h 1043"/>
                  <a:gd name="connsiteX107" fmla="*/ 163 w 5061"/>
                  <a:gd name="connsiteY107" fmla="*/ 104 h 1043"/>
                  <a:gd name="connsiteX108" fmla="*/ 122 w 5061"/>
                  <a:gd name="connsiteY108" fmla="*/ 100 h 1043"/>
                  <a:gd name="connsiteX109" fmla="*/ 85 w 5061"/>
                  <a:gd name="connsiteY109" fmla="*/ 95 h 1043"/>
                  <a:gd name="connsiteX110" fmla="*/ 31 w 5061"/>
                  <a:gd name="connsiteY110" fmla="*/ 95 h 1043"/>
                  <a:gd name="connsiteX111" fmla="*/ 17 w 5061"/>
                  <a:gd name="connsiteY111" fmla="*/ 98 h 1043"/>
                  <a:gd name="connsiteX112" fmla="*/ 11 w 5061"/>
                  <a:gd name="connsiteY112" fmla="*/ 98 h 1043"/>
                  <a:gd name="connsiteX113" fmla="*/ 0 w 5061"/>
                  <a:gd name="connsiteY113" fmla="*/ 13 h 1043"/>
                  <a:gd name="connsiteX114" fmla="*/ 9 w 5061"/>
                  <a:gd name="connsiteY114" fmla="*/ 13 h 1043"/>
                  <a:gd name="connsiteX115" fmla="*/ 29 w 5061"/>
                  <a:gd name="connsiteY115" fmla="*/ 10 h 1043"/>
                  <a:gd name="connsiteX116" fmla="*/ 91 w 5061"/>
                  <a:gd name="connsiteY116" fmla="*/ 10 h 1043"/>
                  <a:gd name="connsiteX117" fmla="*/ 135 w 5061"/>
                  <a:gd name="connsiteY117" fmla="*/ 13 h 1043"/>
                  <a:gd name="connsiteX118" fmla="*/ 182 w 5061"/>
                  <a:gd name="connsiteY118" fmla="*/ 19 h 1043"/>
                  <a:gd name="connsiteX119" fmla="*/ 234 w 5061"/>
                  <a:gd name="connsiteY119" fmla="*/ 29 h 1043"/>
                  <a:gd name="connsiteX120" fmla="*/ 287 w 5061"/>
                  <a:gd name="connsiteY120" fmla="*/ 46 h 1043"/>
                  <a:gd name="connsiteX121" fmla="*/ 345 w 5061"/>
                  <a:gd name="connsiteY121" fmla="*/ 66 h 1043"/>
                  <a:gd name="connsiteX122" fmla="*/ 403 w 5061"/>
                  <a:gd name="connsiteY122" fmla="*/ 93 h 1043"/>
                  <a:gd name="connsiteX123" fmla="*/ 459 w 5061"/>
                  <a:gd name="connsiteY123" fmla="*/ 131 h 1043"/>
                  <a:gd name="connsiteX124" fmla="*/ 514 w 5061"/>
                  <a:gd name="connsiteY124" fmla="*/ 174 h 1043"/>
                  <a:gd name="connsiteX125" fmla="*/ 568 w 5061"/>
                  <a:gd name="connsiteY125" fmla="*/ 228 h 1043"/>
                  <a:gd name="connsiteX126" fmla="*/ 618 w 5061"/>
                  <a:gd name="connsiteY126" fmla="*/ 292 h 1043"/>
                  <a:gd name="connsiteX127" fmla="*/ 667 w 5061"/>
                  <a:gd name="connsiteY127" fmla="*/ 367 h 1043"/>
                  <a:gd name="connsiteX128" fmla="*/ 754 w 5061"/>
                  <a:gd name="connsiteY128" fmla="*/ 516 h 1043"/>
                  <a:gd name="connsiteX129" fmla="*/ 787 w 5061"/>
                  <a:gd name="connsiteY129" fmla="*/ 575 h 1043"/>
                  <a:gd name="connsiteX130" fmla="*/ 820 w 5061"/>
                  <a:gd name="connsiteY130" fmla="*/ 631 h 1043"/>
                  <a:gd name="connsiteX131" fmla="*/ 853 w 5061"/>
                  <a:gd name="connsiteY131" fmla="*/ 684 h 1043"/>
                  <a:gd name="connsiteX132" fmla="*/ 886 w 5061"/>
                  <a:gd name="connsiteY132" fmla="*/ 736 h 1043"/>
                  <a:gd name="connsiteX133" fmla="*/ 921 w 5061"/>
                  <a:gd name="connsiteY133" fmla="*/ 782 h 1043"/>
                  <a:gd name="connsiteX134" fmla="*/ 958 w 5061"/>
                  <a:gd name="connsiteY134" fmla="*/ 825 h 1043"/>
                  <a:gd name="connsiteX135" fmla="*/ 1000 w 5061"/>
                  <a:gd name="connsiteY135" fmla="*/ 863 h 1043"/>
                  <a:gd name="connsiteX136" fmla="*/ 1043 w 5061"/>
                  <a:gd name="connsiteY136" fmla="*/ 894 h 1043"/>
                  <a:gd name="connsiteX137" fmla="*/ 1090 w 5061"/>
                  <a:gd name="connsiteY137" fmla="*/ 921 h 1043"/>
                  <a:gd name="connsiteX138" fmla="*/ 1140 w 5061"/>
                  <a:gd name="connsiteY138" fmla="*/ 939 h 1043"/>
                  <a:gd name="connsiteX139" fmla="*/ 1196 w 5061"/>
                  <a:gd name="connsiteY139" fmla="*/ 952 h 1043"/>
                  <a:gd name="connsiteX140" fmla="*/ 1258 w 5061"/>
                  <a:gd name="connsiteY140" fmla="*/ 956 h 1043"/>
                  <a:gd name="connsiteX141" fmla="*/ 1264 w 5061"/>
                  <a:gd name="connsiteY141" fmla="*/ 956 h 1043"/>
                  <a:gd name="connsiteX142" fmla="*/ 1324 w 5061"/>
                  <a:gd name="connsiteY142" fmla="*/ 950 h 1043"/>
                  <a:gd name="connsiteX143" fmla="*/ 1380 w 5061"/>
                  <a:gd name="connsiteY143" fmla="*/ 935 h 1043"/>
                  <a:gd name="connsiteX144" fmla="*/ 1433 w 5061"/>
                  <a:gd name="connsiteY144" fmla="*/ 913 h 1043"/>
                  <a:gd name="connsiteX145" fmla="*/ 1481 w 5061"/>
                  <a:gd name="connsiteY145" fmla="*/ 884 h 1043"/>
                  <a:gd name="connsiteX146" fmla="*/ 1526 w 5061"/>
                  <a:gd name="connsiteY146" fmla="*/ 846 h 1043"/>
                  <a:gd name="connsiteX147" fmla="*/ 1569 w 5061"/>
                  <a:gd name="connsiteY147" fmla="*/ 803 h 1043"/>
                  <a:gd name="connsiteX148" fmla="*/ 1609 w 5061"/>
                  <a:gd name="connsiteY148" fmla="*/ 755 h 1043"/>
                  <a:gd name="connsiteX149" fmla="*/ 1648 w 5061"/>
                  <a:gd name="connsiteY149" fmla="*/ 703 h 1043"/>
                  <a:gd name="connsiteX150" fmla="*/ 1687 w 5061"/>
                  <a:gd name="connsiteY150" fmla="*/ 649 h 1043"/>
                  <a:gd name="connsiteX151" fmla="*/ 1799 w 5061"/>
                  <a:gd name="connsiteY151" fmla="*/ 475 h 1043"/>
                  <a:gd name="connsiteX152" fmla="*/ 1838 w 5061"/>
                  <a:gd name="connsiteY152" fmla="*/ 415 h 1043"/>
                  <a:gd name="connsiteX153" fmla="*/ 1879 w 5061"/>
                  <a:gd name="connsiteY153" fmla="*/ 357 h 1043"/>
                  <a:gd name="connsiteX154" fmla="*/ 1923 w 5061"/>
                  <a:gd name="connsiteY154" fmla="*/ 299 h 1043"/>
                  <a:gd name="connsiteX155" fmla="*/ 1968 w 5061"/>
                  <a:gd name="connsiteY155" fmla="*/ 245 h 1043"/>
                  <a:gd name="connsiteX156" fmla="*/ 2015 w 5061"/>
                  <a:gd name="connsiteY156" fmla="*/ 193 h 1043"/>
                  <a:gd name="connsiteX157" fmla="*/ 2069 w 5061"/>
                  <a:gd name="connsiteY157" fmla="*/ 145 h 1043"/>
                  <a:gd name="connsiteX158" fmla="*/ 2125 w 5061"/>
                  <a:gd name="connsiteY158" fmla="*/ 104 h 1043"/>
                  <a:gd name="connsiteX159" fmla="*/ 2187 w 5061"/>
                  <a:gd name="connsiteY159" fmla="*/ 69 h 1043"/>
                  <a:gd name="connsiteX160" fmla="*/ 2253 w 5061"/>
                  <a:gd name="connsiteY160" fmla="*/ 39 h 1043"/>
                  <a:gd name="connsiteX161" fmla="*/ 2325 w 5061"/>
                  <a:gd name="connsiteY161" fmla="*/ 19 h 1043"/>
                  <a:gd name="connsiteX162" fmla="*/ 2404 w 5061"/>
                  <a:gd name="connsiteY162" fmla="*/ 6 h 1043"/>
                  <a:gd name="connsiteX163" fmla="*/ 2474 w 5061"/>
                  <a:gd name="connsiteY163" fmla="*/ 4 h 1043"/>
                  <a:gd name="connsiteX164" fmla="*/ 2540 w 5061"/>
                  <a:gd name="connsiteY164" fmla="*/ 13 h 1043"/>
                  <a:gd name="connsiteX165" fmla="*/ 2600 w 5061"/>
                  <a:gd name="connsiteY165" fmla="*/ 27 h 1043"/>
                  <a:gd name="connsiteX166" fmla="*/ 2658 w 5061"/>
                  <a:gd name="connsiteY166" fmla="*/ 50 h 1043"/>
                  <a:gd name="connsiteX167" fmla="*/ 2711 w 5061"/>
                  <a:gd name="connsiteY167" fmla="*/ 81 h 1043"/>
                  <a:gd name="connsiteX168" fmla="*/ 2761 w 5061"/>
                  <a:gd name="connsiteY168" fmla="*/ 116 h 1043"/>
                  <a:gd name="connsiteX169" fmla="*/ 2806 w 5061"/>
                  <a:gd name="connsiteY169" fmla="*/ 158 h 1043"/>
                  <a:gd name="connsiteX170" fmla="*/ 2852 w 5061"/>
                  <a:gd name="connsiteY170" fmla="*/ 203 h 1043"/>
                  <a:gd name="connsiteX171" fmla="*/ 2893 w 5061"/>
                  <a:gd name="connsiteY171" fmla="*/ 251 h 1043"/>
                  <a:gd name="connsiteX172" fmla="*/ 2932 w 5061"/>
                  <a:gd name="connsiteY172" fmla="*/ 303 h 1043"/>
                  <a:gd name="connsiteX173" fmla="*/ 2969 w 5061"/>
                  <a:gd name="connsiteY173" fmla="*/ 357 h 1043"/>
                  <a:gd name="connsiteX174" fmla="*/ 3004 w 5061"/>
                  <a:gd name="connsiteY174" fmla="*/ 413 h 1043"/>
                  <a:gd name="connsiteX175" fmla="*/ 3039 w 5061"/>
                  <a:gd name="connsiteY175" fmla="*/ 467 h 1043"/>
                  <a:gd name="connsiteX176" fmla="*/ 3073 w 5061"/>
                  <a:gd name="connsiteY176" fmla="*/ 523 h 1043"/>
                  <a:gd name="connsiteX177" fmla="*/ 3110 w 5061"/>
                  <a:gd name="connsiteY177" fmla="*/ 585 h 1043"/>
                  <a:gd name="connsiteX178" fmla="*/ 3147 w 5061"/>
                  <a:gd name="connsiteY178" fmla="*/ 643 h 1043"/>
                  <a:gd name="connsiteX179" fmla="*/ 3186 w 5061"/>
                  <a:gd name="connsiteY179" fmla="*/ 701 h 1043"/>
                  <a:gd name="connsiteX180" fmla="*/ 3223 w 5061"/>
                  <a:gd name="connsiteY180" fmla="*/ 755 h 1043"/>
                  <a:gd name="connsiteX181" fmla="*/ 3265 w 5061"/>
                  <a:gd name="connsiteY181" fmla="*/ 805 h 1043"/>
                  <a:gd name="connsiteX182" fmla="*/ 3306 w 5061"/>
                  <a:gd name="connsiteY182" fmla="*/ 848 h 1043"/>
                  <a:gd name="connsiteX183" fmla="*/ 3349 w 5061"/>
                  <a:gd name="connsiteY183" fmla="*/ 886 h 1043"/>
                  <a:gd name="connsiteX184" fmla="*/ 3395 w 5061"/>
                  <a:gd name="connsiteY184" fmla="*/ 917 h 1043"/>
                  <a:gd name="connsiteX185" fmla="*/ 3444 w 5061"/>
                  <a:gd name="connsiteY185" fmla="*/ 939 h 1043"/>
                  <a:gd name="connsiteX186" fmla="*/ 3498 w 5061"/>
                  <a:gd name="connsiteY186" fmla="*/ 952 h 1043"/>
                  <a:gd name="connsiteX187" fmla="*/ 3554 w 5061"/>
                  <a:gd name="connsiteY187" fmla="*/ 956 h 1043"/>
                  <a:gd name="connsiteX188" fmla="*/ 3609 w 5061"/>
                  <a:gd name="connsiteY188" fmla="*/ 950 h 1043"/>
                  <a:gd name="connsiteX189" fmla="*/ 3659 w 5061"/>
                  <a:gd name="connsiteY189" fmla="*/ 935 h 1043"/>
                  <a:gd name="connsiteX190" fmla="*/ 3706 w 5061"/>
                  <a:gd name="connsiteY190" fmla="*/ 915 h 1043"/>
                  <a:gd name="connsiteX191" fmla="*/ 3750 w 5061"/>
                  <a:gd name="connsiteY191" fmla="*/ 884 h 1043"/>
                  <a:gd name="connsiteX192" fmla="*/ 3789 w 5061"/>
                  <a:gd name="connsiteY192" fmla="*/ 848 h 1043"/>
                  <a:gd name="connsiteX193" fmla="*/ 3826 w 5061"/>
                  <a:gd name="connsiteY193" fmla="*/ 807 h 1043"/>
                  <a:gd name="connsiteX194" fmla="*/ 3861 w 5061"/>
                  <a:gd name="connsiteY194" fmla="*/ 759 h 1043"/>
                  <a:gd name="connsiteX195" fmla="*/ 3894 w 5061"/>
                  <a:gd name="connsiteY195" fmla="*/ 709 h 1043"/>
                  <a:gd name="connsiteX196" fmla="*/ 3927 w 5061"/>
                  <a:gd name="connsiteY196" fmla="*/ 655 h 1043"/>
                  <a:gd name="connsiteX197" fmla="*/ 3960 w 5061"/>
                  <a:gd name="connsiteY197" fmla="*/ 597 h 1043"/>
                  <a:gd name="connsiteX198" fmla="*/ 3993 w 5061"/>
                  <a:gd name="connsiteY198" fmla="*/ 537 h 1043"/>
                  <a:gd name="connsiteX199" fmla="*/ 4022 w 5061"/>
                  <a:gd name="connsiteY199" fmla="*/ 483 h 1043"/>
                  <a:gd name="connsiteX200" fmla="*/ 4084 w 5061"/>
                  <a:gd name="connsiteY200" fmla="*/ 375 h 1043"/>
                  <a:gd name="connsiteX201" fmla="*/ 4154 w 5061"/>
                  <a:gd name="connsiteY201" fmla="*/ 272 h 1043"/>
                  <a:gd name="connsiteX202" fmla="*/ 4192 w 5061"/>
                  <a:gd name="connsiteY202" fmla="*/ 224 h 1043"/>
                  <a:gd name="connsiteX203" fmla="*/ 4233 w 5061"/>
                  <a:gd name="connsiteY203" fmla="*/ 178 h 1043"/>
                  <a:gd name="connsiteX204" fmla="*/ 4276 w 5061"/>
                  <a:gd name="connsiteY204" fmla="*/ 137 h 1043"/>
                  <a:gd name="connsiteX205" fmla="*/ 4324 w 5061"/>
                  <a:gd name="connsiteY205" fmla="*/ 100 h 1043"/>
                  <a:gd name="connsiteX206" fmla="*/ 4375 w 5061"/>
                  <a:gd name="connsiteY206" fmla="*/ 66 h 1043"/>
                  <a:gd name="connsiteX207" fmla="*/ 4433 w 5061"/>
                  <a:gd name="connsiteY207" fmla="*/ 39 h 1043"/>
                  <a:gd name="connsiteX208" fmla="*/ 4493 w 5061"/>
                  <a:gd name="connsiteY208" fmla="*/ 19 h 1043"/>
                  <a:gd name="connsiteX209" fmla="*/ 4559 w 5061"/>
                  <a:gd name="connsiteY209" fmla="*/ 6 h 1043"/>
                  <a:gd name="connsiteX210" fmla="*/ 4631 w 5061"/>
                  <a:gd name="connsiteY210" fmla="*/ 0 h 1043"/>
                  <a:gd name="connsiteX0" fmla="*/ 4631 w 5061"/>
                  <a:gd name="connsiteY0" fmla="*/ 0 h 1043"/>
                  <a:gd name="connsiteX1" fmla="*/ 4681 w 5061"/>
                  <a:gd name="connsiteY1" fmla="*/ 0 h 1043"/>
                  <a:gd name="connsiteX2" fmla="*/ 4710 w 5061"/>
                  <a:gd name="connsiteY2" fmla="*/ 4 h 1043"/>
                  <a:gd name="connsiteX3" fmla="*/ 4741 w 5061"/>
                  <a:gd name="connsiteY3" fmla="*/ 13 h 1043"/>
                  <a:gd name="connsiteX4" fmla="*/ 4778 w 5061"/>
                  <a:gd name="connsiteY4" fmla="*/ 23 h 1043"/>
                  <a:gd name="connsiteX5" fmla="*/ 4819 w 5061"/>
                  <a:gd name="connsiteY5" fmla="*/ 39 h 1043"/>
                  <a:gd name="connsiteX6" fmla="*/ 4863 w 5061"/>
                  <a:gd name="connsiteY6" fmla="*/ 60 h 1043"/>
                  <a:gd name="connsiteX7" fmla="*/ 4910 w 5061"/>
                  <a:gd name="connsiteY7" fmla="*/ 89 h 1043"/>
                  <a:gd name="connsiteX8" fmla="*/ 4960 w 5061"/>
                  <a:gd name="connsiteY8" fmla="*/ 124 h 1043"/>
                  <a:gd name="connsiteX9" fmla="*/ 5009 w 5061"/>
                  <a:gd name="connsiteY9" fmla="*/ 170 h 1043"/>
                  <a:gd name="connsiteX10" fmla="*/ 5061 w 5061"/>
                  <a:gd name="connsiteY10" fmla="*/ 224 h 1043"/>
                  <a:gd name="connsiteX11" fmla="*/ 4900 w 5061"/>
                  <a:gd name="connsiteY11" fmla="*/ 189 h 1043"/>
                  <a:gd name="connsiteX12" fmla="*/ 4770 w 5061"/>
                  <a:gd name="connsiteY12" fmla="*/ 112 h 1043"/>
                  <a:gd name="connsiteX13" fmla="*/ 4691 w 5061"/>
                  <a:gd name="connsiteY13" fmla="*/ 89 h 1043"/>
                  <a:gd name="connsiteX14" fmla="*/ 4662 w 5061"/>
                  <a:gd name="connsiteY14" fmla="*/ 87 h 1043"/>
                  <a:gd name="connsiteX15" fmla="*/ 4507 w 5061"/>
                  <a:gd name="connsiteY15" fmla="*/ 106 h 1043"/>
                  <a:gd name="connsiteX16" fmla="*/ 4452 w 5061"/>
                  <a:gd name="connsiteY16" fmla="*/ 127 h 1043"/>
                  <a:gd name="connsiteX17" fmla="*/ 4400 w 5061"/>
                  <a:gd name="connsiteY17" fmla="*/ 154 h 1043"/>
                  <a:gd name="connsiteX18" fmla="*/ 4353 w 5061"/>
                  <a:gd name="connsiteY18" fmla="*/ 187 h 1043"/>
                  <a:gd name="connsiteX19" fmla="*/ 4309 w 5061"/>
                  <a:gd name="connsiteY19" fmla="*/ 224 h 1043"/>
                  <a:gd name="connsiteX20" fmla="*/ 4270 w 5061"/>
                  <a:gd name="connsiteY20" fmla="*/ 268 h 1043"/>
                  <a:gd name="connsiteX21" fmla="*/ 4231 w 5061"/>
                  <a:gd name="connsiteY21" fmla="*/ 313 h 1043"/>
                  <a:gd name="connsiteX22" fmla="*/ 4196 w 5061"/>
                  <a:gd name="connsiteY22" fmla="*/ 363 h 1043"/>
                  <a:gd name="connsiteX23" fmla="*/ 4163 w 5061"/>
                  <a:gd name="connsiteY23" fmla="*/ 415 h 1043"/>
                  <a:gd name="connsiteX24" fmla="*/ 4101 w 5061"/>
                  <a:gd name="connsiteY24" fmla="*/ 523 h 1043"/>
                  <a:gd name="connsiteX25" fmla="*/ 4008 w 5061"/>
                  <a:gd name="connsiteY25" fmla="*/ 691 h 1043"/>
                  <a:gd name="connsiteX26" fmla="*/ 3975 w 5061"/>
                  <a:gd name="connsiteY26" fmla="*/ 747 h 1043"/>
                  <a:gd name="connsiteX27" fmla="*/ 3940 w 5061"/>
                  <a:gd name="connsiteY27" fmla="*/ 798 h 1043"/>
                  <a:gd name="connsiteX28" fmla="*/ 3905 w 5061"/>
                  <a:gd name="connsiteY28" fmla="*/ 848 h 1043"/>
                  <a:gd name="connsiteX29" fmla="*/ 3865 w 5061"/>
                  <a:gd name="connsiteY29" fmla="*/ 894 h 1043"/>
                  <a:gd name="connsiteX30" fmla="*/ 3824 w 5061"/>
                  <a:gd name="connsiteY30" fmla="*/ 935 h 1043"/>
                  <a:gd name="connsiteX31" fmla="*/ 3779 w 5061"/>
                  <a:gd name="connsiteY31" fmla="*/ 971 h 1043"/>
                  <a:gd name="connsiteX32" fmla="*/ 3729 w 5061"/>
                  <a:gd name="connsiteY32" fmla="*/ 1000 h 1043"/>
                  <a:gd name="connsiteX33" fmla="*/ 3677 w 5061"/>
                  <a:gd name="connsiteY33" fmla="*/ 1022 h 1043"/>
                  <a:gd name="connsiteX34" fmla="*/ 3620 w 5061"/>
                  <a:gd name="connsiteY34" fmla="*/ 1037 h 1043"/>
                  <a:gd name="connsiteX35" fmla="*/ 3556 w 5061"/>
                  <a:gd name="connsiteY35" fmla="*/ 1043 h 1043"/>
                  <a:gd name="connsiteX36" fmla="*/ 3547 w 5061"/>
                  <a:gd name="connsiteY36" fmla="*/ 1043 h 1043"/>
                  <a:gd name="connsiteX37" fmla="*/ 3485 w 5061"/>
                  <a:gd name="connsiteY37" fmla="*/ 1039 h 1043"/>
                  <a:gd name="connsiteX38" fmla="*/ 3426 w 5061"/>
                  <a:gd name="connsiteY38" fmla="*/ 1025 h 1043"/>
                  <a:gd name="connsiteX39" fmla="*/ 3372 w 5061"/>
                  <a:gd name="connsiteY39" fmla="*/ 1002 h 1043"/>
                  <a:gd name="connsiteX40" fmla="*/ 3320 w 5061"/>
                  <a:gd name="connsiteY40" fmla="*/ 973 h 1043"/>
                  <a:gd name="connsiteX41" fmla="*/ 3273 w 5061"/>
                  <a:gd name="connsiteY41" fmla="*/ 935 h 1043"/>
                  <a:gd name="connsiteX42" fmla="*/ 3229 w 5061"/>
                  <a:gd name="connsiteY42" fmla="*/ 894 h 1043"/>
                  <a:gd name="connsiteX43" fmla="*/ 3186 w 5061"/>
                  <a:gd name="connsiteY43" fmla="*/ 846 h 1043"/>
                  <a:gd name="connsiteX44" fmla="*/ 3147 w 5061"/>
                  <a:gd name="connsiteY44" fmla="*/ 796 h 1043"/>
                  <a:gd name="connsiteX45" fmla="*/ 3108 w 5061"/>
                  <a:gd name="connsiteY45" fmla="*/ 740 h 1043"/>
                  <a:gd name="connsiteX46" fmla="*/ 3070 w 5061"/>
                  <a:gd name="connsiteY46" fmla="*/ 684 h 1043"/>
                  <a:gd name="connsiteX47" fmla="*/ 2965 w 5061"/>
                  <a:gd name="connsiteY47" fmla="*/ 510 h 1043"/>
                  <a:gd name="connsiteX48" fmla="*/ 2928 w 5061"/>
                  <a:gd name="connsiteY48" fmla="*/ 452 h 1043"/>
                  <a:gd name="connsiteX49" fmla="*/ 2891 w 5061"/>
                  <a:gd name="connsiteY49" fmla="*/ 396 h 1043"/>
                  <a:gd name="connsiteX50" fmla="*/ 2854 w 5061"/>
                  <a:gd name="connsiteY50" fmla="*/ 342 h 1043"/>
                  <a:gd name="connsiteX51" fmla="*/ 2814 w 5061"/>
                  <a:gd name="connsiteY51" fmla="*/ 292 h 1043"/>
                  <a:gd name="connsiteX52" fmla="*/ 2773 w 5061"/>
                  <a:gd name="connsiteY52" fmla="*/ 247 h 1043"/>
                  <a:gd name="connsiteX53" fmla="*/ 2732 w 5061"/>
                  <a:gd name="connsiteY53" fmla="*/ 205 h 1043"/>
                  <a:gd name="connsiteX54" fmla="*/ 2686 w 5061"/>
                  <a:gd name="connsiteY54" fmla="*/ 168 h 1043"/>
                  <a:gd name="connsiteX55" fmla="*/ 2639 w 5061"/>
                  <a:gd name="connsiteY55" fmla="*/ 139 h 1043"/>
                  <a:gd name="connsiteX56" fmla="*/ 2587 w 5061"/>
                  <a:gd name="connsiteY56" fmla="*/ 116 h 1043"/>
                  <a:gd name="connsiteX57" fmla="*/ 2532 w 5061"/>
                  <a:gd name="connsiteY57" fmla="*/ 100 h 1043"/>
                  <a:gd name="connsiteX58" fmla="*/ 2474 w 5061"/>
                  <a:gd name="connsiteY58" fmla="*/ 91 h 1043"/>
                  <a:gd name="connsiteX59" fmla="*/ 2410 w 5061"/>
                  <a:gd name="connsiteY59" fmla="*/ 93 h 1043"/>
                  <a:gd name="connsiteX60" fmla="*/ 2342 w 5061"/>
                  <a:gd name="connsiteY60" fmla="*/ 104 h 1043"/>
                  <a:gd name="connsiteX61" fmla="*/ 2280 w 5061"/>
                  <a:gd name="connsiteY61" fmla="*/ 122 h 1043"/>
                  <a:gd name="connsiteX62" fmla="*/ 2222 w 5061"/>
                  <a:gd name="connsiteY62" fmla="*/ 147 h 1043"/>
                  <a:gd name="connsiteX63" fmla="*/ 2168 w 5061"/>
                  <a:gd name="connsiteY63" fmla="*/ 180 h 1043"/>
                  <a:gd name="connsiteX64" fmla="*/ 2117 w 5061"/>
                  <a:gd name="connsiteY64" fmla="*/ 218 h 1043"/>
                  <a:gd name="connsiteX65" fmla="*/ 2071 w 5061"/>
                  <a:gd name="connsiteY65" fmla="*/ 261 h 1043"/>
                  <a:gd name="connsiteX66" fmla="*/ 2026 w 5061"/>
                  <a:gd name="connsiteY66" fmla="*/ 307 h 1043"/>
                  <a:gd name="connsiteX67" fmla="*/ 1984 w 5061"/>
                  <a:gd name="connsiteY67" fmla="*/ 359 h 1043"/>
                  <a:gd name="connsiteX68" fmla="*/ 1945 w 5061"/>
                  <a:gd name="connsiteY68" fmla="*/ 413 h 1043"/>
                  <a:gd name="connsiteX69" fmla="*/ 1908 w 5061"/>
                  <a:gd name="connsiteY69" fmla="*/ 467 h 1043"/>
                  <a:gd name="connsiteX70" fmla="*/ 1871 w 5061"/>
                  <a:gd name="connsiteY70" fmla="*/ 523 h 1043"/>
                  <a:gd name="connsiteX71" fmla="*/ 1834 w 5061"/>
                  <a:gd name="connsiteY71" fmla="*/ 581 h 1043"/>
                  <a:gd name="connsiteX72" fmla="*/ 1799 w 5061"/>
                  <a:gd name="connsiteY72" fmla="*/ 637 h 1043"/>
                  <a:gd name="connsiteX73" fmla="*/ 1724 w 5061"/>
                  <a:gd name="connsiteY73" fmla="*/ 749 h 1043"/>
                  <a:gd name="connsiteX74" fmla="*/ 1685 w 5061"/>
                  <a:gd name="connsiteY74" fmla="*/ 801 h 1043"/>
                  <a:gd name="connsiteX75" fmla="*/ 1644 w 5061"/>
                  <a:gd name="connsiteY75" fmla="*/ 850 h 1043"/>
                  <a:gd name="connsiteX76" fmla="*/ 1600 w 5061"/>
                  <a:gd name="connsiteY76" fmla="*/ 896 h 1043"/>
                  <a:gd name="connsiteX77" fmla="*/ 1553 w 5061"/>
                  <a:gd name="connsiteY77" fmla="*/ 937 h 1043"/>
                  <a:gd name="connsiteX78" fmla="*/ 1503 w 5061"/>
                  <a:gd name="connsiteY78" fmla="*/ 973 h 1043"/>
                  <a:gd name="connsiteX79" fmla="*/ 1450 w 5061"/>
                  <a:gd name="connsiteY79" fmla="*/ 1002 h 1043"/>
                  <a:gd name="connsiteX80" fmla="*/ 1394 w 5061"/>
                  <a:gd name="connsiteY80" fmla="*/ 1025 h 1043"/>
                  <a:gd name="connsiteX81" fmla="*/ 1330 w 5061"/>
                  <a:gd name="connsiteY81" fmla="*/ 1037 h 1043"/>
                  <a:gd name="connsiteX82" fmla="*/ 1264 w 5061"/>
                  <a:gd name="connsiteY82" fmla="*/ 1043 h 1043"/>
                  <a:gd name="connsiteX83" fmla="*/ 1258 w 5061"/>
                  <a:gd name="connsiteY83" fmla="*/ 1043 h 1043"/>
                  <a:gd name="connsiteX84" fmla="*/ 1190 w 5061"/>
                  <a:gd name="connsiteY84" fmla="*/ 1039 h 1043"/>
                  <a:gd name="connsiteX85" fmla="*/ 1128 w 5061"/>
                  <a:gd name="connsiteY85" fmla="*/ 1027 h 1043"/>
                  <a:gd name="connsiteX86" fmla="*/ 1070 w 5061"/>
                  <a:gd name="connsiteY86" fmla="*/ 1008 h 1043"/>
                  <a:gd name="connsiteX87" fmla="*/ 1018 w 5061"/>
                  <a:gd name="connsiteY87" fmla="*/ 983 h 1043"/>
                  <a:gd name="connsiteX88" fmla="*/ 971 w 5061"/>
                  <a:gd name="connsiteY88" fmla="*/ 952 h 1043"/>
                  <a:gd name="connsiteX89" fmla="*/ 925 w 5061"/>
                  <a:gd name="connsiteY89" fmla="*/ 915 h 1043"/>
                  <a:gd name="connsiteX90" fmla="*/ 884 w 5061"/>
                  <a:gd name="connsiteY90" fmla="*/ 873 h 1043"/>
                  <a:gd name="connsiteX91" fmla="*/ 847 w 5061"/>
                  <a:gd name="connsiteY91" fmla="*/ 828 h 1043"/>
                  <a:gd name="connsiteX92" fmla="*/ 810 w 5061"/>
                  <a:gd name="connsiteY92" fmla="*/ 780 h 1043"/>
                  <a:gd name="connsiteX93" fmla="*/ 777 w 5061"/>
                  <a:gd name="connsiteY93" fmla="*/ 728 h 1043"/>
                  <a:gd name="connsiteX94" fmla="*/ 742 w 5061"/>
                  <a:gd name="connsiteY94" fmla="*/ 674 h 1043"/>
                  <a:gd name="connsiteX95" fmla="*/ 711 w 5061"/>
                  <a:gd name="connsiteY95" fmla="*/ 618 h 1043"/>
                  <a:gd name="connsiteX96" fmla="*/ 678 w 5061"/>
                  <a:gd name="connsiteY96" fmla="*/ 560 h 1043"/>
                  <a:gd name="connsiteX97" fmla="*/ 616 w 5061"/>
                  <a:gd name="connsiteY97" fmla="*/ 448 h 1043"/>
                  <a:gd name="connsiteX98" fmla="*/ 547 w 5061"/>
                  <a:gd name="connsiteY98" fmla="*/ 340 h 1043"/>
                  <a:gd name="connsiteX99" fmla="*/ 504 w 5061"/>
                  <a:gd name="connsiteY99" fmla="*/ 284 h 1043"/>
                  <a:gd name="connsiteX100" fmla="*/ 457 w 5061"/>
                  <a:gd name="connsiteY100" fmla="*/ 239 h 1043"/>
                  <a:gd name="connsiteX101" fmla="*/ 409 w 5061"/>
                  <a:gd name="connsiteY101" fmla="*/ 199 h 1043"/>
                  <a:gd name="connsiteX102" fmla="*/ 358 w 5061"/>
                  <a:gd name="connsiteY102" fmla="*/ 168 h 1043"/>
                  <a:gd name="connsiteX103" fmla="*/ 308 w 5061"/>
                  <a:gd name="connsiteY103" fmla="*/ 145 h 1043"/>
                  <a:gd name="connsiteX104" fmla="*/ 256 w 5061"/>
                  <a:gd name="connsiteY104" fmla="*/ 127 h 1043"/>
                  <a:gd name="connsiteX105" fmla="*/ 209 w 5061"/>
                  <a:gd name="connsiteY105" fmla="*/ 112 h 1043"/>
                  <a:gd name="connsiteX106" fmla="*/ 163 w 5061"/>
                  <a:gd name="connsiteY106" fmla="*/ 104 h 1043"/>
                  <a:gd name="connsiteX107" fmla="*/ 122 w 5061"/>
                  <a:gd name="connsiteY107" fmla="*/ 100 h 1043"/>
                  <a:gd name="connsiteX108" fmla="*/ 85 w 5061"/>
                  <a:gd name="connsiteY108" fmla="*/ 95 h 1043"/>
                  <a:gd name="connsiteX109" fmla="*/ 31 w 5061"/>
                  <a:gd name="connsiteY109" fmla="*/ 95 h 1043"/>
                  <a:gd name="connsiteX110" fmla="*/ 17 w 5061"/>
                  <a:gd name="connsiteY110" fmla="*/ 98 h 1043"/>
                  <a:gd name="connsiteX111" fmla="*/ 11 w 5061"/>
                  <a:gd name="connsiteY111" fmla="*/ 98 h 1043"/>
                  <a:gd name="connsiteX112" fmla="*/ 0 w 5061"/>
                  <a:gd name="connsiteY112" fmla="*/ 13 h 1043"/>
                  <a:gd name="connsiteX113" fmla="*/ 9 w 5061"/>
                  <a:gd name="connsiteY113" fmla="*/ 13 h 1043"/>
                  <a:gd name="connsiteX114" fmla="*/ 29 w 5061"/>
                  <a:gd name="connsiteY114" fmla="*/ 10 h 1043"/>
                  <a:gd name="connsiteX115" fmla="*/ 91 w 5061"/>
                  <a:gd name="connsiteY115" fmla="*/ 10 h 1043"/>
                  <a:gd name="connsiteX116" fmla="*/ 135 w 5061"/>
                  <a:gd name="connsiteY116" fmla="*/ 13 h 1043"/>
                  <a:gd name="connsiteX117" fmla="*/ 182 w 5061"/>
                  <a:gd name="connsiteY117" fmla="*/ 19 h 1043"/>
                  <a:gd name="connsiteX118" fmla="*/ 234 w 5061"/>
                  <a:gd name="connsiteY118" fmla="*/ 29 h 1043"/>
                  <a:gd name="connsiteX119" fmla="*/ 287 w 5061"/>
                  <a:gd name="connsiteY119" fmla="*/ 46 h 1043"/>
                  <a:gd name="connsiteX120" fmla="*/ 345 w 5061"/>
                  <a:gd name="connsiteY120" fmla="*/ 66 h 1043"/>
                  <a:gd name="connsiteX121" fmla="*/ 403 w 5061"/>
                  <a:gd name="connsiteY121" fmla="*/ 93 h 1043"/>
                  <a:gd name="connsiteX122" fmla="*/ 459 w 5061"/>
                  <a:gd name="connsiteY122" fmla="*/ 131 h 1043"/>
                  <a:gd name="connsiteX123" fmla="*/ 514 w 5061"/>
                  <a:gd name="connsiteY123" fmla="*/ 174 h 1043"/>
                  <a:gd name="connsiteX124" fmla="*/ 568 w 5061"/>
                  <a:gd name="connsiteY124" fmla="*/ 228 h 1043"/>
                  <a:gd name="connsiteX125" fmla="*/ 618 w 5061"/>
                  <a:gd name="connsiteY125" fmla="*/ 292 h 1043"/>
                  <a:gd name="connsiteX126" fmla="*/ 667 w 5061"/>
                  <a:gd name="connsiteY126" fmla="*/ 367 h 1043"/>
                  <a:gd name="connsiteX127" fmla="*/ 754 w 5061"/>
                  <a:gd name="connsiteY127" fmla="*/ 516 h 1043"/>
                  <a:gd name="connsiteX128" fmla="*/ 787 w 5061"/>
                  <a:gd name="connsiteY128" fmla="*/ 575 h 1043"/>
                  <a:gd name="connsiteX129" fmla="*/ 820 w 5061"/>
                  <a:gd name="connsiteY129" fmla="*/ 631 h 1043"/>
                  <a:gd name="connsiteX130" fmla="*/ 853 w 5061"/>
                  <a:gd name="connsiteY130" fmla="*/ 684 h 1043"/>
                  <a:gd name="connsiteX131" fmla="*/ 886 w 5061"/>
                  <a:gd name="connsiteY131" fmla="*/ 736 h 1043"/>
                  <a:gd name="connsiteX132" fmla="*/ 921 w 5061"/>
                  <a:gd name="connsiteY132" fmla="*/ 782 h 1043"/>
                  <a:gd name="connsiteX133" fmla="*/ 958 w 5061"/>
                  <a:gd name="connsiteY133" fmla="*/ 825 h 1043"/>
                  <a:gd name="connsiteX134" fmla="*/ 1000 w 5061"/>
                  <a:gd name="connsiteY134" fmla="*/ 863 h 1043"/>
                  <a:gd name="connsiteX135" fmla="*/ 1043 w 5061"/>
                  <a:gd name="connsiteY135" fmla="*/ 894 h 1043"/>
                  <a:gd name="connsiteX136" fmla="*/ 1090 w 5061"/>
                  <a:gd name="connsiteY136" fmla="*/ 921 h 1043"/>
                  <a:gd name="connsiteX137" fmla="*/ 1140 w 5061"/>
                  <a:gd name="connsiteY137" fmla="*/ 939 h 1043"/>
                  <a:gd name="connsiteX138" fmla="*/ 1196 w 5061"/>
                  <a:gd name="connsiteY138" fmla="*/ 952 h 1043"/>
                  <a:gd name="connsiteX139" fmla="*/ 1258 w 5061"/>
                  <a:gd name="connsiteY139" fmla="*/ 956 h 1043"/>
                  <a:gd name="connsiteX140" fmla="*/ 1264 w 5061"/>
                  <a:gd name="connsiteY140" fmla="*/ 956 h 1043"/>
                  <a:gd name="connsiteX141" fmla="*/ 1324 w 5061"/>
                  <a:gd name="connsiteY141" fmla="*/ 950 h 1043"/>
                  <a:gd name="connsiteX142" fmla="*/ 1380 w 5061"/>
                  <a:gd name="connsiteY142" fmla="*/ 935 h 1043"/>
                  <a:gd name="connsiteX143" fmla="*/ 1433 w 5061"/>
                  <a:gd name="connsiteY143" fmla="*/ 913 h 1043"/>
                  <a:gd name="connsiteX144" fmla="*/ 1481 w 5061"/>
                  <a:gd name="connsiteY144" fmla="*/ 884 h 1043"/>
                  <a:gd name="connsiteX145" fmla="*/ 1526 w 5061"/>
                  <a:gd name="connsiteY145" fmla="*/ 846 h 1043"/>
                  <a:gd name="connsiteX146" fmla="*/ 1569 w 5061"/>
                  <a:gd name="connsiteY146" fmla="*/ 803 h 1043"/>
                  <a:gd name="connsiteX147" fmla="*/ 1609 w 5061"/>
                  <a:gd name="connsiteY147" fmla="*/ 755 h 1043"/>
                  <a:gd name="connsiteX148" fmla="*/ 1648 w 5061"/>
                  <a:gd name="connsiteY148" fmla="*/ 703 h 1043"/>
                  <a:gd name="connsiteX149" fmla="*/ 1687 w 5061"/>
                  <a:gd name="connsiteY149" fmla="*/ 649 h 1043"/>
                  <a:gd name="connsiteX150" fmla="*/ 1799 w 5061"/>
                  <a:gd name="connsiteY150" fmla="*/ 475 h 1043"/>
                  <a:gd name="connsiteX151" fmla="*/ 1838 w 5061"/>
                  <a:gd name="connsiteY151" fmla="*/ 415 h 1043"/>
                  <a:gd name="connsiteX152" fmla="*/ 1879 w 5061"/>
                  <a:gd name="connsiteY152" fmla="*/ 357 h 1043"/>
                  <a:gd name="connsiteX153" fmla="*/ 1923 w 5061"/>
                  <a:gd name="connsiteY153" fmla="*/ 299 h 1043"/>
                  <a:gd name="connsiteX154" fmla="*/ 1968 w 5061"/>
                  <a:gd name="connsiteY154" fmla="*/ 245 h 1043"/>
                  <a:gd name="connsiteX155" fmla="*/ 2015 w 5061"/>
                  <a:gd name="connsiteY155" fmla="*/ 193 h 1043"/>
                  <a:gd name="connsiteX156" fmla="*/ 2069 w 5061"/>
                  <a:gd name="connsiteY156" fmla="*/ 145 h 1043"/>
                  <a:gd name="connsiteX157" fmla="*/ 2125 w 5061"/>
                  <a:gd name="connsiteY157" fmla="*/ 104 h 1043"/>
                  <a:gd name="connsiteX158" fmla="*/ 2187 w 5061"/>
                  <a:gd name="connsiteY158" fmla="*/ 69 h 1043"/>
                  <a:gd name="connsiteX159" fmla="*/ 2253 w 5061"/>
                  <a:gd name="connsiteY159" fmla="*/ 39 h 1043"/>
                  <a:gd name="connsiteX160" fmla="*/ 2325 w 5061"/>
                  <a:gd name="connsiteY160" fmla="*/ 19 h 1043"/>
                  <a:gd name="connsiteX161" fmla="*/ 2404 w 5061"/>
                  <a:gd name="connsiteY161" fmla="*/ 6 h 1043"/>
                  <a:gd name="connsiteX162" fmla="*/ 2474 w 5061"/>
                  <a:gd name="connsiteY162" fmla="*/ 4 h 1043"/>
                  <a:gd name="connsiteX163" fmla="*/ 2540 w 5061"/>
                  <a:gd name="connsiteY163" fmla="*/ 13 h 1043"/>
                  <a:gd name="connsiteX164" fmla="*/ 2600 w 5061"/>
                  <a:gd name="connsiteY164" fmla="*/ 27 h 1043"/>
                  <a:gd name="connsiteX165" fmla="*/ 2658 w 5061"/>
                  <a:gd name="connsiteY165" fmla="*/ 50 h 1043"/>
                  <a:gd name="connsiteX166" fmla="*/ 2711 w 5061"/>
                  <a:gd name="connsiteY166" fmla="*/ 81 h 1043"/>
                  <a:gd name="connsiteX167" fmla="*/ 2761 w 5061"/>
                  <a:gd name="connsiteY167" fmla="*/ 116 h 1043"/>
                  <a:gd name="connsiteX168" fmla="*/ 2806 w 5061"/>
                  <a:gd name="connsiteY168" fmla="*/ 158 h 1043"/>
                  <a:gd name="connsiteX169" fmla="*/ 2852 w 5061"/>
                  <a:gd name="connsiteY169" fmla="*/ 203 h 1043"/>
                  <a:gd name="connsiteX170" fmla="*/ 2893 w 5061"/>
                  <a:gd name="connsiteY170" fmla="*/ 251 h 1043"/>
                  <a:gd name="connsiteX171" fmla="*/ 2932 w 5061"/>
                  <a:gd name="connsiteY171" fmla="*/ 303 h 1043"/>
                  <a:gd name="connsiteX172" fmla="*/ 2969 w 5061"/>
                  <a:gd name="connsiteY172" fmla="*/ 357 h 1043"/>
                  <a:gd name="connsiteX173" fmla="*/ 3004 w 5061"/>
                  <a:gd name="connsiteY173" fmla="*/ 413 h 1043"/>
                  <a:gd name="connsiteX174" fmla="*/ 3039 w 5061"/>
                  <a:gd name="connsiteY174" fmla="*/ 467 h 1043"/>
                  <a:gd name="connsiteX175" fmla="*/ 3073 w 5061"/>
                  <a:gd name="connsiteY175" fmla="*/ 523 h 1043"/>
                  <a:gd name="connsiteX176" fmla="*/ 3110 w 5061"/>
                  <a:gd name="connsiteY176" fmla="*/ 585 h 1043"/>
                  <a:gd name="connsiteX177" fmla="*/ 3147 w 5061"/>
                  <a:gd name="connsiteY177" fmla="*/ 643 h 1043"/>
                  <a:gd name="connsiteX178" fmla="*/ 3186 w 5061"/>
                  <a:gd name="connsiteY178" fmla="*/ 701 h 1043"/>
                  <a:gd name="connsiteX179" fmla="*/ 3223 w 5061"/>
                  <a:gd name="connsiteY179" fmla="*/ 755 h 1043"/>
                  <a:gd name="connsiteX180" fmla="*/ 3265 w 5061"/>
                  <a:gd name="connsiteY180" fmla="*/ 805 h 1043"/>
                  <a:gd name="connsiteX181" fmla="*/ 3306 w 5061"/>
                  <a:gd name="connsiteY181" fmla="*/ 848 h 1043"/>
                  <a:gd name="connsiteX182" fmla="*/ 3349 w 5061"/>
                  <a:gd name="connsiteY182" fmla="*/ 886 h 1043"/>
                  <a:gd name="connsiteX183" fmla="*/ 3395 w 5061"/>
                  <a:gd name="connsiteY183" fmla="*/ 917 h 1043"/>
                  <a:gd name="connsiteX184" fmla="*/ 3444 w 5061"/>
                  <a:gd name="connsiteY184" fmla="*/ 939 h 1043"/>
                  <a:gd name="connsiteX185" fmla="*/ 3498 w 5061"/>
                  <a:gd name="connsiteY185" fmla="*/ 952 h 1043"/>
                  <a:gd name="connsiteX186" fmla="*/ 3554 w 5061"/>
                  <a:gd name="connsiteY186" fmla="*/ 956 h 1043"/>
                  <a:gd name="connsiteX187" fmla="*/ 3609 w 5061"/>
                  <a:gd name="connsiteY187" fmla="*/ 950 h 1043"/>
                  <a:gd name="connsiteX188" fmla="*/ 3659 w 5061"/>
                  <a:gd name="connsiteY188" fmla="*/ 935 h 1043"/>
                  <a:gd name="connsiteX189" fmla="*/ 3706 w 5061"/>
                  <a:gd name="connsiteY189" fmla="*/ 915 h 1043"/>
                  <a:gd name="connsiteX190" fmla="*/ 3750 w 5061"/>
                  <a:gd name="connsiteY190" fmla="*/ 884 h 1043"/>
                  <a:gd name="connsiteX191" fmla="*/ 3789 w 5061"/>
                  <a:gd name="connsiteY191" fmla="*/ 848 h 1043"/>
                  <a:gd name="connsiteX192" fmla="*/ 3826 w 5061"/>
                  <a:gd name="connsiteY192" fmla="*/ 807 h 1043"/>
                  <a:gd name="connsiteX193" fmla="*/ 3861 w 5061"/>
                  <a:gd name="connsiteY193" fmla="*/ 759 h 1043"/>
                  <a:gd name="connsiteX194" fmla="*/ 3894 w 5061"/>
                  <a:gd name="connsiteY194" fmla="*/ 709 h 1043"/>
                  <a:gd name="connsiteX195" fmla="*/ 3927 w 5061"/>
                  <a:gd name="connsiteY195" fmla="*/ 655 h 1043"/>
                  <a:gd name="connsiteX196" fmla="*/ 3960 w 5061"/>
                  <a:gd name="connsiteY196" fmla="*/ 597 h 1043"/>
                  <a:gd name="connsiteX197" fmla="*/ 3993 w 5061"/>
                  <a:gd name="connsiteY197" fmla="*/ 537 h 1043"/>
                  <a:gd name="connsiteX198" fmla="*/ 4022 w 5061"/>
                  <a:gd name="connsiteY198" fmla="*/ 483 h 1043"/>
                  <a:gd name="connsiteX199" fmla="*/ 4084 w 5061"/>
                  <a:gd name="connsiteY199" fmla="*/ 375 h 1043"/>
                  <a:gd name="connsiteX200" fmla="*/ 4154 w 5061"/>
                  <a:gd name="connsiteY200" fmla="*/ 272 h 1043"/>
                  <a:gd name="connsiteX201" fmla="*/ 4192 w 5061"/>
                  <a:gd name="connsiteY201" fmla="*/ 224 h 1043"/>
                  <a:gd name="connsiteX202" fmla="*/ 4233 w 5061"/>
                  <a:gd name="connsiteY202" fmla="*/ 178 h 1043"/>
                  <a:gd name="connsiteX203" fmla="*/ 4276 w 5061"/>
                  <a:gd name="connsiteY203" fmla="*/ 137 h 1043"/>
                  <a:gd name="connsiteX204" fmla="*/ 4324 w 5061"/>
                  <a:gd name="connsiteY204" fmla="*/ 100 h 1043"/>
                  <a:gd name="connsiteX205" fmla="*/ 4375 w 5061"/>
                  <a:gd name="connsiteY205" fmla="*/ 66 h 1043"/>
                  <a:gd name="connsiteX206" fmla="*/ 4433 w 5061"/>
                  <a:gd name="connsiteY206" fmla="*/ 39 h 1043"/>
                  <a:gd name="connsiteX207" fmla="*/ 4493 w 5061"/>
                  <a:gd name="connsiteY207" fmla="*/ 19 h 1043"/>
                  <a:gd name="connsiteX208" fmla="*/ 4559 w 5061"/>
                  <a:gd name="connsiteY208" fmla="*/ 6 h 1043"/>
                  <a:gd name="connsiteX209" fmla="*/ 4631 w 5061"/>
                  <a:gd name="connsiteY209" fmla="*/ 0 h 1043"/>
                  <a:gd name="connsiteX0" fmla="*/ 4631 w 5061"/>
                  <a:gd name="connsiteY0" fmla="*/ 0 h 1043"/>
                  <a:gd name="connsiteX1" fmla="*/ 4681 w 5061"/>
                  <a:gd name="connsiteY1" fmla="*/ 0 h 1043"/>
                  <a:gd name="connsiteX2" fmla="*/ 4710 w 5061"/>
                  <a:gd name="connsiteY2" fmla="*/ 4 h 1043"/>
                  <a:gd name="connsiteX3" fmla="*/ 4741 w 5061"/>
                  <a:gd name="connsiteY3" fmla="*/ 13 h 1043"/>
                  <a:gd name="connsiteX4" fmla="*/ 4778 w 5061"/>
                  <a:gd name="connsiteY4" fmla="*/ 23 h 1043"/>
                  <a:gd name="connsiteX5" fmla="*/ 4819 w 5061"/>
                  <a:gd name="connsiteY5" fmla="*/ 39 h 1043"/>
                  <a:gd name="connsiteX6" fmla="*/ 4863 w 5061"/>
                  <a:gd name="connsiteY6" fmla="*/ 60 h 1043"/>
                  <a:gd name="connsiteX7" fmla="*/ 4910 w 5061"/>
                  <a:gd name="connsiteY7" fmla="*/ 89 h 1043"/>
                  <a:gd name="connsiteX8" fmla="*/ 4960 w 5061"/>
                  <a:gd name="connsiteY8" fmla="*/ 124 h 1043"/>
                  <a:gd name="connsiteX9" fmla="*/ 5009 w 5061"/>
                  <a:gd name="connsiteY9" fmla="*/ 170 h 1043"/>
                  <a:gd name="connsiteX10" fmla="*/ 5061 w 5061"/>
                  <a:gd name="connsiteY10" fmla="*/ 224 h 1043"/>
                  <a:gd name="connsiteX11" fmla="*/ 4900 w 5061"/>
                  <a:gd name="connsiteY11" fmla="*/ 189 h 1043"/>
                  <a:gd name="connsiteX12" fmla="*/ 4770 w 5061"/>
                  <a:gd name="connsiteY12" fmla="*/ 112 h 1043"/>
                  <a:gd name="connsiteX13" fmla="*/ 4691 w 5061"/>
                  <a:gd name="connsiteY13" fmla="*/ 89 h 1043"/>
                  <a:gd name="connsiteX14" fmla="*/ 4662 w 5061"/>
                  <a:gd name="connsiteY14" fmla="*/ 87 h 1043"/>
                  <a:gd name="connsiteX15" fmla="*/ 4507 w 5061"/>
                  <a:gd name="connsiteY15" fmla="*/ 106 h 1043"/>
                  <a:gd name="connsiteX16" fmla="*/ 4400 w 5061"/>
                  <a:gd name="connsiteY16" fmla="*/ 154 h 1043"/>
                  <a:gd name="connsiteX17" fmla="*/ 4353 w 5061"/>
                  <a:gd name="connsiteY17" fmla="*/ 187 h 1043"/>
                  <a:gd name="connsiteX18" fmla="*/ 4309 w 5061"/>
                  <a:gd name="connsiteY18" fmla="*/ 224 h 1043"/>
                  <a:gd name="connsiteX19" fmla="*/ 4270 w 5061"/>
                  <a:gd name="connsiteY19" fmla="*/ 268 h 1043"/>
                  <a:gd name="connsiteX20" fmla="*/ 4231 w 5061"/>
                  <a:gd name="connsiteY20" fmla="*/ 313 h 1043"/>
                  <a:gd name="connsiteX21" fmla="*/ 4196 w 5061"/>
                  <a:gd name="connsiteY21" fmla="*/ 363 h 1043"/>
                  <a:gd name="connsiteX22" fmla="*/ 4163 w 5061"/>
                  <a:gd name="connsiteY22" fmla="*/ 415 h 1043"/>
                  <a:gd name="connsiteX23" fmla="*/ 4101 w 5061"/>
                  <a:gd name="connsiteY23" fmla="*/ 523 h 1043"/>
                  <a:gd name="connsiteX24" fmla="*/ 4008 w 5061"/>
                  <a:gd name="connsiteY24" fmla="*/ 691 h 1043"/>
                  <a:gd name="connsiteX25" fmla="*/ 3975 w 5061"/>
                  <a:gd name="connsiteY25" fmla="*/ 747 h 1043"/>
                  <a:gd name="connsiteX26" fmla="*/ 3940 w 5061"/>
                  <a:gd name="connsiteY26" fmla="*/ 798 h 1043"/>
                  <a:gd name="connsiteX27" fmla="*/ 3905 w 5061"/>
                  <a:gd name="connsiteY27" fmla="*/ 848 h 1043"/>
                  <a:gd name="connsiteX28" fmla="*/ 3865 w 5061"/>
                  <a:gd name="connsiteY28" fmla="*/ 894 h 1043"/>
                  <a:gd name="connsiteX29" fmla="*/ 3824 w 5061"/>
                  <a:gd name="connsiteY29" fmla="*/ 935 h 1043"/>
                  <a:gd name="connsiteX30" fmla="*/ 3779 w 5061"/>
                  <a:gd name="connsiteY30" fmla="*/ 971 h 1043"/>
                  <a:gd name="connsiteX31" fmla="*/ 3729 w 5061"/>
                  <a:gd name="connsiteY31" fmla="*/ 1000 h 1043"/>
                  <a:gd name="connsiteX32" fmla="*/ 3677 w 5061"/>
                  <a:gd name="connsiteY32" fmla="*/ 1022 h 1043"/>
                  <a:gd name="connsiteX33" fmla="*/ 3620 w 5061"/>
                  <a:gd name="connsiteY33" fmla="*/ 1037 h 1043"/>
                  <a:gd name="connsiteX34" fmla="*/ 3556 w 5061"/>
                  <a:gd name="connsiteY34" fmla="*/ 1043 h 1043"/>
                  <a:gd name="connsiteX35" fmla="*/ 3547 w 5061"/>
                  <a:gd name="connsiteY35" fmla="*/ 1043 h 1043"/>
                  <a:gd name="connsiteX36" fmla="*/ 3485 w 5061"/>
                  <a:gd name="connsiteY36" fmla="*/ 1039 h 1043"/>
                  <a:gd name="connsiteX37" fmla="*/ 3426 w 5061"/>
                  <a:gd name="connsiteY37" fmla="*/ 1025 h 1043"/>
                  <a:gd name="connsiteX38" fmla="*/ 3372 w 5061"/>
                  <a:gd name="connsiteY38" fmla="*/ 1002 h 1043"/>
                  <a:gd name="connsiteX39" fmla="*/ 3320 w 5061"/>
                  <a:gd name="connsiteY39" fmla="*/ 973 h 1043"/>
                  <a:gd name="connsiteX40" fmla="*/ 3273 w 5061"/>
                  <a:gd name="connsiteY40" fmla="*/ 935 h 1043"/>
                  <a:gd name="connsiteX41" fmla="*/ 3229 w 5061"/>
                  <a:gd name="connsiteY41" fmla="*/ 894 h 1043"/>
                  <a:gd name="connsiteX42" fmla="*/ 3186 w 5061"/>
                  <a:gd name="connsiteY42" fmla="*/ 846 h 1043"/>
                  <a:gd name="connsiteX43" fmla="*/ 3147 w 5061"/>
                  <a:gd name="connsiteY43" fmla="*/ 796 h 1043"/>
                  <a:gd name="connsiteX44" fmla="*/ 3108 w 5061"/>
                  <a:gd name="connsiteY44" fmla="*/ 740 h 1043"/>
                  <a:gd name="connsiteX45" fmla="*/ 3070 w 5061"/>
                  <a:gd name="connsiteY45" fmla="*/ 684 h 1043"/>
                  <a:gd name="connsiteX46" fmla="*/ 2965 w 5061"/>
                  <a:gd name="connsiteY46" fmla="*/ 510 h 1043"/>
                  <a:gd name="connsiteX47" fmla="*/ 2928 w 5061"/>
                  <a:gd name="connsiteY47" fmla="*/ 452 h 1043"/>
                  <a:gd name="connsiteX48" fmla="*/ 2891 w 5061"/>
                  <a:gd name="connsiteY48" fmla="*/ 396 h 1043"/>
                  <a:gd name="connsiteX49" fmla="*/ 2854 w 5061"/>
                  <a:gd name="connsiteY49" fmla="*/ 342 h 1043"/>
                  <a:gd name="connsiteX50" fmla="*/ 2814 w 5061"/>
                  <a:gd name="connsiteY50" fmla="*/ 292 h 1043"/>
                  <a:gd name="connsiteX51" fmla="*/ 2773 w 5061"/>
                  <a:gd name="connsiteY51" fmla="*/ 247 h 1043"/>
                  <a:gd name="connsiteX52" fmla="*/ 2732 w 5061"/>
                  <a:gd name="connsiteY52" fmla="*/ 205 h 1043"/>
                  <a:gd name="connsiteX53" fmla="*/ 2686 w 5061"/>
                  <a:gd name="connsiteY53" fmla="*/ 168 h 1043"/>
                  <a:gd name="connsiteX54" fmla="*/ 2639 w 5061"/>
                  <a:gd name="connsiteY54" fmla="*/ 139 h 1043"/>
                  <a:gd name="connsiteX55" fmla="*/ 2587 w 5061"/>
                  <a:gd name="connsiteY55" fmla="*/ 116 h 1043"/>
                  <a:gd name="connsiteX56" fmla="*/ 2532 w 5061"/>
                  <a:gd name="connsiteY56" fmla="*/ 100 h 1043"/>
                  <a:gd name="connsiteX57" fmla="*/ 2474 w 5061"/>
                  <a:gd name="connsiteY57" fmla="*/ 91 h 1043"/>
                  <a:gd name="connsiteX58" fmla="*/ 2410 w 5061"/>
                  <a:gd name="connsiteY58" fmla="*/ 93 h 1043"/>
                  <a:gd name="connsiteX59" fmla="*/ 2342 w 5061"/>
                  <a:gd name="connsiteY59" fmla="*/ 104 h 1043"/>
                  <a:gd name="connsiteX60" fmla="*/ 2280 w 5061"/>
                  <a:gd name="connsiteY60" fmla="*/ 122 h 1043"/>
                  <a:gd name="connsiteX61" fmla="*/ 2222 w 5061"/>
                  <a:gd name="connsiteY61" fmla="*/ 147 h 1043"/>
                  <a:gd name="connsiteX62" fmla="*/ 2168 w 5061"/>
                  <a:gd name="connsiteY62" fmla="*/ 180 h 1043"/>
                  <a:gd name="connsiteX63" fmla="*/ 2117 w 5061"/>
                  <a:gd name="connsiteY63" fmla="*/ 218 h 1043"/>
                  <a:gd name="connsiteX64" fmla="*/ 2071 w 5061"/>
                  <a:gd name="connsiteY64" fmla="*/ 261 h 1043"/>
                  <a:gd name="connsiteX65" fmla="*/ 2026 w 5061"/>
                  <a:gd name="connsiteY65" fmla="*/ 307 h 1043"/>
                  <a:gd name="connsiteX66" fmla="*/ 1984 w 5061"/>
                  <a:gd name="connsiteY66" fmla="*/ 359 h 1043"/>
                  <a:gd name="connsiteX67" fmla="*/ 1945 w 5061"/>
                  <a:gd name="connsiteY67" fmla="*/ 413 h 1043"/>
                  <a:gd name="connsiteX68" fmla="*/ 1908 w 5061"/>
                  <a:gd name="connsiteY68" fmla="*/ 467 h 1043"/>
                  <a:gd name="connsiteX69" fmla="*/ 1871 w 5061"/>
                  <a:gd name="connsiteY69" fmla="*/ 523 h 1043"/>
                  <a:gd name="connsiteX70" fmla="*/ 1834 w 5061"/>
                  <a:gd name="connsiteY70" fmla="*/ 581 h 1043"/>
                  <a:gd name="connsiteX71" fmla="*/ 1799 w 5061"/>
                  <a:gd name="connsiteY71" fmla="*/ 637 h 1043"/>
                  <a:gd name="connsiteX72" fmla="*/ 1724 w 5061"/>
                  <a:gd name="connsiteY72" fmla="*/ 749 h 1043"/>
                  <a:gd name="connsiteX73" fmla="*/ 1685 w 5061"/>
                  <a:gd name="connsiteY73" fmla="*/ 801 h 1043"/>
                  <a:gd name="connsiteX74" fmla="*/ 1644 w 5061"/>
                  <a:gd name="connsiteY74" fmla="*/ 850 h 1043"/>
                  <a:gd name="connsiteX75" fmla="*/ 1600 w 5061"/>
                  <a:gd name="connsiteY75" fmla="*/ 896 h 1043"/>
                  <a:gd name="connsiteX76" fmla="*/ 1553 w 5061"/>
                  <a:gd name="connsiteY76" fmla="*/ 937 h 1043"/>
                  <a:gd name="connsiteX77" fmla="*/ 1503 w 5061"/>
                  <a:gd name="connsiteY77" fmla="*/ 973 h 1043"/>
                  <a:gd name="connsiteX78" fmla="*/ 1450 w 5061"/>
                  <a:gd name="connsiteY78" fmla="*/ 1002 h 1043"/>
                  <a:gd name="connsiteX79" fmla="*/ 1394 w 5061"/>
                  <a:gd name="connsiteY79" fmla="*/ 1025 h 1043"/>
                  <a:gd name="connsiteX80" fmla="*/ 1330 w 5061"/>
                  <a:gd name="connsiteY80" fmla="*/ 1037 h 1043"/>
                  <a:gd name="connsiteX81" fmla="*/ 1264 w 5061"/>
                  <a:gd name="connsiteY81" fmla="*/ 1043 h 1043"/>
                  <a:gd name="connsiteX82" fmla="*/ 1258 w 5061"/>
                  <a:gd name="connsiteY82" fmla="*/ 1043 h 1043"/>
                  <a:gd name="connsiteX83" fmla="*/ 1190 w 5061"/>
                  <a:gd name="connsiteY83" fmla="*/ 1039 h 1043"/>
                  <a:gd name="connsiteX84" fmla="*/ 1128 w 5061"/>
                  <a:gd name="connsiteY84" fmla="*/ 1027 h 1043"/>
                  <a:gd name="connsiteX85" fmla="*/ 1070 w 5061"/>
                  <a:gd name="connsiteY85" fmla="*/ 1008 h 1043"/>
                  <a:gd name="connsiteX86" fmla="*/ 1018 w 5061"/>
                  <a:gd name="connsiteY86" fmla="*/ 983 h 1043"/>
                  <a:gd name="connsiteX87" fmla="*/ 971 w 5061"/>
                  <a:gd name="connsiteY87" fmla="*/ 952 h 1043"/>
                  <a:gd name="connsiteX88" fmla="*/ 925 w 5061"/>
                  <a:gd name="connsiteY88" fmla="*/ 915 h 1043"/>
                  <a:gd name="connsiteX89" fmla="*/ 884 w 5061"/>
                  <a:gd name="connsiteY89" fmla="*/ 873 h 1043"/>
                  <a:gd name="connsiteX90" fmla="*/ 847 w 5061"/>
                  <a:gd name="connsiteY90" fmla="*/ 828 h 1043"/>
                  <a:gd name="connsiteX91" fmla="*/ 810 w 5061"/>
                  <a:gd name="connsiteY91" fmla="*/ 780 h 1043"/>
                  <a:gd name="connsiteX92" fmla="*/ 777 w 5061"/>
                  <a:gd name="connsiteY92" fmla="*/ 728 h 1043"/>
                  <a:gd name="connsiteX93" fmla="*/ 742 w 5061"/>
                  <a:gd name="connsiteY93" fmla="*/ 674 h 1043"/>
                  <a:gd name="connsiteX94" fmla="*/ 711 w 5061"/>
                  <a:gd name="connsiteY94" fmla="*/ 618 h 1043"/>
                  <a:gd name="connsiteX95" fmla="*/ 678 w 5061"/>
                  <a:gd name="connsiteY95" fmla="*/ 560 h 1043"/>
                  <a:gd name="connsiteX96" fmla="*/ 616 w 5061"/>
                  <a:gd name="connsiteY96" fmla="*/ 448 h 1043"/>
                  <a:gd name="connsiteX97" fmla="*/ 547 w 5061"/>
                  <a:gd name="connsiteY97" fmla="*/ 340 h 1043"/>
                  <a:gd name="connsiteX98" fmla="*/ 504 w 5061"/>
                  <a:gd name="connsiteY98" fmla="*/ 284 h 1043"/>
                  <a:gd name="connsiteX99" fmla="*/ 457 w 5061"/>
                  <a:gd name="connsiteY99" fmla="*/ 239 h 1043"/>
                  <a:gd name="connsiteX100" fmla="*/ 409 w 5061"/>
                  <a:gd name="connsiteY100" fmla="*/ 199 h 1043"/>
                  <a:gd name="connsiteX101" fmla="*/ 358 w 5061"/>
                  <a:gd name="connsiteY101" fmla="*/ 168 h 1043"/>
                  <a:gd name="connsiteX102" fmla="*/ 308 w 5061"/>
                  <a:gd name="connsiteY102" fmla="*/ 145 h 1043"/>
                  <a:gd name="connsiteX103" fmla="*/ 256 w 5061"/>
                  <a:gd name="connsiteY103" fmla="*/ 127 h 1043"/>
                  <a:gd name="connsiteX104" fmla="*/ 209 w 5061"/>
                  <a:gd name="connsiteY104" fmla="*/ 112 h 1043"/>
                  <a:gd name="connsiteX105" fmla="*/ 163 w 5061"/>
                  <a:gd name="connsiteY105" fmla="*/ 104 h 1043"/>
                  <a:gd name="connsiteX106" fmla="*/ 122 w 5061"/>
                  <a:gd name="connsiteY106" fmla="*/ 100 h 1043"/>
                  <a:gd name="connsiteX107" fmla="*/ 85 w 5061"/>
                  <a:gd name="connsiteY107" fmla="*/ 95 h 1043"/>
                  <a:gd name="connsiteX108" fmla="*/ 31 w 5061"/>
                  <a:gd name="connsiteY108" fmla="*/ 95 h 1043"/>
                  <a:gd name="connsiteX109" fmla="*/ 17 w 5061"/>
                  <a:gd name="connsiteY109" fmla="*/ 98 h 1043"/>
                  <a:gd name="connsiteX110" fmla="*/ 11 w 5061"/>
                  <a:gd name="connsiteY110" fmla="*/ 98 h 1043"/>
                  <a:gd name="connsiteX111" fmla="*/ 0 w 5061"/>
                  <a:gd name="connsiteY111" fmla="*/ 13 h 1043"/>
                  <a:gd name="connsiteX112" fmla="*/ 9 w 5061"/>
                  <a:gd name="connsiteY112" fmla="*/ 13 h 1043"/>
                  <a:gd name="connsiteX113" fmla="*/ 29 w 5061"/>
                  <a:gd name="connsiteY113" fmla="*/ 10 h 1043"/>
                  <a:gd name="connsiteX114" fmla="*/ 91 w 5061"/>
                  <a:gd name="connsiteY114" fmla="*/ 10 h 1043"/>
                  <a:gd name="connsiteX115" fmla="*/ 135 w 5061"/>
                  <a:gd name="connsiteY115" fmla="*/ 13 h 1043"/>
                  <a:gd name="connsiteX116" fmla="*/ 182 w 5061"/>
                  <a:gd name="connsiteY116" fmla="*/ 19 h 1043"/>
                  <a:gd name="connsiteX117" fmla="*/ 234 w 5061"/>
                  <a:gd name="connsiteY117" fmla="*/ 29 h 1043"/>
                  <a:gd name="connsiteX118" fmla="*/ 287 w 5061"/>
                  <a:gd name="connsiteY118" fmla="*/ 46 h 1043"/>
                  <a:gd name="connsiteX119" fmla="*/ 345 w 5061"/>
                  <a:gd name="connsiteY119" fmla="*/ 66 h 1043"/>
                  <a:gd name="connsiteX120" fmla="*/ 403 w 5061"/>
                  <a:gd name="connsiteY120" fmla="*/ 93 h 1043"/>
                  <a:gd name="connsiteX121" fmla="*/ 459 w 5061"/>
                  <a:gd name="connsiteY121" fmla="*/ 131 h 1043"/>
                  <a:gd name="connsiteX122" fmla="*/ 514 w 5061"/>
                  <a:gd name="connsiteY122" fmla="*/ 174 h 1043"/>
                  <a:gd name="connsiteX123" fmla="*/ 568 w 5061"/>
                  <a:gd name="connsiteY123" fmla="*/ 228 h 1043"/>
                  <a:gd name="connsiteX124" fmla="*/ 618 w 5061"/>
                  <a:gd name="connsiteY124" fmla="*/ 292 h 1043"/>
                  <a:gd name="connsiteX125" fmla="*/ 667 w 5061"/>
                  <a:gd name="connsiteY125" fmla="*/ 367 h 1043"/>
                  <a:gd name="connsiteX126" fmla="*/ 754 w 5061"/>
                  <a:gd name="connsiteY126" fmla="*/ 516 h 1043"/>
                  <a:gd name="connsiteX127" fmla="*/ 787 w 5061"/>
                  <a:gd name="connsiteY127" fmla="*/ 575 h 1043"/>
                  <a:gd name="connsiteX128" fmla="*/ 820 w 5061"/>
                  <a:gd name="connsiteY128" fmla="*/ 631 h 1043"/>
                  <a:gd name="connsiteX129" fmla="*/ 853 w 5061"/>
                  <a:gd name="connsiteY129" fmla="*/ 684 h 1043"/>
                  <a:gd name="connsiteX130" fmla="*/ 886 w 5061"/>
                  <a:gd name="connsiteY130" fmla="*/ 736 h 1043"/>
                  <a:gd name="connsiteX131" fmla="*/ 921 w 5061"/>
                  <a:gd name="connsiteY131" fmla="*/ 782 h 1043"/>
                  <a:gd name="connsiteX132" fmla="*/ 958 w 5061"/>
                  <a:gd name="connsiteY132" fmla="*/ 825 h 1043"/>
                  <a:gd name="connsiteX133" fmla="*/ 1000 w 5061"/>
                  <a:gd name="connsiteY133" fmla="*/ 863 h 1043"/>
                  <a:gd name="connsiteX134" fmla="*/ 1043 w 5061"/>
                  <a:gd name="connsiteY134" fmla="*/ 894 h 1043"/>
                  <a:gd name="connsiteX135" fmla="*/ 1090 w 5061"/>
                  <a:gd name="connsiteY135" fmla="*/ 921 h 1043"/>
                  <a:gd name="connsiteX136" fmla="*/ 1140 w 5061"/>
                  <a:gd name="connsiteY136" fmla="*/ 939 h 1043"/>
                  <a:gd name="connsiteX137" fmla="*/ 1196 w 5061"/>
                  <a:gd name="connsiteY137" fmla="*/ 952 h 1043"/>
                  <a:gd name="connsiteX138" fmla="*/ 1258 w 5061"/>
                  <a:gd name="connsiteY138" fmla="*/ 956 h 1043"/>
                  <a:gd name="connsiteX139" fmla="*/ 1264 w 5061"/>
                  <a:gd name="connsiteY139" fmla="*/ 956 h 1043"/>
                  <a:gd name="connsiteX140" fmla="*/ 1324 w 5061"/>
                  <a:gd name="connsiteY140" fmla="*/ 950 h 1043"/>
                  <a:gd name="connsiteX141" fmla="*/ 1380 w 5061"/>
                  <a:gd name="connsiteY141" fmla="*/ 935 h 1043"/>
                  <a:gd name="connsiteX142" fmla="*/ 1433 w 5061"/>
                  <a:gd name="connsiteY142" fmla="*/ 913 h 1043"/>
                  <a:gd name="connsiteX143" fmla="*/ 1481 w 5061"/>
                  <a:gd name="connsiteY143" fmla="*/ 884 h 1043"/>
                  <a:gd name="connsiteX144" fmla="*/ 1526 w 5061"/>
                  <a:gd name="connsiteY144" fmla="*/ 846 h 1043"/>
                  <a:gd name="connsiteX145" fmla="*/ 1569 w 5061"/>
                  <a:gd name="connsiteY145" fmla="*/ 803 h 1043"/>
                  <a:gd name="connsiteX146" fmla="*/ 1609 w 5061"/>
                  <a:gd name="connsiteY146" fmla="*/ 755 h 1043"/>
                  <a:gd name="connsiteX147" fmla="*/ 1648 w 5061"/>
                  <a:gd name="connsiteY147" fmla="*/ 703 h 1043"/>
                  <a:gd name="connsiteX148" fmla="*/ 1687 w 5061"/>
                  <a:gd name="connsiteY148" fmla="*/ 649 h 1043"/>
                  <a:gd name="connsiteX149" fmla="*/ 1799 w 5061"/>
                  <a:gd name="connsiteY149" fmla="*/ 475 h 1043"/>
                  <a:gd name="connsiteX150" fmla="*/ 1838 w 5061"/>
                  <a:gd name="connsiteY150" fmla="*/ 415 h 1043"/>
                  <a:gd name="connsiteX151" fmla="*/ 1879 w 5061"/>
                  <a:gd name="connsiteY151" fmla="*/ 357 h 1043"/>
                  <a:gd name="connsiteX152" fmla="*/ 1923 w 5061"/>
                  <a:gd name="connsiteY152" fmla="*/ 299 h 1043"/>
                  <a:gd name="connsiteX153" fmla="*/ 1968 w 5061"/>
                  <a:gd name="connsiteY153" fmla="*/ 245 h 1043"/>
                  <a:gd name="connsiteX154" fmla="*/ 2015 w 5061"/>
                  <a:gd name="connsiteY154" fmla="*/ 193 h 1043"/>
                  <a:gd name="connsiteX155" fmla="*/ 2069 w 5061"/>
                  <a:gd name="connsiteY155" fmla="*/ 145 h 1043"/>
                  <a:gd name="connsiteX156" fmla="*/ 2125 w 5061"/>
                  <a:gd name="connsiteY156" fmla="*/ 104 h 1043"/>
                  <a:gd name="connsiteX157" fmla="*/ 2187 w 5061"/>
                  <a:gd name="connsiteY157" fmla="*/ 69 h 1043"/>
                  <a:gd name="connsiteX158" fmla="*/ 2253 w 5061"/>
                  <a:gd name="connsiteY158" fmla="*/ 39 h 1043"/>
                  <a:gd name="connsiteX159" fmla="*/ 2325 w 5061"/>
                  <a:gd name="connsiteY159" fmla="*/ 19 h 1043"/>
                  <a:gd name="connsiteX160" fmla="*/ 2404 w 5061"/>
                  <a:gd name="connsiteY160" fmla="*/ 6 h 1043"/>
                  <a:gd name="connsiteX161" fmla="*/ 2474 w 5061"/>
                  <a:gd name="connsiteY161" fmla="*/ 4 h 1043"/>
                  <a:gd name="connsiteX162" fmla="*/ 2540 w 5061"/>
                  <a:gd name="connsiteY162" fmla="*/ 13 h 1043"/>
                  <a:gd name="connsiteX163" fmla="*/ 2600 w 5061"/>
                  <a:gd name="connsiteY163" fmla="*/ 27 h 1043"/>
                  <a:gd name="connsiteX164" fmla="*/ 2658 w 5061"/>
                  <a:gd name="connsiteY164" fmla="*/ 50 h 1043"/>
                  <a:gd name="connsiteX165" fmla="*/ 2711 w 5061"/>
                  <a:gd name="connsiteY165" fmla="*/ 81 h 1043"/>
                  <a:gd name="connsiteX166" fmla="*/ 2761 w 5061"/>
                  <a:gd name="connsiteY166" fmla="*/ 116 h 1043"/>
                  <a:gd name="connsiteX167" fmla="*/ 2806 w 5061"/>
                  <a:gd name="connsiteY167" fmla="*/ 158 h 1043"/>
                  <a:gd name="connsiteX168" fmla="*/ 2852 w 5061"/>
                  <a:gd name="connsiteY168" fmla="*/ 203 h 1043"/>
                  <a:gd name="connsiteX169" fmla="*/ 2893 w 5061"/>
                  <a:gd name="connsiteY169" fmla="*/ 251 h 1043"/>
                  <a:gd name="connsiteX170" fmla="*/ 2932 w 5061"/>
                  <a:gd name="connsiteY170" fmla="*/ 303 h 1043"/>
                  <a:gd name="connsiteX171" fmla="*/ 2969 w 5061"/>
                  <a:gd name="connsiteY171" fmla="*/ 357 h 1043"/>
                  <a:gd name="connsiteX172" fmla="*/ 3004 w 5061"/>
                  <a:gd name="connsiteY172" fmla="*/ 413 h 1043"/>
                  <a:gd name="connsiteX173" fmla="*/ 3039 w 5061"/>
                  <a:gd name="connsiteY173" fmla="*/ 467 h 1043"/>
                  <a:gd name="connsiteX174" fmla="*/ 3073 w 5061"/>
                  <a:gd name="connsiteY174" fmla="*/ 523 h 1043"/>
                  <a:gd name="connsiteX175" fmla="*/ 3110 w 5061"/>
                  <a:gd name="connsiteY175" fmla="*/ 585 h 1043"/>
                  <a:gd name="connsiteX176" fmla="*/ 3147 w 5061"/>
                  <a:gd name="connsiteY176" fmla="*/ 643 h 1043"/>
                  <a:gd name="connsiteX177" fmla="*/ 3186 w 5061"/>
                  <a:gd name="connsiteY177" fmla="*/ 701 h 1043"/>
                  <a:gd name="connsiteX178" fmla="*/ 3223 w 5061"/>
                  <a:gd name="connsiteY178" fmla="*/ 755 h 1043"/>
                  <a:gd name="connsiteX179" fmla="*/ 3265 w 5061"/>
                  <a:gd name="connsiteY179" fmla="*/ 805 h 1043"/>
                  <a:gd name="connsiteX180" fmla="*/ 3306 w 5061"/>
                  <a:gd name="connsiteY180" fmla="*/ 848 h 1043"/>
                  <a:gd name="connsiteX181" fmla="*/ 3349 w 5061"/>
                  <a:gd name="connsiteY181" fmla="*/ 886 h 1043"/>
                  <a:gd name="connsiteX182" fmla="*/ 3395 w 5061"/>
                  <a:gd name="connsiteY182" fmla="*/ 917 h 1043"/>
                  <a:gd name="connsiteX183" fmla="*/ 3444 w 5061"/>
                  <a:gd name="connsiteY183" fmla="*/ 939 h 1043"/>
                  <a:gd name="connsiteX184" fmla="*/ 3498 w 5061"/>
                  <a:gd name="connsiteY184" fmla="*/ 952 h 1043"/>
                  <a:gd name="connsiteX185" fmla="*/ 3554 w 5061"/>
                  <a:gd name="connsiteY185" fmla="*/ 956 h 1043"/>
                  <a:gd name="connsiteX186" fmla="*/ 3609 w 5061"/>
                  <a:gd name="connsiteY186" fmla="*/ 950 h 1043"/>
                  <a:gd name="connsiteX187" fmla="*/ 3659 w 5061"/>
                  <a:gd name="connsiteY187" fmla="*/ 935 h 1043"/>
                  <a:gd name="connsiteX188" fmla="*/ 3706 w 5061"/>
                  <a:gd name="connsiteY188" fmla="*/ 915 h 1043"/>
                  <a:gd name="connsiteX189" fmla="*/ 3750 w 5061"/>
                  <a:gd name="connsiteY189" fmla="*/ 884 h 1043"/>
                  <a:gd name="connsiteX190" fmla="*/ 3789 w 5061"/>
                  <a:gd name="connsiteY190" fmla="*/ 848 h 1043"/>
                  <a:gd name="connsiteX191" fmla="*/ 3826 w 5061"/>
                  <a:gd name="connsiteY191" fmla="*/ 807 h 1043"/>
                  <a:gd name="connsiteX192" fmla="*/ 3861 w 5061"/>
                  <a:gd name="connsiteY192" fmla="*/ 759 h 1043"/>
                  <a:gd name="connsiteX193" fmla="*/ 3894 w 5061"/>
                  <a:gd name="connsiteY193" fmla="*/ 709 h 1043"/>
                  <a:gd name="connsiteX194" fmla="*/ 3927 w 5061"/>
                  <a:gd name="connsiteY194" fmla="*/ 655 h 1043"/>
                  <a:gd name="connsiteX195" fmla="*/ 3960 w 5061"/>
                  <a:gd name="connsiteY195" fmla="*/ 597 h 1043"/>
                  <a:gd name="connsiteX196" fmla="*/ 3993 w 5061"/>
                  <a:gd name="connsiteY196" fmla="*/ 537 h 1043"/>
                  <a:gd name="connsiteX197" fmla="*/ 4022 w 5061"/>
                  <a:gd name="connsiteY197" fmla="*/ 483 h 1043"/>
                  <a:gd name="connsiteX198" fmla="*/ 4084 w 5061"/>
                  <a:gd name="connsiteY198" fmla="*/ 375 h 1043"/>
                  <a:gd name="connsiteX199" fmla="*/ 4154 w 5061"/>
                  <a:gd name="connsiteY199" fmla="*/ 272 h 1043"/>
                  <a:gd name="connsiteX200" fmla="*/ 4192 w 5061"/>
                  <a:gd name="connsiteY200" fmla="*/ 224 h 1043"/>
                  <a:gd name="connsiteX201" fmla="*/ 4233 w 5061"/>
                  <a:gd name="connsiteY201" fmla="*/ 178 h 1043"/>
                  <a:gd name="connsiteX202" fmla="*/ 4276 w 5061"/>
                  <a:gd name="connsiteY202" fmla="*/ 137 h 1043"/>
                  <a:gd name="connsiteX203" fmla="*/ 4324 w 5061"/>
                  <a:gd name="connsiteY203" fmla="*/ 100 h 1043"/>
                  <a:gd name="connsiteX204" fmla="*/ 4375 w 5061"/>
                  <a:gd name="connsiteY204" fmla="*/ 66 h 1043"/>
                  <a:gd name="connsiteX205" fmla="*/ 4433 w 5061"/>
                  <a:gd name="connsiteY205" fmla="*/ 39 h 1043"/>
                  <a:gd name="connsiteX206" fmla="*/ 4493 w 5061"/>
                  <a:gd name="connsiteY206" fmla="*/ 19 h 1043"/>
                  <a:gd name="connsiteX207" fmla="*/ 4559 w 5061"/>
                  <a:gd name="connsiteY207" fmla="*/ 6 h 1043"/>
                  <a:gd name="connsiteX208" fmla="*/ 4631 w 5061"/>
                  <a:gd name="connsiteY208" fmla="*/ 0 h 1043"/>
                  <a:gd name="connsiteX0" fmla="*/ 4631 w 5061"/>
                  <a:gd name="connsiteY0" fmla="*/ 0 h 1043"/>
                  <a:gd name="connsiteX1" fmla="*/ 4681 w 5061"/>
                  <a:gd name="connsiteY1" fmla="*/ 0 h 1043"/>
                  <a:gd name="connsiteX2" fmla="*/ 4710 w 5061"/>
                  <a:gd name="connsiteY2" fmla="*/ 4 h 1043"/>
                  <a:gd name="connsiteX3" fmla="*/ 4741 w 5061"/>
                  <a:gd name="connsiteY3" fmla="*/ 13 h 1043"/>
                  <a:gd name="connsiteX4" fmla="*/ 4778 w 5061"/>
                  <a:gd name="connsiteY4" fmla="*/ 23 h 1043"/>
                  <a:gd name="connsiteX5" fmla="*/ 4819 w 5061"/>
                  <a:gd name="connsiteY5" fmla="*/ 39 h 1043"/>
                  <a:gd name="connsiteX6" fmla="*/ 4863 w 5061"/>
                  <a:gd name="connsiteY6" fmla="*/ 60 h 1043"/>
                  <a:gd name="connsiteX7" fmla="*/ 4910 w 5061"/>
                  <a:gd name="connsiteY7" fmla="*/ 89 h 1043"/>
                  <a:gd name="connsiteX8" fmla="*/ 4960 w 5061"/>
                  <a:gd name="connsiteY8" fmla="*/ 124 h 1043"/>
                  <a:gd name="connsiteX9" fmla="*/ 5009 w 5061"/>
                  <a:gd name="connsiteY9" fmla="*/ 170 h 1043"/>
                  <a:gd name="connsiteX10" fmla="*/ 5061 w 5061"/>
                  <a:gd name="connsiteY10" fmla="*/ 224 h 1043"/>
                  <a:gd name="connsiteX11" fmla="*/ 4900 w 5061"/>
                  <a:gd name="connsiteY11" fmla="*/ 189 h 1043"/>
                  <a:gd name="connsiteX12" fmla="*/ 4770 w 5061"/>
                  <a:gd name="connsiteY12" fmla="*/ 112 h 1043"/>
                  <a:gd name="connsiteX13" fmla="*/ 4691 w 5061"/>
                  <a:gd name="connsiteY13" fmla="*/ 89 h 1043"/>
                  <a:gd name="connsiteX14" fmla="*/ 4662 w 5061"/>
                  <a:gd name="connsiteY14" fmla="*/ 87 h 1043"/>
                  <a:gd name="connsiteX15" fmla="*/ 4507 w 5061"/>
                  <a:gd name="connsiteY15" fmla="*/ 106 h 1043"/>
                  <a:gd name="connsiteX16" fmla="*/ 4400 w 5061"/>
                  <a:gd name="connsiteY16" fmla="*/ 154 h 1043"/>
                  <a:gd name="connsiteX17" fmla="*/ 4353 w 5061"/>
                  <a:gd name="connsiteY17" fmla="*/ 187 h 1043"/>
                  <a:gd name="connsiteX18" fmla="*/ 4309 w 5061"/>
                  <a:gd name="connsiteY18" fmla="*/ 224 h 1043"/>
                  <a:gd name="connsiteX19" fmla="*/ 4270 w 5061"/>
                  <a:gd name="connsiteY19" fmla="*/ 268 h 1043"/>
                  <a:gd name="connsiteX20" fmla="*/ 4231 w 5061"/>
                  <a:gd name="connsiteY20" fmla="*/ 313 h 1043"/>
                  <a:gd name="connsiteX21" fmla="*/ 4196 w 5061"/>
                  <a:gd name="connsiteY21" fmla="*/ 363 h 1043"/>
                  <a:gd name="connsiteX22" fmla="*/ 4163 w 5061"/>
                  <a:gd name="connsiteY22" fmla="*/ 415 h 1043"/>
                  <a:gd name="connsiteX23" fmla="*/ 4101 w 5061"/>
                  <a:gd name="connsiteY23" fmla="*/ 523 h 1043"/>
                  <a:gd name="connsiteX24" fmla="*/ 4008 w 5061"/>
                  <a:gd name="connsiteY24" fmla="*/ 691 h 1043"/>
                  <a:gd name="connsiteX25" fmla="*/ 3975 w 5061"/>
                  <a:gd name="connsiteY25" fmla="*/ 747 h 1043"/>
                  <a:gd name="connsiteX26" fmla="*/ 3940 w 5061"/>
                  <a:gd name="connsiteY26" fmla="*/ 798 h 1043"/>
                  <a:gd name="connsiteX27" fmla="*/ 3905 w 5061"/>
                  <a:gd name="connsiteY27" fmla="*/ 848 h 1043"/>
                  <a:gd name="connsiteX28" fmla="*/ 3865 w 5061"/>
                  <a:gd name="connsiteY28" fmla="*/ 894 h 1043"/>
                  <a:gd name="connsiteX29" fmla="*/ 3824 w 5061"/>
                  <a:gd name="connsiteY29" fmla="*/ 935 h 1043"/>
                  <a:gd name="connsiteX30" fmla="*/ 3779 w 5061"/>
                  <a:gd name="connsiteY30" fmla="*/ 971 h 1043"/>
                  <a:gd name="connsiteX31" fmla="*/ 3729 w 5061"/>
                  <a:gd name="connsiteY31" fmla="*/ 1000 h 1043"/>
                  <a:gd name="connsiteX32" fmla="*/ 3677 w 5061"/>
                  <a:gd name="connsiteY32" fmla="*/ 1022 h 1043"/>
                  <a:gd name="connsiteX33" fmla="*/ 3620 w 5061"/>
                  <a:gd name="connsiteY33" fmla="*/ 1037 h 1043"/>
                  <a:gd name="connsiteX34" fmla="*/ 3556 w 5061"/>
                  <a:gd name="connsiteY34" fmla="*/ 1043 h 1043"/>
                  <a:gd name="connsiteX35" fmla="*/ 3547 w 5061"/>
                  <a:gd name="connsiteY35" fmla="*/ 1043 h 1043"/>
                  <a:gd name="connsiteX36" fmla="*/ 3485 w 5061"/>
                  <a:gd name="connsiteY36" fmla="*/ 1039 h 1043"/>
                  <a:gd name="connsiteX37" fmla="*/ 3426 w 5061"/>
                  <a:gd name="connsiteY37" fmla="*/ 1025 h 1043"/>
                  <a:gd name="connsiteX38" fmla="*/ 3372 w 5061"/>
                  <a:gd name="connsiteY38" fmla="*/ 1002 h 1043"/>
                  <a:gd name="connsiteX39" fmla="*/ 3320 w 5061"/>
                  <a:gd name="connsiteY39" fmla="*/ 973 h 1043"/>
                  <a:gd name="connsiteX40" fmla="*/ 3273 w 5061"/>
                  <a:gd name="connsiteY40" fmla="*/ 935 h 1043"/>
                  <a:gd name="connsiteX41" fmla="*/ 3229 w 5061"/>
                  <a:gd name="connsiteY41" fmla="*/ 894 h 1043"/>
                  <a:gd name="connsiteX42" fmla="*/ 3186 w 5061"/>
                  <a:gd name="connsiteY42" fmla="*/ 846 h 1043"/>
                  <a:gd name="connsiteX43" fmla="*/ 3147 w 5061"/>
                  <a:gd name="connsiteY43" fmla="*/ 796 h 1043"/>
                  <a:gd name="connsiteX44" fmla="*/ 3108 w 5061"/>
                  <a:gd name="connsiteY44" fmla="*/ 740 h 1043"/>
                  <a:gd name="connsiteX45" fmla="*/ 3070 w 5061"/>
                  <a:gd name="connsiteY45" fmla="*/ 684 h 1043"/>
                  <a:gd name="connsiteX46" fmla="*/ 2965 w 5061"/>
                  <a:gd name="connsiteY46" fmla="*/ 510 h 1043"/>
                  <a:gd name="connsiteX47" fmla="*/ 2928 w 5061"/>
                  <a:gd name="connsiteY47" fmla="*/ 452 h 1043"/>
                  <a:gd name="connsiteX48" fmla="*/ 2891 w 5061"/>
                  <a:gd name="connsiteY48" fmla="*/ 396 h 1043"/>
                  <a:gd name="connsiteX49" fmla="*/ 2854 w 5061"/>
                  <a:gd name="connsiteY49" fmla="*/ 342 h 1043"/>
                  <a:gd name="connsiteX50" fmla="*/ 2814 w 5061"/>
                  <a:gd name="connsiteY50" fmla="*/ 292 h 1043"/>
                  <a:gd name="connsiteX51" fmla="*/ 2773 w 5061"/>
                  <a:gd name="connsiteY51" fmla="*/ 247 h 1043"/>
                  <a:gd name="connsiteX52" fmla="*/ 2732 w 5061"/>
                  <a:gd name="connsiteY52" fmla="*/ 205 h 1043"/>
                  <a:gd name="connsiteX53" fmla="*/ 2686 w 5061"/>
                  <a:gd name="connsiteY53" fmla="*/ 168 h 1043"/>
                  <a:gd name="connsiteX54" fmla="*/ 2639 w 5061"/>
                  <a:gd name="connsiteY54" fmla="*/ 139 h 1043"/>
                  <a:gd name="connsiteX55" fmla="*/ 2587 w 5061"/>
                  <a:gd name="connsiteY55" fmla="*/ 116 h 1043"/>
                  <a:gd name="connsiteX56" fmla="*/ 2532 w 5061"/>
                  <a:gd name="connsiteY56" fmla="*/ 100 h 1043"/>
                  <a:gd name="connsiteX57" fmla="*/ 2474 w 5061"/>
                  <a:gd name="connsiteY57" fmla="*/ 91 h 1043"/>
                  <a:gd name="connsiteX58" fmla="*/ 2410 w 5061"/>
                  <a:gd name="connsiteY58" fmla="*/ 93 h 1043"/>
                  <a:gd name="connsiteX59" fmla="*/ 2342 w 5061"/>
                  <a:gd name="connsiteY59" fmla="*/ 104 h 1043"/>
                  <a:gd name="connsiteX60" fmla="*/ 2280 w 5061"/>
                  <a:gd name="connsiteY60" fmla="*/ 122 h 1043"/>
                  <a:gd name="connsiteX61" fmla="*/ 2222 w 5061"/>
                  <a:gd name="connsiteY61" fmla="*/ 147 h 1043"/>
                  <a:gd name="connsiteX62" fmla="*/ 2168 w 5061"/>
                  <a:gd name="connsiteY62" fmla="*/ 180 h 1043"/>
                  <a:gd name="connsiteX63" fmla="*/ 2117 w 5061"/>
                  <a:gd name="connsiteY63" fmla="*/ 218 h 1043"/>
                  <a:gd name="connsiteX64" fmla="*/ 2071 w 5061"/>
                  <a:gd name="connsiteY64" fmla="*/ 261 h 1043"/>
                  <a:gd name="connsiteX65" fmla="*/ 2026 w 5061"/>
                  <a:gd name="connsiteY65" fmla="*/ 307 h 1043"/>
                  <a:gd name="connsiteX66" fmla="*/ 1984 w 5061"/>
                  <a:gd name="connsiteY66" fmla="*/ 359 h 1043"/>
                  <a:gd name="connsiteX67" fmla="*/ 1945 w 5061"/>
                  <a:gd name="connsiteY67" fmla="*/ 413 h 1043"/>
                  <a:gd name="connsiteX68" fmla="*/ 1908 w 5061"/>
                  <a:gd name="connsiteY68" fmla="*/ 467 h 1043"/>
                  <a:gd name="connsiteX69" fmla="*/ 1871 w 5061"/>
                  <a:gd name="connsiteY69" fmla="*/ 523 h 1043"/>
                  <a:gd name="connsiteX70" fmla="*/ 1834 w 5061"/>
                  <a:gd name="connsiteY70" fmla="*/ 581 h 1043"/>
                  <a:gd name="connsiteX71" fmla="*/ 1799 w 5061"/>
                  <a:gd name="connsiteY71" fmla="*/ 637 h 1043"/>
                  <a:gd name="connsiteX72" fmla="*/ 1724 w 5061"/>
                  <a:gd name="connsiteY72" fmla="*/ 749 h 1043"/>
                  <a:gd name="connsiteX73" fmla="*/ 1685 w 5061"/>
                  <a:gd name="connsiteY73" fmla="*/ 801 h 1043"/>
                  <a:gd name="connsiteX74" fmla="*/ 1644 w 5061"/>
                  <a:gd name="connsiteY74" fmla="*/ 850 h 1043"/>
                  <a:gd name="connsiteX75" fmla="*/ 1600 w 5061"/>
                  <a:gd name="connsiteY75" fmla="*/ 896 h 1043"/>
                  <a:gd name="connsiteX76" fmla="*/ 1553 w 5061"/>
                  <a:gd name="connsiteY76" fmla="*/ 937 h 1043"/>
                  <a:gd name="connsiteX77" fmla="*/ 1503 w 5061"/>
                  <a:gd name="connsiteY77" fmla="*/ 973 h 1043"/>
                  <a:gd name="connsiteX78" fmla="*/ 1450 w 5061"/>
                  <a:gd name="connsiteY78" fmla="*/ 1002 h 1043"/>
                  <a:gd name="connsiteX79" fmla="*/ 1394 w 5061"/>
                  <a:gd name="connsiteY79" fmla="*/ 1025 h 1043"/>
                  <a:gd name="connsiteX80" fmla="*/ 1330 w 5061"/>
                  <a:gd name="connsiteY80" fmla="*/ 1037 h 1043"/>
                  <a:gd name="connsiteX81" fmla="*/ 1264 w 5061"/>
                  <a:gd name="connsiteY81" fmla="*/ 1043 h 1043"/>
                  <a:gd name="connsiteX82" fmla="*/ 1258 w 5061"/>
                  <a:gd name="connsiteY82" fmla="*/ 1043 h 1043"/>
                  <a:gd name="connsiteX83" fmla="*/ 1190 w 5061"/>
                  <a:gd name="connsiteY83" fmla="*/ 1039 h 1043"/>
                  <a:gd name="connsiteX84" fmla="*/ 1128 w 5061"/>
                  <a:gd name="connsiteY84" fmla="*/ 1027 h 1043"/>
                  <a:gd name="connsiteX85" fmla="*/ 1070 w 5061"/>
                  <a:gd name="connsiteY85" fmla="*/ 1008 h 1043"/>
                  <a:gd name="connsiteX86" fmla="*/ 1018 w 5061"/>
                  <a:gd name="connsiteY86" fmla="*/ 983 h 1043"/>
                  <a:gd name="connsiteX87" fmla="*/ 971 w 5061"/>
                  <a:gd name="connsiteY87" fmla="*/ 952 h 1043"/>
                  <a:gd name="connsiteX88" fmla="*/ 925 w 5061"/>
                  <a:gd name="connsiteY88" fmla="*/ 915 h 1043"/>
                  <a:gd name="connsiteX89" fmla="*/ 884 w 5061"/>
                  <a:gd name="connsiteY89" fmla="*/ 873 h 1043"/>
                  <a:gd name="connsiteX90" fmla="*/ 847 w 5061"/>
                  <a:gd name="connsiteY90" fmla="*/ 828 h 1043"/>
                  <a:gd name="connsiteX91" fmla="*/ 810 w 5061"/>
                  <a:gd name="connsiteY91" fmla="*/ 780 h 1043"/>
                  <a:gd name="connsiteX92" fmla="*/ 777 w 5061"/>
                  <a:gd name="connsiteY92" fmla="*/ 728 h 1043"/>
                  <a:gd name="connsiteX93" fmla="*/ 742 w 5061"/>
                  <a:gd name="connsiteY93" fmla="*/ 674 h 1043"/>
                  <a:gd name="connsiteX94" fmla="*/ 711 w 5061"/>
                  <a:gd name="connsiteY94" fmla="*/ 618 h 1043"/>
                  <a:gd name="connsiteX95" fmla="*/ 678 w 5061"/>
                  <a:gd name="connsiteY95" fmla="*/ 560 h 1043"/>
                  <a:gd name="connsiteX96" fmla="*/ 616 w 5061"/>
                  <a:gd name="connsiteY96" fmla="*/ 448 h 1043"/>
                  <a:gd name="connsiteX97" fmla="*/ 547 w 5061"/>
                  <a:gd name="connsiteY97" fmla="*/ 340 h 1043"/>
                  <a:gd name="connsiteX98" fmla="*/ 504 w 5061"/>
                  <a:gd name="connsiteY98" fmla="*/ 284 h 1043"/>
                  <a:gd name="connsiteX99" fmla="*/ 457 w 5061"/>
                  <a:gd name="connsiteY99" fmla="*/ 239 h 1043"/>
                  <a:gd name="connsiteX100" fmla="*/ 409 w 5061"/>
                  <a:gd name="connsiteY100" fmla="*/ 199 h 1043"/>
                  <a:gd name="connsiteX101" fmla="*/ 358 w 5061"/>
                  <a:gd name="connsiteY101" fmla="*/ 168 h 1043"/>
                  <a:gd name="connsiteX102" fmla="*/ 308 w 5061"/>
                  <a:gd name="connsiteY102" fmla="*/ 145 h 1043"/>
                  <a:gd name="connsiteX103" fmla="*/ 256 w 5061"/>
                  <a:gd name="connsiteY103" fmla="*/ 127 h 1043"/>
                  <a:gd name="connsiteX104" fmla="*/ 209 w 5061"/>
                  <a:gd name="connsiteY104" fmla="*/ 112 h 1043"/>
                  <a:gd name="connsiteX105" fmla="*/ 163 w 5061"/>
                  <a:gd name="connsiteY105" fmla="*/ 104 h 1043"/>
                  <a:gd name="connsiteX106" fmla="*/ 122 w 5061"/>
                  <a:gd name="connsiteY106" fmla="*/ 100 h 1043"/>
                  <a:gd name="connsiteX107" fmla="*/ 85 w 5061"/>
                  <a:gd name="connsiteY107" fmla="*/ 95 h 1043"/>
                  <a:gd name="connsiteX108" fmla="*/ 31 w 5061"/>
                  <a:gd name="connsiteY108" fmla="*/ 95 h 1043"/>
                  <a:gd name="connsiteX109" fmla="*/ 17 w 5061"/>
                  <a:gd name="connsiteY109" fmla="*/ 98 h 1043"/>
                  <a:gd name="connsiteX110" fmla="*/ 11 w 5061"/>
                  <a:gd name="connsiteY110" fmla="*/ 98 h 1043"/>
                  <a:gd name="connsiteX111" fmla="*/ 0 w 5061"/>
                  <a:gd name="connsiteY111" fmla="*/ 13 h 1043"/>
                  <a:gd name="connsiteX112" fmla="*/ 9 w 5061"/>
                  <a:gd name="connsiteY112" fmla="*/ 13 h 1043"/>
                  <a:gd name="connsiteX113" fmla="*/ 29 w 5061"/>
                  <a:gd name="connsiteY113" fmla="*/ 10 h 1043"/>
                  <a:gd name="connsiteX114" fmla="*/ 91 w 5061"/>
                  <a:gd name="connsiteY114" fmla="*/ 10 h 1043"/>
                  <a:gd name="connsiteX115" fmla="*/ 135 w 5061"/>
                  <a:gd name="connsiteY115" fmla="*/ 13 h 1043"/>
                  <a:gd name="connsiteX116" fmla="*/ 182 w 5061"/>
                  <a:gd name="connsiteY116" fmla="*/ 19 h 1043"/>
                  <a:gd name="connsiteX117" fmla="*/ 234 w 5061"/>
                  <a:gd name="connsiteY117" fmla="*/ 29 h 1043"/>
                  <a:gd name="connsiteX118" fmla="*/ 287 w 5061"/>
                  <a:gd name="connsiteY118" fmla="*/ 46 h 1043"/>
                  <a:gd name="connsiteX119" fmla="*/ 345 w 5061"/>
                  <a:gd name="connsiteY119" fmla="*/ 66 h 1043"/>
                  <a:gd name="connsiteX120" fmla="*/ 403 w 5061"/>
                  <a:gd name="connsiteY120" fmla="*/ 93 h 1043"/>
                  <a:gd name="connsiteX121" fmla="*/ 459 w 5061"/>
                  <a:gd name="connsiteY121" fmla="*/ 131 h 1043"/>
                  <a:gd name="connsiteX122" fmla="*/ 514 w 5061"/>
                  <a:gd name="connsiteY122" fmla="*/ 174 h 1043"/>
                  <a:gd name="connsiteX123" fmla="*/ 568 w 5061"/>
                  <a:gd name="connsiteY123" fmla="*/ 228 h 1043"/>
                  <a:gd name="connsiteX124" fmla="*/ 618 w 5061"/>
                  <a:gd name="connsiteY124" fmla="*/ 292 h 1043"/>
                  <a:gd name="connsiteX125" fmla="*/ 667 w 5061"/>
                  <a:gd name="connsiteY125" fmla="*/ 367 h 1043"/>
                  <a:gd name="connsiteX126" fmla="*/ 754 w 5061"/>
                  <a:gd name="connsiteY126" fmla="*/ 516 h 1043"/>
                  <a:gd name="connsiteX127" fmla="*/ 787 w 5061"/>
                  <a:gd name="connsiteY127" fmla="*/ 575 h 1043"/>
                  <a:gd name="connsiteX128" fmla="*/ 820 w 5061"/>
                  <a:gd name="connsiteY128" fmla="*/ 631 h 1043"/>
                  <a:gd name="connsiteX129" fmla="*/ 853 w 5061"/>
                  <a:gd name="connsiteY129" fmla="*/ 684 h 1043"/>
                  <a:gd name="connsiteX130" fmla="*/ 886 w 5061"/>
                  <a:gd name="connsiteY130" fmla="*/ 736 h 1043"/>
                  <a:gd name="connsiteX131" fmla="*/ 921 w 5061"/>
                  <a:gd name="connsiteY131" fmla="*/ 782 h 1043"/>
                  <a:gd name="connsiteX132" fmla="*/ 958 w 5061"/>
                  <a:gd name="connsiteY132" fmla="*/ 825 h 1043"/>
                  <a:gd name="connsiteX133" fmla="*/ 1000 w 5061"/>
                  <a:gd name="connsiteY133" fmla="*/ 863 h 1043"/>
                  <a:gd name="connsiteX134" fmla="*/ 1043 w 5061"/>
                  <a:gd name="connsiteY134" fmla="*/ 894 h 1043"/>
                  <a:gd name="connsiteX135" fmla="*/ 1090 w 5061"/>
                  <a:gd name="connsiteY135" fmla="*/ 921 h 1043"/>
                  <a:gd name="connsiteX136" fmla="*/ 1140 w 5061"/>
                  <a:gd name="connsiteY136" fmla="*/ 939 h 1043"/>
                  <a:gd name="connsiteX137" fmla="*/ 1196 w 5061"/>
                  <a:gd name="connsiteY137" fmla="*/ 952 h 1043"/>
                  <a:gd name="connsiteX138" fmla="*/ 1258 w 5061"/>
                  <a:gd name="connsiteY138" fmla="*/ 956 h 1043"/>
                  <a:gd name="connsiteX139" fmla="*/ 1264 w 5061"/>
                  <a:gd name="connsiteY139" fmla="*/ 956 h 1043"/>
                  <a:gd name="connsiteX140" fmla="*/ 1324 w 5061"/>
                  <a:gd name="connsiteY140" fmla="*/ 950 h 1043"/>
                  <a:gd name="connsiteX141" fmla="*/ 1380 w 5061"/>
                  <a:gd name="connsiteY141" fmla="*/ 935 h 1043"/>
                  <a:gd name="connsiteX142" fmla="*/ 1433 w 5061"/>
                  <a:gd name="connsiteY142" fmla="*/ 913 h 1043"/>
                  <a:gd name="connsiteX143" fmla="*/ 1481 w 5061"/>
                  <a:gd name="connsiteY143" fmla="*/ 884 h 1043"/>
                  <a:gd name="connsiteX144" fmla="*/ 1526 w 5061"/>
                  <a:gd name="connsiteY144" fmla="*/ 846 h 1043"/>
                  <a:gd name="connsiteX145" fmla="*/ 1569 w 5061"/>
                  <a:gd name="connsiteY145" fmla="*/ 803 h 1043"/>
                  <a:gd name="connsiteX146" fmla="*/ 1609 w 5061"/>
                  <a:gd name="connsiteY146" fmla="*/ 755 h 1043"/>
                  <a:gd name="connsiteX147" fmla="*/ 1648 w 5061"/>
                  <a:gd name="connsiteY147" fmla="*/ 703 h 1043"/>
                  <a:gd name="connsiteX148" fmla="*/ 1687 w 5061"/>
                  <a:gd name="connsiteY148" fmla="*/ 649 h 1043"/>
                  <a:gd name="connsiteX149" fmla="*/ 1799 w 5061"/>
                  <a:gd name="connsiteY149" fmla="*/ 475 h 1043"/>
                  <a:gd name="connsiteX150" fmla="*/ 1838 w 5061"/>
                  <a:gd name="connsiteY150" fmla="*/ 415 h 1043"/>
                  <a:gd name="connsiteX151" fmla="*/ 1879 w 5061"/>
                  <a:gd name="connsiteY151" fmla="*/ 357 h 1043"/>
                  <a:gd name="connsiteX152" fmla="*/ 1923 w 5061"/>
                  <a:gd name="connsiteY152" fmla="*/ 299 h 1043"/>
                  <a:gd name="connsiteX153" fmla="*/ 1968 w 5061"/>
                  <a:gd name="connsiteY153" fmla="*/ 245 h 1043"/>
                  <a:gd name="connsiteX154" fmla="*/ 2015 w 5061"/>
                  <a:gd name="connsiteY154" fmla="*/ 193 h 1043"/>
                  <a:gd name="connsiteX155" fmla="*/ 2069 w 5061"/>
                  <a:gd name="connsiteY155" fmla="*/ 145 h 1043"/>
                  <a:gd name="connsiteX156" fmla="*/ 2125 w 5061"/>
                  <a:gd name="connsiteY156" fmla="*/ 104 h 1043"/>
                  <a:gd name="connsiteX157" fmla="*/ 2187 w 5061"/>
                  <a:gd name="connsiteY157" fmla="*/ 69 h 1043"/>
                  <a:gd name="connsiteX158" fmla="*/ 2253 w 5061"/>
                  <a:gd name="connsiteY158" fmla="*/ 39 h 1043"/>
                  <a:gd name="connsiteX159" fmla="*/ 2325 w 5061"/>
                  <a:gd name="connsiteY159" fmla="*/ 19 h 1043"/>
                  <a:gd name="connsiteX160" fmla="*/ 2404 w 5061"/>
                  <a:gd name="connsiteY160" fmla="*/ 6 h 1043"/>
                  <a:gd name="connsiteX161" fmla="*/ 2474 w 5061"/>
                  <a:gd name="connsiteY161" fmla="*/ 4 h 1043"/>
                  <a:gd name="connsiteX162" fmla="*/ 2540 w 5061"/>
                  <a:gd name="connsiteY162" fmla="*/ 13 h 1043"/>
                  <a:gd name="connsiteX163" fmla="*/ 2600 w 5061"/>
                  <a:gd name="connsiteY163" fmla="*/ 27 h 1043"/>
                  <a:gd name="connsiteX164" fmla="*/ 2658 w 5061"/>
                  <a:gd name="connsiteY164" fmla="*/ 50 h 1043"/>
                  <a:gd name="connsiteX165" fmla="*/ 2711 w 5061"/>
                  <a:gd name="connsiteY165" fmla="*/ 81 h 1043"/>
                  <a:gd name="connsiteX166" fmla="*/ 2761 w 5061"/>
                  <a:gd name="connsiteY166" fmla="*/ 116 h 1043"/>
                  <a:gd name="connsiteX167" fmla="*/ 2806 w 5061"/>
                  <a:gd name="connsiteY167" fmla="*/ 158 h 1043"/>
                  <a:gd name="connsiteX168" fmla="*/ 2852 w 5061"/>
                  <a:gd name="connsiteY168" fmla="*/ 203 h 1043"/>
                  <a:gd name="connsiteX169" fmla="*/ 2893 w 5061"/>
                  <a:gd name="connsiteY169" fmla="*/ 251 h 1043"/>
                  <a:gd name="connsiteX170" fmla="*/ 2932 w 5061"/>
                  <a:gd name="connsiteY170" fmla="*/ 303 h 1043"/>
                  <a:gd name="connsiteX171" fmla="*/ 2969 w 5061"/>
                  <a:gd name="connsiteY171" fmla="*/ 357 h 1043"/>
                  <a:gd name="connsiteX172" fmla="*/ 3004 w 5061"/>
                  <a:gd name="connsiteY172" fmla="*/ 413 h 1043"/>
                  <a:gd name="connsiteX173" fmla="*/ 3039 w 5061"/>
                  <a:gd name="connsiteY173" fmla="*/ 467 h 1043"/>
                  <a:gd name="connsiteX174" fmla="*/ 3073 w 5061"/>
                  <a:gd name="connsiteY174" fmla="*/ 523 h 1043"/>
                  <a:gd name="connsiteX175" fmla="*/ 3110 w 5061"/>
                  <a:gd name="connsiteY175" fmla="*/ 585 h 1043"/>
                  <a:gd name="connsiteX176" fmla="*/ 3147 w 5061"/>
                  <a:gd name="connsiteY176" fmla="*/ 643 h 1043"/>
                  <a:gd name="connsiteX177" fmla="*/ 3186 w 5061"/>
                  <a:gd name="connsiteY177" fmla="*/ 701 h 1043"/>
                  <a:gd name="connsiteX178" fmla="*/ 3223 w 5061"/>
                  <a:gd name="connsiteY178" fmla="*/ 755 h 1043"/>
                  <a:gd name="connsiteX179" fmla="*/ 3265 w 5061"/>
                  <a:gd name="connsiteY179" fmla="*/ 805 h 1043"/>
                  <a:gd name="connsiteX180" fmla="*/ 3306 w 5061"/>
                  <a:gd name="connsiteY180" fmla="*/ 848 h 1043"/>
                  <a:gd name="connsiteX181" fmla="*/ 3349 w 5061"/>
                  <a:gd name="connsiteY181" fmla="*/ 886 h 1043"/>
                  <a:gd name="connsiteX182" fmla="*/ 3395 w 5061"/>
                  <a:gd name="connsiteY182" fmla="*/ 917 h 1043"/>
                  <a:gd name="connsiteX183" fmla="*/ 3444 w 5061"/>
                  <a:gd name="connsiteY183" fmla="*/ 939 h 1043"/>
                  <a:gd name="connsiteX184" fmla="*/ 3498 w 5061"/>
                  <a:gd name="connsiteY184" fmla="*/ 952 h 1043"/>
                  <a:gd name="connsiteX185" fmla="*/ 3554 w 5061"/>
                  <a:gd name="connsiteY185" fmla="*/ 956 h 1043"/>
                  <a:gd name="connsiteX186" fmla="*/ 3609 w 5061"/>
                  <a:gd name="connsiteY186" fmla="*/ 950 h 1043"/>
                  <a:gd name="connsiteX187" fmla="*/ 3659 w 5061"/>
                  <a:gd name="connsiteY187" fmla="*/ 935 h 1043"/>
                  <a:gd name="connsiteX188" fmla="*/ 3706 w 5061"/>
                  <a:gd name="connsiteY188" fmla="*/ 915 h 1043"/>
                  <a:gd name="connsiteX189" fmla="*/ 3750 w 5061"/>
                  <a:gd name="connsiteY189" fmla="*/ 884 h 1043"/>
                  <a:gd name="connsiteX190" fmla="*/ 3789 w 5061"/>
                  <a:gd name="connsiteY190" fmla="*/ 848 h 1043"/>
                  <a:gd name="connsiteX191" fmla="*/ 3826 w 5061"/>
                  <a:gd name="connsiteY191" fmla="*/ 807 h 1043"/>
                  <a:gd name="connsiteX192" fmla="*/ 3861 w 5061"/>
                  <a:gd name="connsiteY192" fmla="*/ 759 h 1043"/>
                  <a:gd name="connsiteX193" fmla="*/ 3894 w 5061"/>
                  <a:gd name="connsiteY193" fmla="*/ 709 h 1043"/>
                  <a:gd name="connsiteX194" fmla="*/ 3927 w 5061"/>
                  <a:gd name="connsiteY194" fmla="*/ 655 h 1043"/>
                  <a:gd name="connsiteX195" fmla="*/ 3960 w 5061"/>
                  <a:gd name="connsiteY195" fmla="*/ 597 h 1043"/>
                  <a:gd name="connsiteX196" fmla="*/ 3993 w 5061"/>
                  <a:gd name="connsiteY196" fmla="*/ 537 h 1043"/>
                  <a:gd name="connsiteX197" fmla="*/ 4022 w 5061"/>
                  <a:gd name="connsiteY197" fmla="*/ 483 h 1043"/>
                  <a:gd name="connsiteX198" fmla="*/ 4084 w 5061"/>
                  <a:gd name="connsiteY198" fmla="*/ 375 h 1043"/>
                  <a:gd name="connsiteX199" fmla="*/ 4154 w 5061"/>
                  <a:gd name="connsiteY199" fmla="*/ 272 h 1043"/>
                  <a:gd name="connsiteX200" fmla="*/ 4192 w 5061"/>
                  <a:gd name="connsiteY200" fmla="*/ 224 h 1043"/>
                  <a:gd name="connsiteX201" fmla="*/ 4233 w 5061"/>
                  <a:gd name="connsiteY201" fmla="*/ 178 h 1043"/>
                  <a:gd name="connsiteX202" fmla="*/ 4276 w 5061"/>
                  <a:gd name="connsiteY202" fmla="*/ 137 h 1043"/>
                  <a:gd name="connsiteX203" fmla="*/ 4375 w 5061"/>
                  <a:gd name="connsiteY203" fmla="*/ 66 h 1043"/>
                  <a:gd name="connsiteX204" fmla="*/ 4433 w 5061"/>
                  <a:gd name="connsiteY204" fmla="*/ 39 h 1043"/>
                  <a:gd name="connsiteX205" fmla="*/ 4493 w 5061"/>
                  <a:gd name="connsiteY205" fmla="*/ 19 h 1043"/>
                  <a:gd name="connsiteX206" fmla="*/ 4559 w 5061"/>
                  <a:gd name="connsiteY206" fmla="*/ 6 h 1043"/>
                  <a:gd name="connsiteX207" fmla="*/ 4631 w 5061"/>
                  <a:gd name="connsiteY207" fmla="*/ 0 h 1043"/>
                  <a:gd name="connsiteX0" fmla="*/ 4631 w 5061"/>
                  <a:gd name="connsiteY0" fmla="*/ 0 h 1043"/>
                  <a:gd name="connsiteX1" fmla="*/ 4681 w 5061"/>
                  <a:gd name="connsiteY1" fmla="*/ 0 h 1043"/>
                  <a:gd name="connsiteX2" fmla="*/ 4710 w 5061"/>
                  <a:gd name="connsiteY2" fmla="*/ 4 h 1043"/>
                  <a:gd name="connsiteX3" fmla="*/ 4741 w 5061"/>
                  <a:gd name="connsiteY3" fmla="*/ 13 h 1043"/>
                  <a:gd name="connsiteX4" fmla="*/ 4778 w 5061"/>
                  <a:gd name="connsiteY4" fmla="*/ 23 h 1043"/>
                  <a:gd name="connsiteX5" fmla="*/ 4819 w 5061"/>
                  <a:gd name="connsiteY5" fmla="*/ 39 h 1043"/>
                  <a:gd name="connsiteX6" fmla="*/ 4863 w 5061"/>
                  <a:gd name="connsiteY6" fmla="*/ 60 h 1043"/>
                  <a:gd name="connsiteX7" fmla="*/ 4910 w 5061"/>
                  <a:gd name="connsiteY7" fmla="*/ 89 h 1043"/>
                  <a:gd name="connsiteX8" fmla="*/ 4960 w 5061"/>
                  <a:gd name="connsiteY8" fmla="*/ 124 h 1043"/>
                  <a:gd name="connsiteX9" fmla="*/ 5009 w 5061"/>
                  <a:gd name="connsiteY9" fmla="*/ 170 h 1043"/>
                  <a:gd name="connsiteX10" fmla="*/ 5061 w 5061"/>
                  <a:gd name="connsiteY10" fmla="*/ 224 h 1043"/>
                  <a:gd name="connsiteX11" fmla="*/ 4900 w 5061"/>
                  <a:gd name="connsiteY11" fmla="*/ 189 h 1043"/>
                  <a:gd name="connsiteX12" fmla="*/ 4770 w 5061"/>
                  <a:gd name="connsiteY12" fmla="*/ 112 h 1043"/>
                  <a:gd name="connsiteX13" fmla="*/ 4691 w 5061"/>
                  <a:gd name="connsiteY13" fmla="*/ 89 h 1043"/>
                  <a:gd name="connsiteX14" fmla="*/ 4662 w 5061"/>
                  <a:gd name="connsiteY14" fmla="*/ 87 h 1043"/>
                  <a:gd name="connsiteX15" fmla="*/ 4507 w 5061"/>
                  <a:gd name="connsiteY15" fmla="*/ 106 h 1043"/>
                  <a:gd name="connsiteX16" fmla="*/ 4400 w 5061"/>
                  <a:gd name="connsiteY16" fmla="*/ 154 h 1043"/>
                  <a:gd name="connsiteX17" fmla="*/ 4353 w 5061"/>
                  <a:gd name="connsiteY17" fmla="*/ 187 h 1043"/>
                  <a:gd name="connsiteX18" fmla="*/ 4309 w 5061"/>
                  <a:gd name="connsiteY18" fmla="*/ 224 h 1043"/>
                  <a:gd name="connsiteX19" fmla="*/ 4270 w 5061"/>
                  <a:gd name="connsiteY19" fmla="*/ 268 h 1043"/>
                  <a:gd name="connsiteX20" fmla="*/ 4196 w 5061"/>
                  <a:gd name="connsiteY20" fmla="*/ 363 h 1043"/>
                  <a:gd name="connsiteX21" fmla="*/ 4163 w 5061"/>
                  <a:gd name="connsiteY21" fmla="*/ 415 h 1043"/>
                  <a:gd name="connsiteX22" fmla="*/ 4101 w 5061"/>
                  <a:gd name="connsiteY22" fmla="*/ 523 h 1043"/>
                  <a:gd name="connsiteX23" fmla="*/ 4008 w 5061"/>
                  <a:gd name="connsiteY23" fmla="*/ 691 h 1043"/>
                  <a:gd name="connsiteX24" fmla="*/ 3975 w 5061"/>
                  <a:gd name="connsiteY24" fmla="*/ 747 h 1043"/>
                  <a:gd name="connsiteX25" fmla="*/ 3940 w 5061"/>
                  <a:gd name="connsiteY25" fmla="*/ 798 h 1043"/>
                  <a:gd name="connsiteX26" fmla="*/ 3905 w 5061"/>
                  <a:gd name="connsiteY26" fmla="*/ 848 h 1043"/>
                  <a:gd name="connsiteX27" fmla="*/ 3865 w 5061"/>
                  <a:gd name="connsiteY27" fmla="*/ 894 h 1043"/>
                  <a:gd name="connsiteX28" fmla="*/ 3824 w 5061"/>
                  <a:gd name="connsiteY28" fmla="*/ 935 h 1043"/>
                  <a:gd name="connsiteX29" fmla="*/ 3779 w 5061"/>
                  <a:gd name="connsiteY29" fmla="*/ 971 h 1043"/>
                  <a:gd name="connsiteX30" fmla="*/ 3729 w 5061"/>
                  <a:gd name="connsiteY30" fmla="*/ 1000 h 1043"/>
                  <a:gd name="connsiteX31" fmla="*/ 3677 w 5061"/>
                  <a:gd name="connsiteY31" fmla="*/ 1022 h 1043"/>
                  <a:gd name="connsiteX32" fmla="*/ 3620 w 5061"/>
                  <a:gd name="connsiteY32" fmla="*/ 1037 h 1043"/>
                  <a:gd name="connsiteX33" fmla="*/ 3556 w 5061"/>
                  <a:gd name="connsiteY33" fmla="*/ 1043 h 1043"/>
                  <a:gd name="connsiteX34" fmla="*/ 3547 w 5061"/>
                  <a:gd name="connsiteY34" fmla="*/ 1043 h 1043"/>
                  <a:gd name="connsiteX35" fmla="*/ 3485 w 5061"/>
                  <a:gd name="connsiteY35" fmla="*/ 1039 h 1043"/>
                  <a:gd name="connsiteX36" fmla="*/ 3426 w 5061"/>
                  <a:gd name="connsiteY36" fmla="*/ 1025 h 1043"/>
                  <a:gd name="connsiteX37" fmla="*/ 3372 w 5061"/>
                  <a:gd name="connsiteY37" fmla="*/ 1002 h 1043"/>
                  <a:gd name="connsiteX38" fmla="*/ 3320 w 5061"/>
                  <a:gd name="connsiteY38" fmla="*/ 973 h 1043"/>
                  <a:gd name="connsiteX39" fmla="*/ 3273 w 5061"/>
                  <a:gd name="connsiteY39" fmla="*/ 935 h 1043"/>
                  <a:gd name="connsiteX40" fmla="*/ 3229 w 5061"/>
                  <a:gd name="connsiteY40" fmla="*/ 894 h 1043"/>
                  <a:gd name="connsiteX41" fmla="*/ 3186 w 5061"/>
                  <a:gd name="connsiteY41" fmla="*/ 846 h 1043"/>
                  <a:gd name="connsiteX42" fmla="*/ 3147 w 5061"/>
                  <a:gd name="connsiteY42" fmla="*/ 796 h 1043"/>
                  <a:gd name="connsiteX43" fmla="*/ 3108 w 5061"/>
                  <a:gd name="connsiteY43" fmla="*/ 740 h 1043"/>
                  <a:gd name="connsiteX44" fmla="*/ 3070 w 5061"/>
                  <a:gd name="connsiteY44" fmla="*/ 684 h 1043"/>
                  <a:gd name="connsiteX45" fmla="*/ 2965 w 5061"/>
                  <a:gd name="connsiteY45" fmla="*/ 510 h 1043"/>
                  <a:gd name="connsiteX46" fmla="*/ 2928 w 5061"/>
                  <a:gd name="connsiteY46" fmla="*/ 452 h 1043"/>
                  <a:gd name="connsiteX47" fmla="*/ 2891 w 5061"/>
                  <a:gd name="connsiteY47" fmla="*/ 396 h 1043"/>
                  <a:gd name="connsiteX48" fmla="*/ 2854 w 5061"/>
                  <a:gd name="connsiteY48" fmla="*/ 342 h 1043"/>
                  <a:gd name="connsiteX49" fmla="*/ 2814 w 5061"/>
                  <a:gd name="connsiteY49" fmla="*/ 292 h 1043"/>
                  <a:gd name="connsiteX50" fmla="*/ 2773 w 5061"/>
                  <a:gd name="connsiteY50" fmla="*/ 247 h 1043"/>
                  <a:gd name="connsiteX51" fmla="*/ 2732 w 5061"/>
                  <a:gd name="connsiteY51" fmla="*/ 205 h 1043"/>
                  <a:gd name="connsiteX52" fmla="*/ 2686 w 5061"/>
                  <a:gd name="connsiteY52" fmla="*/ 168 h 1043"/>
                  <a:gd name="connsiteX53" fmla="*/ 2639 w 5061"/>
                  <a:gd name="connsiteY53" fmla="*/ 139 h 1043"/>
                  <a:gd name="connsiteX54" fmla="*/ 2587 w 5061"/>
                  <a:gd name="connsiteY54" fmla="*/ 116 h 1043"/>
                  <a:gd name="connsiteX55" fmla="*/ 2532 w 5061"/>
                  <a:gd name="connsiteY55" fmla="*/ 100 h 1043"/>
                  <a:gd name="connsiteX56" fmla="*/ 2474 w 5061"/>
                  <a:gd name="connsiteY56" fmla="*/ 91 h 1043"/>
                  <a:gd name="connsiteX57" fmla="*/ 2410 w 5061"/>
                  <a:gd name="connsiteY57" fmla="*/ 93 h 1043"/>
                  <a:gd name="connsiteX58" fmla="*/ 2342 w 5061"/>
                  <a:gd name="connsiteY58" fmla="*/ 104 h 1043"/>
                  <a:gd name="connsiteX59" fmla="*/ 2280 w 5061"/>
                  <a:gd name="connsiteY59" fmla="*/ 122 h 1043"/>
                  <a:gd name="connsiteX60" fmla="*/ 2222 w 5061"/>
                  <a:gd name="connsiteY60" fmla="*/ 147 h 1043"/>
                  <a:gd name="connsiteX61" fmla="*/ 2168 w 5061"/>
                  <a:gd name="connsiteY61" fmla="*/ 180 h 1043"/>
                  <a:gd name="connsiteX62" fmla="*/ 2117 w 5061"/>
                  <a:gd name="connsiteY62" fmla="*/ 218 h 1043"/>
                  <a:gd name="connsiteX63" fmla="*/ 2071 w 5061"/>
                  <a:gd name="connsiteY63" fmla="*/ 261 h 1043"/>
                  <a:gd name="connsiteX64" fmla="*/ 2026 w 5061"/>
                  <a:gd name="connsiteY64" fmla="*/ 307 h 1043"/>
                  <a:gd name="connsiteX65" fmla="*/ 1984 w 5061"/>
                  <a:gd name="connsiteY65" fmla="*/ 359 h 1043"/>
                  <a:gd name="connsiteX66" fmla="*/ 1945 w 5061"/>
                  <a:gd name="connsiteY66" fmla="*/ 413 h 1043"/>
                  <a:gd name="connsiteX67" fmla="*/ 1908 w 5061"/>
                  <a:gd name="connsiteY67" fmla="*/ 467 h 1043"/>
                  <a:gd name="connsiteX68" fmla="*/ 1871 w 5061"/>
                  <a:gd name="connsiteY68" fmla="*/ 523 h 1043"/>
                  <a:gd name="connsiteX69" fmla="*/ 1834 w 5061"/>
                  <a:gd name="connsiteY69" fmla="*/ 581 h 1043"/>
                  <a:gd name="connsiteX70" fmla="*/ 1799 w 5061"/>
                  <a:gd name="connsiteY70" fmla="*/ 637 h 1043"/>
                  <a:gd name="connsiteX71" fmla="*/ 1724 w 5061"/>
                  <a:gd name="connsiteY71" fmla="*/ 749 h 1043"/>
                  <a:gd name="connsiteX72" fmla="*/ 1685 w 5061"/>
                  <a:gd name="connsiteY72" fmla="*/ 801 h 1043"/>
                  <a:gd name="connsiteX73" fmla="*/ 1644 w 5061"/>
                  <a:gd name="connsiteY73" fmla="*/ 850 h 1043"/>
                  <a:gd name="connsiteX74" fmla="*/ 1600 w 5061"/>
                  <a:gd name="connsiteY74" fmla="*/ 896 h 1043"/>
                  <a:gd name="connsiteX75" fmla="*/ 1553 w 5061"/>
                  <a:gd name="connsiteY75" fmla="*/ 937 h 1043"/>
                  <a:gd name="connsiteX76" fmla="*/ 1503 w 5061"/>
                  <a:gd name="connsiteY76" fmla="*/ 973 h 1043"/>
                  <a:gd name="connsiteX77" fmla="*/ 1450 w 5061"/>
                  <a:gd name="connsiteY77" fmla="*/ 1002 h 1043"/>
                  <a:gd name="connsiteX78" fmla="*/ 1394 w 5061"/>
                  <a:gd name="connsiteY78" fmla="*/ 1025 h 1043"/>
                  <a:gd name="connsiteX79" fmla="*/ 1330 w 5061"/>
                  <a:gd name="connsiteY79" fmla="*/ 1037 h 1043"/>
                  <a:gd name="connsiteX80" fmla="*/ 1264 w 5061"/>
                  <a:gd name="connsiteY80" fmla="*/ 1043 h 1043"/>
                  <a:gd name="connsiteX81" fmla="*/ 1258 w 5061"/>
                  <a:gd name="connsiteY81" fmla="*/ 1043 h 1043"/>
                  <a:gd name="connsiteX82" fmla="*/ 1190 w 5061"/>
                  <a:gd name="connsiteY82" fmla="*/ 1039 h 1043"/>
                  <a:gd name="connsiteX83" fmla="*/ 1128 w 5061"/>
                  <a:gd name="connsiteY83" fmla="*/ 1027 h 1043"/>
                  <a:gd name="connsiteX84" fmla="*/ 1070 w 5061"/>
                  <a:gd name="connsiteY84" fmla="*/ 1008 h 1043"/>
                  <a:gd name="connsiteX85" fmla="*/ 1018 w 5061"/>
                  <a:gd name="connsiteY85" fmla="*/ 983 h 1043"/>
                  <a:gd name="connsiteX86" fmla="*/ 971 w 5061"/>
                  <a:gd name="connsiteY86" fmla="*/ 952 h 1043"/>
                  <a:gd name="connsiteX87" fmla="*/ 925 w 5061"/>
                  <a:gd name="connsiteY87" fmla="*/ 915 h 1043"/>
                  <a:gd name="connsiteX88" fmla="*/ 884 w 5061"/>
                  <a:gd name="connsiteY88" fmla="*/ 873 h 1043"/>
                  <a:gd name="connsiteX89" fmla="*/ 847 w 5061"/>
                  <a:gd name="connsiteY89" fmla="*/ 828 h 1043"/>
                  <a:gd name="connsiteX90" fmla="*/ 810 w 5061"/>
                  <a:gd name="connsiteY90" fmla="*/ 780 h 1043"/>
                  <a:gd name="connsiteX91" fmla="*/ 777 w 5061"/>
                  <a:gd name="connsiteY91" fmla="*/ 728 h 1043"/>
                  <a:gd name="connsiteX92" fmla="*/ 742 w 5061"/>
                  <a:gd name="connsiteY92" fmla="*/ 674 h 1043"/>
                  <a:gd name="connsiteX93" fmla="*/ 711 w 5061"/>
                  <a:gd name="connsiteY93" fmla="*/ 618 h 1043"/>
                  <a:gd name="connsiteX94" fmla="*/ 678 w 5061"/>
                  <a:gd name="connsiteY94" fmla="*/ 560 h 1043"/>
                  <a:gd name="connsiteX95" fmla="*/ 616 w 5061"/>
                  <a:gd name="connsiteY95" fmla="*/ 448 h 1043"/>
                  <a:gd name="connsiteX96" fmla="*/ 547 w 5061"/>
                  <a:gd name="connsiteY96" fmla="*/ 340 h 1043"/>
                  <a:gd name="connsiteX97" fmla="*/ 504 w 5061"/>
                  <a:gd name="connsiteY97" fmla="*/ 284 h 1043"/>
                  <a:gd name="connsiteX98" fmla="*/ 457 w 5061"/>
                  <a:gd name="connsiteY98" fmla="*/ 239 h 1043"/>
                  <a:gd name="connsiteX99" fmla="*/ 409 w 5061"/>
                  <a:gd name="connsiteY99" fmla="*/ 199 h 1043"/>
                  <a:gd name="connsiteX100" fmla="*/ 358 w 5061"/>
                  <a:gd name="connsiteY100" fmla="*/ 168 h 1043"/>
                  <a:gd name="connsiteX101" fmla="*/ 308 w 5061"/>
                  <a:gd name="connsiteY101" fmla="*/ 145 h 1043"/>
                  <a:gd name="connsiteX102" fmla="*/ 256 w 5061"/>
                  <a:gd name="connsiteY102" fmla="*/ 127 h 1043"/>
                  <a:gd name="connsiteX103" fmla="*/ 209 w 5061"/>
                  <a:gd name="connsiteY103" fmla="*/ 112 h 1043"/>
                  <a:gd name="connsiteX104" fmla="*/ 163 w 5061"/>
                  <a:gd name="connsiteY104" fmla="*/ 104 h 1043"/>
                  <a:gd name="connsiteX105" fmla="*/ 122 w 5061"/>
                  <a:gd name="connsiteY105" fmla="*/ 100 h 1043"/>
                  <a:gd name="connsiteX106" fmla="*/ 85 w 5061"/>
                  <a:gd name="connsiteY106" fmla="*/ 95 h 1043"/>
                  <a:gd name="connsiteX107" fmla="*/ 31 w 5061"/>
                  <a:gd name="connsiteY107" fmla="*/ 95 h 1043"/>
                  <a:gd name="connsiteX108" fmla="*/ 17 w 5061"/>
                  <a:gd name="connsiteY108" fmla="*/ 98 h 1043"/>
                  <a:gd name="connsiteX109" fmla="*/ 11 w 5061"/>
                  <a:gd name="connsiteY109" fmla="*/ 98 h 1043"/>
                  <a:gd name="connsiteX110" fmla="*/ 0 w 5061"/>
                  <a:gd name="connsiteY110" fmla="*/ 13 h 1043"/>
                  <a:gd name="connsiteX111" fmla="*/ 9 w 5061"/>
                  <a:gd name="connsiteY111" fmla="*/ 13 h 1043"/>
                  <a:gd name="connsiteX112" fmla="*/ 29 w 5061"/>
                  <a:gd name="connsiteY112" fmla="*/ 10 h 1043"/>
                  <a:gd name="connsiteX113" fmla="*/ 91 w 5061"/>
                  <a:gd name="connsiteY113" fmla="*/ 10 h 1043"/>
                  <a:gd name="connsiteX114" fmla="*/ 135 w 5061"/>
                  <a:gd name="connsiteY114" fmla="*/ 13 h 1043"/>
                  <a:gd name="connsiteX115" fmla="*/ 182 w 5061"/>
                  <a:gd name="connsiteY115" fmla="*/ 19 h 1043"/>
                  <a:gd name="connsiteX116" fmla="*/ 234 w 5061"/>
                  <a:gd name="connsiteY116" fmla="*/ 29 h 1043"/>
                  <a:gd name="connsiteX117" fmla="*/ 287 w 5061"/>
                  <a:gd name="connsiteY117" fmla="*/ 46 h 1043"/>
                  <a:gd name="connsiteX118" fmla="*/ 345 w 5061"/>
                  <a:gd name="connsiteY118" fmla="*/ 66 h 1043"/>
                  <a:gd name="connsiteX119" fmla="*/ 403 w 5061"/>
                  <a:gd name="connsiteY119" fmla="*/ 93 h 1043"/>
                  <a:gd name="connsiteX120" fmla="*/ 459 w 5061"/>
                  <a:gd name="connsiteY120" fmla="*/ 131 h 1043"/>
                  <a:gd name="connsiteX121" fmla="*/ 514 w 5061"/>
                  <a:gd name="connsiteY121" fmla="*/ 174 h 1043"/>
                  <a:gd name="connsiteX122" fmla="*/ 568 w 5061"/>
                  <a:gd name="connsiteY122" fmla="*/ 228 h 1043"/>
                  <a:gd name="connsiteX123" fmla="*/ 618 w 5061"/>
                  <a:gd name="connsiteY123" fmla="*/ 292 h 1043"/>
                  <a:gd name="connsiteX124" fmla="*/ 667 w 5061"/>
                  <a:gd name="connsiteY124" fmla="*/ 367 h 1043"/>
                  <a:gd name="connsiteX125" fmla="*/ 754 w 5061"/>
                  <a:gd name="connsiteY125" fmla="*/ 516 h 1043"/>
                  <a:gd name="connsiteX126" fmla="*/ 787 w 5061"/>
                  <a:gd name="connsiteY126" fmla="*/ 575 h 1043"/>
                  <a:gd name="connsiteX127" fmla="*/ 820 w 5061"/>
                  <a:gd name="connsiteY127" fmla="*/ 631 h 1043"/>
                  <a:gd name="connsiteX128" fmla="*/ 853 w 5061"/>
                  <a:gd name="connsiteY128" fmla="*/ 684 h 1043"/>
                  <a:gd name="connsiteX129" fmla="*/ 886 w 5061"/>
                  <a:gd name="connsiteY129" fmla="*/ 736 h 1043"/>
                  <a:gd name="connsiteX130" fmla="*/ 921 w 5061"/>
                  <a:gd name="connsiteY130" fmla="*/ 782 h 1043"/>
                  <a:gd name="connsiteX131" fmla="*/ 958 w 5061"/>
                  <a:gd name="connsiteY131" fmla="*/ 825 h 1043"/>
                  <a:gd name="connsiteX132" fmla="*/ 1000 w 5061"/>
                  <a:gd name="connsiteY132" fmla="*/ 863 h 1043"/>
                  <a:gd name="connsiteX133" fmla="*/ 1043 w 5061"/>
                  <a:gd name="connsiteY133" fmla="*/ 894 h 1043"/>
                  <a:gd name="connsiteX134" fmla="*/ 1090 w 5061"/>
                  <a:gd name="connsiteY134" fmla="*/ 921 h 1043"/>
                  <a:gd name="connsiteX135" fmla="*/ 1140 w 5061"/>
                  <a:gd name="connsiteY135" fmla="*/ 939 h 1043"/>
                  <a:gd name="connsiteX136" fmla="*/ 1196 w 5061"/>
                  <a:gd name="connsiteY136" fmla="*/ 952 h 1043"/>
                  <a:gd name="connsiteX137" fmla="*/ 1258 w 5061"/>
                  <a:gd name="connsiteY137" fmla="*/ 956 h 1043"/>
                  <a:gd name="connsiteX138" fmla="*/ 1264 w 5061"/>
                  <a:gd name="connsiteY138" fmla="*/ 956 h 1043"/>
                  <a:gd name="connsiteX139" fmla="*/ 1324 w 5061"/>
                  <a:gd name="connsiteY139" fmla="*/ 950 h 1043"/>
                  <a:gd name="connsiteX140" fmla="*/ 1380 w 5061"/>
                  <a:gd name="connsiteY140" fmla="*/ 935 h 1043"/>
                  <a:gd name="connsiteX141" fmla="*/ 1433 w 5061"/>
                  <a:gd name="connsiteY141" fmla="*/ 913 h 1043"/>
                  <a:gd name="connsiteX142" fmla="*/ 1481 w 5061"/>
                  <a:gd name="connsiteY142" fmla="*/ 884 h 1043"/>
                  <a:gd name="connsiteX143" fmla="*/ 1526 w 5061"/>
                  <a:gd name="connsiteY143" fmla="*/ 846 h 1043"/>
                  <a:gd name="connsiteX144" fmla="*/ 1569 w 5061"/>
                  <a:gd name="connsiteY144" fmla="*/ 803 h 1043"/>
                  <a:gd name="connsiteX145" fmla="*/ 1609 w 5061"/>
                  <a:gd name="connsiteY145" fmla="*/ 755 h 1043"/>
                  <a:gd name="connsiteX146" fmla="*/ 1648 w 5061"/>
                  <a:gd name="connsiteY146" fmla="*/ 703 h 1043"/>
                  <a:gd name="connsiteX147" fmla="*/ 1687 w 5061"/>
                  <a:gd name="connsiteY147" fmla="*/ 649 h 1043"/>
                  <a:gd name="connsiteX148" fmla="*/ 1799 w 5061"/>
                  <a:gd name="connsiteY148" fmla="*/ 475 h 1043"/>
                  <a:gd name="connsiteX149" fmla="*/ 1838 w 5061"/>
                  <a:gd name="connsiteY149" fmla="*/ 415 h 1043"/>
                  <a:gd name="connsiteX150" fmla="*/ 1879 w 5061"/>
                  <a:gd name="connsiteY150" fmla="*/ 357 h 1043"/>
                  <a:gd name="connsiteX151" fmla="*/ 1923 w 5061"/>
                  <a:gd name="connsiteY151" fmla="*/ 299 h 1043"/>
                  <a:gd name="connsiteX152" fmla="*/ 1968 w 5061"/>
                  <a:gd name="connsiteY152" fmla="*/ 245 h 1043"/>
                  <a:gd name="connsiteX153" fmla="*/ 2015 w 5061"/>
                  <a:gd name="connsiteY153" fmla="*/ 193 h 1043"/>
                  <a:gd name="connsiteX154" fmla="*/ 2069 w 5061"/>
                  <a:gd name="connsiteY154" fmla="*/ 145 h 1043"/>
                  <a:gd name="connsiteX155" fmla="*/ 2125 w 5061"/>
                  <a:gd name="connsiteY155" fmla="*/ 104 h 1043"/>
                  <a:gd name="connsiteX156" fmla="*/ 2187 w 5061"/>
                  <a:gd name="connsiteY156" fmla="*/ 69 h 1043"/>
                  <a:gd name="connsiteX157" fmla="*/ 2253 w 5061"/>
                  <a:gd name="connsiteY157" fmla="*/ 39 h 1043"/>
                  <a:gd name="connsiteX158" fmla="*/ 2325 w 5061"/>
                  <a:gd name="connsiteY158" fmla="*/ 19 h 1043"/>
                  <a:gd name="connsiteX159" fmla="*/ 2404 w 5061"/>
                  <a:gd name="connsiteY159" fmla="*/ 6 h 1043"/>
                  <a:gd name="connsiteX160" fmla="*/ 2474 w 5061"/>
                  <a:gd name="connsiteY160" fmla="*/ 4 h 1043"/>
                  <a:gd name="connsiteX161" fmla="*/ 2540 w 5061"/>
                  <a:gd name="connsiteY161" fmla="*/ 13 h 1043"/>
                  <a:gd name="connsiteX162" fmla="*/ 2600 w 5061"/>
                  <a:gd name="connsiteY162" fmla="*/ 27 h 1043"/>
                  <a:gd name="connsiteX163" fmla="*/ 2658 w 5061"/>
                  <a:gd name="connsiteY163" fmla="*/ 50 h 1043"/>
                  <a:gd name="connsiteX164" fmla="*/ 2711 w 5061"/>
                  <a:gd name="connsiteY164" fmla="*/ 81 h 1043"/>
                  <a:gd name="connsiteX165" fmla="*/ 2761 w 5061"/>
                  <a:gd name="connsiteY165" fmla="*/ 116 h 1043"/>
                  <a:gd name="connsiteX166" fmla="*/ 2806 w 5061"/>
                  <a:gd name="connsiteY166" fmla="*/ 158 h 1043"/>
                  <a:gd name="connsiteX167" fmla="*/ 2852 w 5061"/>
                  <a:gd name="connsiteY167" fmla="*/ 203 h 1043"/>
                  <a:gd name="connsiteX168" fmla="*/ 2893 w 5061"/>
                  <a:gd name="connsiteY168" fmla="*/ 251 h 1043"/>
                  <a:gd name="connsiteX169" fmla="*/ 2932 w 5061"/>
                  <a:gd name="connsiteY169" fmla="*/ 303 h 1043"/>
                  <a:gd name="connsiteX170" fmla="*/ 2969 w 5061"/>
                  <a:gd name="connsiteY170" fmla="*/ 357 h 1043"/>
                  <a:gd name="connsiteX171" fmla="*/ 3004 w 5061"/>
                  <a:gd name="connsiteY171" fmla="*/ 413 h 1043"/>
                  <a:gd name="connsiteX172" fmla="*/ 3039 w 5061"/>
                  <a:gd name="connsiteY172" fmla="*/ 467 h 1043"/>
                  <a:gd name="connsiteX173" fmla="*/ 3073 w 5061"/>
                  <a:gd name="connsiteY173" fmla="*/ 523 h 1043"/>
                  <a:gd name="connsiteX174" fmla="*/ 3110 w 5061"/>
                  <a:gd name="connsiteY174" fmla="*/ 585 h 1043"/>
                  <a:gd name="connsiteX175" fmla="*/ 3147 w 5061"/>
                  <a:gd name="connsiteY175" fmla="*/ 643 h 1043"/>
                  <a:gd name="connsiteX176" fmla="*/ 3186 w 5061"/>
                  <a:gd name="connsiteY176" fmla="*/ 701 h 1043"/>
                  <a:gd name="connsiteX177" fmla="*/ 3223 w 5061"/>
                  <a:gd name="connsiteY177" fmla="*/ 755 h 1043"/>
                  <a:gd name="connsiteX178" fmla="*/ 3265 w 5061"/>
                  <a:gd name="connsiteY178" fmla="*/ 805 h 1043"/>
                  <a:gd name="connsiteX179" fmla="*/ 3306 w 5061"/>
                  <a:gd name="connsiteY179" fmla="*/ 848 h 1043"/>
                  <a:gd name="connsiteX180" fmla="*/ 3349 w 5061"/>
                  <a:gd name="connsiteY180" fmla="*/ 886 h 1043"/>
                  <a:gd name="connsiteX181" fmla="*/ 3395 w 5061"/>
                  <a:gd name="connsiteY181" fmla="*/ 917 h 1043"/>
                  <a:gd name="connsiteX182" fmla="*/ 3444 w 5061"/>
                  <a:gd name="connsiteY182" fmla="*/ 939 h 1043"/>
                  <a:gd name="connsiteX183" fmla="*/ 3498 w 5061"/>
                  <a:gd name="connsiteY183" fmla="*/ 952 h 1043"/>
                  <a:gd name="connsiteX184" fmla="*/ 3554 w 5061"/>
                  <a:gd name="connsiteY184" fmla="*/ 956 h 1043"/>
                  <a:gd name="connsiteX185" fmla="*/ 3609 w 5061"/>
                  <a:gd name="connsiteY185" fmla="*/ 950 h 1043"/>
                  <a:gd name="connsiteX186" fmla="*/ 3659 w 5061"/>
                  <a:gd name="connsiteY186" fmla="*/ 935 h 1043"/>
                  <a:gd name="connsiteX187" fmla="*/ 3706 w 5061"/>
                  <a:gd name="connsiteY187" fmla="*/ 915 h 1043"/>
                  <a:gd name="connsiteX188" fmla="*/ 3750 w 5061"/>
                  <a:gd name="connsiteY188" fmla="*/ 884 h 1043"/>
                  <a:gd name="connsiteX189" fmla="*/ 3789 w 5061"/>
                  <a:gd name="connsiteY189" fmla="*/ 848 h 1043"/>
                  <a:gd name="connsiteX190" fmla="*/ 3826 w 5061"/>
                  <a:gd name="connsiteY190" fmla="*/ 807 h 1043"/>
                  <a:gd name="connsiteX191" fmla="*/ 3861 w 5061"/>
                  <a:gd name="connsiteY191" fmla="*/ 759 h 1043"/>
                  <a:gd name="connsiteX192" fmla="*/ 3894 w 5061"/>
                  <a:gd name="connsiteY192" fmla="*/ 709 h 1043"/>
                  <a:gd name="connsiteX193" fmla="*/ 3927 w 5061"/>
                  <a:gd name="connsiteY193" fmla="*/ 655 h 1043"/>
                  <a:gd name="connsiteX194" fmla="*/ 3960 w 5061"/>
                  <a:gd name="connsiteY194" fmla="*/ 597 h 1043"/>
                  <a:gd name="connsiteX195" fmla="*/ 3993 w 5061"/>
                  <a:gd name="connsiteY195" fmla="*/ 537 h 1043"/>
                  <a:gd name="connsiteX196" fmla="*/ 4022 w 5061"/>
                  <a:gd name="connsiteY196" fmla="*/ 483 h 1043"/>
                  <a:gd name="connsiteX197" fmla="*/ 4084 w 5061"/>
                  <a:gd name="connsiteY197" fmla="*/ 375 h 1043"/>
                  <a:gd name="connsiteX198" fmla="*/ 4154 w 5061"/>
                  <a:gd name="connsiteY198" fmla="*/ 272 h 1043"/>
                  <a:gd name="connsiteX199" fmla="*/ 4192 w 5061"/>
                  <a:gd name="connsiteY199" fmla="*/ 224 h 1043"/>
                  <a:gd name="connsiteX200" fmla="*/ 4233 w 5061"/>
                  <a:gd name="connsiteY200" fmla="*/ 178 h 1043"/>
                  <a:gd name="connsiteX201" fmla="*/ 4276 w 5061"/>
                  <a:gd name="connsiteY201" fmla="*/ 137 h 1043"/>
                  <a:gd name="connsiteX202" fmla="*/ 4375 w 5061"/>
                  <a:gd name="connsiteY202" fmla="*/ 66 h 1043"/>
                  <a:gd name="connsiteX203" fmla="*/ 4433 w 5061"/>
                  <a:gd name="connsiteY203" fmla="*/ 39 h 1043"/>
                  <a:gd name="connsiteX204" fmla="*/ 4493 w 5061"/>
                  <a:gd name="connsiteY204" fmla="*/ 19 h 1043"/>
                  <a:gd name="connsiteX205" fmla="*/ 4559 w 5061"/>
                  <a:gd name="connsiteY205" fmla="*/ 6 h 1043"/>
                  <a:gd name="connsiteX206" fmla="*/ 4631 w 5061"/>
                  <a:gd name="connsiteY206" fmla="*/ 0 h 1043"/>
                  <a:gd name="connsiteX0" fmla="*/ 4631 w 5061"/>
                  <a:gd name="connsiteY0" fmla="*/ 0 h 1043"/>
                  <a:gd name="connsiteX1" fmla="*/ 4681 w 5061"/>
                  <a:gd name="connsiteY1" fmla="*/ 0 h 1043"/>
                  <a:gd name="connsiteX2" fmla="*/ 4710 w 5061"/>
                  <a:gd name="connsiteY2" fmla="*/ 4 h 1043"/>
                  <a:gd name="connsiteX3" fmla="*/ 4741 w 5061"/>
                  <a:gd name="connsiteY3" fmla="*/ 13 h 1043"/>
                  <a:gd name="connsiteX4" fmla="*/ 4778 w 5061"/>
                  <a:gd name="connsiteY4" fmla="*/ 23 h 1043"/>
                  <a:gd name="connsiteX5" fmla="*/ 4819 w 5061"/>
                  <a:gd name="connsiteY5" fmla="*/ 39 h 1043"/>
                  <a:gd name="connsiteX6" fmla="*/ 4863 w 5061"/>
                  <a:gd name="connsiteY6" fmla="*/ 60 h 1043"/>
                  <a:gd name="connsiteX7" fmla="*/ 4910 w 5061"/>
                  <a:gd name="connsiteY7" fmla="*/ 89 h 1043"/>
                  <a:gd name="connsiteX8" fmla="*/ 4960 w 5061"/>
                  <a:gd name="connsiteY8" fmla="*/ 124 h 1043"/>
                  <a:gd name="connsiteX9" fmla="*/ 5009 w 5061"/>
                  <a:gd name="connsiteY9" fmla="*/ 170 h 1043"/>
                  <a:gd name="connsiteX10" fmla="*/ 5061 w 5061"/>
                  <a:gd name="connsiteY10" fmla="*/ 224 h 1043"/>
                  <a:gd name="connsiteX11" fmla="*/ 4900 w 5061"/>
                  <a:gd name="connsiteY11" fmla="*/ 189 h 1043"/>
                  <a:gd name="connsiteX12" fmla="*/ 4770 w 5061"/>
                  <a:gd name="connsiteY12" fmla="*/ 112 h 1043"/>
                  <a:gd name="connsiteX13" fmla="*/ 4691 w 5061"/>
                  <a:gd name="connsiteY13" fmla="*/ 89 h 1043"/>
                  <a:gd name="connsiteX14" fmla="*/ 4662 w 5061"/>
                  <a:gd name="connsiteY14" fmla="*/ 87 h 1043"/>
                  <a:gd name="connsiteX15" fmla="*/ 4507 w 5061"/>
                  <a:gd name="connsiteY15" fmla="*/ 106 h 1043"/>
                  <a:gd name="connsiteX16" fmla="*/ 4400 w 5061"/>
                  <a:gd name="connsiteY16" fmla="*/ 154 h 1043"/>
                  <a:gd name="connsiteX17" fmla="*/ 4353 w 5061"/>
                  <a:gd name="connsiteY17" fmla="*/ 187 h 1043"/>
                  <a:gd name="connsiteX18" fmla="*/ 4309 w 5061"/>
                  <a:gd name="connsiteY18" fmla="*/ 224 h 1043"/>
                  <a:gd name="connsiteX19" fmla="*/ 4270 w 5061"/>
                  <a:gd name="connsiteY19" fmla="*/ 268 h 1043"/>
                  <a:gd name="connsiteX20" fmla="*/ 4196 w 5061"/>
                  <a:gd name="connsiteY20" fmla="*/ 363 h 1043"/>
                  <a:gd name="connsiteX21" fmla="*/ 4163 w 5061"/>
                  <a:gd name="connsiteY21" fmla="*/ 415 h 1043"/>
                  <a:gd name="connsiteX22" fmla="*/ 4101 w 5061"/>
                  <a:gd name="connsiteY22" fmla="*/ 523 h 1043"/>
                  <a:gd name="connsiteX23" fmla="*/ 4008 w 5061"/>
                  <a:gd name="connsiteY23" fmla="*/ 691 h 1043"/>
                  <a:gd name="connsiteX24" fmla="*/ 3975 w 5061"/>
                  <a:gd name="connsiteY24" fmla="*/ 747 h 1043"/>
                  <a:gd name="connsiteX25" fmla="*/ 3940 w 5061"/>
                  <a:gd name="connsiteY25" fmla="*/ 798 h 1043"/>
                  <a:gd name="connsiteX26" fmla="*/ 3905 w 5061"/>
                  <a:gd name="connsiteY26" fmla="*/ 848 h 1043"/>
                  <a:gd name="connsiteX27" fmla="*/ 3865 w 5061"/>
                  <a:gd name="connsiteY27" fmla="*/ 894 h 1043"/>
                  <a:gd name="connsiteX28" fmla="*/ 3824 w 5061"/>
                  <a:gd name="connsiteY28" fmla="*/ 935 h 1043"/>
                  <a:gd name="connsiteX29" fmla="*/ 3779 w 5061"/>
                  <a:gd name="connsiteY29" fmla="*/ 971 h 1043"/>
                  <a:gd name="connsiteX30" fmla="*/ 3729 w 5061"/>
                  <a:gd name="connsiteY30" fmla="*/ 1000 h 1043"/>
                  <a:gd name="connsiteX31" fmla="*/ 3677 w 5061"/>
                  <a:gd name="connsiteY31" fmla="*/ 1022 h 1043"/>
                  <a:gd name="connsiteX32" fmla="*/ 3620 w 5061"/>
                  <a:gd name="connsiteY32" fmla="*/ 1037 h 1043"/>
                  <a:gd name="connsiteX33" fmla="*/ 3556 w 5061"/>
                  <a:gd name="connsiteY33" fmla="*/ 1043 h 1043"/>
                  <a:gd name="connsiteX34" fmla="*/ 3547 w 5061"/>
                  <a:gd name="connsiteY34" fmla="*/ 1043 h 1043"/>
                  <a:gd name="connsiteX35" fmla="*/ 3485 w 5061"/>
                  <a:gd name="connsiteY35" fmla="*/ 1039 h 1043"/>
                  <a:gd name="connsiteX36" fmla="*/ 3426 w 5061"/>
                  <a:gd name="connsiteY36" fmla="*/ 1025 h 1043"/>
                  <a:gd name="connsiteX37" fmla="*/ 3372 w 5061"/>
                  <a:gd name="connsiteY37" fmla="*/ 1002 h 1043"/>
                  <a:gd name="connsiteX38" fmla="*/ 3320 w 5061"/>
                  <a:gd name="connsiteY38" fmla="*/ 973 h 1043"/>
                  <a:gd name="connsiteX39" fmla="*/ 3273 w 5061"/>
                  <a:gd name="connsiteY39" fmla="*/ 935 h 1043"/>
                  <a:gd name="connsiteX40" fmla="*/ 3229 w 5061"/>
                  <a:gd name="connsiteY40" fmla="*/ 894 h 1043"/>
                  <a:gd name="connsiteX41" fmla="*/ 3186 w 5061"/>
                  <a:gd name="connsiteY41" fmla="*/ 846 h 1043"/>
                  <a:gd name="connsiteX42" fmla="*/ 3147 w 5061"/>
                  <a:gd name="connsiteY42" fmla="*/ 796 h 1043"/>
                  <a:gd name="connsiteX43" fmla="*/ 3108 w 5061"/>
                  <a:gd name="connsiteY43" fmla="*/ 740 h 1043"/>
                  <a:gd name="connsiteX44" fmla="*/ 3070 w 5061"/>
                  <a:gd name="connsiteY44" fmla="*/ 684 h 1043"/>
                  <a:gd name="connsiteX45" fmla="*/ 2965 w 5061"/>
                  <a:gd name="connsiteY45" fmla="*/ 510 h 1043"/>
                  <a:gd name="connsiteX46" fmla="*/ 2928 w 5061"/>
                  <a:gd name="connsiteY46" fmla="*/ 452 h 1043"/>
                  <a:gd name="connsiteX47" fmla="*/ 2891 w 5061"/>
                  <a:gd name="connsiteY47" fmla="*/ 396 h 1043"/>
                  <a:gd name="connsiteX48" fmla="*/ 2854 w 5061"/>
                  <a:gd name="connsiteY48" fmla="*/ 342 h 1043"/>
                  <a:gd name="connsiteX49" fmla="*/ 2814 w 5061"/>
                  <a:gd name="connsiteY49" fmla="*/ 292 h 1043"/>
                  <a:gd name="connsiteX50" fmla="*/ 2773 w 5061"/>
                  <a:gd name="connsiteY50" fmla="*/ 247 h 1043"/>
                  <a:gd name="connsiteX51" fmla="*/ 2732 w 5061"/>
                  <a:gd name="connsiteY51" fmla="*/ 205 h 1043"/>
                  <a:gd name="connsiteX52" fmla="*/ 2686 w 5061"/>
                  <a:gd name="connsiteY52" fmla="*/ 168 h 1043"/>
                  <a:gd name="connsiteX53" fmla="*/ 2639 w 5061"/>
                  <a:gd name="connsiteY53" fmla="*/ 139 h 1043"/>
                  <a:gd name="connsiteX54" fmla="*/ 2587 w 5061"/>
                  <a:gd name="connsiteY54" fmla="*/ 116 h 1043"/>
                  <a:gd name="connsiteX55" fmla="*/ 2532 w 5061"/>
                  <a:gd name="connsiteY55" fmla="*/ 100 h 1043"/>
                  <a:gd name="connsiteX56" fmla="*/ 2474 w 5061"/>
                  <a:gd name="connsiteY56" fmla="*/ 91 h 1043"/>
                  <a:gd name="connsiteX57" fmla="*/ 2410 w 5061"/>
                  <a:gd name="connsiteY57" fmla="*/ 93 h 1043"/>
                  <a:gd name="connsiteX58" fmla="*/ 2342 w 5061"/>
                  <a:gd name="connsiteY58" fmla="*/ 104 h 1043"/>
                  <a:gd name="connsiteX59" fmla="*/ 2280 w 5061"/>
                  <a:gd name="connsiteY59" fmla="*/ 122 h 1043"/>
                  <a:gd name="connsiteX60" fmla="*/ 2222 w 5061"/>
                  <a:gd name="connsiteY60" fmla="*/ 147 h 1043"/>
                  <a:gd name="connsiteX61" fmla="*/ 2168 w 5061"/>
                  <a:gd name="connsiteY61" fmla="*/ 180 h 1043"/>
                  <a:gd name="connsiteX62" fmla="*/ 2117 w 5061"/>
                  <a:gd name="connsiteY62" fmla="*/ 218 h 1043"/>
                  <a:gd name="connsiteX63" fmla="*/ 2071 w 5061"/>
                  <a:gd name="connsiteY63" fmla="*/ 261 h 1043"/>
                  <a:gd name="connsiteX64" fmla="*/ 2026 w 5061"/>
                  <a:gd name="connsiteY64" fmla="*/ 307 h 1043"/>
                  <a:gd name="connsiteX65" fmla="*/ 1984 w 5061"/>
                  <a:gd name="connsiteY65" fmla="*/ 359 h 1043"/>
                  <a:gd name="connsiteX66" fmla="*/ 1945 w 5061"/>
                  <a:gd name="connsiteY66" fmla="*/ 413 h 1043"/>
                  <a:gd name="connsiteX67" fmla="*/ 1908 w 5061"/>
                  <a:gd name="connsiteY67" fmla="*/ 467 h 1043"/>
                  <a:gd name="connsiteX68" fmla="*/ 1871 w 5061"/>
                  <a:gd name="connsiteY68" fmla="*/ 523 h 1043"/>
                  <a:gd name="connsiteX69" fmla="*/ 1834 w 5061"/>
                  <a:gd name="connsiteY69" fmla="*/ 581 h 1043"/>
                  <a:gd name="connsiteX70" fmla="*/ 1799 w 5061"/>
                  <a:gd name="connsiteY70" fmla="*/ 637 h 1043"/>
                  <a:gd name="connsiteX71" fmla="*/ 1724 w 5061"/>
                  <a:gd name="connsiteY71" fmla="*/ 749 h 1043"/>
                  <a:gd name="connsiteX72" fmla="*/ 1685 w 5061"/>
                  <a:gd name="connsiteY72" fmla="*/ 801 h 1043"/>
                  <a:gd name="connsiteX73" fmla="*/ 1644 w 5061"/>
                  <a:gd name="connsiteY73" fmla="*/ 850 h 1043"/>
                  <a:gd name="connsiteX74" fmla="*/ 1600 w 5061"/>
                  <a:gd name="connsiteY74" fmla="*/ 896 h 1043"/>
                  <a:gd name="connsiteX75" fmla="*/ 1553 w 5061"/>
                  <a:gd name="connsiteY75" fmla="*/ 937 h 1043"/>
                  <a:gd name="connsiteX76" fmla="*/ 1503 w 5061"/>
                  <a:gd name="connsiteY76" fmla="*/ 973 h 1043"/>
                  <a:gd name="connsiteX77" fmla="*/ 1450 w 5061"/>
                  <a:gd name="connsiteY77" fmla="*/ 1002 h 1043"/>
                  <a:gd name="connsiteX78" fmla="*/ 1394 w 5061"/>
                  <a:gd name="connsiteY78" fmla="*/ 1025 h 1043"/>
                  <a:gd name="connsiteX79" fmla="*/ 1330 w 5061"/>
                  <a:gd name="connsiteY79" fmla="*/ 1037 h 1043"/>
                  <a:gd name="connsiteX80" fmla="*/ 1264 w 5061"/>
                  <a:gd name="connsiteY80" fmla="*/ 1043 h 1043"/>
                  <a:gd name="connsiteX81" fmla="*/ 1258 w 5061"/>
                  <a:gd name="connsiteY81" fmla="*/ 1043 h 1043"/>
                  <a:gd name="connsiteX82" fmla="*/ 1190 w 5061"/>
                  <a:gd name="connsiteY82" fmla="*/ 1039 h 1043"/>
                  <a:gd name="connsiteX83" fmla="*/ 1128 w 5061"/>
                  <a:gd name="connsiteY83" fmla="*/ 1027 h 1043"/>
                  <a:gd name="connsiteX84" fmla="*/ 1070 w 5061"/>
                  <a:gd name="connsiteY84" fmla="*/ 1008 h 1043"/>
                  <a:gd name="connsiteX85" fmla="*/ 1018 w 5061"/>
                  <a:gd name="connsiteY85" fmla="*/ 983 h 1043"/>
                  <a:gd name="connsiteX86" fmla="*/ 971 w 5061"/>
                  <a:gd name="connsiteY86" fmla="*/ 952 h 1043"/>
                  <a:gd name="connsiteX87" fmla="*/ 925 w 5061"/>
                  <a:gd name="connsiteY87" fmla="*/ 915 h 1043"/>
                  <a:gd name="connsiteX88" fmla="*/ 884 w 5061"/>
                  <a:gd name="connsiteY88" fmla="*/ 873 h 1043"/>
                  <a:gd name="connsiteX89" fmla="*/ 847 w 5061"/>
                  <a:gd name="connsiteY89" fmla="*/ 828 h 1043"/>
                  <a:gd name="connsiteX90" fmla="*/ 810 w 5061"/>
                  <a:gd name="connsiteY90" fmla="*/ 780 h 1043"/>
                  <a:gd name="connsiteX91" fmla="*/ 777 w 5061"/>
                  <a:gd name="connsiteY91" fmla="*/ 728 h 1043"/>
                  <a:gd name="connsiteX92" fmla="*/ 742 w 5061"/>
                  <a:gd name="connsiteY92" fmla="*/ 674 h 1043"/>
                  <a:gd name="connsiteX93" fmla="*/ 711 w 5061"/>
                  <a:gd name="connsiteY93" fmla="*/ 618 h 1043"/>
                  <a:gd name="connsiteX94" fmla="*/ 678 w 5061"/>
                  <a:gd name="connsiteY94" fmla="*/ 560 h 1043"/>
                  <a:gd name="connsiteX95" fmla="*/ 616 w 5061"/>
                  <a:gd name="connsiteY95" fmla="*/ 448 h 1043"/>
                  <a:gd name="connsiteX96" fmla="*/ 547 w 5061"/>
                  <a:gd name="connsiteY96" fmla="*/ 340 h 1043"/>
                  <a:gd name="connsiteX97" fmla="*/ 504 w 5061"/>
                  <a:gd name="connsiteY97" fmla="*/ 284 h 1043"/>
                  <a:gd name="connsiteX98" fmla="*/ 457 w 5061"/>
                  <a:gd name="connsiteY98" fmla="*/ 239 h 1043"/>
                  <a:gd name="connsiteX99" fmla="*/ 409 w 5061"/>
                  <a:gd name="connsiteY99" fmla="*/ 199 h 1043"/>
                  <a:gd name="connsiteX100" fmla="*/ 358 w 5061"/>
                  <a:gd name="connsiteY100" fmla="*/ 168 h 1043"/>
                  <a:gd name="connsiteX101" fmla="*/ 308 w 5061"/>
                  <a:gd name="connsiteY101" fmla="*/ 145 h 1043"/>
                  <a:gd name="connsiteX102" fmla="*/ 256 w 5061"/>
                  <a:gd name="connsiteY102" fmla="*/ 127 h 1043"/>
                  <a:gd name="connsiteX103" fmla="*/ 209 w 5061"/>
                  <a:gd name="connsiteY103" fmla="*/ 112 h 1043"/>
                  <a:gd name="connsiteX104" fmla="*/ 163 w 5061"/>
                  <a:gd name="connsiteY104" fmla="*/ 104 h 1043"/>
                  <a:gd name="connsiteX105" fmla="*/ 122 w 5061"/>
                  <a:gd name="connsiteY105" fmla="*/ 100 h 1043"/>
                  <a:gd name="connsiteX106" fmla="*/ 85 w 5061"/>
                  <a:gd name="connsiteY106" fmla="*/ 95 h 1043"/>
                  <a:gd name="connsiteX107" fmla="*/ 31 w 5061"/>
                  <a:gd name="connsiteY107" fmla="*/ 95 h 1043"/>
                  <a:gd name="connsiteX108" fmla="*/ 17 w 5061"/>
                  <a:gd name="connsiteY108" fmla="*/ 98 h 1043"/>
                  <a:gd name="connsiteX109" fmla="*/ 11 w 5061"/>
                  <a:gd name="connsiteY109" fmla="*/ 98 h 1043"/>
                  <a:gd name="connsiteX110" fmla="*/ 0 w 5061"/>
                  <a:gd name="connsiteY110" fmla="*/ 13 h 1043"/>
                  <a:gd name="connsiteX111" fmla="*/ 9 w 5061"/>
                  <a:gd name="connsiteY111" fmla="*/ 13 h 1043"/>
                  <a:gd name="connsiteX112" fmla="*/ 29 w 5061"/>
                  <a:gd name="connsiteY112" fmla="*/ 10 h 1043"/>
                  <a:gd name="connsiteX113" fmla="*/ 91 w 5061"/>
                  <a:gd name="connsiteY113" fmla="*/ 10 h 1043"/>
                  <a:gd name="connsiteX114" fmla="*/ 135 w 5061"/>
                  <a:gd name="connsiteY114" fmla="*/ 13 h 1043"/>
                  <a:gd name="connsiteX115" fmla="*/ 182 w 5061"/>
                  <a:gd name="connsiteY115" fmla="*/ 19 h 1043"/>
                  <a:gd name="connsiteX116" fmla="*/ 234 w 5061"/>
                  <a:gd name="connsiteY116" fmla="*/ 29 h 1043"/>
                  <a:gd name="connsiteX117" fmla="*/ 287 w 5061"/>
                  <a:gd name="connsiteY117" fmla="*/ 46 h 1043"/>
                  <a:gd name="connsiteX118" fmla="*/ 345 w 5061"/>
                  <a:gd name="connsiteY118" fmla="*/ 66 h 1043"/>
                  <a:gd name="connsiteX119" fmla="*/ 403 w 5061"/>
                  <a:gd name="connsiteY119" fmla="*/ 93 h 1043"/>
                  <a:gd name="connsiteX120" fmla="*/ 459 w 5061"/>
                  <a:gd name="connsiteY120" fmla="*/ 131 h 1043"/>
                  <a:gd name="connsiteX121" fmla="*/ 514 w 5061"/>
                  <a:gd name="connsiteY121" fmla="*/ 174 h 1043"/>
                  <a:gd name="connsiteX122" fmla="*/ 568 w 5061"/>
                  <a:gd name="connsiteY122" fmla="*/ 228 h 1043"/>
                  <a:gd name="connsiteX123" fmla="*/ 618 w 5061"/>
                  <a:gd name="connsiteY123" fmla="*/ 292 h 1043"/>
                  <a:gd name="connsiteX124" fmla="*/ 667 w 5061"/>
                  <a:gd name="connsiteY124" fmla="*/ 367 h 1043"/>
                  <a:gd name="connsiteX125" fmla="*/ 754 w 5061"/>
                  <a:gd name="connsiteY125" fmla="*/ 516 h 1043"/>
                  <a:gd name="connsiteX126" fmla="*/ 787 w 5061"/>
                  <a:gd name="connsiteY126" fmla="*/ 575 h 1043"/>
                  <a:gd name="connsiteX127" fmla="*/ 820 w 5061"/>
                  <a:gd name="connsiteY127" fmla="*/ 631 h 1043"/>
                  <a:gd name="connsiteX128" fmla="*/ 853 w 5061"/>
                  <a:gd name="connsiteY128" fmla="*/ 684 h 1043"/>
                  <a:gd name="connsiteX129" fmla="*/ 886 w 5061"/>
                  <a:gd name="connsiteY129" fmla="*/ 736 h 1043"/>
                  <a:gd name="connsiteX130" fmla="*/ 921 w 5061"/>
                  <a:gd name="connsiteY130" fmla="*/ 782 h 1043"/>
                  <a:gd name="connsiteX131" fmla="*/ 958 w 5061"/>
                  <a:gd name="connsiteY131" fmla="*/ 825 h 1043"/>
                  <a:gd name="connsiteX132" fmla="*/ 1000 w 5061"/>
                  <a:gd name="connsiteY132" fmla="*/ 863 h 1043"/>
                  <a:gd name="connsiteX133" fmla="*/ 1043 w 5061"/>
                  <a:gd name="connsiteY133" fmla="*/ 894 h 1043"/>
                  <a:gd name="connsiteX134" fmla="*/ 1090 w 5061"/>
                  <a:gd name="connsiteY134" fmla="*/ 921 h 1043"/>
                  <a:gd name="connsiteX135" fmla="*/ 1140 w 5061"/>
                  <a:gd name="connsiteY135" fmla="*/ 939 h 1043"/>
                  <a:gd name="connsiteX136" fmla="*/ 1196 w 5061"/>
                  <a:gd name="connsiteY136" fmla="*/ 952 h 1043"/>
                  <a:gd name="connsiteX137" fmla="*/ 1258 w 5061"/>
                  <a:gd name="connsiteY137" fmla="*/ 956 h 1043"/>
                  <a:gd name="connsiteX138" fmla="*/ 1264 w 5061"/>
                  <a:gd name="connsiteY138" fmla="*/ 956 h 1043"/>
                  <a:gd name="connsiteX139" fmla="*/ 1324 w 5061"/>
                  <a:gd name="connsiteY139" fmla="*/ 950 h 1043"/>
                  <a:gd name="connsiteX140" fmla="*/ 1380 w 5061"/>
                  <a:gd name="connsiteY140" fmla="*/ 935 h 1043"/>
                  <a:gd name="connsiteX141" fmla="*/ 1433 w 5061"/>
                  <a:gd name="connsiteY141" fmla="*/ 913 h 1043"/>
                  <a:gd name="connsiteX142" fmla="*/ 1481 w 5061"/>
                  <a:gd name="connsiteY142" fmla="*/ 884 h 1043"/>
                  <a:gd name="connsiteX143" fmla="*/ 1526 w 5061"/>
                  <a:gd name="connsiteY143" fmla="*/ 846 h 1043"/>
                  <a:gd name="connsiteX144" fmla="*/ 1569 w 5061"/>
                  <a:gd name="connsiteY144" fmla="*/ 803 h 1043"/>
                  <a:gd name="connsiteX145" fmla="*/ 1609 w 5061"/>
                  <a:gd name="connsiteY145" fmla="*/ 755 h 1043"/>
                  <a:gd name="connsiteX146" fmla="*/ 1648 w 5061"/>
                  <a:gd name="connsiteY146" fmla="*/ 703 h 1043"/>
                  <a:gd name="connsiteX147" fmla="*/ 1687 w 5061"/>
                  <a:gd name="connsiteY147" fmla="*/ 649 h 1043"/>
                  <a:gd name="connsiteX148" fmla="*/ 1799 w 5061"/>
                  <a:gd name="connsiteY148" fmla="*/ 475 h 1043"/>
                  <a:gd name="connsiteX149" fmla="*/ 1838 w 5061"/>
                  <a:gd name="connsiteY149" fmla="*/ 415 h 1043"/>
                  <a:gd name="connsiteX150" fmla="*/ 1879 w 5061"/>
                  <a:gd name="connsiteY150" fmla="*/ 357 h 1043"/>
                  <a:gd name="connsiteX151" fmla="*/ 1923 w 5061"/>
                  <a:gd name="connsiteY151" fmla="*/ 299 h 1043"/>
                  <a:gd name="connsiteX152" fmla="*/ 1968 w 5061"/>
                  <a:gd name="connsiteY152" fmla="*/ 245 h 1043"/>
                  <a:gd name="connsiteX153" fmla="*/ 2015 w 5061"/>
                  <a:gd name="connsiteY153" fmla="*/ 193 h 1043"/>
                  <a:gd name="connsiteX154" fmla="*/ 2069 w 5061"/>
                  <a:gd name="connsiteY154" fmla="*/ 145 h 1043"/>
                  <a:gd name="connsiteX155" fmla="*/ 2125 w 5061"/>
                  <a:gd name="connsiteY155" fmla="*/ 104 h 1043"/>
                  <a:gd name="connsiteX156" fmla="*/ 2187 w 5061"/>
                  <a:gd name="connsiteY156" fmla="*/ 69 h 1043"/>
                  <a:gd name="connsiteX157" fmla="*/ 2253 w 5061"/>
                  <a:gd name="connsiteY157" fmla="*/ 39 h 1043"/>
                  <a:gd name="connsiteX158" fmla="*/ 2325 w 5061"/>
                  <a:gd name="connsiteY158" fmla="*/ 19 h 1043"/>
                  <a:gd name="connsiteX159" fmla="*/ 2404 w 5061"/>
                  <a:gd name="connsiteY159" fmla="*/ 6 h 1043"/>
                  <a:gd name="connsiteX160" fmla="*/ 2474 w 5061"/>
                  <a:gd name="connsiteY160" fmla="*/ 4 h 1043"/>
                  <a:gd name="connsiteX161" fmla="*/ 2540 w 5061"/>
                  <a:gd name="connsiteY161" fmla="*/ 13 h 1043"/>
                  <a:gd name="connsiteX162" fmla="*/ 2600 w 5061"/>
                  <a:gd name="connsiteY162" fmla="*/ 27 h 1043"/>
                  <a:gd name="connsiteX163" fmla="*/ 2658 w 5061"/>
                  <a:gd name="connsiteY163" fmla="*/ 50 h 1043"/>
                  <a:gd name="connsiteX164" fmla="*/ 2711 w 5061"/>
                  <a:gd name="connsiteY164" fmla="*/ 81 h 1043"/>
                  <a:gd name="connsiteX165" fmla="*/ 2761 w 5061"/>
                  <a:gd name="connsiteY165" fmla="*/ 116 h 1043"/>
                  <a:gd name="connsiteX166" fmla="*/ 2806 w 5061"/>
                  <a:gd name="connsiteY166" fmla="*/ 158 h 1043"/>
                  <a:gd name="connsiteX167" fmla="*/ 2852 w 5061"/>
                  <a:gd name="connsiteY167" fmla="*/ 203 h 1043"/>
                  <a:gd name="connsiteX168" fmla="*/ 2893 w 5061"/>
                  <a:gd name="connsiteY168" fmla="*/ 251 h 1043"/>
                  <a:gd name="connsiteX169" fmla="*/ 2932 w 5061"/>
                  <a:gd name="connsiteY169" fmla="*/ 303 h 1043"/>
                  <a:gd name="connsiteX170" fmla="*/ 2969 w 5061"/>
                  <a:gd name="connsiteY170" fmla="*/ 357 h 1043"/>
                  <a:gd name="connsiteX171" fmla="*/ 3004 w 5061"/>
                  <a:gd name="connsiteY171" fmla="*/ 413 h 1043"/>
                  <a:gd name="connsiteX172" fmla="*/ 3039 w 5061"/>
                  <a:gd name="connsiteY172" fmla="*/ 467 h 1043"/>
                  <a:gd name="connsiteX173" fmla="*/ 3073 w 5061"/>
                  <a:gd name="connsiteY173" fmla="*/ 523 h 1043"/>
                  <a:gd name="connsiteX174" fmla="*/ 3110 w 5061"/>
                  <a:gd name="connsiteY174" fmla="*/ 585 h 1043"/>
                  <a:gd name="connsiteX175" fmla="*/ 3147 w 5061"/>
                  <a:gd name="connsiteY175" fmla="*/ 643 h 1043"/>
                  <a:gd name="connsiteX176" fmla="*/ 3186 w 5061"/>
                  <a:gd name="connsiteY176" fmla="*/ 701 h 1043"/>
                  <a:gd name="connsiteX177" fmla="*/ 3223 w 5061"/>
                  <a:gd name="connsiteY177" fmla="*/ 755 h 1043"/>
                  <a:gd name="connsiteX178" fmla="*/ 3265 w 5061"/>
                  <a:gd name="connsiteY178" fmla="*/ 805 h 1043"/>
                  <a:gd name="connsiteX179" fmla="*/ 3306 w 5061"/>
                  <a:gd name="connsiteY179" fmla="*/ 848 h 1043"/>
                  <a:gd name="connsiteX180" fmla="*/ 3349 w 5061"/>
                  <a:gd name="connsiteY180" fmla="*/ 886 h 1043"/>
                  <a:gd name="connsiteX181" fmla="*/ 3395 w 5061"/>
                  <a:gd name="connsiteY181" fmla="*/ 917 h 1043"/>
                  <a:gd name="connsiteX182" fmla="*/ 3444 w 5061"/>
                  <a:gd name="connsiteY182" fmla="*/ 939 h 1043"/>
                  <a:gd name="connsiteX183" fmla="*/ 3498 w 5061"/>
                  <a:gd name="connsiteY183" fmla="*/ 952 h 1043"/>
                  <a:gd name="connsiteX184" fmla="*/ 3554 w 5061"/>
                  <a:gd name="connsiteY184" fmla="*/ 956 h 1043"/>
                  <a:gd name="connsiteX185" fmla="*/ 3609 w 5061"/>
                  <a:gd name="connsiteY185" fmla="*/ 950 h 1043"/>
                  <a:gd name="connsiteX186" fmla="*/ 3659 w 5061"/>
                  <a:gd name="connsiteY186" fmla="*/ 935 h 1043"/>
                  <a:gd name="connsiteX187" fmla="*/ 3706 w 5061"/>
                  <a:gd name="connsiteY187" fmla="*/ 915 h 1043"/>
                  <a:gd name="connsiteX188" fmla="*/ 3750 w 5061"/>
                  <a:gd name="connsiteY188" fmla="*/ 884 h 1043"/>
                  <a:gd name="connsiteX189" fmla="*/ 3789 w 5061"/>
                  <a:gd name="connsiteY189" fmla="*/ 848 h 1043"/>
                  <a:gd name="connsiteX190" fmla="*/ 3826 w 5061"/>
                  <a:gd name="connsiteY190" fmla="*/ 807 h 1043"/>
                  <a:gd name="connsiteX191" fmla="*/ 3861 w 5061"/>
                  <a:gd name="connsiteY191" fmla="*/ 759 h 1043"/>
                  <a:gd name="connsiteX192" fmla="*/ 3894 w 5061"/>
                  <a:gd name="connsiteY192" fmla="*/ 709 h 1043"/>
                  <a:gd name="connsiteX193" fmla="*/ 3927 w 5061"/>
                  <a:gd name="connsiteY193" fmla="*/ 655 h 1043"/>
                  <a:gd name="connsiteX194" fmla="*/ 3960 w 5061"/>
                  <a:gd name="connsiteY194" fmla="*/ 597 h 1043"/>
                  <a:gd name="connsiteX195" fmla="*/ 3993 w 5061"/>
                  <a:gd name="connsiteY195" fmla="*/ 537 h 1043"/>
                  <a:gd name="connsiteX196" fmla="*/ 4022 w 5061"/>
                  <a:gd name="connsiteY196" fmla="*/ 483 h 1043"/>
                  <a:gd name="connsiteX197" fmla="*/ 4084 w 5061"/>
                  <a:gd name="connsiteY197" fmla="*/ 375 h 1043"/>
                  <a:gd name="connsiteX198" fmla="*/ 4154 w 5061"/>
                  <a:gd name="connsiteY198" fmla="*/ 272 h 1043"/>
                  <a:gd name="connsiteX199" fmla="*/ 4192 w 5061"/>
                  <a:gd name="connsiteY199" fmla="*/ 224 h 1043"/>
                  <a:gd name="connsiteX200" fmla="*/ 4233 w 5061"/>
                  <a:gd name="connsiteY200" fmla="*/ 178 h 1043"/>
                  <a:gd name="connsiteX201" fmla="*/ 4276 w 5061"/>
                  <a:gd name="connsiteY201" fmla="*/ 137 h 1043"/>
                  <a:gd name="connsiteX202" fmla="*/ 4433 w 5061"/>
                  <a:gd name="connsiteY202" fmla="*/ 39 h 1043"/>
                  <a:gd name="connsiteX203" fmla="*/ 4493 w 5061"/>
                  <a:gd name="connsiteY203" fmla="*/ 19 h 1043"/>
                  <a:gd name="connsiteX204" fmla="*/ 4559 w 5061"/>
                  <a:gd name="connsiteY204" fmla="*/ 6 h 1043"/>
                  <a:gd name="connsiteX205" fmla="*/ 4631 w 5061"/>
                  <a:gd name="connsiteY205" fmla="*/ 0 h 1043"/>
                  <a:gd name="connsiteX0" fmla="*/ 4631 w 5061"/>
                  <a:gd name="connsiteY0" fmla="*/ 0 h 1043"/>
                  <a:gd name="connsiteX1" fmla="*/ 4681 w 5061"/>
                  <a:gd name="connsiteY1" fmla="*/ 0 h 1043"/>
                  <a:gd name="connsiteX2" fmla="*/ 4710 w 5061"/>
                  <a:gd name="connsiteY2" fmla="*/ 4 h 1043"/>
                  <a:gd name="connsiteX3" fmla="*/ 4741 w 5061"/>
                  <a:gd name="connsiteY3" fmla="*/ 13 h 1043"/>
                  <a:gd name="connsiteX4" fmla="*/ 4778 w 5061"/>
                  <a:gd name="connsiteY4" fmla="*/ 23 h 1043"/>
                  <a:gd name="connsiteX5" fmla="*/ 4819 w 5061"/>
                  <a:gd name="connsiteY5" fmla="*/ 39 h 1043"/>
                  <a:gd name="connsiteX6" fmla="*/ 4863 w 5061"/>
                  <a:gd name="connsiteY6" fmla="*/ 60 h 1043"/>
                  <a:gd name="connsiteX7" fmla="*/ 4910 w 5061"/>
                  <a:gd name="connsiteY7" fmla="*/ 89 h 1043"/>
                  <a:gd name="connsiteX8" fmla="*/ 4960 w 5061"/>
                  <a:gd name="connsiteY8" fmla="*/ 124 h 1043"/>
                  <a:gd name="connsiteX9" fmla="*/ 5009 w 5061"/>
                  <a:gd name="connsiteY9" fmla="*/ 170 h 1043"/>
                  <a:gd name="connsiteX10" fmla="*/ 5061 w 5061"/>
                  <a:gd name="connsiteY10" fmla="*/ 224 h 1043"/>
                  <a:gd name="connsiteX11" fmla="*/ 4900 w 5061"/>
                  <a:gd name="connsiteY11" fmla="*/ 189 h 1043"/>
                  <a:gd name="connsiteX12" fmla="*/ 4770 w 5061"/>
                  <a:gd name="connsiteY12" fmla="*/ 112 h 1043"/>
                  <a:gd name="connsiteX13" fmla="*/ 4691 w 5061"/>
                  <a:gd name="connsiteY13" fmla="*/ 89 h 1043"/>
                  <a:gd name="connsiteX14" fmla="*/ 4662 w 5061"/>
                  <a:gd name="connsiteY14" fmla="*/ 87 h 1043"/>
                  <a:gd name="connsiteX15" fmla="*/ 4507 w 5061"/>
                  <a:gd name="connsiteY15" fmla="*/ 106 h 1043"/>
                  <a:gd name="connsiteX16" fmla="*/ 4400 w 5061"/>
                  <a:gd name="connsiteY16" fmla="*/ 154 h 1043"/>
                  <a:gd name="connsiteX17" fmla="*/ 4353 w 5061"/>
                  <a:gd name="connsiteY17" fmla="*/ 187 h 1043"/>
                  <a:gd name="connsiteX18" fmla="*/ 4309 w 5061"/>
                  <a:gd name="connsiteY18" fmla="*/ 224 h 1043"/>
                  <a:gd name="connsiteX19" fmla="*/ 4270 w 5061"/>
                  <a:gd name="connsiteY19" fmla="*/ 268 h 1043"/>
                  <a:gd name="connsiteX20" fmla="*/ 4196 w 5061"/>
                  <a:gd name="connsiteY20" fmla="*/ 363 h 1043"/>
                  <a:gd name="connsiteX21" fmla="*/ 4163 w 5061"/>
                  <a:gd name="connsiteY21" fmla="*/ 415 h 1043"/>
                  <a:gd name="connsiteX22" fmla="*/ 4101 w 5061"/>
                  <a:gd name="connsiteY22" fmla="*/ 523 h 1043"/>
                  <a:gd name="connsiteX23" fmla="*/ 4008 w 5061"/>
                  <a:gd name="connsiteY23" fmla="*/ 691 h 1043"/>
                  <a:gd name="connsiteX24" fmla="*/ 3975 w 5061"/>
                  <a:gd name="connsiteY24" fmla="*/ 747 h 1043"/>
                  <a:gd name="connsiteX25" fmla="*/ 3940 w 5061"/>
                  <a:gd name="connsiteY25" fmla="*/ 798 h 1043"/>
                  <a:gd name="connsiteX26" fmla="*/ 3905 w 5061"/>
                  <a:gd name="connsiteY26" fmla="*/ 848 h 1043"/>
                  <a:gd name="connsiteX27" fmla="*/ 3865 w 5061"/>
                  <a:gd name="connsiteY27" fmla="*/ 894 h 1043"/>
                  <a:gd name="connsiteX28" fmla="*/ 3824 w 5061"/>
                  <a:gd name="connsiteY28" fmla="*/ 935 h 1043"/>
                  <a:gd name="connsiteX29" fmla="*/ 3779 w 5061"/>
                  <a:gd name="connsiteY29" fmla="*/ 971 h 1043"/>
                  <a:gd name="connsiteX30" fmla="*/ 3729 w 5061"/>
                  <a:gd name="connsiteY30" fmla="*/ 1000 h 1043"/>
                  <a:gd name="connsiteX31" fmla="*/ 3677 w 5061"/>
                  <a:gd name="connsiteY31" fmla="*/ 1022 h 1043"/>
                  <a:gd name="connsiteX32" fmla="*/ 3620 w 5061"/>
                  <a:gd name="connsiteY32" fmla="*/ 1037 h 1043"/>
                  <a:gd name="connsiteX33" fmla="*/ 3556 w 5061"/>
                  <a:gd name="connsiteY33" fmla="*/ 1043 h 1043"/>
                  <a:gd name="connsiteX34" fmla="*/ 3547 w 5061"/>
                  <a:gd name="connsiteY34" fmla="*/ 1043 h 1043"/>
                  <a:gd name="connsiteX35" fmla="*/ 3485 w 5061"/>
                  <a:gd name="connsiteY35" fmla="*/ 1039 h 1043"/>
                  <a:gd name="connsiteX36" fmla="*/ 3426 w 5061"/>
                  <a:gd name="connsiteY36" fmla="*/ 1025 h 1043"/>
                  <a:gd name="connsiteX37" fmla="*/ 3372 w 5061"/>
                  <a:gd name="connsiteY37" fmla="*/ 1002 h 1043"/>
                  <a:gd name="connsiteX38" fmla="*/ 3320 w 5061"/>
                  <a:gd name="connsiteY38" fmla="*/ 973 h 1043"/>
                  <a:gd name="connsiteX39" fmla="*/ 3273 w 5061"/>
                  <a:gd name="connsiteY39" fmla="*/ 935 h 1043"/>
                  <a:gd name="connsiteX40" fmla="*/ 3229 w 5061"/>
                  <a:gd name="connsiteY40" fmla="*/ 894 h 1043"/>
                  <a:gd name="connsiteX41" fmla="*/ 3186 w 5061"/>
                  <a:gd name="connsiteY41" fmla="*/ 846 h 1043"/>
                  <a:gd name="connsiteX42" fmla="*/ 3147 w 5061"/>
                  <a:gd name="connsiteY42" fmla="*/ 796 h 1043"/>
                  <a:gd name="connsiteX43" fmla="*/ 3108 w 5061"/>
                  <a:gd name="connsiteY43" fmla="*/ 740 h 1043"/>
                  <a:gd name="connsiteX44" fmla="*/ 3070 w 5061"/>
                  <a:gd name="connsiteY44" fmla="*/ 684 h 1043"/>
                  <a:gd name="connsiteX45" fmla="*/ 2965 w 5061"/>
                  <a:gd name="connsiteY45" fmla="*/ 510 h 1043"/>
                  <a:gd name="connsiteX46" fmla="*/ 2928 w 5061"/>
                  <a:gd name="connsiteY46" fmla="*/ 452 h 1043"/>
                  <a:gd name="connsiteX47" fmla="*/ 2891 w 5061"/>
                  <a:gd name="connsiteY47" fmla="*/ 396 h 1043"/>
                  <a:gd name="connsiteX48" fmla="*/ 2854 w 5061"/>
                  <a:gd name="connsiteY48" fmla="*/ 342 h 1043"/>
                  <a:gd name="connsiteX49" fmla="*/ 2814 w 5061"/>
                  <a:gd name="connsiteY49" fmla="*/ 292 h 1043"/>
                  <a:gd name="connsiteX50" fmla="*/ 2773 w 5061"/>
                  <a:gd name="connsiteY50" fmla="*/ 247 h 1043"/>
                  <a:gd name="connsiteX51" fmla="*/ 2732 w 5061"/>
                  <a:gd name="connsiteY51" fmla="*/ 205 h 1043"/>
                  <a:gd name="connsiteX52" fmla="*/ 2686 w 5061"/>
                  <a:gd name="connsiteY52" fmla="*/ 168 h 1043"/>
                  <a:gd name="connsiteX53" fmla="*/ 2639 w 5061"/>
                  <a:gd name="connsiteY53" fmla="*/ 139 h 1043"/>
                  <a:gd name="connsiteX54" fmla="*/ 2587 w 5061"/>
                  <a:gd name="connsiteY54" fmla="*/ 116 h 1043"/>
                  <a:gd name="connsiteX55" fmla="*/ 2532 w 5061"/>
                  <a:gd name="connsiteY55" fmla="*/ 100 h 1043"/>
                  <a:gd name="connsiteX56" fmla="*/ 2474 w 5061"/>
                  <a:gd name="connsiteY56" fmla="*/ 91 h 1043"/>
                  <a:gd name="connsiteX57" fmla="*/ 2410 w 5061"/>
                  <a:gd name="connsiteY57" fmla="*/ 93 h 1043"/>
                  <a:gd name="connsiteX58" fmla="*/ 2342 w 5061"/>
                  <a:gd name="connsiteY58" fmla="*/ 104 h 1043"/>
                  <a:gd name="connsiteX59" fmla="*/ 2280 w 5061"/>
                  <a:gd name="connsiteY59" fmla="*/ 122 h 1043"/>
                  <a:gd name="connsiteX60" fmla="*/ 2222 w 5061"/>
                  <a:gd name="connsiteY60" fmla="*/ 147 h 1043"/>
                  <a:gd name="connsiteX61" fmla="*/ 2168 w 5061"/>
                  <a:gd name="connsiteY61" fmla="*/ 180 h 1043"/>
                  <a:gd name="connsiteX62" fmla="*/ 2117 w 5061"/>
                  <a:gd name="connsiteY62" fmla="*/ 218 h 1043"/>
                  <a:gd name="connsiteX63" fmla="*/ 2071 w 5061"/>
                  <a:gd name="connsiteY63" fmla="*/ 261 h 1043"/>
                  <a:gd name="connsiteX64" fmla="*/ 2026 w 5061"/>
                  <a:gd name="connsiteY64" fmla="*/ 307 h 1043"/>
                  <a:gd name="connsiteX65" fmla="*/ 1984 w 5061"/>
                  <a:gd name="connsiteY65" fmla="*/ 359 h 1043"/>
                  <a:gd name="connsiteX66" fmla="*/ 1945 w 5061"/>
                  <a:gd name="connsiteY66" fmla="*/ 413 h 1043"/>
                  <a:gd name="connsiteX67" fmla="*/ 1908 w 5061"/>
                  <a:gd name="connsiteY67" fmla="*/ 467 h 1043"/>
                  <a:gd name="connsiteX68" fmla="*/ 1871 w 5061"/>
                  <a:gd name="connsiteY68" fmla="*/ 523 h 1043"/>
                  <a:gd name="connsiteX69" fmla="*/ 1834 w 5061"/>
                  <a:gd name="connsiteY69" fmla="*/ 581 h 1043"/>
                  <a:gd name="connsiteX70" fmla="*/ 1799 w 5061"/>
                  <a:gd name="connsiteY70" fmla="*/ 637 h 1043"/>
                  <a:gd name="connsiteX71" fmla="*/ 1724 w 5061"/>
                  <a:gd name="connsiteY71" fmla="*/ 749 h 1043"/>
                  <a:gd name="connsiteX72" fmla="*/ 1685 w 5061"/>
                  <a:gd name="connsiteY72" fmla="*/ 801 h 1043"/>
                  <a:gd name="connsiteX73" fmla="*/ 1644 w 5061"/>
                  <a:gd name="connsiteY73" fmla="*/ 850 h 1043"/>
                  <a:gd name="connsiteX74" fmla="*/ 1600 w 5061"/>
                  <a:gd name="connsiteY74" fmla="*/ 896 h 1043"/>
                  <a:gd name="connsiteX75" fmla="*/ 1553 w 5061"/>
                  <a:gd name="connsiteY75" fmla="*/ 937 h 1043"/>
                  <a:gd name="connsiteX76" fmla="*/ 1503 w 5061"/>
                  <a:gd name="connsiteY76" fmla="*/ 973 h 1043"/>
                  <a:gd name="connsiteX77" fmla="*/ 1450 w 5061"/>
                  <a:gd name="connsiteY77" fmla="*/ 1002 h 1043"/>
                  <a:gd name="connsiteX78" fmla="*/ 1394 w 5061"/>
                  <a:gd name="connsiteY78" fmla="*/ 1025 h 1043"/>
                  <a:gd name="connsiteX79" fmla="*/ 1330 w 5061"/>
                  <a:gd name="connsiteY79" fmla="*/ 1037 h 1043"/>
                  <a:gd name="connsiteX80" fmla="*/ 1264 w 5061"/>
                  <a:gd name="connsiteY80" fmla="*/ 1043 h 1043"/>
                  <a:gd name="connsiteX81" fmla="*/ 1258 w 5061"/>
                  <a:gd name="connsiteY81" fmla="*/ 1043 h 1043"/>
                  <a:gd name="connsiteX82" fmla="*/ 1190 w 5061"/>
                  <a:gd name="connsiteY82" fmla="*/ 1039 h 1043"/>
                  <a:gd name="connsiteX83" fmla="*/ 1128 w 5061"/>
                  <a:gd name="connsiteY83" fmla="*/ 1027 h 1043"/>
                  <a:gd name="connsiteX84" fmla="*/ 1070 w 5061"/>
                  <a:gd name="connsiteY84" fmla="*/ 1008 h 1043"/>
                  <a:gd name="connsiteX85" fmla="*/ 1018 w 5061"/>
                  <a:gd name="connsiteY85" fmla="*/ 983 h 1043"/>
                  <a:gd name="connsiteX86" fmla="*/ 971 w 5061"/>
                  <a:gd name="connsiteY86" fmla="*/ 952 h 1043"/>
                  <a:gd name="connsiteX87" fmla="*/ 925 w 5061"/>
                  <a:gd name="connsiteY87" fmla="*/ 915 h 1043"/>
                  <a:gd name="connsiteX88" fmla="*/ 884 w 5061"/>
                  <a:gd name="connsiteY88" fmla="*/ 873 h 1043"/>
                  <a:gd name="connsiteX89" fmla="*/ 847 w 5061"/>
                  <a:gd name="connsiteY89" fmla="*/ 828 h 1043"/>
                  <a:gd name="connsiteX90" fmla="*/ 810 w 5061"/>
                  <a:gd name="connsiteY90" fmla="*/ 780 h 1043"/>
                  <a:gd name="connsiteX91" fmla="*/ 777 w 5061"/>
                  <a:gd name="connsiteY91" fmla="*/ 728 h 1043"/>
                  <a:gd name="connsiteX92" fmla="*/ 742 w 5061"/>
                  <a:gd name="connsiteY92" fmla="*/ 674 h 1043"/>
                  <a:gd name="connsiteX93" fmla="*/ 711 w 5061"/>
                  <a:gd name="connsiteY93" fmla="*/ 618 h 1043"/>
                  <a:gd name="connsiteX94" fmla="*/ 678 w 5061"/>
                  <a:gd name="connsiteY94" fmla="*/ 560 h 1043"/>
                  <a:gd name="connsiteX95" fmla="*/ 616 w 5061"/>
                  <a:gd name="connsiteY95" fmla="*/ 448 h 1043"/>
                  <a:gd name="connsiteX96" fmla="*/ 547 w 5061"/>
                  <a:gd name="connsiteY96" fmla="*/ 340 h 1043"/>
                  <a:gd name="connsiteX97" fmla="*/ 504 w 5061"/>
                  <a:gd name="connsiteY97" fmla="*/ 284 h 1043"/>
                  <a:gd name="connsiteX98" fmla="*/ 457 w 5061"/>
                  <a:gd name="connsiteY98" fmla="*/ 239 h 1043"/>
                  <a:gd name="connsiteX99" fmla="*/ 409 w 5061"/>
                  <a:gd name="connsiteY99" fmla="*/ 199 h 1043"/>
                  <a:gd name="connsiteX100" fmla="*/ 358 w 5061"/>
                  <a:gd name="connsiteY100" fmla="*/ 168 h 1043"/>
                  <a:gd name="connsiteX101" fmla="*/ 308 w 5061"/>
                  <a:gd name="connsiteY101" fmla="*/ 145 h 1043"/>
                  <a:gd name="connsiteX102" fmla="*/ 256 w 5061"/>
                  <a:gd name="connsiteY102" fmla="*/ 127 h 1043"/>
                  <a:gd name="connsiteX103" fmla="*/ 209 w 5061"/>
                  <a:gd name="connsiteY103" fmla="*/ 112 h 1043"/>
                  <a:gd name="connsiteX104" fmla="*/ 163 w 5061"/>
                  <a:gd name="connsiteY104" fmla="*/ 104 h 1043"/>
                  <a:gd name="connsiteX105" fmla="*/ 122 w 5061"/>
                  <a:gd name="connsiteY105" fmla="*/ 100 h 1043"/>
                  <a:gd name="connsiteX106" fmla="*/ 85 w 5061"/>
                  <a:gd name="connsiteY106" fmla="*/ 95 h 1043"/>
                  <a:gd name="connsiteX107" fmla="*/ 31 w 5061"/>
                  <a:gd name="connsiteY107" fmla="*/ 95 h 1043"/>
                  <a:gd name="connsiteX108" fmla="*/ 17 w 5061"/>
                  <a:gd name="connsiteY108" fmla="*/ 98 h 1043"/>
                  <a:gd name="connsiteX109" fmla="*/ 11 w 5061"/>
                  <a:gd name="connsiteY109" fmla="*/ 98 h 1043"/>
                  <a:gd name="connsiteX110" fmla="*/ 0 w 5061"/>
                  <a:gd name="connsiteY110" fmla="*/ 13 h 1043"/>
                  <a:gd name="connsiteX111" fmla="*/ 9 w 5061"/>
                  <a:gd name="connsiteY111" fmla="*/ 13 h 1043"/>
                  <a:gd name="connsiteX112" fmla="*/ 29 w 5061"/>
                  <a:gd name="connsiteY112" fmla="*/ 10 h 1043"/>
                  <a:gd name="connsiteX113" fmla="*/ 91 w 5061"/>
                  <a:gd name="connsiteY113" fmla="*/ 10 h 1043"/>
                  <a:gd name="connsiteX114" fmla="*/ 135 w 5061"/>
                  <a:gd name="connsiteY114" fmla="*/ 13 h 1043"/>
                  <a:gd name="connsiteX115" fmla="*/ 182 w 5061"/>
                  <a:gd name="connsiteY115" fmla="*/ 19 h 1043"/>
                  <a:gd name="connsiteX116" fmla="*/ 234 w 5061"/>
                  <a:gd name="connsiteY116" fmla="*/ 29 h 1043"/>
                  <a:gd name="connsiteX117" fmla="*/ 287 w 5061"/>
                  <a:gd name="connsiteY117" fmla="*/ 46 h 1043"/>
                  <a:gd name="connsiteX118" fmla="*/ 345 w 5061"/>
                  <a:gd name="connsiteY118" fmla="*/ 66 h 1043"/>
                  <a:gd name="connsiteX119" fmla="*/ 403 w 5061"/>
                  <a:gd name="connsiteY119" fmla="*/ 93 h 1043"/>
                  <a:gd name="connsiteX120" fmla="*/ 459 w 5061"/>
                  <a:gd name="connsiteY120" fmla="*/ 131 h 1043"/>
                  <a:gd name="connsiteX121" fmla="*/ 514 w 5061"/>
                  <a:gd name="connsiteY121" fmla="*/ 174 h 1043"/>
                  <a:gd name="connsiteX122" fmla="*/ 568 w 5061"/>
                  <a:gd name="connsiteY122" fmla="*/ 228 h 1043"/>
                  <a:gd name="connsiteX123" fmla="*/ 618 w 5061"/>
                  <a:gd name="connsiteY123" fmla="*/ 292 h 1043"/>
                  <a:gd name="connsiteX124" fmla="*/ 667 w 5061"/>
                  <a:gd name="connsiteY124" fmla="*/ 367 h 1043"/>
                  <a:gd name="connsiteX125" fmla="*/ 754 w 5061"/>
                  <a:gd name="connsiteY125" fmla="*/ 516 h 1043"/>
                  <a:gd name="connsiteX126" fmla="*/ 787 w 5061"/>
                  <a:gd name="connsiteY126" fmla="*/ 575 h 1043"/>
                  <a:gd name="connsiteX127" fmla="*/ 820 w 5061"/>
                  <a:gd name="connsiteY127" fmla="*/ 631 h 1043"/>
                  <a:gd name="connsiteX128" fmla="*/ 853 w 5061"/>
                  <a:gd name="connsiteY128" fmla="*/ 684 h 1043"/>
                  <a:gd name="connsiteX129" fmla="*/ 886 w 5061"/>
                  <a:gd name="connsiteY129" fmla="*/ 736 h 1043"/>
                  <a:gd name="connsiteX130" fmla="*/ 921 w 5061"/>
                  <a:gd name="connsiteY130" fmla="*/ 782 h 1043"/>
                  <a:gd name="connsiteX131" fmla="*/ 958 w 5061"/>
                  <a:gd name="connsiteY131" fmla="*/ 825 h 1043"/>
                  <a:gd name="connsiteX132" fmla="*/ 1000 w 5061"/>
                  <a:gd name="connsiteY132" fmla="*/ 863 h 1043"/>
                  <a:gd name="connsiteX133" fmla="*/ 1043 w 5061"/>
                  <a:gd name="connsiteY133" fmla="*/ 894 h 1043"/>
                  <a:gd name="connsiteX134" fmla="*/ 1090 w 5061"/>
                  <a:gd name="connsiteY134" fmla="*/ 921 h 1043"/>
                  <a:gd name="connsiteX135" fmla="*/ 1140 w 5061"/>
                  <a:gd name="connsiteY135" fmla="*/ 939 h 1043"/>
                  <a:gd name="connsiteX136" fmla="*/ 1196 w 5061"/>
                  <a:gd name="connsiteY136" fmla="*/ 952 h 1043"/>
                  <a:gd name="connsiteX137" fmla="*/ 1258 w 5061"/>
                  <a:gd name="connsiteY137" fmla="*/ 956 h 1043"/>
                  <a:gd name="connsiteX138" fmla="*/ 1264 w 5061"/>
                  <a:gd name="connsiteY138" fmla="*/ 956 h 1043"/>
                  <a:gd name="connsiteX139" fmla="*/ 1324 w 5061"/>
                  <a:gd name="connsiteY139" fmla="*/ 950 h 1043"/>
                  <a:gd name="connsiteX140" fmla="*/ 1380 w 5061"/>
                  <a:gd name="connsiteY140" fmla="*/ 935 h 1043"/>
                  <a:gd name="connsiteX141" fmla="*/ 1433 w 5061"/>
                  <a:gd name="connsiteY141" fmla="*/ 913 h 1043"/>
                  <a:gd name="connsiteX142" fmla="*/ 1481 w 5061"/>
                  <a:gd name="connsiteY142" fmla="*/ 884 h 1043"/>
                  <a:gd name="connsiteX143" fmla="*/ 1526 w 5061"/>
                  <a:gd name="connsiteY143" fmla="*/ 846 h 1043"/>
                  <a:gd name="connsiteX144" fmla="*/ 1569 w 5061"/>
                  <a:gd name="connsiteY144" fmla="*/ 803 h 1043"/>
                  <a:gd name="connsiteX145" fmla="*/ 1609 w 5061"/>
                  <a:gd name="connsiteY145" fmla="*/ 755 h 1043"/>
                  <a:gd name="connsiteX146" fmla="*/ 1648 w 5061"/>
                  <a:gd name="connsiteY146" fmla="*/ 703 h 1043"/>
                  <a:gd name="connsiteX147" fmla="*/ 1687 w 5061"/>
                  <a:gd name="connsiteY147" fmla="*/ 649 h 1043"/>
                  <a:gd name="connsiteX148" fmla="*/ 1799 w 5061"/>
                  <a:gd name="connsiteY148" fmla="*/ 475 h 1043"/>
                  <a:gd name="connsiteX149" fmla="*/ 1838 w 5061"/>
                  <a:gd name="connsiteY149" fmla="*/ 415 h 1043"/>
                  <a:gd name="connsiteX150" fmla="*/ 1879 w 5061"/>
                  <a:gd name="connsiteY150" fmla="*/ 357 h 1043"/>
                  <a:gd name="connsiteX151" fmla="*/ 1923 w 5061"/>
                  <a:gd name="connsiteY151" fmla="*/ 299 h 1043"/>
                  <a:gd name="connsiteX152" fmla="*/ 1968 w 5061"/>
                  <a:gd name="connsiteY152" fmla="*/ 245 h 1043"/>
                  <a:gd name="connsiteX153" fmla="*/ 2015 w 5061"/>
                  <a:gd name="connsiteY153" fmla="*/ 193 h 1043"/>
                  <a:gd name="connsiteX154" fmla="*/ 2069 w 5061"/>
                  <a:gd name="connsiteY154" fmla="*/ 145 h 1043"/>
                  <a:gd name="connsiteX155" fmla="*/ 2125 w 5061"/>
                  <a:gd name="connsiteY155" fmla="*/ 104 h 1043"/>
                  <a:gd name="connsiteX156" fmla="*/ 2187 w 5061"/>
                  <a:gd name="connsiteY156" fmla="*/ 69 h 1043"/>
                  <a:gd name="connsiteX157" fmla="*/ 2253 w 5061"/>
                  <a:gd name="connsiteY157" fmla="*/ 39 h 1043"/>
                  <a:gd name="connsiteX158" fmla="*/ 2325 w 5061"/>
                  <a:gd name="connsiteY158" fmla="*/ 19 h 1043"/>
                  <a:gd name="connsiteX159" fmla="*/ 2404 w 5061"/>
                  <a:gd name="connsiteY159" fmla="*/ 6 h 1043"/>
                  <a:gd name="connsiteX160" fmla="*/ 2474 w 5061"/>
                  <a:gd name="connsiteY160" fmla="*/ 4 h 1043"/>
                  <a:gd name="connsiteX161" fmla="*/ 2540 w 5061"/>
                  <a:gd name="connsiteY161" fmla="*/ 13 h 1043"/>
                  <a:gd name="connsiteX162" fmla="*/ 2600 w 5061"/>
                  <a:gd name="connsiteY162" fmla="*/ 27 h 1043"/>
                  <a:gd name="connsiteX163" fmla="*/ 2658 w 5061"/>
                  <a:gd name="connsiteY163" fmla="*/ 50 h 1043"/>
                  <a:gd name="connsiteX164" fmla="*/ 2711 w 5061"/>
                  <a:gd name="connsiteY164" fmla="*/ 81 h 1043"/>
                  <a:gd name="connsiteX165" fmla="*/ 2761 w 5061"/>
                  <a:gd name="connsiteY165" fmla="*/ 116 h 1043"/>
                  <a:gd name="connsiteX166" fmla="*/ 2806 w 5061"/>
                  <a:gd name="connsiteY166" fmla="*/ 158 h 1043"/>
                  <a:gd name="connsiteX167" fmla="*/ 2852 w 5061"/>
                  <a:gd name="connsiteY167" fmla="*/ 203 h 1043"/>
                  <a:gd name="connsiteX168" fmla="*/ 2893 w 5061"/>
                  <a:gd name="connsiteY168" fmla="*/ 251 h 1043"/>
                  <a:gd name="connsiteX169" fmla="*/ 2932 w 5061"/>
                  <a:gd name="connsiteY169" fmla="*/ 303 h 1043"/>
                  <a:gd name="connsiteX170" fmla="*/ 2969 w 5061"/>
                  <a:gd name="connsiteY170" fmla="*/ 357 h 1043"/>
                  <a:gd name="connsiteX171" fmla="*/ 3004 w 5061"/>
                  <a:gd name="connsiteY171" fmla="*/ 413 h 1043"/>
                  <a:gd name="connsiteX172" fmla="*/ 3039 w 5061"/>
                  <a:gd name="connsiteY172" fmla="*/ 467 h 1043"/>
                  <a:gd name="connsiteX173" fmla="*/ 3073 w 5061"/>
                  <a:gd name="connsiteY173" fmla="*/ 523 h 1043"/>
                  <a:gd name="connsiteX174" fmla="*/ 3110 w 5061"/>
                  <a:gd name="connsiteY174" fmla="*/ 585 h 1043"/>
                  <a:gd name="connsiteX175" fmla="*/ 3147 w 5061"/>
                  <a:gd name="connsiteY175" fmla="*/ 643 h 1043"/>
                  <a:gd name="connsiteX176" fmla="*/ 3186 w 5061"/>
                  <a:gd name="connsiteY176" fmla="*/ 701 h 1043"/>
                  <a:gd name="connsiteX177" fmla="*/ 3223 w 5061"/>
                  <a:gd name="connsiteY177" fmla="*/ 755 h 1043"/>
                  <a:gd name="connsiteX178" fmla="*/ 3265 w 5061"/>
                  <a:gd name="connsiteY178" fmla="*/ 805 h 1043"/>
                  <a:gd name="connsiteX179" fmla="*/ 3306 w 5061"/>
                  <a:gd name="connsiteY179" fmla="*/ 848 h 1043"/>
                  <a:gd name="connsiteX180" fmla="*/ 3349 w 5061"/>
                  <a:gd name="connsiteY180" fmla="*/ 886 h 1043"/>
                  <a:gd name="connsiteX181" fmla="*/ 3395 w 5061"/>
                  <a:gd name="connsiteY181" fmla="*/ 917 h 1043"/>
                  <a:gd name="connsiteX182" fmla="*/ 3444 w 5061"/>
                  <a:gd name="connsiteY182" fmla="*/ 939 h 1043"/>
                  <a:gd name="connsiteX183" fmla="*/ 3498 w 5061"/>
                  <a:gd name="connsiteY183" fmla="*/ 952 h 1043"/>
                  <a:gd name="connsiteX184" fmla="*/ 3554 w 5061"/>
                  <a:gd name="connsiteY184" fmla="*/ 956 h 1043"/>
                  <a:gd name="connsiteX185" fmla="*/ 3609 w 5061"/>
                  <a:gd name="connsiteY185" fmla="*/ 950 h 1043"/>
                  <a:gd name="connsiteX186" fmla="*/ 3659 w 5061"/>
                  <a:gd name="connsiteY186" fmla="*/ 935 h 1043"/>
                  <a:gd name="connsiteX187" fmla="*/ 3706 w 5061"/>
                  <a:gd name="connsiteY187" fmla="*/ 915 h 1043"/>
                  <a:gd name="connsiteX188" fmla="*/ 3750 w 5061"/>
                  <a:gd name="connsiteY188" fmla="*/ 884 h 1043"/>
                  <a:gd name="connsiteX189" fmla="*/ 3789 w 5061"/>
                  <a:gd name="connsiteY189" fmla="*/ 848 h 1043"/>
                  <a:gd name="connsiteX190" fmla="*/ 3826 w 5061"/>
                  <a:gd name="connsiteY190" fmla="*/ 807 h 1043"/>
                  <a:gd name="connsiteX191" fmla="*/ 3861 w 5061"/>
                  <a:gd name="connsiteY191" fmla="*/ 759 h 1043"/>
                  <a:gd name="connsiteX192" fmla="*/ 3894 w 5061"/>
                  <a:gd name="connsiteY192" fmla="*/ 709 h 1043"/>
                  <a:gd name="connsiteX193" fmla="*/ 3927 w 5061"/>
                  <a:gd name="connsiteY193" fmla="*/ 655 h 1043"/>
                  <a:gd name="connsiteX194" fmla="*/ 3960 w 5061"/>
                  <a:gd name="connsiteY194" fmla="*/ 597 h 1043"/>
                  <a:gd name="connsiteX195" fmla="*/ 3993 w 5061"/>
                  <a:gd name="connsiteY195" fmla="*/ 537 h 1043"/>
                  <a:gd name="connsiteX196" fmla="*/ 4022 w 5061"/>
                  <a:gd name="connsiteY196" fmla="*/ 483 h 1043"/>
                  <a:gd name="connsiteX197" fmla="*/ 4084 w 5061"/>
                  <a:gd name="connsiteY197" fmla="*/ 375 h 1043"/>
                  <a:gd name="connsiteX198" fmla="*/ 4154 w 5061"/>
                  <a:gd name="connsiteY198" fmla="*/ 272 h 1043"/>
                  <a:gd name="connsiteX199" fmla="*/ 4192 w 5061"/>
                  <a:gd name="connsiteY199" fmla="*/ 224 h 1043"/>
                  <a:gd name="connsiteX200" fmla="*/ 4233 w 5061"/>
                  <a:gd name="connsiteY200" fmla="*/ 178 h 1043"/>
                  <a:gd name="connsiteX201" fmla="*/ 4276 w 5061"/>
                  <a:gd name="connsiteY201" fmla="*/ 137 h 1043"/>
                  <a:gd name="connsiteX202" fmla="*/ 4433 w 5061"/>
                  <a:gd name="connsiteY202" fmla="*/ 39 h 1043"/>
                  <a:gd name="connsiteX203" fmla="*/ 4559 w 5061"/>
                  <a:gd name="connsiteY203" fmla="*/ 6 h 1043"/>
                  <a:gd name="connsiteX204" fmla="*/ 4631 w 5061"/>
                  <a:gd name="connsiteY204" fmla="*/ 0 h 1043"/>
                  <a:gd name="connsiteX0" fmla="*/ 4559 w 5061"/>
                  <a:gd name="connsiteY0" fmla="*/ 6 h 1043"/>
                  <a:gd name="connsiteX1" fmla="*/ 4681 w 5061"/>
                  <a:gd name="connsiteY1" fmla="*/ 0 h 1043"/>
                  <a:gd name="connsiteX2" fmla="*/ 4710 w 5061"/>
                  <a:gd name="connsiteY2" fmla="*/ 4 h 1043"/>
                  <a:gd name="connsiteX3" fmla="*/ 4741 w 5061"/>
                  <a:gd name="connsiteY3" fmla="*/ 13 h 1043"/>
                  <a:gd name="connsiteX4" fmla="*/ 4778 w 5061"/>
                  <a:gd name="connsiteY4" fmla="*/ 23 h 1043"/>
                  <a:gd name="connsiteX5" fmla="*/ 4819 w 5061"/>
                  <a:gd name="connsiteY5" fmla="*/ 39 h 1043"/>
                  <a:gd name="connsiteX6" fmla="*/ 4863 w 5061"/>
                  <a:gd name="connsiteY6" fmla="*/ 60 h 1043"/>
                  <a:gd name="connsiteX7" fmla="*/ 4910 w 5061"/>
                  <a:gd name="connsiteY7" fmla="*/ 89 h 1043"/>
                  <a:gd name="connsiteX8" fmla="*/ 4960 w 5061"/>
                  <a:gd name="connsiteY8" fmla="*/ 124 h 1043"/>
                  <a:gd name="connsiteX9" fmla="*/ 5009 w 5061"/>
                  <a:gd name="connsiteY9" fmla="*/ 170 h 1043"/>
                  <a:gd name="connsiteX10" fmla="*/ 5061 w 5061"/>
                  <a:gd name="connsiteY10" fmla="*/ 224 h 1043"/>
                  <a:gd name="connsiteX11" fmla="*/ 4900 w 5061"/>
                  <a:gd name="connsiteY11" fmla="*/ 189 h 1043"/>
                  <a:gd name="connsiteX12" fmla="*/ 4770 w 5061"/>
                  <a:gd name="connsiteY12" fmla="*/ 112 h 1043"/>
                  <a:gd name="connsiteX13" fmla="*/ 4691 w 5061"/>
                  <a:gd name="connsiteY13" fmla="*/ 89 h 1043"/>
                  <a:gd name="connsiteX14" fmla="*/ 4662 w 5061"/>
                  <a:gd name="connsiteY14" fmla="*/ 87 h 1043"/>
                  <a:gd name="connsiteX15" fmla="*/ 4507 w 5061"/>
                  <a:gd name="connsiteY15" fmla="*/ 106 h 1043"/>
                  <a:gd name="connsiteX16" fmla="*/ 4400 w 5061"/>
                  <a:gd name="connsiteY16" fmla="*/ 154 h 1043"/>
                  <a:gd name="connsiteX17" fmla="*/ 4353 w 5061"/>
                  <a:gd name="connsiteY17" fmla="*/ 187 h 1043"/>
                  <a:gd name="connsiteX18" fmla="*/ 4309 w 5061"/>
                  <a:gd name="connsiteY18" fmla="*/ 224 h 1043"/>
                  <a:gd name="connsiteX19" fmla="*/ 4270 w 5061"/>
                  <a:gd name="connsiteY19" fmla="*/ 268 h 1043"/>
                  <a:gd name="connsiteX20" fmla="*/ 4196 w 5061"/>
                  <a:gd name="connsiteY20" fmla="*/ 363 h 1043"/>
                  <a:gd name="connsiteX21" fmla="*/ 4163 w 5061"/>
                  <a:gd name="connsiteY21" fmla="*/ 415 h 1043"/>
                  <a:gd name="connsiteX22" fmla="*/ 4101 w 5061"/>
                  <a:gd name="connsiteY22" fmla="*/ 523 h 1043"/>
                  <a:gd name="connsiteX23" fmla="*/ 4008 w 5061"/>
                  <a:gd name="connsiteY23" fmla="*/ 691 h 1043"/>
                  <a:gd name="connsiteX24" fmla="*/ 3975 w 5061"/>
                  <a:gd name="connsiteY24" fmla="*/ 747 h 1043"/>
                  <a:gd name="connsiteX25" fmla="*/ 3940 w 5061"/>
                  <a:gd name="connsiteY25" fmla="*/ 798 h 1043"/>
                  <a:gd name="connsiteX26" fmla="*/ 3905 w 5061"/>
                  <a:gd name="connsiteY26" fmla="*/ 848 h 1043"/>
                  <a:gd name="connsiteX27" fmla="*/ 3865 w 5061"/>
                  <a:gd name="connsiteY27" fmla="*/ 894 h 1043"/>
                  <a:gd name="connsiteX28" fmla="*/ 3824 w 5061"/>
                  <a:gd name="connsiteY28" fmla="*/ 935 h 1043"/>
                  <a:gd name="connsiteX29" fmla="*/ 3779 w 5061"/>
                  <a:gd name="connsiteY29" fmla="*/ 971 h 1043"/>
                  <a:gd name="connsiteX30" fmla="*/ 3729 w 5061"/>
                  <a:gd name="connsiteY30" fmla="*/ 1000 h 1043"/>
                  <a:gd name="connsiteX31" fmla="*/ 3677 w 5061"/>
                  <a:gd name="connsiteY31" fmla="*/ 1022 h 1043"/>
                  <a:gd name="connsiteX32" fmla="*/ 3620 w 5061"/>
                  <a:gd name="connsiteY32" fmla="*/ 1037 h 1043"/>
                  <a:gd name="connsiteX33" fmla="*/ 3556 w 5061"/>
                  <a:gd name="connsiteY33" fmla="*/ 1043 h 1043"/>
                  <a:gd name="connsiteX34" fmla="*/ 3547 w 5061"/>
                  <a:gd name="connsiteY34" fmla="*/ 1043 h 1043"/>
                  <a:gd name="connsiteX35" fmla="*/ 3485 w 5061"/>
                  <a:gd name="connsiteY35" fmla="*/ 1039 h 1043"/>
                  <a:gd name="connsiteX36" fmla="*/ 3426 w 5061"/>
                  <a:gd name="connsiteY36" fmla="*/ 1025 h 1043"/>
                  <a:gd name="connsiteX37" fmla="*/ 3372 w 5061"/>
                  <a:gd name="connsiteY37" fmla="*/ 1002 h 1043"/>
                  <a:gd name="connsiteX38" fmla="*/ 3320 w 5061"/>
                  <a:gd name="connsiteY38" fmla="*/ 973 h 1043"/>
                  <a:gd name="connsiteX39" fmla="*/ 3273 w 5061"/>
                  <a:gd name="connsiteY39" fmla="*/ 935 h 1043"/>
                  <a:gd name="connsiteX40" fmla="*/ 3229 w 5061"/>
                  <a:gd name="connsiteY40" fmla="*/ 894 h 1043"/>
                  <a:gd name="connsiteX41" fmla="*/ 3186 w 5061"/>
                  <a:gd name="connsiteY41" fmla="*/ 846 h 1043"/>
                  <a:gd name="connsiteX42" fmla="*/ 3147 w 5061"/>
                  <a:gd name="connsiteY42" fmla="*/ 796 h 1043"/>
                  <a:gd name="connsiteX43" fmla="*/ 3108 w 5061"/>
                  <a:gd name="connsiteY43" fmla="*/ 740 h 1043"/>
                  <a:gd name="connsiteX44" fmla="*/ 3070 w 5061"/>
                  <a:gd name="connsiteY44" fmla="*/ 684 h 1043"/>
                  <a:gd name="connsiteX45" fmla="*/ 2965 w 5061"/>
                  <a:gd name="connsiteY45" fmla="*/ 510 h 1043"/>
                  <a:gd name="connsiteX46" fmla="*/ 2928 w 5061"/>
                  <a:gd name="connsiteY46" fmla="*/ 452 h 1043"/>
                  <a:gd name="connsiteX47" fmla="*/ 2891 w 5061"/>
                  <a:gd name="connsiteY47" fmla="*/ 396 h 1043"/>
                  <a:gd name="connsiteX48" fmla="*/ 2854 w 5061"/>
                  <a:gd name="connsiteY48" fmla="*/ 342 h 1043"/>
                  <a:gd name="connsiteX49" fmla="*/ 2814 w 5061"/>
                  <a:gd name="connsiteY49" fmla="*/ 292 h 1043"/>
                  <a:gd name="connsiteX50" fmla="*/ 2773 w 5061"/>
                  <a:gd name="connsiteY50" fmla="*/ 247 h 1043"/>
                  <a:gd name="connsiteX51" fmla="*/ 2732 w 5061"/>
                  <a:gd name="connsiteY51" fmla="*/ 205 h 1043"/>
                  <a:gd name="connsiteX52" fmla="*/ 2686 w 5061"/>
                  <a:gd name="connsiteY52" fmla="*/ 168 h 1043"/>
                  <a:gd name="connsiteX53" fmla="*/ 2639 w 5061"/>
                  <a:gd name="connsiteY53" fmla="*/ 139 h 1043"/>
                  <a:gd name="connsiteX54" fmla="*/ 2587 w 5061"/>
                  <a:gd name="connsiteY54" fmla="*/ 116 h 1043"/>
                  <a:gd name="connsiteX55" fmla="*/ 2532 w 5061"/>
                  <a:gd name="connsiteY55" fmla="*/ 100 h 1043"/>
                  <a:gd name="connsiteX56" fmla="*/ 2474 w 5061"/>
                  <a:gd name="connsiteY56" fmla="*/ 91 h 1043"/>
                  <a:gd name="connsiteX57" fmla="*/ 2410 w 5061"/>
                  <a:gd name="connsiteY57" fmla="*/ 93 h 1043"/>
                  <a:gd name="connsiteX58" fmla="*/ 2342 w 5061"/>
                  <a:gd name="connsiteY58" fmla="*/ 104 h 1043"/>
                  <a:gd name="connsiteX59" fmla="*/ 2280 w 5061"/>
                  <a:gd name="connsiteY59" fmla="*/ 122 h 1043"/>
                  <a:gd name="connsiteX60" fmla="*/ 2222 w 5061"/>
                  <a:gd name="connsiteY60" fmla="*/ 147 h 1043"/>
                  <a:gd name="connsiteX61" fmla="*/ 2168 w 5061"/>
                  <a:gd name="connsiteY61" fmla="*/ 180 h 1043"/>
                  <a:gd name="connsiteX62" fmla="*/ 2117 w 5061"/>
                  <a:gd name="connsiteY62" fmla="*/ 218 h 1043"/>
                  <a:gd name="connsiteX63" fmla="*/ 2071 w 5061"/>
                  <a:gd name="connsiteY63" fmla="*/ 261 h 1043"/>
                  <a:gd name="connsiteX64" fmla="*/ 2026 w 5061"/>
                  <a:gd name="connsiteY64" fmla="*/ 307 h 1043"/>
                  <a:gd name="connsiteX65" fmla="*/ 1984 w 5061"/>
                  <a:gd name="connsiteY65" fmla="*/ 359 h 1043"/>
                  <a:gd name="connsiteX66" fmla="*/ 1945 w 5061"/>
                  <a:gd name="connsiteY66" fmla="*/ 413 h 1043"/>
                  <a:gd name="connsiteX67" fmla="*/ 1908 w 5061"/>
                  <a:gd name="connsiteY67" fmla="*/ 467 h 1043"/>
                  <a:gd name="connsiteX68" fmla="*/ 1871 w 5061"/>
                  <a:gd name="connsiteY68" fmla="*/ 523 h 1043"/>
                  <a:gd name="connsiteX69" fmla="*/ 1834 w 5061"/>
                  <a:gd name="connsiteY69" fmla="*/ 581 h 1043"/>
                  <a:gd name="connsiteX70" fmla="*/ 1799 w 5061"/>
                  <a:gd name="connsiteY70" fmla="*/ 637 h 1043"/>
                  <a:gd name="connsiteX71" fmla="*/ 1724 w 5061"/>
                  <a:gd name="connsiteY71" fmla="*/ 749 h 1043"/>
                  <a:gd name="connsiteX72" fmla="*/ 1685 w 5061"/>
                  <a:gd name="connsiteY72" fmla="*/ 801 h 1043"/>
                  <a:gd name="connsiteX73" fmla="*/ 1644 w 5061"/>
                  <a:gd name="connsiteY73" fmla="*/ 850 h 1043"/>
                  <a:gd name="connsiteX74" fmla="*/ 1600 w 5061"/>
                  <a:gd name="connsiteY74" fmla="*/ 896 h 1043"/>
                  <a:gd name="connsiteX75" fmla="*/ 1553 w 5061"/>
                  <a:gd name="connsiteY75" fmla="*/ 937 h 1043"/>
                  <a:gd name="connsiteX76" fmla="*/ 1503 w 5061"/>
                  <a:gd name="connsiteY76" fmla="*/ 973 h 1043"/>
                  <a:gd name="connsiteX77" fmla="*/ 1450 w 5061"/>
                  <a:gd name="connsiteY77" fmla="*/ 1002 h 1043"/>
                  <a:gd name="connsiteX78" fmla="*/ 1394 w 5061"/>
                  <a:gd name="connsiteY78" fmla="*/ 1025 h 1043"/>
                  <a:gd name="connsiteX79" fmla="*/ 1330 w 5061"/>
                  <a:gd name="connsiteY79" fmla="*/ 1037 h 1043"/>
                  <a:gd name="connsiteX80" fmla="*/ 1264 w 5061"/>
                  <a:gd name="connsiteY80" fmla="*/ 1043 h 1043"/>
                  <a:gd name="connsiteX81" fmla="*/ 1258 w 5061"/>
                  <a:gd name="connsiteY81" fmla="*/ 1043 h 1043"/>
                  <a:gd name="connsiteX82" fmla="*/ 1190 w 5061"/>
                  <a:gd name="connsiteY82" fmla="*/ 1039 h 1043"/>
                  <a:gd name="connsiteX83" fmla="*/ 1128 w 5061"/>
                  <a:gd name="connsiteY83" fmla="*/ 1027 h 1043"/>
                  <a:gd name="connsiteX84" fmla="*/ 1070 w 5061"/>
                  <a:gd name="connsiteY84" fmla="*/ 1008 h 1043"/>
                  <a:gd name="connsiteX85" fmla="*/ 1018 w 5061"/>
                  <a:gd name="connsiteY85" fmla="*/ 983 h 1043"/>
                  <a:gd name="connsiteX86" fmla="*/ 971 w 5061"/>
                  <a:gd name="connsiteY86" fmla="*/ 952 h 1043"/>
                  <a:gd name="connsiteX87" fmla="*/ 925 w 5061"/>
                  <a:gd name="connsiteY87" fmla="*/ 915 h 1043"/>
                  <a:gd name="connsiteX88" fmla="*/ 884 w 5061"/>
                  <a:gd name="connsiteY88" fmla="*/ 873 h 1043"/>
                  <a:gd name="connsiteX89" fmla="*/ 847 w 5061"/>
                  <a:gd name="connsiteY89" fmla="*/ 828 h 1043"/>
                  <a:gd name="connsiteX90" fmla="*/ 810 w 5061"/>
                  <a:gd name="connsiteY90" fmla="*/ 780 h 1043"/>
                  <a:gd name="connsiteX91" fmla="*/ 777 w 5061"/>
                  <a:gd name="connsiteY91" fmla="*/ 728 h 1043"/>
                  <a:gd name="connsiteX92" fmla="*/ 742 w 5061"/>
                  <a:gd name="connsiteY92" fmla="*/ 674 h 1043"/>
                  <a:gd name="connsiteX93" fmla="*/ 711 w 5061"/>
                  <a:gd name="connsiteY93" fmla="*/ 618 h 1043"/>
                  <a:gd name="connsiteX94" fmla="*/ 678 w 5061"/>
                  <a:gd name="connsiteY94" fmla="*/ 560 h 1043"/>
                  <a:gd name="connsiteX95" fmla="*/ 616 w 5061"/>
                  <a:gd name="connsiteY95" fmla="*/ 448 h 1043"/>
                  <a:gd name="connsiteX96" fmla="*/ 547 w 5061"/>
                  <a:gd name="connsiteY96" fmla="*/ 340 h 1043"/>
                  <a:gd name="connsiteX97" fmla="*/ 504 w 5061"/>
                  <a:gd name="connsiteY97" fmla="*/ 284 h 1043"/>
                  <a:gd name="connsiteX98" fmla="*/ 457 w 5061"/>
                  <a:gd name="connsiteY98" fmla="*/ 239 h 1043"/>
                  <a:gd name="connsiteX99" fmla="*/ 409 w 5061"/>
                  <a:gd name="connsiteY99" fmla="*/ 199 h 1043"/>
                  <a:gd name="connsiteX100" fmla="*/ 358 w 5061"/>
                  <a:gd name="connsiteY100" fmla="*/ 168 h 1043"/>
                  <a:gd name="connsiteX101" fmla="*/ 308 w 5061"/>
                  <a:gd name="connsiteY101" fmla="*/ 145 h 1043"/>
                  <a:gd name="connsiteX102" fmla="*/ 256 w 5061"/>
                  <a:gd name="connsiteY102" fmla="*/ 127 h 1043"/>
                  <a:gd name="connsiteX103" fmla="*/ 209 w 5061"/>
                  <a:gd name="connsiteY103" fmla="*/ 112 h 1043"/>
                  <a:gd name="connsiteX104" fmla="*/ 163 w 5061"/>
                  <a:gd name="connsiteY104" fmla="*/ 104 h 1043"/>
                  <a:gd name="connsiteX105" fmla="*/ 122 w 5061"/>
                  <a:gd name="connsiteY105" fmla="*/ 100 h 1043"/>
                  <a:gd name="connsiteX106" fmla="*/ 85 w 5061"/>
                  <a:gd name="connsiteY106" fmla="*/ 95 h 1043"/>
                  <a:gd name="connsiteX107" fmla="*/ 31 w 5061"/>
                  <a:gd name="connsiteY107" fmla="*/ 95 h 1043"/>
                  <a:gd name="connsiteX108" fmla="*/ 17 w 5061"/>
                  <a:gd name="connsiteY108" fmla="*/ 98 h 1043"/>
                  <a:gd name="connsiteX109" fmla="*/ 11 w 5061"/>
                  <a:gd name="connsiteY109" fmla="*/ 98 h 1043"/>
                  <a:gd name="connsiteX110" fmla="*/ 0 w 5061"/>
                  <a:gd name="connsiteY110" fmla="*/ 13 h 1043"/>
                  <a:gd name="connsiteX111" fmla="*/ 9 w 5061"/>
                  <a:gd name="connsiteY111" fmla="*/ 13 h 1043"/>
                  <a:gd name="connsiteX112" fmla="*/ 29 w 5061"/>
                  <a:gd name="connsiteY112" fmla="*/ 10 h 1043"/>
                  <a:gd name="connsiteX113" fmla="*/ 91 w 5061"/>
                  <a:gd name="connsiteY113" fmla="*/ 10 h 1043"/>
                  <a:gd name="connsiteX114" fmla="*/ 135 w 5061"/>
                  <a:gd name="connsiteY114" fmla="*/ 13 h 1043"/>
                  <a:gd name="connsiteX115" fmla="*/ 182 w 5061"/>
                  <a:gd name="connsiteY115" fmla="*/ 19 h 1043"/>
                  <a:gd name="connsiteX116" fmla="*/ 234 w 5061"/>
                  <a:gd name="connsiteY116" fmla="*/ 29 h 1043"/>
                  <a:gd name="connsiteX117" fmla="*/ 287 w 5061"/>
                  <a:gd name="connsiteY117" fmla="*/ 46 h 1043"/>
                  <a:gd name="connsiteX118" fmla="*/ 345 w 5061"/>
                  <a:gd name="connsiteY118" fmla="*/ 66 h 1043"/>
                  <a:gd name="connsiteX119" fmla="*/ 403 w 5061"/>
                  <a:gd name="connsiteY119" fmla="*/ 93 h 1043"/>
                  <a:gd name="connsiteX120" fmla="*/ 459 w 5061"/>
                  <a:gd name="connsiteY120" fmla="*/ 131 h 1043"/>
                  <a:gd name="connsiteX121" fmla="*/ 514 w 5061"/>
                  <a:gd name="connsiteY121" fmla="*/ 174 h 1043"/>
                  <a:gd name="connsiteX122" fmla="*/ 568 w 5061"/>
                  <a:gd name="connsiteY122" fmla="*/ 228 h 1043"/>
                  <a:gd name="connsiteX123" fmla="*/ 618 w 5061"/>
                  <a:gd name="connsiteY123" fmla="*/ 292 h 1043"/>
                  <a:gd name="connsiteX124" fmla="*/ 667 w 5061"/>
                  <a:gd name="connsiteY124" fmla="*/ 367 h 1043"/>
                  <a:gd name="connsiteX125" fmla="*/ 754 w 5061"/>
                  <a:gd name="connsiteY125" fmla="*/ 516 h 1043"/>
                  <a:gd name="connsiteX126" fmla="*/ 787 w 5061"/>
                  <a:gd name="connsiteY126" fmla="*/ 575 h 1043"/>
                  <a:gd name="connsiteX127" fmla="*/ 820 w 5061"/>
                  <a:gd name="connsiteY127" fmla="*/ 631 h 1043"/>
                  <a:gd name="connsiteX128" fmla="*/ 853 w 5061"/>
                  <a:gd name="connsiteY128" fmla="*/ 684 h 1043"/>
                  <a:gd name="connsiteX129" fmla="*/ 886 w 5061"/>
                  <a:gd name="connsiteY129" fmla="*/ 736 h 1043"/>
                  <a:gd name="connsiteX130" fmla="*/ 921 w 5061"/>
                  <a:gd name="connsiteY130" fmla="*/ 782 h 1043"/>
                  <a:gd name="connsiteX131" fmla="*/ 958 w 5061"/>
                  <a:gd name="connsiteY131" fmla="*/ 825 h 1043"/>
                  <a:gd name="connsiteX132" fmla="*/ 1000 w 5061"/>
                  <a:gd name="connsiteY132" fmla="*/ 863 h 1043"/>
                  <a:gd name="connsiteX133" fmla="*/ 1043 w 5061"/>
                  <a:gd name="connsiteY133" fmla="*/ 894 h 1043"/>
                  <a:gd name="connsiteX134" fmla="*/ 1090 w 5061"/>
                  <a:gd name="connsiteY134" fmla="*/ 921 h 1043"/>
                  <a:gd name="connsiteX135" fmla="*/ 1140 w 5061"/>
                  <a:gd name="connsiteY135" fmla="*/ 939 h 1043"/>
                  <a:gd name="connsiteX136" fmla="*/ 1196 w 5061"/>
                  <a:gd name="connsiteY136" fmla="*/ 952 h 1043"/>
                  <a:gd name="connsiteX137" fmla="*/ 1258 w 5061"/>
                  <a:gd name="connsiteY137" fmla="*/ 956 h 1043"/>
                  <a:gd name="connsiteX138" fmla="*/ 1264 w 5061"/>
                  <a:gd name="connsiteY138" fmla="*/ 956 h 1043"/>
                  <a:gd name="connsiteX139" fmla="*/ 1324 w 5061"/>
                  <a:gd name="connsiteY139" fmla="*/ 950 h 1043"/>
                  <a:gd name="connsiteX140" fmla="*/ 1380 w 5061"/>
                  <a:gd name="connsiteY140" fmla="*/ 935 h 1043"/>
                  <a:gd name="connsiteX141" fmla="*/ 1433 w 5061"/>
                  <a:gd name="connsiteY141" fmla="*/ 913 h 1043"/>
                  <a:gd name="connsiteX142" fmla="*/ 1481 w 5061"/>
                  <a:gd name="connsiteY142" fmla="*/ 884 h 1043"/>
                  <a:gd name="connsiteX143" fmla="*/ 1526 w 5061"/>
                  <a:gd name="connsiteY143" fmla="*/ 846 h 1043"/>
                  <a:gd name="connsiteX144" fmla="*/ 1569 w 5061"/>
                  <a:gd name="connsiteY144" fmla="*/ 803 h 1043"/>
                  <a:gd name="connsiteX145" fmla="*/ 1609 w 5061"/>
                  <a:gd name="connsiteY145" fmla="*/ 755 h 1043"/>
                  <a:gd name="connsiteX146" fmla="*/ 1648 w 5061"/>
                  <a:gd name="connsiteY146" fmla="*/ 703 h 1043"/>
                  <a:gd name="connsiteX147" fmla="*/ 1687 w 5061"/>
                  <a:gd name="connsiteY147" fmla="*/ 649 h 1043"/>
                  <a:gd name="connsiteX148" fmla="*/ 1799 w 5061"/>
                  <a:gd name="connsiteY148" fmla="*/ 475 h 1043"/>
                  <a:gd name="connsiteX149" fmla="*/ 1838 w 5061"/>
                  <a:gd name="connsiteY149" fmla="*/ 415 h 1043"/>
                  <a:gd name="connsiteX150" fmla="*/ 1879 w 5061"/>
                  <a:gd name="connsiteY150" fmla="*/ 357 h 1043"/>
                  <a:gd name="connsiteX151" fmla="*/ 1923 w 5061"/>
                  <a:gd name="connsiteY151" fmla="*/ 299 h 1043"/>
                  <a:gd name="connsiteX152" fmla="*/ 1968 w 5061"/>
                  <a:gd name="connsiteY152" fmla="*/ 245 h 1043"/>
                  <a:gd name="connsiteX153" fmla="*/ 2015 w 5061"/>
                  <a:gd name="connsiteY153" fmla="*/ 193 h 1043"/>
                  <a:gd name="connsiteX154" fmla="*/ 2069 w 5061"/>
                  <a:gd name="connsiteY154" fmla="*/ 145 h 1043"/>
                  <a:gd name="connsiteX155" fmla="*/ 2125 w 5061"/>
                  <a:gd name="connsiteY155" fmla="*/ 104 h 1043"/>
                  <a:gd name="connsiteX156" fmla="*/ 2187 w 5061"/>
                  <a:gd name="connsiteY156" fmla="*/ 69 h 1043"/>
                  <a:gd name="connsiteX157" fmla="*/ 2253 w 5061"/>
                  <a:gd name="connsiteY157" fmla="*/ 39 h 1043"/>
                  <a:gd name="connsiteX158" fmla="*/ 2325 w 5061"/>
                  <a:gd name="connsiteY158" fmla="*/ 19 h 1043"/>
                  <a:gd name="connsiteX159" fmla="*/ 2404 w 5061"/>
                  <a:gd name="connsiteY159" fmla="*/ 6 h 1043"/>
                  <a:gd name="connsiteX160" fmla="*/ 2474 w 5061"/>
                  <a:gd name="connsiteY160" fmla="*/ 4 h 1043"/>
                  <a:gd name="connsiteX161" fmla="*/ 2540 w 5061"/>
                  <a:gd name="connsiteY161" fmla="*/ 13 h 1043"/>
                  <a:gd name="connsiteX162" fmla="*/ 2600 w 5061"/>
                  <a:gd name="connsiteY162" fmla="*/ 27 h 1043"/>
                  <a:gd name="connsiteX163" fmla="*/ 2658 w 5061"/>
                  <a:gd name="connsiteY163" fmla="*/ 50 h 1043"/>
                  <a:gd name="connsiteX164" fmla="*/ 2711 w 5061"/>
                  <a:gd name="connsiteY164" fmla="*/ 81 h 1043"/>
                  <a:gd name="connsiteX165" fmla="*/ 2761 w 5061"/>
                  <a:gd name="connsiteY165" fmla="*/ 116 h 1043"/>
                  <a:gd name="connsiteX166" fmla="*/ 2806 w 5061"/>
                  <a:gd name="connsiteY166" fmla="*/ 158 h 1043"/>
                  <a:gd name="connsiteX167" fmla="*/ 2852 w 5061"/>
                  <a:gd name="connsiteY167" fmla="*/ 203 h 1043"/>
                  <a:gd name="connsiteX168" fmla="*/ 2893 w 5061"/>
                  <a:gd name="connsiteY168" fmla="*/ 251 h 1043"/>
                  <a:gd name="connsiteX169" fmla="*/ 2932 w 5061"/>
                  <a:gd name="connsiteY169" fmla="*/ 303 h 1043"/>
                  <a:gd name="connsiteX170" fmla="*/ 2969 w 5061"/>
                  <a:gd name="connsiteY170" fmla="*/ 357 h 1043"/>
                  <a:gd name="connsiteX171" fmla="*/ 3004 w 5061"/>
                  <a:gd name="connsiteY171" fmla="*/ 413 h 1043"/>
                  <a:gd name="connsiteX172" fmla="*/ 3039 w 5061"/>
                  <a:gd name="connsiteY172" fmla="*/ 467 h 1043"/>
                  <a:gd name="connsiteX173" fmla="*/ 3073 w 5061"/>
                  <a:gd name="connsiteY173" fmla="*/ 523 h 1043"/>
                  <a:gd name="connsiteX174" fmla="*/ 3110 w 5061"/>
                  <a:gd name="connsiteY174" fmla="*/ 585 h 1043"/>
                  <a:gd name="connsiteX175" fmla="*/ 3147 w 5061"/>
                  <a:gd name="connsiteY175" fmla="*/ 643 h 1043"/>
                  <a:gd name="connsiteX176" fmla="*/ 3186 w 5061"/>
                  <a:gd name="connsiteY176" fmla="*/ 701 h 1043"/>
                  <a:gd name="connsiteX177" fmla="*/ 3223 w 5061"/>
                  <a:gd name="connsiteY177" fmla="*/ 755 h 1043"/>
                  <a:gd name="connsiteX178" fmla="*/ 3265 w 5061"/>
                  <a:gd name="connsiteY178" fmla="*/ 805 h 1043"/>
                  <a:gd name="connsiteX179" fmla="*/ 3306 w 5061"/>
                  <a:gd name="connsiteY179" fmla="*/ 848 h 1043"/>
                  <a:gd name="connsiteX180" fmla="*/ 3349 w 5061"/>
                  <a:gd name="connsiteY180" fmla="*/ 886 h 1043"/>
                  <a:gd name="connsiteX181" fmla="*/ 3395 w 5061"/>
                  <a:gd name="connsiteY181" fmla="*/ 917 h 1043"/>
                  <a:gd name="connsiteX182" fmla="*/ 3444 w 5061"/>
                  <a:gd name="connsiteY182" fmla="*/ 939 h 1043"/>
                  <a:gd name="connsiteX183" fmla="*/ 3498 w 5061"/>
                  <a:gd name="connsiteY183" fmla="*/ 952 h 1043"/>
                  <a:gd name="connsiteX184" fmla="*/ 3554 w 5061"/>
                  <a:gd name="connsiteY184" fmla="*/ 956 h 1043"/>
                  <a:gd name="connsiteX185" fmla="*/ 3609 w 5061"/>
                  <a:gd name="connsiteY185" fmla="*/ 950 h 1043"/>
                  <a:gd name="connsiteX186" fmla="*/ 3659 w 5061"/>
                  <a:gd name="connsiteY186" fmla="*/ 935 h 1043"/>
                  <a:gd name="connsiteX187" fmla="*/ 3706 w 5061"/>
                  <a:gd name="connsiteY187" fmla="*/ 915 h 1043"/>
                  <a:gd name="connsiteX188" fmla="*/ 3750 w 5061"/>
                  <a:gd name="connsiteY188" fmla="*/ 884 h 1043"/>
                  <a:gd name="connsiteX189" fmla="*/ 3789 w 5061"/>
                  <a:gd name="connsiteY189" fmla="*/ 848 h 1043"/>
                  <a:gd name="connsiteX190" fmla="*/ 3826 w 5061"/>
                  <a:gd name="connsiteY190" fmla="*/ 807 h 1043"/>
                  <a:gd name="connsiteX191" fmla="*/ 3861 w 5061"/>
                  <a:gd name="connsiteY191" fmla="*/ 759 h 1043"/>
                  <a:gd name="connsiteX192" fmla="*/ 3894 w 5061"/>
                  <a:gd name="connsiteY192" fmla="*/ 709 h 1043"/>
                  <a:gd name="connsiteX193" fmla="*/ 3927 w 5061"/>
                  <a:gd name="connsiteY193" fmla="*/ 655 h 1043"/>
                  <a:gd name="connsiteX194" fmla="*/ 3960 w 5061"/>
                  <a:gd name="connsiteY194" fmla="*/ 597 h 1043"/>
                  <a:gd name="connsiteX195" fmla="*/ 3993 w 5061"/>
                  <a:gd name="connsiteY195" fmla="*/ 537 h 1043"/>
                  <a:gd name="connsiteX196" fmla="*/ 4022 w 5061"/>
                  <a:gd name="connsiteY196" fmla="*/ 483 h 1043"/>
                  <a:gd name="connsiteX197" fmla="*/ 4084 w 5061"/>
                  <a:gd name="connsiteY197" fmla="*/ 375 h 1043"/>
                  <a:gd name="connsiteX198" fmla="*/ 4154 w 5061"/>
                  <a:gd name="connsiteY198" fmla="*/ 272 h 1043"/>
                  <a:gd name="connsiteX199" fmla="*/ 4192 w 5061"/>
                  <a:gd name="connsiteY199" fmla="*/ 224 h 1043"/>
                  <a:gd name="connsiteX200" fmla="*/ 4233 w 5061"/>
                  <a:gd name="connsiteY200" fmla="*/ 178 h 1043"/>
                  <a:gd name="connsiteX201" fmla="*/ 4276 w 5061"/>
                  <a:gd name="connsiteY201" fmla="*/ 137 h 1043"/>
                  <a:gd name="connsiteX202" fmla="*/ 4433 w 5061"/>
                  <a:gd name="connsiteY202" fmla="*/ 39 h 1043"/>
                  <a:gd name="connsiteX203" fmla="*/ 4559 w 5061"/>
                  <a:gd name="connsiteY203" fmla="*/ 6 h 1043"/>
                  <a:gd name="connsiteX0" fmla="*/ 4559 w 5061"/>
                  <a:gd name="connsiteY0" fmla="*/ 6 h 1043"/>
                  <a:gd name="connsiteX1" fmla="*/ 4681 w 5061"/>
                  <a:gd name="connsiteY1" fmla="*/ 0 h 1043"/>
                  <a:gd name="connsiteX2" fmla="*/ 4710 w 5061"/>
                  <a:gd name="connsiteY2" fmla="*/ 4 h 1043"/>
                  <a:gd name="connsiteX3" fmla="*/ 4778 w 5061"/>
                  <a:gd name="connsiteY3" fmla="*/ 23 h 1043"/>
                  <a:gd name="connsiteX4" fmla="*/ 4819 w 5061"/>
                  <a:gd name="connsiteY4" fmla="*/ 39 h 1043"/>
                  <a:gd name="connsiteX5" fmla="*/ 4863 w 5061"/>
                  <a:gd name="connsiteY5" fmla="*/ 60 h 1043"/>
                  <a:gd name="connsiteX6" fmla="*/ 4910 w 5061"/>
                  <a:gd name="connsiteY6" fmla="*/ 89 h 1043"/>
                  <a:gd name="connsiteX7" fmla="*/ 4960 w 5061"/>
                  <a:gd name="connsiteY7" fmla="*/ 124 h 1043"/>
                  <a:gd name="connsiteX8" fmla="*/ 5009 w 5061"/>
                  <a:gd name="connsiteY8" fmla="*/ 170 h 1043"/>
                  <a:gd name="connsiteX9" fmla="*/ 5061 w 5061"/>
                  <a:gd name="connsiteY9" fmla="*/ 224 h 1043"/>
                  <a:gd name="connsiteX10" fmla="*/ 4900 w 5061"/>
                  <a:gd name="connsiteY10" fmla="*/ 189 h 1043"/>
                  <a:gd name="connsiteX11" fmla="*/ 4770 w 5061"/>
                  <a:gd name="connsiteY11" fmla="*/ 112 h 1043"/>
                  <a:gd name="connsiteX12" fmla="*/ 4691 w 5061"/>
                  <a:gd name="connsiteY12" fmla="*/ 89 h 1043"/>
                  <a:gd name="connsiteX13" fmla="*/ 4662 w 5061"/>
                  <a:gd name="connsiteY13" fmla="*/ 87 h 1043"/>
                  <a:gd name="connsiteX14" fmla="*/ 4507 w 5061"/>
                  <a:gd name="connsiteY14" fmla="*/ 106 h 1043"/>
                  <a:gd name="connsiteX15" fmla="*/ 4400 w 5061"/>
                  <a:gd name="connsiteY15" fmla="*/ 154 h 1043"/>
                  <a:gd name="connsiteX16" fmla="*/ 4353 w 5061"/>
                  <a:gd name="connsiteY16" fmla="*/ 187 h 1043"/>
                  <a:gd name="connsiteX17" fmla="*/ 4309 w 5061"/>
                  <a:gd name="connsiteY17" fmla="*/ 224 h 1043"/>
                  <a:gd name="connsiteX18" fmla="*/ 4270 w 5061"/>
                  <a:gd name="connsiteY18" fmla="*/ 268 h 1043"/>
                  <a:gd name="connsiteX19" fmla="*/ 4196 w 5061"/>
                  <a:gd name="connsiteY19" fmla="*/ 363 h 1043"/>
                  <a:gd name="connsiteX20" fmla="*/ 4163 w 5061"/>
                  <a:gd name="connsiteY20" fmla="*/ 415 h 1043"/>
                  <a:gd name="connsiteX21" fmla="*/ 4101 w 5061"/>
                  <a:gd name="connsiteY21" fmla="*/ 523 h 1043"/>
                  <a:gd name="connsiteX22" fmla="*/ 4008 w 5061"/>
                  <a:gd name="connsiteY22" fmla="*/ 691 h 1043"/>
                  <a:gd name="connsiteX23" fmla="*/ 3975 w 5061"/>
                  <a:gd name="connsiteY23" fmla="*/ 747 h 1043"/>
                  <a:gd name="connsiteX24" fmla="*/ 3940 w 5061"/>
                  <a:gd name="connsiteY24" fmla="*/ 798 h 1043"/>
                  <a:gd name="connsiteX25" fmla="*/ 3905 w 5061"/>
                  <a:gd name="connsiteY25" fmla="*/ 848 h 1043"/>
                  <a:gd name="connsiteX26" fmla="*/ 3865 w 5061"/>
                  <a:gd name="connsiteY26" fmla="*/ 894 h 1043"/>
                  <a:gd name="connsiteX27" fmla="*/ 3824 w 5061"/>
                  <a:gd name="connsiteY27" fmla="*/ 935 h 1043"/>
                  <a:gd name="connsiteX28" fmla="*/ 3779 w 5061"/>
                  <a:gd name="connsiteY28" fmla="*/ 971 h 1043"/>
                  <a:gd name="connsiteX29" fmla="*/ 3729 w 5061"/>
                  <a:gd name="connsiteY29" fmla="*/ 1000 h 1043"/>
                  <a:gd name="connsiteX30" fmla="*/ 3677 w 5061"/>
                  <a:gd name="connsiteY30" fmla="*/ 1022 h 1043"/>
                  <a:gd name="connsiteX31" fmla="*/ 3620 w 5061"/>
                  <a:gd name="connsiteY31" fmla="*/ 1037 h 1043"/>
                  <a:gd name="connsiteX32" fmla="*/ 3556 w 5061"/>
                  <a:gd name="connsiteY32" fmla="*/ 1043 h 1043"/>
                  <a:gd name="connsiteX33" fmla="*/ 3547 w 5061"/>
                  <a:gd name="connsiteY33" fmla="*/ 1043 h 1043"/>
                  <a:gd name="connsiteX34" fmla="*/ 3485 w 5061"/>
                  <a:gd name="connsiteY34" fmla="*/ 1039 h 1043"/>
                  <a:gd name="connsiteX35" fmla="*/ 3426 w 5061"/>
                  <a:gd name="connsiteY35" fmla="*/ 1025 h 1043"/>
                  <a:gd name="connsiteX36" fmla="*/ 3372 w 5061"/>
                  <a:gd name="connsiteY36" fmla="*/ 1002 h 1043"/>
                  <a:gd name="connsiteX37" fmla="*/ 3320 w 5061"/>
                  <a:gd name="connsiteY37" fmla="*/ 973 h 1043"/>
                  <a:gd name="connsiteX38" fmla="*/ 3273 w 5061"/>
                  <a:gd name="connsiteY38" fmla="*/ 935 h 1043"/>
                  <a:gd name="connsiteX39" fmla="*/ 3229 w 5061"/>
                  <a:gd name="connsiteY39" fmla="*/ 894 h 1043"/>
                  <a:gd name="connsiteX40" fmla="*/ 3186 w 5061"/>
                  <a:gd name="connsiteY40" fmla="*/ 846 h 1043"/>
                  <a:gd name="connsiteX41" fmla="*/ 3147 w 5061"/>
                  <a:gd name="connsiteY41" fmla="*/ 796 h 1043"/>
                  <a:gd name="connsiteX42" fmla="*/ 3108 w 5061"/>
                  <a:gd name="connsiteY42" fmla="*/ 740 h 1043"/>
                  <a:gd name="connsiteX43" fmla="*/ 3070 w 5061"/>
                  <a:gd name="connsiteY43" fmla="*/ 684 h 1043"/>
                  <a:gd name="connsiteX44" fmla="*/ 2965 w 5061"/>
                  <a:gd name="connsiteY44" fmla="*/ 510 h 1043"/>
                  <a:gd name="connsiteX45" fmla="*/ 2928 w 5061"/>
                  <a:gd name="connsiteY45" fmla="*/ 452 h 1043"/>
                  <a:gd name="connsiteX46" fmla="*/ 2891 w 5061"/>
                  <a:gd name="connsiteY46" fmla="*/ 396 h 1043"/>
                  <a:gd name="connsiteX47" fmla="*/ 2854 w 5061"/>
                  <a:gd name="connsiteY47" fmla="*/ 342 h 1043"/>
                  <a:gd name="connsiteX48" fmla="*/ 2814 w 5061"/>
                  <a:gd name="connsiteY48" fmla="*/ 292 h 1043"/>
                  <a:gd name="connsiteX49" fmla="*/ 2773 w 5061"/>
                  <a:gd name="connsiteY49" fmla="*/ 247 h 1043"/>
                  <a:gd name="connsiteX50" fmla="*/ 2732 w 5061"/>
                  <a:gd name="connsiteY50" fmla="*/ 205 h 1043"/>
                  <a:gd name="connsiteX51" fmla="*/ 2686 w 5061"/>
                  <a:gd name="connsiteY51" fmla="*/ 168 h 1043"/>
                  <a:gd name="connsiteX52" fmla="*/ 2639 w 5061"/>
                  <a:gd name="connsiteY52" fmla="*/ 139 h 1043"/>
                  <a:gd name="connsiteX53" fmla="*/ 2587 w 5061"/>
                  <a:gd name="connsiteY53" fmla="*/ 116 h 1043"/>
                  <a:gd name="connsiteX54" fmla="*/ 2532 w 5061"/>
                  <a:gd name="connsiteY54" fmla="*/ 100 h 1043"/>
                  <a:gd name="connsiteX55" fmla="*/ 2474 w 5061"/>
                  <a:gd name="connsiteY55" fmla="*/ 91 h 1043"/>
                  <a:gd name="connsiteX56" fmla="*/ 2410 w 5061"/>
                  <a:gd name="connsiteY56" fmla="*/ 93 h 1043"/>
                  <a:gd name="connsiteX57" fmla="*/ 2342 w 5061"/>
                  <a:gd name="connsiteY57" fmla="*/ 104 h 1043"/>
                  <a:gd name="connsiteX58" fmla="*/ 2280 w 5061"/>
                  <a:gd name="connsiteY58" fmla="*/ 122 h 1043"/>
                  <a:gd name="connsiteX59" fmla="*/ 2222 w 5061"/>
                  <a:gd name="connsiteY59" fmla="*/ 147 h 1043"/>
                  <a:gd name="connsiteX60" fmla="*/ 2168 w 5061"/>
                  <a:gd name="connsiteY60" fmla="*/ 180 h 1043"/>
                  <a:gd name="connsiteX61" fmla="*/ 2117 w 5061"/>
                  <a:gd name="connsiteY61" fmla="*/ 218 h 1043"/>
                  <a:gd name="connsiteX62" fmla="*/ 2071 w 5061"/>
                  <a:gd name="connsiteY62" fmla="*/ 261 h 1043"/>
                  <a:gd name="connsiteX63" fmla="*/ 2026 w 5061"/>
                  <a:gd name="connsiteY63" fmla="*/ 307 h 1043"/>
                  <a:gd name="connsiteX64" fmla="*/ 1984 w 5061"/>
                  <a:gd name="connsiteY64" fmla="*/ 359 h 1043"/>
                  <a:gd name="connsiteX65" fmla="*/ 1945 w 5061"/>
                  <a:gd name="connsiteY65" fmla="*/ 413 h 1043"/>
                  <a:gd name="connsiteX66" fmla="*/ 1908 w 5061"/>
                  <a:gd name="connsiteY66" fmla="*/ 467 h 1043"/>
                  <a:gd name="connsiteX67" fmla="*/ 1871 w 5061"/>
                  <a:gd name="connsiteY67" fmla="*/ 523 h 1043"/>
                  <a:gd name="connsiteX68" fmla="*/ 1834 w 5061"/>
                  <a:gd name="connsiteY68" fmla="*/ 581 h 1043"/>
                  <a:gd name="connsiteX69" fmla="*/ 1799 w 5061"/>
                  <a:gd name="connsiteY69" fmla="*/ 637 h 1043"/>
                  <a:gd name="connsiteX70" fmla="*/ 1724 w 5061"/>
                  <a:gd name="connsiteY70" fmla="*/ 749 h 1043"/>
                  <a:gd name="connsiteX71" fmla="*/ 1685 w 5061"/>
                  <a:gd name="connsiteY71" fmla="*/ 801 h 1043"/>
                  <a:gd name="connsiteX72" fmla="*/ 1644 w 5061"/>
                  <a:gd name="connsiteY72" fmla="*/ 850 h 1043"/>
                  <a:gd name="connsiteX73" fmla="*/ 1600 w 5061"/>
                  <a:gd name="connsiteY73" fmla="*/ 896 h 1043"/>
                  <a:gd name="connsiteX74" fmla="*/ 1553 w 5061"/>
                  <a:gd name="connsiteY74" fmla="*/ 937 h 1043"/>
                  <a:gd name="connsiteX75" fmla="*/ 1503 w 5061"/>
                  <a:gd name="connsiteY75" fmla="*/ 973 h 1043"/>
                  <a:gd name="connsiteX76" fmla="*/ 1450 w 5061"/>
                  <a:gd name="connsiteY76" fmla="*/ 1002 h 1043"/>
                  <a:gd name="connsiteX77" fmla="*/ 1394 w 5061"/>
                  <a:gd name="connsiteY77" fmla="*/ 1025 h 1043"/>
                  <a:gd name="connsiteX78" fmla="*/ 1330 w 5061"/>
                  <a:gd name="connsiteY78" fmla="*/ 1037 h 1043"/>
                  <a:gd name="connsiteX79" fmla="*/ 1264 w 5061"/>
                  <a:gd name="connsiteY79" fmla="*/ 1043 h 1043"/>
                  <a:gd name="connsiteX80" fmla="*/ 1258 w 5061"/>
                  <a:gd name="connsiteY80" fmla="*/ 1043 h 1043"/>
                  <a:gd name="connsiteX81" fmla="*/ 1190 w 5061"/>
                  <a:gd name="connsiteY81" fmla="*/ 1039 h 1043"/>
                  <a:gd name="connsiteX82" fmla="*/ 1128 w 5061"/>
                  <a:gd name="connsiteY82" fmla="*/ 1027 h 1043"/>
                  <a:gd name="connsiteX83" fmla="*/ 1070 w 5061"/>
                  <a:gd name="connsiteY83" fmla="*/ 1008 h 1043"/>
                  <a:gd name="connsiteX84" fmla="*/ 1018 w 5061"/>
                  <a:gd name="connsiteY84" fmla="*/ 983 h 1043"/>
                  <a:gd name="connsiteX85" fmla="*/ 971 w 5061"/>
                  <a:gd name="connsiteY85" fmla="*/ 952 h 1043"/>
                  <a:gd name="connsiteX86" fmla="*/ 925 w 5061"/>
                  <a:gd name="connsiteY86" fmla="*/ 915 h 1043"/>
                  <a:gd name="connsiteX87" fmla="*/ 884 w 5061"/>
                  <a:gd name="connsiteY87" fmla="*/ 873 h 1043"/>
                  <a:gd name="connsiteX88" fmla="*/ 847 w 5061"/>
                  <a:gd name="connsiteY88" fmla="*/ 828 h 1043"/>
                  <a:gd name="connsiteX89" fmla="*/ 810 w 5061"/>
                  <a:gd name="connsiteY89" fmla="*/ 780 h 1043"/>
                  <a:gd name="connsiteX90" fmla="*/ 777 w 5061"/>
                  <a:gd name="connsiteY90" fmla="*/ 728 h 1043"/>
                  <a:gd name="connsiteX91" fmla="*/ 742 w 5061"/>
                  <a:gd name="connsiteY91" fmla="*/ 674 h 1043"/>
                  <a:gd name="connsiteX92" fmla="*/ 711 w 5061"/>
                  <a:gd name="connsiteY92" fmla="*/ 618 h 1043"/>
                  <a:gd name="connsiteX93" fmla="*/ 678 w 5061"/>
                  <a:gd name="connsiteY93" fmla="*/ 560 h 1043"/>
                  <a:gd name="connsiteX94" fmla="*/ 616 w 5061"/>
                  <a:gd name="connsiteY94" fmla="*/ 448 h 1043"/>
                  <a:gd name="connsiteX95" fmla="*/ 547 w 5061"/>
                  <a:gd name="connsiteY95" fmla="*/ 340 h 1043"/>
                  <a:gd name="connsiteX96" fmla="*/ 504 w 5061"/>
                  <a:gd name="connsiteY96" fmla="*/ 284 h 1043"/>
                  <a:gd name="connsiteX97" fmla="*/ 457 w 5061"/>
                  <a:gd name="connsiteY97" fmla="*/ 239 h 1043"/>
                  <a:gd name="connsiteX98" fmla="*/ 409 w 5061"/>
                  <a:gd name="connsiteY98" fmla="*/ 199 h 1043"/>
                  <a:gd name="connsiteX99" fmla="*/ 358 w 5061"/>
                  <a:gd name="connsiteY99" fmla="*/ 168 h 1043"/>
                  <a:gd name="connsiteX100" fmla="*/ 308 w 5061"/>
                  <a:gd name="connsiteY100" fmla="*/ 145 h 1043"/>
                  <a:gd name="connsiteX101" fmla="*/ 256 w 5061"/>
                  <a:gd name="connsiteY101" fmla="*/ 127 h 1043"/>
                  <a:gd name="connsiteX102" fmla="*/ 209 w 5061"/>
                  <a:gd name="connsiteY102" fmla="*/ 112 h 1043"/>
                  <a:gd name="connsiteX103" fmla="*/ 163 w 5061"/>
                  <a:gd name="connsiteY103" fmla="*/ 104 h 1043"/>
                  <a:gd name="connsiteX104" fmla="*/ 122 w 5061"/>
                  <a:gd name="connsiteY104" fmla="*/ 100 h 1043"/>
                  <a:gd name="connsiteX105" fmla="*/ 85 w 5061"/>
                  <a:gd name="connsiteY105" fmla="*/ 95 h 1043"/>
                  <a:gd name="connsiteX106" fmla="*/ 31 w 5061"/>
                  <a:gd name="connsiteY106" fmla="*/ 95 h 1043"/>
                  <a:gd name="connsiteX107" fmla="*/ 17 w 5061"/>
                  <a:gd name="connsiteY107" fmla="*/ 98 h 1043"/>
                  <a:gd name="connsiteX108" fmla="*/ 11 w 5061"/>
                  <a:gd name="connsiteY108" fmla="*/ 98 h 1043"/>
                  <a:gd name="connsiteX109" fmla="*/ 0 w 5061"/>
                  <a:gd name="connsiteY109" fmla="*/ 13 h 1043"/>
                  <a:gd name="connsiteX110" fmla="*/ 9 w 5061"/>
                  <a:gd name="connsiteY110" fmla="*/ 13 h 1043"/>
                  <a:gd name="connsiteX111" fmla="*/ 29 w 5061"/>
                  <a:gd name="connsiteY111" fmla="*/ 10 h 1043"/>
                  <a:gd name="connsiteX112" fmla="*/ 91 w 5061"/>
                  <a:gd name="connsiteY112" fmla="*/ 10 h 1043"/>
                  <a:gd name="connsiteX113" fmla="*/ 135 w 5061"/>
                  <a:gd name="connsiteY113" fmla="*/ 13 h 1043"/>
                  <a:gd name="connsiteX114" fmla="*/ 182 w 5061"/>
                  <a:gd name="connsiteY114" fmla="*/ 19 h 1043"/>
                  <a:gd name="connsiteX115" fmla="*/ 234 w 5061"/>
                  <a:gd name="connsiteY115" fmla="*/ 29 h 1043"/>
                  <a:gd name="connsiteX116" fmla="*/ 287 w 5061"/>
                  <a:gd name="connsiteY116" fmla="*/ 46 h 1043"/>
                  <a:gd name="connsiteX117" fmla="*/ 345 w 5061"/>
                  <a:gd name="connsiteY117" fmla="*/ 66 h 1043"/>
                  <a:gd name="connsiteX118" fmla="*/ 403 w 5061"/>
                  <a:gd name="connsiteY118" fmla="*/ 93 h 1043"/>
                  <a:gd name="connsiteX119" fmla="*/ 459 w 5061"/>
                  <a:gd name="connsiteY119" fmla="*/ 131 h 1043"/>
                  <a:gd name="connsiteX120" fmla="*/ 514 w 5061"/>
                  <a:gd name="connsiteY120" fmla="*/ 174 h 1043"/>
                  <a:gd name="connsiteX121" fmla="*/ 568 w 5061"/>
                  <a:gd name="connsiteY121" fmla="*/ 228 h 1043"/>
                  <a:gd name="connsiteX122" fmla="*/ 618 w 5061"/>
                  <a:gd name="connsiteY122" fmla="*/ 292 h 1043"/>
                  <a:gd name="connsiteX123" fmla="*/ 667 w 5061"/>
                  <a:gd name="connsiteY123" fmla="*/ 367 h 1043"/>
                  <a:gd name="connsiteX124" fmla="*/ 754 w 5061"/>
                  <a:gd name="connsiteY124" fmla="*/ 516 h 1043"/>
                  <a:gd name="connsiteX125" fmla="*/ 787 w 5061"/>
                  <a:gd name="connsiteY125" fmla="*/ 575 h 1043"/>
                  <a:gd name="connsiteX126" fmla="*/ 820 w 5061"/>
                  <a:gd name="connsiteY126" fmla="*/ 631 h 1043"/>
                  <a:gd name="connsiteX127" fmla="*/ 853 w 5061"/>
                  <a:gd name="connsiteY127" fmla="*/ 684 h 1043"/>
                  <a:gd name="connsiteX128" fmla="*/ 886 w 5061"/>
                  <a:gd name="connsiteY128" fmla="*/ 736 h 1043"/>
                  <a:gd name="connsiteX129" fmla="*/ 921 w 5061"/>
                  <a:gd name="connsiteY129" fmla="*/ 782 h 1043"/>
                  <a:gd name="connsiteX130" fmla="*/ 958 w 5061"/>
                  <a:gd name="connsiteY130" fmla="*/ 825 h 1043"/>
                  <a:gd name="connsiteX131" fmla="*/ 1000 w 5061"/>
                  <a:gd name="connsiteY131" fmla="*/ 863 h 1043"/>
                  <a:gd name="connsiteX132" fmla="*/ 1043 w 5061"/>
                  <a:gd name="connsiteY132" fmla="*/ 894 h 1043"/>
                  <a:gd name="connsiteX133" fmla="*/ 1090 w 5061"/>
                  <a:gd name="connsiteY133" fmla="*/ 921 h 1043"/>
                  <a:gd name="connsiteX134" fmla="*/ 1140 w 5061"/>
                  <a:gd name="connsiteY134" fmla="*/ 939 h 1043"/>
                  <a:gd name="connsiteX135" fmla="*/ 1196 w 5061"/>
                  <a:gd name="connsiteY135" fmla="*/ 952 h 1043"/>
                  <a:gd name="connsiteX136" fmla="*/ 1258 w 5061"/>
                  <a:gd name="connsiteY136" fmla="*/ 956 h 1043"/>
                  <a:gd name="connsiteX137" fmla="*/ 1264 w 5061"/>
                  <a:gd name="connsiteY137" fmla="*/ 956 h 1043"/>
                  <a:gd name="connsiteX138" fmla="*/ 1324 w 5061"/>
                  <a:gd name="connsiteY138" fmla="*/ 950 h 1043"/>
                  <a:gd name="connsiteX139" fmla="*/ 1380 w 5061"/>
                  <a:gd name="connsiteY139" fmla="*/ 935 h 1043"/>
                  <a:gd name="connsiteX140" fmla="*/ 1433 w 5061"/>
                  <a:gd name="connsiteY140" fmla="*/ 913 h 1043"/>
                  <a:gd name="connsiteX141" fmla="*/ 1481 w 5061"/>
                  <a:gd name="connsiteY141" fmla="*/ 884 h 1043"/>
                  <a:gd name="connsiteX142" fmla="*/ 1526 w 5061"/>
                  <a:gd name="connsiteY142" fmla="*/ 846 h 1043"/>
                  <a:gd name="connsiteX143" fmla="*/ 1569 w 5061"/>
                  <a:gd name="connsiteY143" fmla="*/ 803 h 1043"/>
                  <a:gd name="connsiteX144" fmla="*/ 1609 w 5061"/>
                  <a:gd name="connsiteY144" fmla="*/ 755 h 1043"/>
                  <a:gd name="connsiteX145" fmla="*/ 1648 w 5061"/>
                  <a:gd name="connsiteY145" fmla="*/ 703 h 1043"/>
                  <a:gd name="connsiteX146" fmla="*/ 1687 w 5061"/>
                  <a:gd name="connsiteY146" fmla="*/ 649 h 1043"/>
                  <a:gd name="connsiteX147" fmla="*/ 1799 w 5061"/>
                  <a:gd name="connsiteY147" fmla="*/ 475 h 1043"/>
                  <a:gd name="connsiteX148" fmla="*/ 1838 w 5061"/>
                  <a:gd name="connsiteY148" fmla="*/ 415 h 1043"/>
                  <a:gd name="connsiteX149" fmla="*/ 1879 w 5061"/>
                  <a:gd name="connsiteY149" fmla="*/ 357 h 1043"/>
                  <a:gd name="connsiteX150" fmla="*/ 1923 w 5061"/>
                  <a:gd name="connsiteY150" fmla="*/ 299 h 1043"/>
                  <a:gd name="connsiteX151" fmla="*/ 1968 w 5061"/>
                  <a:gd name="connsiteY151" fmla="*/ 245 h 1043"/>
                  <a:gd name="connsiteX152" fmla="*/ 2015 w 5061"/>
                  <a:gd name="connsiteY152" fmla="*/ 193 h 1043"/>
                  <a:gd name="connsiteX153" fmla="*/ 2069 w 5061"/>
                  <a:gd name="connsiteY153" fmla="*/ 145 h 1043"/>
                  <a:gd name="connsiteX154" fmla="*/ 2125 w 5061"/>
                  <a:gd name="connsiteY154" fmla="*/ 104 h 1043"/>
                  <a:gd name="connsiteX155" fmla="*/ 2187 w 5061"/>
                  <a:gd name="connsiteY155" fmla="*/ 69 h 1043"/>
                  <a:gd name="connsiteX156" fmla="*/ 2253 w 5061"/>
                  <a:gd name="connsiteY156" fmla="*/ 39 h 1043"/>
                  <a:gd name="connsiteX157" fmla="*/ 2325 w 5061"/>
                  <a:gd name="connsiteY157" fmla="*/ 19 h 1043"/>
                  <a:gd name="connsiteX158" fmla="*/ 2404 w 5061"/>
                  <a:gd name="connsiteY158" fmla="*/ 6 h 1043"/>
                  <a:gd name="connsiteX159" fmla="*/ 2474 w 5061"/>
                  <a:gd name="connsiteY159" fmla="*/ 4 h 1043"/>
                  <a:gd name="connsiteX160" fmla="*/ 2540 w 5061"/>
                  <a:gd name="connsiteY160" fmla="*/ 13 h 1043"/>
                  <a:gd name="connsiteX161" fmla="*/ 2600 w 5061"/>
                  <a:gd name="connsiteY161" fmla="*/ 27 h 1043"/>
                  <a:gd name="connsiteX162" fmla="*/ 2658 w 5061"/>
                  <a:gd name="connsiteY162" fmla="*/ 50 h 1043"/>
                  <a:gd name="connsiteX163" fmla="*/ 2711 w 5061"/>
                  <a:gd name="connsiteY163" fmla="*/ 81 h 1043"/>
                  <a:gd name="connsiteX164" fmla="*/ 2761 w 5061"/>
                  <a:gd name="connsiteY164" fmla="*/ 116 h 1043"/>
                  <a:gd name="connsiteX165" fmla="*/ 2806 w 5061"/>
                  <a:gd name="connsiteY165" fmla="*/ 158 h 1043"/>
                  <a:gd name="connsiteX166" fmla="*/ 2852 w 5061"/>
                  <a:gd name="connsiteY166" fmla="*/ 203 h 1043"/>
                  <a:gd name="connsiteX167" fmla="*/ 2893 w 5061"/>
                  <a:gd name="connsiteY167" fmla="*/ 251 h 1043"/>
                  <a:gd name="connsiteX168" fmla="*/ 2932 w 5061"/>
                  <a:gd name="connsiteY168" fmla="*/ 303 h 1043"/>
                  <a:gd name="connsiteX169" fmla="*/ 2969 w 5061"/>
                  <a:gd name="connsiteY169" fmla="*/ 357 h 1043"/>
                  <a:gd name="connsiteX170" fmla="*/ 3004 w 5061"/>
                  <a:gd name="connsiteY170" fmla="*/ 413 h 1043"/>
                  <a:gd name="connsiteX171" fmla="*/ 3039 w 5061"/>
                  <a:gd name="connsiteY171" fmla="*/ 467 h 1043"/>
                  <a:gd name="connsiteX172" fmla="*/ 3073 w 5061"/>
                  <a:gd name="connsiteY172" fmla="*/ 523 h 1043"/>
                  <a:gd name="connsiteX173" fmla="*/ 3110 w 5061"/>
                  <a:gd name="connsiteY173" fmla="*/ 585 h 1043"/>
                  <a:gd name="connsiteX174" fmla="*/ 3147 w 5061"/>
                  <a:gd name="connsiteY174" fmla="*/ 643 h 1043"/>
                  <a:gd name="connsiteX175" fmla="*/ 3186 w 5061"/>
                  <a:gd name="connsiteY175" fmla="*/ 701 h 1043"/>
                  <a:gd name="connsiteX176" fmla="*/ 3223 w 5061"/>
                  <a:gd name="connsiteY176" fmla="*/ 755 h 1043"/>
                  <a:gd name="connsiteX177" fmla="*/ 3265 w 5061"/>
                  <a:gd name="connsiteY177" fmla="*/ 805 h 1043"/>
                  <a:gd name="connsiteX178" fmla="*/ 3306 w 5061"/>
                  <a:gd name="connsiteY178" fmla="*/ 848 h 1043"/>
                  <a:gd name="connsiteX179" fmla="*/ 3349 w 5061"/>
                  <a:gd name="connsiteY179" fmla="*/ 886 h 1043"/>
                  <a:gd name="connsiteX180" fmla="*/ 3395 w 5061"/>
                  <a:gd name="connsiteY180" fmla="*/ 917 h 1043"/>
                  <a:gd name="connsiteX181" fmla="*/ 3444 w 5061"/>
                  <a:gd name="connsiteY181" fmla="*/ 939 h 1043"/>
                  <a:gd name="connsiteX182" fmla="*/ 3498 w 5061"/>
                  <a:gd name="connsiteY182" fmla="*/ 952 h 1043"/>
                  <a:gd name="connsiteX183" fmla="*/ 3554 w 5061"/>
                  <a:gd name="connsiteY183" fmla="*/ 956 h 1043"/>
                  <a:gd name="connsiteX184" fmla="*/ 3609 w 5061"/>
                  <a:gd name="connsiteY184" fmla="*/ 950 h 1043"/>
                  <a:gd name="connsiteX185" fmla="*/ 3659 w 5061"/>
                  <a:gd name="connsiteY185" fmla="*/ 935 h 1043"/>
                  <a:gd name="connsiteX186" fmla="*/ 3706 w 5061"/>
                  <a:gd name="connsiteY186" fmla="*/ 915 h 1043"/>
                  <a:gd name="connsiteX187" fmla="*/ 3750 w 5061"/>
                  <a:gd name="connsiteY187" fmla="*/ 884 h 1043"/>
                  <a:gd name="connsiteX188" fmla="*/ 3789 w 5061"/>
                  <a:gd name="connsiteY188" fmla="*/ 848 h 1043"/>
                  <a:gd name="connsiteX189" fmla="*/ 3826 w 5061"/>
                  <a:gd name="connsiteY189" fmla="*/ 807 h 1043"/>
                  <a:gd name="connsiteX190" fmla="*/ 3861 w 5061"/>
                  <a:gd name="connsiteY190" fmla="*/ 759 h 1043"/>
                  <a:gd name="connsiteX191" fmla="*/ 3894 w 5061"/>
                  <a:gd name="connsiteY191" fmla="*/ 709 h 1043"/>
                  <a:gd name="connsiteX192" fmla="*/ 3927 w 5061"/>
                  <a:gd name="connsiteY192" fmla="*/ 655 h 1043"/>
                  <a:gd name="connsiteX193" fmla="*/ 3960 w 5061"/>
                  <a:gd name="connsiteY193" fmla="*/ 597 h 1043"/>
                  <a:gd name="connsiteX194" fmla="*/ 3993 w 5061"/>
                  <a:gd name="connsiteY194" fmla="*/ 537 h 1043"/>
                  <a:gd name="connsiteX195" fmla="*/ 4022 w 5061"/>
                  <a:gd name="connsiteY195" fmla="*/ 483 h 1043"/>
                  <a:gd name="connsiteX196" fmla="*/ 4084 w 5061"/>
                  <a:gd name="connsiteY196" fmla="*/ 375 h 1043"/>
                  <a:gd name="connsiteX197" fmla="*/ 4154 w 5061"/>
                  <a:gd name="connsiteY197" fmla="*/ 272 h 1043"/>
                  <a:gd name="connsiteX198" fmla="*/ 4192 w 5061"/>
                  <a:gd name="connsiteY198" fmla="*/ 224 h 1043"/>
                  <a:gd name="connsiteX199" fmla="*/ 4233 w 5061"/>
                  <a:gd name="connsiteY199" fmla="*/ 178 h 1043"/>
                  <a:gd name="connsiteX200" fmla="*/ 4276 w 5061"/>
                  <a:gd name="connsiteY200" fmla="*/ 137 h 1043"/>
                  <a:gd name="connsiteX201" fmla="*/ 4433 w 5061"/>
                  <a:gd name="connsiteY201" fmla="*/ 39 h 1043"/>
                  <a:gd name="connsiteX202" fmla="*/ 4559 w 5061"/>
                  <a:gd name="connsiteY202" fmla="*/ 6 h 1043"/>
                  <a:gd name="connsiteX0" fmla="*/ 4559 w 5061"/>
                  <a:gd name="connsiteY0" fmla="*/ 6 h 1043"/>
                  <a:gd name="connsiteX1" fmla="*/ 4681 w 5061"/>
                  <a:gd name="connsiteY1" fmla="*/ 0 h 1043"/>
                  <a:gd name="connsiteX2" fmla="*/ 4710 w 5061"/>
                  <a:gd name="connsiteY2" fmla="*/ 4 h 1043"/>
                  <a:gd name="connsiteX3" fmla="*/ 4778 w 5061"/>
                  <a:gd name="connsiteY3" fmla="*/ 23 h 1043"/>
                  <a:gd name="connsiteX4" fmla="*/ 4819 w 5061"/>
                  <a:gd name="connsiteY4" fmla="*/ 39 h 1043"/>
                  <a:gd name="connsiteX5" fmla="*/ 4910 w 5061"/>
                  <a:gd name="connsiteY5" fmla="*/ 89 h 1043"/>
                  <a:gd name="connsiteX6" fmla="*/ 4960 w 5061"/>
                  <a:gd name="connsiteY6" fmla="*/ 124 h 1043"/>
                  <a:gd name="connsiteX7" fmla="*/ 5009 w 5061"/>
                  <a:gd name="connsiteY7" fmla="*/ 170 h 1043"/>
                  <a:gd name="connsiteX8" fmla="*/ 5061 w 5061"/>
                  <a:gd name="connsiteY8" fmla="*/ 224 h 1043"/>
                  <a:gd name="connsiteX9" fmla="*/ 4900 w 5061"/>
                  <a:gd name="connsiteY9" fmla="*/ 189 h 1043"/>
                  <a:gd name="connsiteX10" fmla="*/ 4770 w 5061"/>
                  <a:gd name="connsiteY10" fmla="*/ 112 h 1043"/>
                  <a:gd name="connsiteX11" fmla="*/ 4691 w 5061"/>
                  <a:gd name="connsiteY11" fmla="*/ 89 h 1043"/>
                  <a:gd name="connsiteX12" fmla="*/ 4662 w 5061"/>
                  <a:gd name="connsiteY12" fmla="*/ 87 h 1043"/>
                  <a:gd name="connsiteX13" fmla="*/ 4507 w 5061"/>
                  <a:gd name="connsiteY13" fmla="*/ 106 h 1043"/>
                  <a:gd name="connsiteX14" fmla="*/ 4400 w 5061"/>
                  <a:gd name="connsiteY14" fmla="*/ 154 h 1043"/>
                  <a:gd name="connsiteX15" fmla="*/ 4353 w 5061"/>
                  <a:gd name="connsiteY15" fmla="*/ 187 h 1043"/>
                  <a:gd name="connsiteX16" fmla="*/ 4309 w 5061"/>
                  <a:gd name="connsiteY16" fmla="*/ 224 h 1043"/>
                  <a:gd name="connsiteX17" fmla="*/ 4270 w 5061"/>
                  <a:gd name="connsiteY17" fmla="*/ 268 h 1043"/>
                  <a:gd name="connsiteX18" fmla="*/ 4196 w 5061"/>
                  <a:gd name="connsiteY18" fmla="*/ 363 h 1043"/>
                  <a:gd name="connsiteX19" fmla="*/ 4163 w 5061"/>
                  <a:gd name="connsiteY19" fmla="*/ 415 h 1043"/>
                  <a:gd name="connsiteX20" fmla="*/ 4101 w 5061"/>
                  <a:gd name="connsiteY20" fmla="*/ 523 h 1043"/>
                  <a:gd name="connsiteX21" fmla="*/ 4008 w 5061"/>
                  <a:gd name="connsiteY21" fmla="*/ 691 h 1043"/>
                  <a:gd name="connsiteX22" fmla="*/ 3975 w 5061"/>
                  <a:gd name="connsiteY22" fmla="*/ 747 h 1043"/>
                  <a:gd name="connsiteX23" fmla="*/ 3940 w 5061"/>
                  <a:gd name="connsiteY23" fmla="*/ 798 h 1043"/>
                  <a:gd name="connsiteX24" fmla="*/ 3905 w 5061"/>
                  <a:gd name="connsiteY24" fmla="*/ 848 h 1043"/>
                  <a:gd name="connsiteX25" fmla="*/ 3865 w 5061"/>
                  <a:gd name="connsiteY25" fmla="*/ 894 h 1043"/>
                  <a:gd name="connsiteX26" fmla="*/ 3824 w 5061"/>
                  <a:gd name="connsiteY26" fmla="*/ 935 h 1043"/>
                  <a:gd name="connsiteX27" fmla="*/ 3779 w 5061"/>
                  <a:gd name="connsiteY27" fmla="*/ 971 h 1043"/>
                  <a:gd name="connsiteX28" fmla="*/ 3729 w 5061"/>
                  <a:gd name="connsiteY28" fmla="*/ 1000 h 1043"/>
                  <a:gd name="connsiteX29" fmla="*/ 3677 w 5061"/>
                  <a:gd name="connsiteY29" fmla="*/ 1022 h 1043"/>
                  <a:gd name="connsiteX30" fmla="*/ 3620 w 5061"/>
                  <a:gd name="connsiteY30" fmla="*/ 1037 h 1043"/>
                  <a:gd name="connsiteX31" fmla="*/ 3556 w 5061"/>
                  <a:gd name="connsiteY31" fmla="*/ 1043 h 1043"/>
                  <a:gd name="connsiteX32" fmla="*/ 3547 w 5061"/>
                  <a:gd name="connsiteY32" fmla="*/ 1043 h 1043"/>
                  <a:gd name="connsiteX33" fmla="*/ 3485 w 5061"/>
                  <a:gd name="connsiteY33" fmla="*/ 1039 h 1043"/>
                  <a:gd name="connsiteX34" fmla="*/ 3426 w 5061"/>
                  <a:gd name="connsiteY34" fmla="*/ 1025 h 1043"/>
                  <a:gd name="connsiteX35" fmla="*/ 3372 w 5061"/>
                  <a:gd name="connsiteY35" fmla="*/ 1002 h 1043"/>
                  <a:gd name="connsiteX36" fmla="*/ 3320 w 5061"/>
                  <a:gd name="connsiteY36" fmla="*/ 973 h 1043"/>
                  <a:gd name="connsiteX37" fmla="*/ 3273 w 5061"/>
                  <a:gd name="connsiteY37" fmla="*/ 935 h 1043"/>
                  <a:gd name="connsiteX38" fmla="*/ 3229 w 5061"/>
                  <a:gd name="connsiteY38" fmla="*/ 894 h 1043"/>
                  <a:gd name="connsiteX39" fmla="*/ 3186 w 5061"/>
                  <a:gd name="connsiteY39" fmla="*/ 846 h 1043"/>
                  <a:gd name="connsiteX40" fmla="*/ 3147 w 5061"/>
                  <a:gd name="connsiteY40" fmla="*/ 796 h 1043"/>
                  <a:gd name="connsiteX41" fmla="*/ 3108 w 5061"/>
                  <a:gd name="connsiteY41" fmla="*/ 740 h 1043"/>
                  <a:gd name="connsiteX42" fmla="*/ 3070 w 5061"/>
                  <a:gd name="connsiteY42" fmla="*/ 684 h 1043"/>
                  <a:gd name="connsiteX43" fmla="*/ 2965 w 5061"/>
                  <a:gd name="connsiteY43" fmla="*/ 510 h 1043"/>
                  <a:gd name="connsiteX44" fmla="*/ 2928 w 5061"/>
                  <a:gd name="connsiteY44" fmla="*/ 452 h 1043"/>
                  <a:gd name="connsiteX45" fmla="*/ 2891 w 5061"/>
                  <a:gd name="connsiteY45" fmla="*/ 396 h 1043"/>
                  <a:gd name="connsiteX46" fmla="*/ 2854 w 5061"/>
                  <a:gd name="connsiteY46" fmla="*/ 342 h 1043"/>
                  <a:gd name="connsiteX47" fmla="*/ 2814 w 5061"/>
                  <a:gd name="connsiteY47" fmla="*/ 292 h 1043"/>
                  <a:gd name="connsiteX48" fmla="*/ 2773 w 5061"/>
                  <a:gd name="connsiteY48" fmla="*/ 247 h 1043"/>
                  <a:gd name="connsiteX49" fmla="*/ 2732 w 5061"/>
                  <a:gd name="connsiteY49" fmla="*/ 205 h 1043"/>
                  <a:gd name="connsiteX50" fmla="*/ 2686 w 5061"/>
                  <a:gd name="connsiteY50" fmla="*/ 168 h 1043"/>
                  <a:gd name="connsiteX51" fmla="*/ 2639 w 5061"/>
                  <a:gd name="connsiteY51" fmla="*/ 139 h 1043"/>
                  <a:gd name="connsiteX52" fmla="*/ 2587 w 5061"/>
                  <a:gd name="connsiteY52" fmla="*/ 116 h 1043"/>
                  <a:gd name="connsiteX53" fmla="*/ 2532 w 5061"/>
                  <a:gd name="connsiteY53" fmla="*/ 100 h 1043"/>
                  <a:gd name="connsiteX54" fmla="*/ 2474 w 5061"/>
                  <a:gd name="connsiteY54" fmla="*/ 91 h 1043"/>
                  <a:gd name="connsiteX55" fmla="*/ 2410 w 5061"/>
                  <a:gd name="connsiteY55" fmla="*/ 93 h 1043"/>
                  <a:gd name="connsiteX56" fmla="*/ 2342 w 5061"/>
                  <a:gd name="connsiteY56" fmla="*/ 104 h 1043"/>
                  <a:gd name="connsiteX57" fmla="*/ 2280 w 5061"/>
                  <a:gd name="connsiteY57" fmla="*/ 122 h 1043"/>
                  <a:gd name="connsiteX58" fmla="*/ 2222 w 5061"/>
                  <a:gd name="connsiteY58" fmla="*/ 147 h 1043"/>
                  <a:gd name="connsiteX59" fmla="*/ 2168 w 5061"/>
                  <a:gd name="connsiteY59" fmla="*/ 180 h 1043"/>
                  <a:gd name="connsiteX60" fmla="*/ 2117 w 5061"/>
                  <a:gd name="connsiteY60" fmla="*/ 218 h 1043"/>
                  <a:gd name="connsiteX61" fmla="*/ 2071 w 5061"/>
                  <a:gd name="connsiteY61" fmla="*/ 261 h 1043"/>
                  <a:gd name="connsiteX62" fmla="*/ 2026 w 5061"/>
                  <a:gd name="connsiteY62" fmla="*/ 307 h 1043"/>
                  <a:gd name="connsiteX63" fmla="*/ 1984 w 5061"/>
                  <a:gd name="connsiteY63" fmla="*/ 359 h 1043"/>
                  <a:gd name="connsiteX64" fmla="*/ 1945 w 5061"/>
                  <a:gd name="connsiteY64" fmla="*/ 413 h 1043"/>
                  <a:gd name="connsiteX65" fmla="*/ 1908 w 5061"/>
                  <a:gd name="connsiteY65" fmla="*/ 467 h 1043"/>
                  <a:gd name="connsiteX66" fmla="*/ 1871 w 5061"/>
                  <a:gd name="connsiteY66" fmla="*/ 523 h 1043"/>
                  <a:gd name="connsiteX67" fmla="*/ 1834 w 5061"/>
                  <a:gd name="connsiteY67" fmla="*/ 581 h 1043"/>
                  <a:gd name="connsiteX68" fmla="*/ 1799 w 5061"/>
                  <a:gd name="connsiteY68" fmla="*/ 637 h 1043"/>
                  <a:gd name="connsiteX69" fmla="*/ 1724 w 5061"/>
                  <a:gd name="connsiteY69" fmla="*/ 749 h 1043"/>
                  <a:gd name="connsiteX70" fmla="*/ 1685 w 5061"/>
                  <a:gd name="connsiteY70" fmla="*/ 801 h 1043"/>
                  <a:gd name="connsiteX71" fmla="*/ 1644 w 5061"/>
                  <a:gd name="connsiteY71" fmla="*/ 850 h 1043"/>
                  <a:gd name="connsiteX72" fmla="*/ 1600 w 5061"/>
                  <a:gd name="connsiteY72" fmla="*/ 896 h 1043"/>
                  <a:gd name="connsiteX73" fmla="*/ 1553 w 5061"/>
                  <a:gd name="connsiteY73" fmla="*/ 937 h 1043"/>
                  <a:gd name="connsiteX74" fmla="*/ 1503 w 5061"/>
                  <a:gd name="connsiteY74" fmla="*/ 973 h 1043"/>
                  <a:gd name="connsiteX75" fmla="*/ 1450 w 5061"/>
                  <a:gd name="connsiteY75" fmla="*/ 1002 h 1043"/>
                  <a:gd name="connsiteX76" fmla="*/ 1394 w 5061"/>
                  <a:gd name="connsiteY76" fmla="*/ 1025 h 1043"/>
                  <a:gd name="connsiteX77" fmla="*/ 1330 w 5061"/>
                  <a:gd name="connsiteY77" fmla="*/ 1037 h 1043"/>
                  <a:gd name="connsiteX78" fmla="*/ 1264 w 5061"/>
                  <a:gd name="connsiteY78" fmla="*/ 1043 h 1043"/>
                  <a:gd name="connsiteX79" fmla="*/ 1258 w 5061"/>
                  <a:gd name="connsiteY79" fmla="*/ 1043 h 1043"/>
                  <a:gd name="connsiteX80" fmla="*/ 1190 w 5061"/>
                  <a:gd name="connsiteY80" fmla="*/ 1039 h 1043"/>
                  <a:gd name="connsiteX81" fmla="*/ 1128 w 5061"/>
                  <a:gd name="connsiteY81" fmla="*/ 1027 h 1043"/>
                  <a:gd name="connsiteX82" fmla="*/ 1070 w 5061"/>
                  <a:gd name="connsiteY82" fmla="*/ 1008 h 1043"/>
                  <a:gd name="connsiteX83" fmla="*/ 1018 w 5061"/>
                  <a:gd name="connsiteY83" fmla="*/ 983 h 1043"/>
                  <a:gd name="connsiteX84" fmla="*/ 971 w 5061"/>
                  <a:gd name="connsiteY84" fmla="*/ 952 h 1043"/>
                  <a:gd name="connsiteX85" fmla="*/ 925 w 5061"/>
                  <a:gd name="connsiteY85" fmla="*/ 915 h 1043"/>
                  <a:gd name="connsiteX86" fmla="*/ 884 w 5061"/>
                  <a:gd name="connsiteY86" fmla="*/ 873 h 1043"/>
                  <a:gd name="connsiteX87" fmla="*/ 847 w 5061"/>
                  <a:gd name="connsiteY87" fmla="*/ 828 h 1043"/>
                  <a:gd name="connsiteX88" fmla="*/ 810 w 5061"/>
                  <a:gd name="connsiteY88" fmla="*/ 780 h 1043"/>
                  <a:gd name="connsiteX89" fmla="*/ 777 w 5061"/>
                  <a:gd name="connsiteY89" fmla="*/ 728 h 1043"/>
                  <a:gd name="connsiteX90" fmla="*/ 742 w 5061"/>
                  <a:gd name="connsiteY90" fmla="*/ 674 h 1043"/>
                  <a:gd name="connsiteX91" fmla="*/ 711 w 5061"/>
                  <a:gd name="connsiteY91" fmla="*/ 618 h 1043"/>
                  <a:gd name="connsiteX92" fmla="*/ 678 w 5061"/>
                  <a:gd name="connsiteY92" fmla="*/ 560 h 1043"/>
                  <a:gd name="connsiteX93" fmla="*/ 616 w 5061"/>
                  <a:gd name="connsiteY93" fmla="*/ 448 h 1043"/>
                  <a:gd name="connsiteX94" fmla="*/ 547 w 5061"/>
                  <a:gd name="connsiteY94" fmla="*/ 340 h 1043"/>
                  <a:gd name="connsiteX95" fmla="*/ 504 w 5061"/>
                  <a:gd name="connsiteY95" fmla="*/ 284 h 1043"/>
                  <a:gd name="connsiteX96" fmla="*/ 457 w 5061"/>
                  <a:gd name="connsiteY96" fmla="*/ 239 h 1043"/>
                  <a:gd name="connsiteX97" fmla="*/ 409 w 5061"/>
                  <a:gd name="connsiteY97" fmla="*/ 199 h 1043"/>
                  <a:gd name="connsiteX98" fmla="*/ 358 w 5061"/>
                  <a:gd name="connsiteY98" fmla="*/ 168 h 1043"/>
                  <a:gd name="connsiteX99" fmla="*/ 308 w 5061"/>
                  <a:gd name="connsiteY99" fmla="*/ 145 h 1043"/>
                  <a:gd name="connsiteX100" fmla="*/ 256 w 5061"/>
                  <a:gd name="connsiteY100" fmla="*/ 127 h 1043"/>
                  <a:gd name="connsiteX101" fmla="*/ 209 w 5061"/>
                  <a:gd name="connsiteY101" fmla="*/ 112 h 1043"/>
                  <a:gd name="connsiteX102" fmla="*/ 163 w 5061"/>
                  <a:gd name="connsiteY102" fmla="*/ 104 h 1043"/>
                  <a:gd name="connsiteX103" fmla="*/ 122 w 5061"/>
                  <a:gd name="connsiteY103" fmla="*/ 100 h 1043"/>
                  <a:gd name="connsiteX104" fmla="*/ 85 w 5061"/>
                  <a:gd name="connsiteY104" fmla="*/ 95 h 1043"/>
                  <a:gd name="connsiteX105" fmla="*/ 31 w 5061"/>
                  <a:gd name="connsiteY105" fmla="*/ 95 h 1043"/>
                  <a:gd name="connsiteX106" fmla="*/ 17 w 5061"/>
                  <a:gd name="connsiteY106" fmla="*/ 98 h 1043"/>
                  <a:gd name="connsiteX107" fmla="*/ 11 w 5061"/>
                  <a:gd name="connsiteY107" fmla="*/ 98 h 1043"/>
                  <a:gd name="connsiteX108" fmla="*/ 0 w 5061"/>
                  <a:gd name="connsiteY108" fmla="*/ 13 h 1043"/>
                  <a:gd name="connsiteX109" fmla="*/ 9 w 5061"/>
                  <a:gd name="connsiteY109" fmla="*/ 13 h 1043"/>
                  <a:gd name="connsiteX110" fmla="*/ 29 w 5061"/>
                  <a:gd name="connsiteY110" fmla="*/ 10 h 1043"/>
                  <a:gd name="connsiteX111" fmla="*/ 91 w 5061"/>
                  <a:gd name="connsiteY111" fmla="*/ 10 h 1043"/>
                  <a:gd name="connsiteX112" fmla="*/ 135 w 5061"/>
                  <a:gd name="connsiteY112" fmla="*/ 13 h 1043"/>
                  <a:gd name="connsiteX113" fmla="*/ 182 w 5061"/>
                  <a:gd name="connsiteY113" fmla="*/ 19 h 1043"/>
                  <a:gd name="connsiteX114" fmla="*/ 234 w 5061"/>
                  <a:gd name="connsiteY114" fmla="*/ 29 h 1043"/>
                  <a:gd name="connsiteX115" fmla="*/ 287 w 5061"/>
                  <a:gd name="connsiteY115" fmla="*/ 46 h 1043"/>
                  <a:gd name="connsiteX116" fmla="*/ 345 w 5061"/>
                  <a:gd name="connsiteY116" fmla="*/ 66 h 1043"/>
                  <a:gd name="connsiteX117" fmla="*/ 403 w 5061"/>
                  <a:gd name="connsiteY117" fmla="*/ 93 h 1043"/>
                  <a:gd name="connsiteX118" fmla="*/ 459 w 5061"/>
                  <a:gd name="connsiteY118" fmla="*/ 131 h 1043"/>
                  <a:gd name="connsiteX119" fmla="*/ 514 w 5061"/>
                  <a:gd name="connsiteY119" fmla="*/ 174 h 1043"/>
                  <a:gd name="connsiteX120" fmla="*/ 568 w 5061"/>
                  <a:gd name="connsiteY120" fmla="*/ 228 h 1043"/>
                  <a:gd name="connsiteX121" fmla="*/ 618 w 5061"/>
                  <a:gd name="connsiteY121" fmla="*/ 292 h 1043"/>
                  <a:gd name="connsiteX122" fmla="*/ 667 w 5061"/>
                  <a:gd name="connsiteY122" fmla="*/ 367 h 1043"/>
                  <a:gd name="connsiteX123" fmla="*/ 754 w 5061"/>
                  <a:gd name="connsiteY123" fmla="*/ 516 h 1043"/>
                  <a:gd name="connsiteX124" fmla="*/ 787 w 5061"/>
                  <a:gd name="connsiteY124" fmla="*/ 575 h 1043"/>
                  <a:gd name="connsiteX125" fmla="*/ 820 w 5061"/>
                  <a:gd name="connsiteY125" fmla="*/ 631 h 1043"/>
                  <a:gd name="connsiteX126" fmla="*/ 853 w 5061"/>
                  <a:gd name="connsiteY126" fmla="*/ 684 h 1043"/>
                  <a:gd name="connsiteX127" fmla="*/ 886 w 5061"/>
                  <a:gd name="connsiteY127" fmla="*/ 736 h 1043"/>
                  <a:gd name="connsiteX128" fmla="*/ 921 w 5061"/>
                  <a:gd name="connsiteY128" fmla="*/ 782 h 1043"/>
                  <a:gd name="connsiteX129" fmla="*/ 958 w 5061"/>
                  <a:gd name="connsiteY129" fmla="*/ 825 h 1043"/>
                  <a:gd name="connsiteX130" fmla="*/ 1000 w 5061"/>
                  <a:gd name="connsiteY130" fmla="*/ 863 h 1043"/>
                  <a:gd name="connsiteX131" fmla="*/ 1043 w 5061"/>
                  <a:gd name="connsiteY131" fmla="*/ 894 h 1043"/>
                  <a:gd name="connsiteX132" fmla="*/ 1090 w 5061"/>
                  <a:gd name="connsiteY132" fmla="*/ 921 h 1043"/>
                  <a:gd name="connsiteX133" fmla="*/ 1140 w 5061"/>
                  <a:gd name="connsiteY133" fmla="*/ 939 h 1043"/>
                  <a:gd name="connsiteX134" fmla="*/ 1196 w 5061"/>
                  <a:gd name="connsiteY134" fmla="*/ 952 h 1043"/>
                  <a:gd name="connsiteX135" fmla="*/ 1258 w 5061"/>
                  <a:gd name="connsiteY135" fmla="*/ 956 h 1043"/>
                  <a:gd name="connsiteX136" fmla="*/ 1264 w 5061"/>
                  <a:gd name="connsiteY136" fmla="*/ 956 h 1043"/>
                  <a:gd name="connsiteX137" fmla="*/ 1324 w 5061"/>
                  <a:gd name="connsiteY137" fmla="*/ 950 h 1043"/>
                  <a:gd name="connsiteX138" fmla="*/ 1380 w 5061"/>
                  <a:gd name="connsiteY138" fmla="*/ 935 h 1043"/>
                  <a:gd name="connsiteX139" fmla="*/ 1433 w 5061"/>
                  <a:gd name="connsiteY139" fmla="*/ 913 h 1043"/>
                  <a:gd name="connsiteX140" fmla="*/ 1481 w 5061"/>
                  <a:gd name="connsiteY140" fmla="*/ 884 h 1043"/>
                  <a:gd name="connsiteX141" fmla="*/ 1526 w 5061"/>
                  <a:gd name="connsiteY141" fmla="*/ 846 h 1043"/>
                  <a:gd name="connsiteX142" fmla="*/ 1569 w 5061"/>
                  <a:gd name="connsiteY142" fmla="*/ 803 h 1043"/>
                  <a:gd name="connsiteX143" fmla="*/ 1609 w 5061"/>
                  <a:gd name="connsiteY143" fmla="*/ 755 h 1043"/>
                  <a:gd name="connsiteX144" fmla="*/ 1648 w 5061"/>
                  <a:gd name="connsiteY144" fmla="*/ 703 h 1043"/>
                  <a:gd name="connsiteX145" fmla="*/ 1687 w 5061"/>
                  <a:gd name="connsiteY145" fmla="*/ 649 h 1043"/>
                  <a:gd name="connsiteX146" fmla="*/ 1799 w 5061"/>
                  <a:gd name="connsiteY146" fmla="*/ 475 h 1043"/>
                  <a:gd name="connsiteX147" fmla="*/ 1838 w 5061"/>
                  <a:gd name="connsiteY147" fmla="*/ 415 h 1043"/>
                  <a:gd name="connsiteX148" fmla="*/ 1879 w 5061"/>
                  <a:gd name="connsiteY148" fmla="*/ 357 h 1043"/>
                  <a:gd name="connsiteX149" fmla="*/ 1923 w 5061"/>
                  <a:gd name="connsiteY149" fmla="*/ 299 h 1043"/>
                  <a:gd name="connsiteX150" fmla="*/ 1968 w 5061"/>
                  <a:gd name="connsiteY150" fmla="*/ 245 h 1043"/>
                  <a:gd name="connsiteX151" fmla="*/ 2015 w 5061"/>
                  <a:gd name="connsiteY151" fmla="*/ 193 h 1043"/>
                  <a:gd name="connsiteX152" fmla="*/ 2069 w 5061"/>
                  <a:gd name="connsiteY152" fmla="*/ 145 h 1043"/>
                  <a:gd name="connsiteX153" fmla="*/ 2125 w 5061"/>
                  <a:gd name="connsiteY153" fmla="*/ 104 h 1043"/>
                  <a:gd name="connsiteX154" fmla="*/ 2187 w 5061"/>
                  <a:gd name="connsiteY154" fmla="*/ 69 h 1043"/>
                  <a:gd name="connsiteX155" fmla="*/ 2253 w 5061"/>
                  <a:gd name="connsiteY155" fmla="*/ 39 h 1043"/>
                  <a:gd name="connsiteX156" fmla="*/ 2325 w 5061"/>
                  <a:gd name="connsiteY156" fmla="*/ 19 h 1043"/>
                  <a:gd name="connsiteX157" fmla="*/ 2404 w 5061"/>
                  <a:gd name="connsiteY157" fmla="*/ 6 h 1043"/>
                  <a:gd name="connsiteX158" fmla="*/ 2474 w 5061"/>
                  <a:gd name="connsiteY158" fmla="*/ 4 h 1043"/>
                  <a:gd name="connsiteX159" fmla="*/ 2540 w 5061"/>
                  <a:gd name="connsiteY159" fmla="*/ 13 h 1043"/>
                  <a:gd name="connsiteX160" fmla="*/ 2600 w 5061"/>
                  <a:gd name="connsiteY160" fmla="*/ 27 h 1043"/>
                  <a:gd name="connsiteX161" fmla="*/ 2658 w 5061"/>
                  <a:gd name="connsiteY161" fmla="*/ 50 h 1043"/>
                  <a:gd name="connsiteX162" fmla="*/ 2711 w 5061"/>
                  <a:gd name="connsiteY162" fmla="*/ 81 h 1043"/>
                  <a:gd name="connsiteX163" fmla="*/ 2761 w 5061"/>
                  <a:gd name="connsiteY163" fmla="*/ 116 h 1043"/>
                  <a:gd name="connsiteX164" fmla="*/ 2806 w 5061"/>
                  <a:gd name="connsiteY164" fmla="*/ 158 h 1043"/>
                  <a:gd name="connsiteX165" fmla="*/ 2852 w 5061"/>
                  <a:gd name="connsiteY165" fmla="*/ 203 h 1043"/>
                  <a:gd name="connsiteX166" fmla="*/ 2893 w 5061"/>
                  <a:gd name="connsiteY166" fmla="*/ 251 h 1043"/>
                  <a:gd name="connsiteX167" fmla="*/ 2932 w 5061"/>
                  <a:gd name="connsiteY167" fmla="*/ 303 h 1043"/>
                  <a:gd name="connsiteX168" fmla="*/ 2969 w 5061"/>
                  <a:gd name="connsiteY168" fmla="*/ 357 h 1043"/>
                  <a:gd name="connsiteX169" fmla="*/ 3004 w 5061"/>
                  <a:gd name="connsiteY169" fmla="*/ 413 h 1043"/>
                  <a:gd name="connsiteX170" fmla="*/ 3039 w 5061"/>
                  <a:gd name="connsiteY170" fmla="*/ 467 h 1043"/>
                  <a:gd name="connsiteX171" fmla="*/ 3073 w 5061"/>
                  <a:gd name="connsiteY171" fmla="*/ 523 h 1043"/>
                  <a:gd name="connsiteX172" fmla="*/ 3110 w 5061"/>
                  <a:gd name="connsiteY172" fmla="*/ 585 h 1043"/>
                  <a:gd name="connsiteX173" fmla="*/ 3147 w 5061"/>
                  <a:gd name="connsiteY173" fmla="*/ 643 h 1043"/>
                  <a:gd name="connsiteX174" fmla="*/ 3186 w 5061"/>
                  <a:gd name="connsiteY174" fmla="*/ 701 h 1043"/>
                  <a:gd name="connsiteX175" fmla="*/ 3223 w 5061"/>
                  <a:gd name="connsiteY175" fmla="*/ 755 h 1043"/>
                  <a:gd name="connsiteX176" fmla="*/ 3265 w 5061"/>
                  <a:gd name="connsiteY176" fmla="*/ 805 h 1043"/>
                  <a:gd name="connsiteX177" fmla="*/ 3306 w 5061"/>
                  <a:gd name="connsiteY177" fmla="*/ 848 h 1043"/>
                  <a:gd name="connsiteX178" fmla="*/ 3349 w 5061"/>
                  <a:gd name="connsiteY178" fmla="*/ 886 h 1043"/>
                  <a:gd name="connsiteX179" fmla="*/ 3395 w 5061"/>
                  <a:gd name="connsiteY179" fmla="*/ 917 h 1043"/>
                  <a:gd name="connsiteX180" fmla="*/ 3444 w 5061"/>
                  <a:gd name="connsiteY180" fmla="*/ 939 h 1043"/>
                  <a:gd name="connsiteX181" fmla="*/ 3498 w 5061"/>
                  <a:gd name="connsiteY181" fmla="*/ 952 h 1043"/>
                  <a:gd name="connsiteX182" fmla="*/ 3554 w 5061"/>
                  <a:gd name="connsiteY182" fmla="*/ 956 h 1043"/>
                  <a:gd name="connsiteX183" fmla="*/ 3609 w 5061"/>
                  <a:gd name="connsiteY183" fmla="*/ 950 h 1043"/>
                  <a:gd name="connsiteX184" fmla="*/ 3659 w 5061"/>
                  <a:gd name="connsiteY184" fmla="*/ 935 h 1043"/>
                  <a:gd name="connsiteX185" fmla="*/ 3706 w 5061"/>
                  <a:gd name="connsiteY185" fmla="*/ 915 h 1043"/>
                  <a:gd name="connsiteX186" fmla="*/ 3750 w 5061"/>
                  <a:gd name="connsiteY186" fmla="*/ 884 h 1043"/>
                  <a:gd name="connsiteX187" fmla="*/ 3789 w 5061"/>
                  <a:gd name="connsiteY187" fmla="*/ 848 h 1043"/>
                  <a:gd name="connsiteX188" fmla="*/ 3826 w 5061"/>
                  <a:gd name="connsiteY188" fmla="*/ 807 h 1043"/>
                  <a:gd name="connsiteX189" fmla="*/ 3861 w 5061"/>
                  <a:gd name="connsiteY189" fmla="*/ 759 h 1043"/>
                  <a:gd name="connsiteX190" fmla="*/ 3894 w 5061"/>
                  <a:gd name="connsiteY190" fmla="*/ 709 h 1043"/>
                  <a:gd name="connsiteX191" fmla="*/ 3927 w 5061"/>
                  <a:gd name="connsiteY191" fmla="*/ 655 h 1043"/>
                  <a:gd name="connsiteX192" fmla="*/ 3960 w 5061"/>
                  <a:gd name="connsiteY192" fmla="*/ 597 h 1043"/>
                  <a:gd name="connsiteX193" fmla="*/ 3993 w 5061"/>
                  <a:gd name="connsiteY193" fmla="*/ 537 h 1043"/>
                  <a:gd name="connsiteX194" fmla="*/ 4022 w 5061"/>
                  <a:gd name="connsiteY194" fmla="*/ 483 h 1043"/>
                  <a:gd name="connsiteX195" fmla="*/ 4084 w 5061"/>
                  <a:gd name="connsiteY195" fmla="*/ 375 h 1043"/>
                  <a:gd name="connsiteX196" fmla="*/ 4154 w 5061"/>
                  <a:gd name="connsiteY196" fmla="*/ 272 h 1043"/>
                  <a:gd name="connsiteX197" fmla="*/ 4192 w 5061"/>
                  <a:gd name="connsiteY197" fmla="*/ 224 h 1043"/>
                  <a:gd name="connsiteX198" fmla="*/ 4233 w 5061"/>
                  <a:gd name="connsiteY198" fmla="*/ 178 h 1043"/>
                  <a:gd name="connsiteX199" fmla="*/ 4276 w 5061"/>
                  <a:gd name="connsiteY199" fmla="*/ 137 h 1043"/>
                  <a:gd name="connsiteX200" fmla="*/ 4433 w 5061"/>
                  <a:gd name="connsiteY200" fmla="*/ 39 h 1043"/>
                  <a:gd name="connsiteX201" fmla="*/ 4559 w 5061"/>
                  <a:gd name="connsiteY201" fmla="*/ 6 h 1043"/>
                  <a:gd name="connsiteX0" fmla="*/ 4559 w 5061"/>
                  <a:gd name="connsiteY0" fmla="*/ 6 h 1043"/>
                  <a:gd name="connsiteX1" fmla="*/ 4681 w 5061"/>
                  <a:gd name="connsiteY1" fmla="*/ 0 h 1043"/>
                  <a:gd name="connsiteX2" fmla="*/ 4710 w 5061"/>
                  <a:gd name="connsiteY2" fmla="*/ 4 h 1043"/>
                  <a:gd name="connsiteX3" fmla="*/ 4778 w 5061"/>
                  <a:gd name="connsiteY3" fmla="*/ 23 h 1043"/>
                  <a:gd name="connsiteX4" fmla="*/ 4819 w 5061"/>
                  <a:gd name="connsiteY4" fmla="*/ 39 h 1043"/>
                  <a:gd name="connsiteX5" fmla="*/ 4910 w 5061"/>
                  <a:gd name="connsiteY5" fmla="*/ 89 h 1043"/>
                  <a:gd name="connsiteX6" fmla="*/ 5009 w 5061"/>
                  <a:gd name="connsiteY6" fmla="*/ 170 h 1043"/>
                  <a:gd name="connsiteX7" fmla="*/ 5061 w 5061"/>
                  <a:gd name="connsiteY7" fmla="*/ 224 h 1043"/>
                  <a:gd name="connsiteX8" fmla="*/ 4900 w 5061"/>
                  <a:gd name="connsiteY8" fmla="*/ 189 h 1043"/>
                  <a:gd name="connsiteX9" fmla="*/ 4770 w 5061"/>
                  <a:gd name="connsiteY9" fmla="*/ 112 h 1043"/>
                  <a:gd name="connsiteX10" fmla="*/ 4691 w 5061"/>
                  <a:gd name="connsiteY10" fmla="*/ 89 h 1043"/>
                  <a:gd name="connsiteX11" fmla="*/ 4662 w 5061"/>
                  <a:gd name="connsiteY11" fmla="*/ 87 h 1043"/>
                  <a:gd name="connsiteX12" fmla="*/ 4507 w 5061"/>
                  <a:gd name="connsiteY12" fmla="*/ 106 h 1043"/>
                  <a:gd name="connsiteX13" fmla="*/ 4400 w 5061"/>
                  <a:gd name="connsiteY13" fmla="*/ 154 h 1043"/>
                  <a:gd name="connsiteX14" fmla="*/ 4353 w 5061"/>
                  <a:gd name="connsiteY14" fmla="*/ 187 h 1043"/>
                  <a:gd name="connsiteX15" fmla="*/ 4309 w 5061"/>
                  <a:gd name="connsiteY15" fmla="*/ 224 h 1043"/>
                  <a:gd name="connsiteX16" fmla="*/ 4270 w 5061"/>
                  <a:gd name="connsiteY16" fmla="*/ 268 h 1043"/>
                  <a:gd name="connsiteX17" fmla="*/ 4196 w 5061"/>
                  <a:gd name="connsiteY17" fmla="*/ 363 h 1043"/>
                  <a:gd name="connsiteX18" fmla="*/ 4163 w 5061"/>
                  <a:gd name="connsiteY18" fmla="*/ 415 h 1043"/>
                  <a:gd name="connsiteX19" fmla="*/ 4101 w 5061"/>
                  <a:gd name="connsiteY19" fmla="*/ 523 h 1043"/>
                  <a:gd name="connsiteX20" fmla="*/ 4008 w 5061"/>
                  <a:gd name="connsiteY20" fmla="*/ 691 h 1043"/>
                  <a:gd name="connsiteX21" fmla="*/ 3975 w 5061"/>
                  <a:gd name="connsiteY21" fmla="*/ 747 h 1043"/>
                  <a:gd name="connsiteX22" fmla="*/ 3940 w 5061"/>
                  <a:gd name="connsiteY22" fmla="*/ 798 h 1043"/>
                  <a:gd name="connsiteX23" fmla="*/ 3905 w 5061"/>
                  <a:gd name="connsiteY23" fmla="*/ 848 h 1043"/>
                  <a:gd name="connsiteX24" fmla="*/ 3865 w 5061"/>
                  <a:gd name="connsiteY24" fmla="*/ 894 h 1043"/>
                  <a:gd name="connsiteX25" fmla="*/ 3824 w 5061"/>
                  <a:gd name="connsiteY25" fmla="*/ 935 h 1043"/>
                  <a:gd name="connsiteX26" fmla="*/ 3779 w 5061"/>
                  <a:gd name="connsiteY26" fmla="*/ 971 h 1043"/>
                  <a:gd name="connsiteX27" fmla="*/ 3729 w 5061"/>
                  <a:gd name="connsiteY27" fmla="*/ 1000 h 1043"/>
                  <a:gd name="connsiteX28" fmla="*/ 3677 w 5061"/>
                  <a:gd name="connsiteY28" fmla="*/ 1022 h 1043"/>
                  <a:gd name="connsiteX29" fmla="*/ 3620 w 5061"/>
                  <a:gd name="connsiteY29" fmla="*/ 1037 h 1043"/>
                  <a:gd name="connsiteX30" fmla="*/ 3556 w 5061"/>
                  <a:gd name="connsiteY30" fmla="*/ 1043 h 1043"/>
                  <a:gd name="connsiteX31" fmla="*/ 3547 w 5061"/>
                  <a:gd name="connsiteY31" fmla="*/ 1043 h 1043"/>
                  <a:gd name="connsiteX32" fmla="*/ 3485 w 5061"/>
                  <a:gd name="connsiteY32" fmla="*/ 1039 h 1043"/>
                  <a:gd name="connsiteX33" fmla="*/ 3426 w 5061"/>
                  <a:gd name="connsiteY33" fmla="*/ 1025 h 1043"/>
                  <a:gd name="connsiteX34" fmla="*/ 3372 w 5061"/>
                  <a:gd name="connsiteY34" fmla="*/ 1002 h 1043"/>
                  <a:gd name="connsiteX35" fmla="*/ 3320 w 5061"/>
                  <a:gd name="connsiteY35" fmla="*/ 973 h 1043"/>
                  <a:gd name="connsiteX36" fmla="*/ 3273 w 5061"/>
                  <a:gd name="connsiteY36" fmla="*/ 935 h 1043"/>
                  <a:gd name="connsiteX37" fmla="*/ 3229 w 5061"/>
                  <a:gd name="connsiteY37" fmla="*/ 894 h 1043"/>
                  <a:gd name="connsiteX38" fmla="*/ 3186 w 5061"/>
                  <a:gd name="connsiteY38" fmla="*/ 846 h 1043"/>
                  <a:gd name="connsiteX39" fmla="*/ 3147 w 5061"/>
                  <a:gd name="connsiteY39" fmla="*/ 796 h 1043"/>
                  <a:gd name="connsiteX40" fmla="*/ 3108 w 5061"/>
                  <a:gd name="connsiteY40" fmla="*/ 740 h 1043"/>
                  <a:gd name="connsiteX41" fmla="*/ 3070 w 5061"/>
                  <a:gd name="connsiteY41" fmla="*/ 684 h 1043"/>
                  <a:gd name="connsiteX42" fmla="*/ 2965 w 5061"/>
                  <a:gd name="connsiteY42" fmla="*/ 510 h 1043"/>
                  <a:gd name="connsiteX43" fmla="*/ 2928 w 5061"/>
                  <a:gd name="connsiteY43" fmla="*/ 452 h 1043"/>
                  <a:gd name="connsiteX44" fmla="*/ 2891 w 5061"/>
                  <a:gd name="connsiteY44" fmla="*/ 396 h 1043"/>
                  <a:gd name="connsiteX45" fmla="*/ 2854 w 5061"/>
                  <a:gd name="connsiteY45" fmla="*/ 342 h 1043"/>
                  <a:gd name="connsiteX46" fmla="*/ 2814 w 5061"/>
                  <a:gd name="connsiteY46" fmla="*/ 292 h 1043"/>
                  <a:gd name="connsiteX47" fmla="*/ 2773 w 5061"/>
                  <a:gd name="connsiteY47" fmla="*/ 247 h 1043"/>
                  <a:gd name="connsiteX48" fmla="*/ 2732 w 5061"/>
                  <a:gd name="connsiteY48" fmla="*/ 205 h 1043"/>
                  <a:gd name="connsiteX49" fmla="*/ 2686 w 5061"/>
                  <a:gd name="connsiteY49" fmla="*/ 168 h 1043"/>
                  <a:gd name="connsiteX50" fmla="*/ 2639 w 5061"/>
                  <a:gd name="connsiteY50" fmla="*/ 139 h 1043"/>
                  <a:gd name="connsiteX51" fmla="*/ 2587 w 5061"/>
                  <a:gd name="connsiteY51" fmla="*/ 116 h 1043"/>
                  <a:gd name="connsiteX52" fmla="*/ 2532 w 5061"/>
                  <a:gd name="connsiteY52" fmla="*/ 100 h 1043"/>
                  <a:gd name="connsiteX53" fmla="*/ 2474 w 5061"/>
                  <a:gd name="connsiteY53" fmla="*/ 91 h 1043"/>
                  <a:gd name="connsiteX54" fmla="*/ 2410 w 5061"/>
                  <a:gd name="connsiteY54" fmla="*/ 93 h 1043"/>
                  <a:gd name="connsiteX55" fmla="*/ 2342 w 5061"/>
                  <a:gd name="connsiteY55" fmla="*/ 104 h 1043"/>
                  <a:gd name="connsiteX56" fmla="*/ 2280 w 5061"/>
                  <a:gd name="connsiteY56" fmla="*/ 122 h 1043"/>
                  <a:gd name="connsiteX57" fmla="*/ 2222 w 5061"/>
                  <a:gd name="connsiteY57" fmla="*/ 147 h 1043"/>
                  <a:gd name="connsiteX58" fmla="*/ 2168 w 5061"/>
                  <a:gd name="connsiteY58" fmla="*/ 180 h 1043"/>
                  <a:gd name="connsiteX59" fmla="*/ 2117 w 5061"/>
                  <a:gd name="connsiteY59" fmla="*/ 218 h 1043"/>
                  <a:gd name="connsiteX60" fmla="*/ 2071 w 5061"/>
                  <a:gd name="connsiteY60" fmla="*/ 261 h 1043"/>
                  <a:gd name="connsiteX61" fmla="*/ 2026 w 5061"/>
                  <a:gd name="connsiteY61" fmla="*/ 307 h 1043"/>
                  <a:gd name="connsiteX62" fmla="*/ 1984 w 5061"/>
                  <a:gd name="connsiteY62" fmla="*/ 359 h 1043"/>
                  <a:gd name="connsiteX63" fmla="*/ 1945 w 5061"/>
                  <a:gd name="connsiteY63" fmla="*/ 413 h 1043"/>
                  <a:gd name="connsiteX64" fmla="*/ 1908 w 5061"/>
                  <a:gd name="connsiteY64" fmla="*/ 467 h 1043"/>
                  <a:gd name="connsiteX65" fmla="*/ 1871 w 5061"/>
                  <a:gd name="connsiteY65" fmla="*/ 523 h 1043"/>
                  <a:gd name="connsiteX66" fmla="*/ 1834 w 5061"/>
                  <a:gd name="connsiteY66" fmla="*/ 581 h 1043"/>
                  <a:gd name="connsiteX67" fmla="*/ 1799 w 5061"/>
                  <a:gd name="connsiteY67" fmla="*/ 637 h 1043"/>
                  <a:gd name="connsiteX68" fmla="*/ 1724 w 5061"/>
                  <a:gd name="connsiteY68" fmla="*/ 749 h 1043"/>
                  <a:gd name="connsiteX69" fmla="*/ 1685 w 5061"/>
                  <a:gd name="connsiteY69" fmla="*/ 801 h 1043"/>
                  <a:gd name="connsiteX70" fmla="*/ 1644 w 5061"/>
                  <a:gd name="connsiteY70" fmla="*/ 850 h 1043"/>
                  <a:gd name="connsiteX71" fmla="*/ 1600 w 5061"/>
                  <a:gd name="connsiteY71" fmla="*/ 896 h 1043"/>
                  <a:gd name="connsiteX72" fmla="*/ 1553 w 5061"/>
                  <a:gd name="connsiteY72" fmla="*/ 937 h 1043"/>
                  <a:gd name="connsiteX73" fmla="*/ 1503 w 5061"/>
                  <a:gd name="connsiteY73" fmla="*/ 973 h 1043"/>
                  <a:gd name="connsiteX74" fmla="*/ 1450 w 5061"/>
                  <a:gd name="connsiteY74" fmla="*/ 1002 h 1043"/>
                  <a:gd name="connsiteX75" fmla="*/ 1394 w 5061"/>
                  <a:gd name="connsiteY75" fmla="*/ 1025 h 1043"/>
                  <a:gd name="connsiteX76" fmla="*/ 1330 w 5061"/>
                  <a:gd name="connsiteY76" fmla="*/ 1037 h 1043"/>
                  <a:gd name="connsiteX77" fmla="*/ 1264 w 5061"/>
                  <a:gd name="connsiteY77" fmla="*/ 1043 h 1043"/>
                  <a:gd name="connsiteX78" fmla="*/ 1258 w 5061"/>
                  <a:gd name="connsiteY78" fmla="*/ 1043 h 1043"/>
                  <a:gd name="connsiteX79" fmla="*/ 1190 w 5061"/>
                  <a:gd name="connsiteY79" fmla="*/ 1039 h 1043"/>
                  <a:gd name="connsiteX80" fmla="*/ 1128 w 5061"/>
                  <a:gd name="connsiteY80" fmla="*/ 1027 h 1043"/>
                  <a:gd name="connsiteX81" fmla="*/ 1070 w 5061"/>
                  <a:gd name="connsiteY81" fmla="*/ 1008 h 1043"/>
                  <a:gd name="connsiteX82" fmla="*/ 1018 w 5061"/>
                  <a:gd name="connsiteY82" fmla="*/ 983 h 1043"/>
                  <a:gd name="connsiteX83" fmla="*/ 971 w 5061"/>
                  <a:gd name="connsiteY83" fmla="*/ 952 h 1043"/>
                  <a:gd name="connsiteX84" fmla="*/ 925 w 5061"/>
                  <a:gd name="connsiteY84" fmla="*/ 915 h 1043"/>
                  <a:gd name="connsiteX85" fmla="*/ 884 w 5061"/>
                  <a:gd name="connsiteY85" fmla="*/ 873 h 1043"/>
                  <a:gd name="connsiteX86" fmla="*/ 847 w 5061"/>
                  <a:gd name="connsiteY86" fmla="*/ 828 h 1043"/>
                  <a:gd name="connsiteX87" fmla="*/ 810 w 5061"/>
                  <a:gd name="connsiteY87" fmla="*/ 780 h 1043"/>
                  <a:gd name="connsiteX88" fmla="*/ 777 w 5061"/>
                  <a:gd name="connsiteY88" fmla="*/ 728 h 1043"/>
                  <a:gd name="connsiteX89" fmla="*/ 742 w 5061"/>
                  <a:gd name="connsiteY89" fmla="*/ 674 h 1043"/>
                  <a:gd name="connsiteX90" fmla="*/ 711 w 5061"/>
                  <a:gd name="connsiteY90" fmla="*/ 618 h 1043"/>
                  <a:gd name="connsiteX91" fmla="*/ 678 w 5061"/>
                  <a:gd name="connsiteY91" fmla="*/ 560 h 1043"/>
                  <a:gd name="connsiteX92" fmla="*/ 616 w 5061"/>
                  <a:gd name="connsiteY92" fmla="*/ 448 h 1043"/>
                  <a:gd name="connsiteX93" fmla="*/ 547 w 5061"/>
                  <a:gd name="connsiteY93" fmla="*/ 340 h 1043"/>
                  <a:gd name="connsiteX94" fmla="*/ 504 w 5061"/>
                  <a:gd name="connsiteY94" fmla="*/ 284 h 1043"/>
                  <a:gd name="connsiteX95" fmla="*/ 457 w 5061"/>
                  <a:gd name="connsiteY95" fmla="*/ 239 h 1043"/>
                  <a:gd name="connsiteX96" fmla="*/ 409 w 5061"/>
                  <a:gd name="connsiteY96" fmla="*/ 199 h 1043"/>
                  <a:gd name="connsiteX97" fmla="*/ 358 w 5061"/>
                  <a:gd name="connsiteY97" fmla="*/ 168 h 1043"/>
                  <a:gd name="connsiteX98" fmla="*/ 308 w 5061"/>
                  <a:gd name="connsiteY98" fmla="*/ 145 h 1043"/>
                  <a:gd name="connsiteX99" fmla="*/ 256 w 5061"/>
                  <a:gd name="connsiteY99" fmla="*/ 127 h 1043"/>
                  <a:gd name="connsiteX100" fmla="*/ 209 w 5061"/>
                  <a:gd name="connsiteY100" fmla="*/ 112 h 1043"/>
                  <a:gd name="connsiteX101" fmla="*/ 163 w 5061"/>
                  <a:gd name="connsiteY101" fmla="*/ 104 h 1043"/>
                  <a:gd name="connsiteX102" fmla="*/ 122 w 5061"/>
                  <a:gd name="connsiteY102" fmla="*/ 100 h 1043"/>
                  <a:gd name="connsiteX103" fmla="*/ 85 w 5061"/>
                  <a:gd name="connsiteY103" fmla="*/ 95 h 1043"/>
                  <a:gd name="connsiteX104" fmla="*/ 31 w 5061"/>
                  <a:gd name="connsiteY104" fmla="*/ 95 h 1043"/>
                  <a:gd name="connsiteX105" fmla="*/ 17 w 5061"/>
                  <a:gd name="connsiteY105" fmla="*/ 98 h 1043"/>
                  <a:gd name="connsiteX106" fmla="*/ 11 w 5061"/>
                  <a:gd name="connsiteY106" fmla="*/ 98 h 1043"/>
                  <a:gd name="connsiteX107" fmla="*/ 0 w 5061"/>
                  <a:gd name="connsiteY107" fmla="*/ 13 h 1043"/>
                  <a:gd name="connsiteX108" fmla="*/ 9 w 5061"/>
                  <a:gd name="connsiteY108" fmla="*/ 13 h 1043"/>
                  <a:gd name="connsiteX109" fmla="*/ 29 w 5061"/>
                  <a:gd name="connsiteY109" fmla="*/ 10 h 1043"/>
                  <a:gd name="connsiteX110" fmla="*/ 91 w 5061"/>
                  <a:gd name="connsiteY110" fmla="*/ 10 h 1043"/>
                  <a:gd name="connsiteX111" fmla="*/ 135 w 5061"/>
                  <a:gd name="connsiteY111" fmla="*/ 13 h 1043"/>
                  <a:gd name="connsiteX112" fmla="*/ 182 w 5061"/>
                  <a:gd name="connsiteY112" fmla="*/ 19 h 1043"/>
                  <a:gd name="connsiteX113" fmla="*/ 234 w 5061"/>
                  <a:gd name="connsiteY113" fmla="*/ 29 h 1043"/>
                  <a:gd name="connsiteX114" fmla="*/ 287 w 5061"/>
                  <a:gd name="connsiteY114" fmla="*/ 46 h 1043"/>
                  <a:gd name="connsiteX115" fmla="*/ 345 w 5061"/>
                  <a:gd name="connsiteY115" fmla="*/ 66 h 1043"/>
                  <a:gd name="connsiteX116" fmla="*/ 403 w 5061"/>
                  <a:gd name="connsiteY116" fmla="*/ 93 h 1043"/>
                  <a:gd name="connsiteX117" fmla="*/ 459 w 5061"/>
                  <a:gd name="connsiteY117" fmla="*/ 131 h 1043"/>
                  <a:gd name="connsiteX118" fmla="*/ 514 w 5061"/>
                  <a:gd name="connsiteY118" fmla="*/ 174 h 1043"/>
                  <a:gd name="connsiteX119" fmla="*/ 568 w 5061"/>
                  <a:gd name="connsiteY119" fmla="*/ 228 h 1043"/>
                  <a:gd name="connsiteX120" fmla="*/ 618 w 5061"/>
                  <a:gd name="connsiteY120" fmla="*/ 292 h 1043"/>
                  <a:gd name="connsiteX121" fmla="*/ 667 w 5061"/>
                  <a:gd name="connsiteY121" fmla="*/ 367 h 1043"/>
                  <a:gd name="connsiteX122" fmla="*/ 754 w 5061"/>
                  <a:gd name="connsiteY122" fmla="*/ 516 h 1043"/>
                  <a:gd name="connsiteX123" fmla="*/ 787 w 5061"/>
                  <a:gd name="connsiteY123" fmla="*/ 575 h 1043"/>
                  <a:gd name="connsiteX124" fmla="*/ 820 w 5061"/>
                  <a:gd name="connsiteY124" fmla="*/ 631 h 1043"/>
                  <a:gd name="connsiteX125" fmla="*/ 853 w 5061"/>
                  <a:gd name="connsiteY125" fmla="*/ 684 h 1043"/>
                  <a:gd name="connsiteX126" fmla="*/ 886 w 5061"/>
                  <a:gd name="connsiteY126" fmla="*/ 736 h 1043"/>
                  <a:gd name="connsiteX127" fmla="*/ 921 w 5061"/>
                  <a:gd name="connsiteY127" fmla="*/ 782 h 1043"/>
                  <a:gd name="connsiteX128" fmla="*/ 958 w 5061"/>
                  <a:gd name="connsiteY128" fmla="*/ 825 h 1043"/>
                  <a:gd name="connsiteX129" fmla="*/ 1000 w 5061"/>
                  <a:gd name="connsiteY129" fmla="*/ 863 h 1043"/>
                  <a:gd name="connsiteX130" fmla="*/ 1043 w 5061"/>
                  <a:gd name="connsiteY130" fmla="*/ 894 h 1043"/>
                  <a:gd name="connsiteX131" fmla="*/ 1090 w 5061"/>
                  <a:gd name="connsiteY131" fmla="*/ 921 h 1043"/>
                  <a:gd name="connsiteX132" fmla="*/ 1140 w 5061"/>
                  <a:gd name="connsiteY132" fmla="*/ 939 h 1043"/>
                  <a:gd name="connsiteX133" fmla="*/ 1196 w 5061"/>
                  <a:gd name="connsiteY133" fmla="*/ 952 h 1043"/>
                  <a:gd name="connsiteX134" fmla="*/ 1258 w 5061"/>
                  <a:gd name="connsiteY134" fmla="*/ 956 h 1043"/>
                  <a:gd name="connsiteX135" fmla="*/ 1264 w 5061"/>
                  <a:gd name="connsiteY135" fmla="*/ 956 h 1043"/>
                  <a:gd name="connsiteX136" fmla="*/ 1324 w 5061"/>
                  <a:gd name="connsiteY136" fmla="*/ 950 h 1043"/>
                  <a:gd name="connsiteX137" fmla="*/ 1380 w 5061"/>
                  <a:gd name="connsiteY137" fmla="*/ 935 h 1043"/>
                  <a:gd name="connsiteX138" fmla="*/ 1433 w 5061"/>
                  <a:gd name="connsiteY138" fmla="*/ 913 h 1043"/>
                  <a:gd name="connsiteX139" fmla="*/ 1481 w 5061"/>
                  <a:gd name="connsiteY139" fmla="*/ 884 h 1043"/>
                  <a:gd name="connsiteX140" fmla="*/ 1526 w 5061"/>
                  <a:gd name="connsiteY140" fmla="*/ 846 h 1043"/>
                  <a:gd name="connsiteX141" fmla="*/ 1569 w 5061"/>
                  <a:gd name="connsiteY141" fmla="*/ 803 h 1043"/>
                  <a:gd name="connsiteX142" fmla="*/ 1609 w 5061"/>
                  <a:gd name="connsiteY142" fmla="*/ 755 h 1043"/>
                  <a:gd name="connsiteX143" fmla="*/ 1648 w 5061"/>
                  <a:gd name="connsiteY143" fmla="*/ 703 h 1043"/>
                  <a:gd name="connsiteX144" fmla="*/ 1687 w 5061"/>
                  <a:gd name="connsiteY144" fmla="*/ 649 h 1043"/>
                  <a:gd name="connsiteX145" fmla="*/ 1799 w 5061"/>
                  <a:gd name="connsiteY145" fmla="*/ 475 h 1043"/>
                  <a:gd name="connsiteX146" fmla="*/ 1838 w 5061"/>
                  <a:gd name="connsiteY146" fmla="*/ 415 h 1043"/>
                  <a:gd name="connsiteX147" fmla="*/ 1879 w 5061"/>
                  <a:gd name="connsiteY147" fmla="*/ 357 h 1043"/>
                  <a:gd name="connsiteX148" fmla="*/ 1923 w 5061"/>
                  <a:gd name="connsiteY148" fmla="*/ 299 h 1043"/>
                  <a:gd name="connsiteX149" fmla="*/ 1968 w 5061"/>
                  <a:gd name="connsiteY149" fmla="*/ 245 h 1043"/>
                  <a:gd name="connsiteX150" fmla="*/ 2015 w 5061"/>
                  <a:gd name="connsiteY150" fmla="*/ 193 h 1043"/>
                  <a:gd name="connsiteX151" fmla="*/ 2069 w 5061"/>
                  <a:gd name="connsiteY151" fmla="*/ 145 h 1043"/>
                  <a:gd name="connsiteX152" fmla="*/ 2125 w 5061"/>
                  <a:gd name="connsiteY152" fmla="*/ 104 h 1043"/>
                  <a:gd name="connsiteX153" fmla="*/ 2187 w 5061"/>
                  <a:gd name="connsiteY153" fmla="*/ 69 h 1043"/>
                  <a:gd name="connsiteX154" fmla="*/ 2253 w 5061"/>
                  <a:gd name="connsiteY154" fmla="*/ 39 h 1043"/>
                  <a:gd name="connsiteX155" fmla="*/ 2325 w 5061"/>
                  <a:gd name="connsiteY155" fmla="*/ 19 h 1043"/>
                  <a:gd name="connsiteX156" fmla="*/ 2404 w 5061"/>
                  <a:gd name="connsiteY156" fmla="*/ 6 h 1043"/>
                  <a:gd name="connsiteX157" fmla="*/ 2474 w 5061"/>
                  <a:gd name="connsiteY157" fmla="*/ 4 h 1043"/>
                  <a:gd name="connsiteX158" fmla="*/ 2540 w 5061"/>
                  <a:gd name="connsiteY158" fmla="*/ 13 h 1043"/>
                  <a:gd name="connsiteX159" fmla="*/ 2600 w 5061"/>
                  <a:gd name="connsiteY159" fmla="*/ 27 h 1043"/>
                  <a:gd name="connsiteX160" fmla="*/ 2658 w 5061"/>
                  <a:gd name="connsiteY160" fmla="*/ 50 h 1043"/>
                  <a:gd name="connsiteX161" fmla="*/ 2711 w 5061"/>
                  <a:gd name="connsiteY161" fmla="*/ 81 h 1043"/>
                  <a:gd name="connsiteX162" fmla="*/ 2761 w 5061"/>
                  <a:gd name="connsiteY162" fmla="*/ 116 h 1043"/>
                  <a:gd name="connsiteX163" fmla="*/ 2806 w 5061"/>
                  <a:gd name="connsiteY163" fmla="*/ 158 h 1043"/>
                  <a:gd name="connsiteX164" fmla="*/ 2852 w 5061"/>
                  <a:gd name="connsiteY164" fmla="*/ 203 h 1043"/>
                  <a:gd name="connsiteX165" fmla="*/ 2893 w 5061"/>
                  <a:gd name="connsiteY165" fmla="*/ 251 h 1043"/>
                  <a:gd name="connsiteX166" fmla="*/ 2932 w 5061"/>
                  <a:gd name="connsiteY166" fmla="*/ 303 h 1043"/>
                  <a:gd name="connsiteX167" fmla="*/ 2969 w 5061"/>
                  <a:gd name="connsiteY167" fmla="*/ 357 h 1043"/>
                  <a:gd name="connsiteX168" fmla="*/ 3004 w 5061"/>
                  <a:gd name="connsiteY168" fmla="*/ 413 h 1043"/>
                  <a:gd name="connsiteX169" fmla="*/ 3039 w 5061"/>
                  <a:gd name="connsiteY169" fmla="*/ 467 h 1043"/>
                  <a:gd name="connsiteX170" fmla="*/ 3073 w 5061"/>
                  <a:gd name="connsiteY170" fmla="*/ 523 h 1043"/>
                  <a:gd name="connsiteX171" fmla="*/ 3110 w 5061"/>
                  <a:gd name="connsiteY171" fmla="*/ 585 h 1043"/>
                  <a:gd name="connsiteX172" fmla="*/ 3147 w 5061"/>
                  <a:gd name="connsiteY172" fmla="*/ 643 h 1043"/>
                  <a:gd name="connsiteX173" fmla="*/ 3186 w 5061"/>
                  <a:gd name="connsiteY173" fmla="*/ 701 h 1043"/>
                  <a:gd name="connsiteX174" fmla="*/ 3223 w 5061"/>
                  <a:gd name="connsiteY174" fmla="*/ 755 h 1043"/>
                  <a:gd name="connsiteX175" fmla="*/ 3265 w 5061"/>
                  <a:gd name="connsiteY175" fmla="*/ 805 h 1043"/>
                  <a:gd name="connsiteX176" fmla="*/ 3306 w 5061"/>
                  <a:gd name="connsiteY176" fmla="*/ 848 h 1043"/>
                  <a:gd name="connsiteX177" fmla="*/ 3349 w 5061"/>
                  <a:gd name="connsiteY177" fmla="*/ 886 h 1043"/>
                  <a:gd name="connsiteX178" fmla="*/ 3395 w 5061"/>
                  <a:gd name="connsiteY178" fmla="*/ 917 h 1043"/>
                  <a:gd name="connsiteX179" fmla="*/ 3444 w 5061"/>
                  <a:gd name="connsiteY179" fmla="*/ 939 h 1043"/>
                  <a:gd name="connsiteX180" fmla="*/ 3498 w 5061"/>
                  <a:gd name="connsiteY180" fmla="*/ 952 h 1043"/>
                  <a:gd name="connsiteX181" fmla="*/ 3554 w 5061"/>
                  <a:gd name="connsiteY181" fmla="*/ 956 h 1043"/>
                  <a:gd name="connsiteX182" fmla="*/ 3609 w 5061"/>
                  <a:gd name="connsiteY182" fmla="*/ 950 h 1043"/>
                  <a:gd name="connsiteX183" fmla="*/ 3659 w 5061"/>
                  <a:gd name="connsiteY183" fmla="*/ 935 h 1043"/>
                  <a:gd name="connsiteX184" fmla="*/ 3706 w 5061"/>
                  <a:gd name="connsiteY184" fmla="*/ 915 h 1043"/>
                  <a:gd name="connsiteX185" fmla="*/ 3750 w 5061"/>
                  <a:gd name="connsiteY185" fmla="*/ 884 h 1043"/>
                  <a:gd name="connsiteX186" fmla="*/ 3789 w 5061"/>
                  <a:gd name="connsiteY186" fmla="*/ 848 h 1043"/>
                  <a:gd name="connsiteX187" fmla="*/ 3826 w 5061"/>
                  <a:gd name="connsiteY187" fmla="*/ 807 h 1043"/>
                  <a:gd name="connsiteX188" fmla="*/ 3861 w 5061"/>
                  <a:gd name="connsiteY188" fmla="*/ 759 h 1043"/>
                  <a:gd name="connsiteX189" fmla="*/ 3894 w 5061"/>
                  <a:gd name="connsiteY189" fmla="*/ 709 h 1043"/>
                  <a:gd name="connsiteX190" fmla="*/ 3927 w 5061"/>
                  <a:gd name="connsiteY190" fmla="*/ 655 h 1043"/>
                  <a:gd name="connsiteX191" fmla="*/ 3960 w 5061"/>
                  <a:gd name="connsiteY191" fmla="*/ 597 h 1043"/>
                  <a:gd name="connsiteX192" fmla="*/ 3993 w 5061"/>
                  <a:gd name="connsiteY192" fmla="*/ 537 h 1043"/>
                  <a:gd name="connsiteX193" fmla="*/ 4022 w 5061"/>
                  <a:gd name="connsiteY193" fmla="*/ 483 h 1043"/>
                  <a:gd name="connsiteX194" fmla="*/ 4084 w 5061"/>
                  <a:gd name="connsiteY194" fmla="*/ 375 h 1043"/>
                  <a:gd name="connsiteX195" fmla="*/ 4154 w 5061"/>
                  <a:gd name="connsiteY195" fmla="*/ 272 h 1043"/>
                  <a:gd name="connsiteX196" fmla="*/ 4192 w 5061"/>
                  <a:gd name="connsiteY196" fmla="*/ 224 h 1043"/>
                  <a:gd name="connsiteX197" fmla="*/ 4233 w 5061"/>
                  <a:gd name="connsiteY197" fmla="*/ 178 h 1043"/>
                  <a:gd name="connsiteX198" fmla="*/ 4276 w 5061"/>
                  <a:gd name="connsiteY198" fmla="*/ 137 h 1043"/>
                  <a:gd name="connsiteX199" fmla="*/ 4433 w 5061"/>
                  <a:gd name="connsiteY199" fmla="*/ 39 h 1043"/>
                  <a:gd name="connsiteX200" fmla="*/ 4559 w 5061"/>
                  <a:gd name="connsiteY200" fmla="*/ 6 h 1043"/>
                  <a:gd name="connsiteX0" fmla="*/ 4559 w 5061"/>
                  <a:gd name="connsiteY0" fmla="*/ 6 h 1043"/>
                  <a:gd name="connsiteX1" fmla="*/ 4681 w 5061"/>
                  <a:gd name="connsiteY1" fmla="*/ 0 h 1043"/>
                  <a:gd name="connsiteX2" fmla="*/ 4710 w 5061"/>
                  <a:gd name="connsiteY2" fmla="*/ 4 h 1043"/>
                  <a:gd name="connsiteX3" fmla="*/ 4778 w 5061"/>
                  <a:gd name="connsiteY3" fmla="*/ 23 h 1043"/>
                  <a:gd name="connsiteX4" fmla="*/ 4819 w 5061"/>
                  <a:gd name="connsiteY4" fmla="*/ 39 h 1043"/>
                  <a:gd name="connsiteX5" fmla="*/ 4910 w 5061"/>
                  <a:gd name="connsiteY5" fmla="*/ 89 h 1043"/>
                  <a:gd name="connsiteX6" fmla="*/ 5061 w 5061"/>
                  <a:gd name="connsiteY6" fmla="*/ 224 h 1043"/>
                  <a:gd name="connsiteX7" fmla="*/ 4900 w 5061"/>
                  <a:gd name="connsiteY7" fmla="*/ 189 h 1043"/>
                  <a:gd name="connsiteX8" fmla="*/ 4770 w 5061"/>
                  <a:gd name="connsiteY8" fmla="*/ 112 h 1043"/>
                  <a:gd name="connsiteX9" fmla="*/ 4691 w 5061"/>
                  <a:gd name="connsiteY9" fmla="*/ 89 h 1043"/>
                  <a:gd name="connsiteX10" fmla="*/ 4662 w 5061"/>
                  <a:gd name="connsiteY10" fmla="*/ 87 h 1043"/>
                  <a:gd name="connsiteX11" fmla="*/ 4507 w 5061"/>
                  <a:gd name="connsiteY11" fmla="*/ 106 h 1043"/>
                  <a:gd name="connsiteX12" fmla="*/ 4400 w 5061"/>
                  <a:gd name="connsiteY12" fmla="*/ 154 h 1043"/>
                  <a:gd name="connsiteX13" fmla="*/ 4353 w 5061"/>
                  <a:gd name="connsiteY13" fmla="*/ 187 h 1043"/>
                  <a:gd name="connsiteX14" fmla="*/ 4309 w 5061"/>
                  <a:gd name="connsiteY14" fmla="*/ 224 h 1043"/>
                  <a:gd name="connsiteX15" fmla="*/ 4270 w 5061"/>
                  <a:gd name="connsiteY15" fmla="*/ 268 h 1043"/>
                  <a:gd name="connsiteX16" fmla="*/ 4196 w 5061"/>
                  <a:gd name="connsiteY16" fmla="*/ 363 h 1043"/>
                  <a:gd name="connsiteX17" fmla="*/ 4163 w 5061"/>
                  <a:gd name="connsiteY17" fmla="*/ 415 h 1043"/>
                  <a:gd name="connsiteX18" fmla="*/ 4101 w 5061"/>
                  <a:gd name="connsiteY18" fmla="*/ 523 h 1043"/>
                  <a:gd name="connsiteX19" fmla="*/ 4008 w 5061"/>
                  <a:gd name="connsiteY19" fmla="*/ 691 h 1043"/>
                  <a:gd name="connsiteX20" fmla="*/ 3975 w 5061"/>
                  <a:gd name="connsiteY20" fmla="*/ 747 h 1043"/>
                  <a:gd name="connsiteX21" fmla="*/ 3940 w 5061"/>
                  <a:gd name="connsiteY21" fmla="*/ 798 h 1043"/>
                  <a:gd name="connsiteX22" fmla="*/ 3905 w 5061"/>
                  <a:gd name="connsiteY22" fmla="*/ 848 h 1043"/>
                  <a:gd name="connsiteX23" fmla="*/ 3865 w 5061"/>
                  <a:gd name="connsiteY23" fmla="*/ 894 h 1043"/>
                  <a:gd name="connsiteX24" fmla="*/ 3824 w 5061"/>
                  <a:gd name="connsiteY24" fmla="*/ 935 h 1043"/>
                  <a:gd name="connsiteX25" fmla="*/ 3779 w 5061"/>
                  <a:gd name="connsiteY25" fmla="*/ 971 h 1043"/>
                  <a:gd name="connsiteX26" fmla="*/ 3729 w 5061"/>
                  <a:gd name="connsiteY26" fmla="*/ 1000 h 1043"/>
                  <a:gd name="connsiteX27" fmla="*/ 3677 w 5061"/>
                  <a:gd name="connsiteY27" fmla="*/ 1022 h 1043"/>
                  <a:gd name="connsiteX28" fmla="*/ 3620 w 5061"/>
                  <a:gd name="connsiteY28" fmla="*/ 1037 h 1043"/>
                  <a:gd name="connsiteX29" fmla="*/ 3556 w 5061"/>
                  <a:gd name="connsiteY29" fmla="*/ 1043 h 1043"/>
                  <a:gd name="connsiteX30" fmla="*/ 3547 w 5061"/>
                  <a:gd name="connsiteY30" fmla="*/ 1043 h 1043"/>
                  <a:gd name="connsiteX31" fmla="*/ 3485 w 5061"/>
                  <a:gd name="connsiteY31" fmla="*/ 1039 h 1043"/>
                  <a:gd name="connsiteX32" fmla="*/ 3426 w 5061"/>
                  <a:gd name="connsiteY32" fmla="*/ 1025 h 1043"/>
                  <a:gd name="connsiteX33" fmla="*/ 3372 w 5061"/>
                  <a:gd name="connsiteY33" fmla="*/ 1002 h 1043"/>
                  <a:gd name="connsiteX34" fmla="*/ 3320 w 5061"/>
                  <a:gd name="connsiteY34" fmla="*/ 973 h 1043"/>
                  <a:gd name="connsiteX35" fmla="*/ 3273 w 5061"/>
                  <a:gd name="connsiteY35" fmla="*/ 935 h 1043"/>
                  <a:gd name="connsiteX36" fmla="*/ 3229 w 5061"/>
                  <a:gd name="connsiteY36" fmla="*/ 894 h 1043"/>
                  <a:gd name="connsiteX37" fmla="*/ 3186 w 5061"/>
                  <a:gd name="connsiteY37" fmla="*/ 846 h 1043"/>
                  <a:gd name="connsiteX38" fmla="*/ 3147 w 5061"/>
                  <a:gd name="connsiteY38" fmla="*/ 796 h 1043"/>
                  <a:gd name="connsiteX39" fmla="*/ 3108 w 5061"/>
                  <a:gd name="connsiteY39" fmla="*/ 740 h 1043"/>
                  <a:gd name="connsiteX40" fmla="*/ 3070 w 5061"/>
                  <a:gd name="connsiteY40" fmla="*/ 684 h 1043"/>
                  <a:gd name="connsiteX41" fmla="*/ 2965 w 5061"/>
                  <a:gd name="connsiteY41" fmla="*/ 510 h 1043"/>
                  <a:gd name="connsiteX42" fmla="*/ 2928 w 5061"/>
                  <a:gd name="connsiteY42" fmla="*/ 452 h 1043"/>
                  <a:gd name="connsiteX43" fmla="*/ 2891 w 5061"/>
                  <a:gd name="connsiteY43" fmla="*/ 396 h 1043"/>
                  <a:gd name="connsiteX44" fmla="*/ 2854 w 5061"/>
                  <a:gd name="connsiteY44" fmla="*/ 342 h 1043"/>
                  <a:gd name="connsiteX45" fmla="*/ 2814 w 5061"/>
                  <a:gd name="connsiteY45" fmla="*/ 292 h 1043"/>
                  <a:gd name="connsiteX46" fmla="*/ 2773 w 5061"/>
                  <a:gd name="connsiteY46" fmla="*/ 247 h 1043"/>
                  <a:gd name="connsiteX47" fmla="*/ 2732 w 5061"/>
                  <a:gd name="connsiteY47" fmla="*/ 205 h 1043"/>
                  <a:gd name="connsiteX48" fmla="*/ 2686 w 5061"/>
                  <a:gd name="connsiteY48" fmla="*/ 168 h 1043"/>
                  <a:gd name="connsiteX49" fmla="*/ 2639 w 5061"/>
                  <a:gd name="connsiteY49" fmla="*/ 139 h 1043"/>
                  <a:gd name="connsiteX50" fmla="*/ 2587 w 5061"/>
                  <a:gd name="connsiteY50" fmla="*/ 116 h 1043"/>
                  <a:gd name="connsiteX51" fmla="*/ 2532 w 5061"/>
                  <a:gd name="connsiteY51" fmla="*/ 100 h 1043"/>
                  <a:gd name="connsiteX52" fmla="*/ 2474 w 5061"/>
                  <a:gd name="connsiteY52" fmla="*/ 91 h 1043"/>
                  <a:gd name="connsiteX53" fmla="*/ 2410 w 5061"/>
                  <a:gd name="connsiteY53" fmla="*/ 93 h 1043"/>
                  <a:gd name="connsiteX54" fmla="*/ 2342 w 5061"/>
                  <a:gd name="connsiteY54" fmla="*/ 104 h 1043"/>
                  <a:gd name="connsiteX55" fmla="*/ 2280 w 5061"/>
                  <a:gd name="connsiteY55" fmla="*/ 122 h 1043"/>
                  <a:gd name="connsiteX56" fmla="*/ 2222 w 5061"/>
                  <a:gd name="connsiteY56" fmla="*/ 147 h 1043"/>
                  <a:gd name="connsiteX57" fmla="*/ 2168 w 5061"/>
                  <a:gd name="connsiteY57" fmla="*/ 180 h 1043"/>
                  <a:gd name="connsiteX58" fmla="*/ 2117 w 5061"/>
                  <a:gd name="connsiteY58" fmla="*/ 218 h 1043"/>
                  <a:gd name="connsiteX59" fmla="*/ 2071 w 5061"/>
                  <a:gd name="connsiteY59" fmla="*/ 261 h 1043"/>
                  <a:gd name="connsiteX60" fmla="*/ 2026 w 5061"/>
                  <a:gd name="connsiteY60" fmla="*/ 307 h 1043"/>
                  <a:gd name="connsiteX61" fmla="*/ 1984 w 5061"/>
                  <a:gd name="connsiteY61" fmla="*/ 359 h 1043"/>
                  <a:gd name="connsiteX62" fmla="*/ 1945 w 5061"/>
                  <a:gd name="connsiteY62" fmla="*/ 413 h 1043"/>
                  <a:gd name="connsiteX63" fmla="*/ 1908 w 5061"/>
                  <a:gd name="connsiteY63" fmla="*/ 467 h 1043"/>
                  <a:gd name="connsiteX64" fmla="*/ 1871 w 5061"/>
                  <a:gd name="connsiteY64" fmla="*/ 523 h 1043"/>
                  <a:gd name="connsiteX65" fmla="*/ 1834 w 5061"/>
                  <a:gd name="connsiteY65" fmla="*/ 581 h 1043"/>
                  <a:gd name="connsiteX66" fmla="*/ 1799 w 5061"/>
                  <a:gd name="connsiteY66" fmla="*/ 637 h 1043"/>
                  <a:gd name="connsiteX67" fmla="*/ 1724 w 5061"/>
                  <a:gd name="connsiteY67" fmla="*/ 749 h 1043"/>
                  <a:gd name="connsiteX68" fmla="*/ 1685 w 5061"/>
                  <a:gd name="connsiteY68" fmla="*/ 801 h 1043"/>
                  <a:gd name="connsiteX69" fmla="*/ 1644 w 5061"/>
                  <a:gd name="connsiteY69" fmla="*/ 850 h 1043"/>
                  <a:gd name="connsiteX70" fmla="*/ 1600 w 5061"/>
                  <a:gd name="connsiteY70" fmla="*/ 896 h 1043"/>
                  <a:gd name="connsiteX71" fmla="*/ 1553 w 5061"/>
                  <a:gd name="connsiteY71" fmla="*/ 937 h 1043"/>
                  <a:gd name="connsiteX72" fmla="*/ 1503 w 5061"/>
                  <a:gd name="connsiteY72" fmla="*/ 973 h 1043"/>
                  <a:gd name="connsiteX73" fmla="*/ 1450 w 5061"/>
                  <a:gd name="connsiteY73" fmla="*/ 1002 h 1043"/>
                  <a:gd name="connsiteX74" fmla="*/ 1394 w 5061"/>
                  <a:gd name="connsiteY74" fmla="*/ 1025 h 1043"/>
                  <a:gd name="connsiteX75" fmla="*/ 1330 w 5061"/>
                  <a:gd name="connsiteY75" fmla="*/ 1037 h 1043"/>
                  <a:gd name="connsiteX76" fmla="*/ 1264 w 5061"/>
                  <a:gd name="connsiteY76" fmla="*/ 1043 h 1043"/>
                  <a:gd name="connsiteX77" fmla="*/ 1258 w 5061"/>
                  <a:gd name="connsiteY77" fmla="*/ 1043 h 1043"/>
                  <a:gd name="connsiteX78" fmla="*/ 1190 w 5061"/>
                  <a:gd name="connsiteY78" fmla="*/ 1039 h 1043"/>
                  <a:gd name="connsiteX79" fmla="*/ 1128 w 5061"/>
                  <a:gd name="connsiteY79" fmla="*/ 1027 h 1043"/>
                  <a:gd name="connsiteX80" fmla="*/ 1070 w 5061"/>
                  <a:gd name="connsiteY80" fmla="*/ 1008 h 1043"/>
                  <a:gd name="connsiteX81" fmla="*/ 1018 w 5061"/>
                  <a:gd name="connsiteY81" fmla="*/ 983 h 1043"/>
                  <a:gd name="connsiteX82" fmla="*/ 971 w 5061"/>
                  <a:gd name="connsiteY82" fmla="*/ 952 h 1043"/>
                  <a:gd name="connsiteX83" fmla="*/ 925 w 5061"/>
                  <a:gd name="connsiteY83" fmla="*/ 915 h 1043"/>
                  <a:gd name="connsiteX84" fmla="*/ 884 w 5061"/>
                  <a:gd name="connsiteY84" fmla="*/ 873 h 1043"/>
                  <a:gd name="connsiteX85" fmla="*/ 847 w 5061"/>
                  <a:gd name="connsiteY85" fmla="*/ 828 h 1043"/>
                  <a:gd name="connsiteX86" fmla="*/ 810 w 5061"/>
                  <a:gd name="connsiteY86" fmla="*/ 780 h 1043"/>
                  <a:gd name="connsiteX87" fmla="*/ 777 w 5061"/>
                  <a:gd name="connsiteY87" fmla="*/ 728 h 1043"/>
                  <a:gd name="connsiteX88" fmla="*/ 742 w 5061"/>
                  <a:gd name="connsiteY88" fmla="*/ 674 h 1043"/>
                  <a:gd name="connsiteX89" fmla="*/ 711 w 5061"/>
                  <a:gd name="connsiteY89" fmla="*/ 618 h 1043"/>
                  <a:gd name="connsiteX90" fmla="*/ 678 w 5061"/>
                  <a:gd name="connsiteY90" fmla="*/ 560 h 1043"/>
                  <a:gd name="connsiteX91" fmla="*/ 616 w 5061"/>
                  <a:gd name="connsiteY91" fmla="*/ 448 h 1043"/>
                  <a:gd name="connsiteX92" fmla="*/ 547 w 5061"/>
                  <a:gd name="connsiteY92" fmla="*/ 340 h 1043"/>
                  <a:gd name="connsiteX93" fmla="*/ 504 w 5061"/>
                  <a:gd name="connsiteY93" fmla="*/ 284 h 1043"/>
                  <a:gd name="connsiteX94" fmla="*/ 457 w 5061"/>
                  <a:gd name="connsiteY94" fmla="*/ 239 h 1043"/>
                  <a:gd name="connsiteX95" fmla="*/ 409 w 5061"/>
                  <a:gd name="connsiteY95" fmla="*/ 199 h 1043"/>
                  <a:gd name="connsiteX96" fmla="*/ 358 w 5061"/>
                  <a:gd name="connsiteY96" fmla="*/ 168 h 1043"/>
                  <a:gd name="connsiteX97" fmla="*/ 308 w 5061"/>
                  <a:gd name="connsiteY97" fmla="*/ 145 h 1043"/>
                  <a:gd name="connsiteX98" fmla="*/ 256 w 5061"/>
                  <a:gd name="connsiteY98" fmla="*/ 127 h 1043"/>
                  <a:gd name="connsiteX99" fmla="*/ 209 w 5061"/>
                  <a:gd name="connsiteY99" fmla="*/ 112 h 1043"/>
                  <a:gd name="connsiteX100" fmla="*/ 163 w 5061"/>
                  <a:gd name="connsiteY100" fmla="*/ 104 h 1043"/>
                  <a:gd name="connsiteX101" fmla="*/ 122 w 5061"/>
                  <a:gd name="connsiteY101" fmla="*/ 100 h 1043"/>
                  <a:gd name="connsiteX102" fmla="*/ 85 w 5061"/>
                  <a:gd name="connsiteY102" fmla="*/ 95 h 1043"/>
                  <a:gd name="connsiteX103" fmla="*/ 31 w 5061"/>
                  <a:gd name="connsiteY103" fmla="*/ 95 h 1043"/>
                  <a:gd name="connsiteX104" fmla="*/ 17 w 5061"/>
                  <a:gd name="connsiteY104" fmla="*/ 98 h 1043"/>
                  <a:gd name="connsiteX105" fmla="*/ 11 w 5061"/>
                  <a:gd name="connsiteY105" fmla="*/ 98 h 1043"/>
                  <a:gd name="connsiteX106" fmla="*/ 0 w 5061"/>
                  <a:gd name="connsiteY106" fmla="*/ 13 h 1043"/>
                  <a:gd name="connsiteX107" fmla="*/ 9 w 5061"/>
                  <a:gd name="connsiteY107" fmla="*/ 13 h 1043"/>
                  <a:gd name="connsiteX108" fmla="*/ 29 w 5061"/>
                  <a:gd name="connsiteY108" fmla="*/ 10 h 1043"/>
                  <a:gd name="connsiteX109" fmla="*/ 91 w 5061"/>
                  <a:gd name="connsiteY109" fmla="*/ 10 h 1043"/>
                  <a:gd name="connsiteX110" fmla="*/ 135 w 5061"/>
                  <a:gd name="connsiteY110" fmla="*/ 13 h 1043"/>
                  <a:gd name="connsiteX111" fmla="*/ 182 w 5061"/>
                  <a:gd name="connsiteY111" fmla="*/ 19 h 1043"/>
                  <a:gd name="connsiteX112" fmla="*/ 234 w 5061"/>
                  <a:gd name="connsiteY112" fmla="*/ 29 h 1043"/>
                  <a:gd name="connsiteX113" fmla="*/ 287 w 5061"/>
                  <a:gd name="connsiteY113" fmla="*/ 46 h 1043"/>
                  <a:gd name="connsiteX114" fmla="*/ 345 w 5061"/>
                  <a:gd name="connsiteY114" fmla="*/ 66 h 1043"/>
                  <a:gd name="connsiteX115" fmla="*/ 403 w 5061"/>
                  <a:gd name="connsiteY115" fmla="*/ 93 h 1043"/>
                  <a:gd name="connsiteX116" fmla="*/ 459 w 5061"/>
                  <a:gd name="connsiteY116" fmla="*/ 131 h 1043"/>
                  <a:gd name="connsiteX117" fmla="*/ 514 w 5061"/>
                  <a:gd name="connsiteY117" fmla="*/ 174 h 1043"/>
                  <a:gd name="connsiteX118" fmla="*/ 568 w 5061"/>
                  <a:gd name="connsiteY118" fmla="*/ 228 h 1043"/>
                  <a:gd name="connsiteX119" fmla="*/ 618 w 5061"/>
                  <a:gd name="connsiteY119" fmla="*/ 292 h 1043"/>
                  <a:gd name="connsiteX120" fmla="*/ 667 w 5061"/>
                  <a:gd name="connsiteY120" fmla="*/ 367 h 1043"/>
                  <a:gd name="connsiteX121" fmla="*/ 754 w 5061"/>
                  <a:gd name="connsiteY121" fmla="*/ 516 h 1043"/>
                  <a:gd name="connsiteX122" fmla="*/ 787 w 5061"/>
                  <a:gd name="connsiteY122" fmla="*/ 575 h 1043"/>
                  <a:gd name="connsiteX123" fmla="*/ 820 w 5061"/>
                  <a:gd name="connsiteY123" fmla="*/ 631 h 1043"/>
                  <a:gd name="connsiteX124" fmla="*/ 853 w 5061"/>
                  <a:gd name="connsiteY124" fmla="*/ 684 h 1043"/>
                  <a:gd name="connsiteX125" fmla="*/ 886 w 5061"/>
                  <a:gd name="connsiteY125" fmla="*/ 736 h 1043"/>
                  <a:gd name="connsiteX126" fmla="*/ 921 w 5061"/>
                  <a:gd name="connsiteY126" fmla="*/ 782 h 1043"/>
                  <a:gd name="connsiteX127" fmla="*/ 958 w 5061"/>
                  <a:gd name="connsiteY127" fmla="*/ 825 h 1043"/>
                  <a:gd name="connsiteX128" fmla="*/ 1000 w 5061"/>
                  <a:gd name="connsiteY128" fmla="*/ 863 h 1043"/>
                  <a:gd name="connsiteX129" fmla="*/ 1043 w 5061"/>
                  <a:gd name="connsiteY129" fmla="*/ 894 h 1043"/>
                  <a:gd name="connsiteX130" fmla="*/ 1090 w 5061"/>
                  <a:gd name="connsiteY130" fmla="*/ 921 h 1043"/>
                  <a:gd name="connsiteX131" fmla="*/ 1140 w 5061"/>
                  <a:gd name="connsiteY131" fmla="*/ 939 h 1043"/>
                  <a:gd name="connsiteX132" fmla="*/ 1196 w 5061"/>
                  <a:gd name="connsiteY132" fmla="*/ 952 h 1043"/>
                  <a:gd name="connsiteX133" fmla="*/ 1258 w 5061"/>
                  <a:gd name="connsiteY133" fmla="*/ 956 h 1043"/>
                  <a:gd name="connsiteX134" fmla="*/ 1264 w 5061"/>
                  <a:gd name="connsiteY134" fmla="*/ 956 h 1043"/>
                  <a:gd name="connsiteX135" fmla="*/ 1324 w 5061"/>
                  <a:gd name="connsiteY135" fmla="*/ 950 h 1043"/>
                  <a:gd name="connsiteX136" fmla="*/ 1380 w 5061"/>
                  <a:gd name="connsiteY136" fmla="*/ 935 h 1043"/>
                  <a:gd name="connsiteX137" fmla="*/ 1433 w 5061"/>
                  <a:gd name="connsiteY137" fmla="*/ 913 h 1043"/>
                  <a:gd name="connsiteX138" fmla="*/ 1481 w 5061"/>
                  <a:gd name="connsiteY138" fmla="*/ 884 h 1043"/>
                  <a:gd name="connsiteX139" fmla="*/ 1526 w 5061"/>
                  <a:gd name="connsiteY139" fmla="*/ 846 h 1043"/>
                  <a:gd name="connsiteX140" fmla="*/ 1569 w 5061"/>
                  <a:gd name="connsiteY140" fmla="*/ 803 h 1043"/>
                  <a:gd name="connsiteX141" fmla="*/ 1609 w 5061"/>
                  <a:gd name="connsiteY141" fmla="*/ 755 h 1043"/>
                  <a:gd name="connsiteX142" fmla="*/ 1648 w 5061"/>
                  <a:gd name="connsiteY142" fmla="*/ 703 h 1043"/>
                  <a:gd name="connsiteX143" fmla="*/ 1687 w 5061"/>
                  <a:gd name="connsiteY143" fmla="*/ 649 h 1043"/>
                  <a:gd name="connsiteX144" fmla="*/ 1799 w 5061"/>
                  <a:gd name="connsiteY144" fmla="*/ 475 h 1043"/>
                  <a:gd name="connsiteX145" fmla="*/ 1838 w 5061"/>
                  <a:gd name="connsiteY145" fmla="*/ 415 h 1043"/>
                  <a:gd name="connsiteX146" fmla="*/ 1879 w 5061"/>
                  <a:gd name="connsiteY146" fmla="*/ 357 h 1043"/>
                  <a:gd name="connsiteX147" fmla="*/ 1923 w 5061"/>
                  <a:gd name="connsiteY147" fmla="*/ 299 h 1043"/>
                  <a:gd name="connsiteX148" fmla="*/ 1968 w 5061"/>
                  <a:gd name="connsiteY148" fmla="*/ 245 h 1043"/>
                  <a:gd name="connsiteX149" fmla="*/ 2015 w 5061"/>
                  <a:gd name="connsiteY149" fmla="*/ 193 h 1043"/>
                  <a:gd name="connsiteX150" fmla="*/ 2069 w 5061"/>
                  <a:gd name="connsiteY150" fmla="*/ 145 h 1043"/>
                  <a:gd name="connsiteX151" fmla="*/ 2125 w 5061"/>
                  <a:gd name="connsiteY151" fmla="*/ 104 h 1043"/>
                  <a:gd name="connsiteX152" fmla="*/ 2187 w 5061"/>
                  <a:gd name="connsiteY152" fmla="*/ 69 h 1043"/>
                  <a:gd name="connsiteX153" fmla="*/ 2253 w 5061"/>
                  <a:gd name="connsiteY153" fmla="*/ 39 h 1043"/>
                  <a:gd name="connsiteX154" fmla="*/ 2325 w 5061"/>
                  <a:gd name="connsiteY154" fmla="*/ 19 h 1043"/>
                  <a:gd name="connsiteX155" fmla="*/ 2404 w 5061"/>
                  <a:gd name="connsiteY155" fmla="*/ 6 h 1043"/>
                  <a:gd name="connsiteX156" fmla="*/ 2474 w 5061"/>
                  <a:gd name="connsiteY156" fmla="*/ 4 h 1043"/>
                  <a:gd name="connsiteX157" fmla="*/ 2540 w 5061"/>
                  <a:gd name="connsiteY157" fmla="*/ 13 h 1043"/>
                  <a:gd name="connsiteX158" fmla="*/ 2600 w 5061"/>
                  <a:gd name="connsiteY158" fmla="*/ 27 h 1043"/>
                  <a:gd name="connsiteX159" fmla="*/ 2658 w 5061"/>
                  <a:gd name="connsiteY159" fmla="*/ 50 h 1043"/>
                  <a:gd name="connsiteX160" fmla="*/ 2711 w 5061"/>
                  <a:gd name="connsiteY160" fmla="*/ 81 h 1043"/>
                  <a:gd name="connsiteX161" fmla="*/ 2761 w 5061"/>
                  <a:gd name="connsiteY161" fmla="*/ 116 h 1043"/>
                  <a:gd name="connsiteX162" fmla="*/ 2806 w 5061"/>
                  <a:gd name="connsiteY162" fmla="*/ 158 h 1043"/>
                  <a:gd name="connsiteX163" fmla="*/ 2852 w 5061"/>
                  <a:gd name="connsiteY163" fmla="*/ 203 h 1043"/>
                  <a:gd name="connsiteX164" fmla="*/ 2893 w 5061"/>
                  <a:gd name="connsiteY164" fmla="*/ 251 h 1043"/>
                  <a:gd name="connsiteX165" fmla="*/ 2932 w 5061"/>
                  <a:gd name="connsiteY165" fmla="*/ 303 h 1043"/>
                  <a:gd name="connsiteX166" fmla="*/ 2969 w 5061"/>
                  <a:gd name="connsiteY166" fmla="*/ 357 h 1043"/>
                  <a:gd name="connsiteX167" fmla="*/ 3004 w 5061"/>
                  <a:gd name="connsiteY167" fmla="*/ 413 h 1043"/>
                  <a:gd name="connsiteX168" fmla="*/ 3039 w 5061"/>
                  <a:gd name="connsiteY168" fmla="*/ 467 h 1043"/>
                  <a:gd name="connsiteX169" fmla="*/ 3073 w 5061"/>
                  <a:gd name="connsiteY169" fmla="*/ 523 h 1043"/>
                  <a:gd name="connsiteX170" fmla="*/ 3110 w 5061"/>
                  <a:gd name="connsiteY170" fmla="*/ 585 h 1043"/>
                  <a:gd name="connsiteX171" fmla="*/ 3147 w 5061"/>
                  <a:gd name="connsiteY171" fmla="*/ 643 h 1043"/>
                  <a:gd name="connsiteX172" fmla="*/ 3186 w 5061"/>
                  <a:gd name="connsiteY172" fmla="*/ 701 h 1043"/>
                  <a:gd name="connsiteX173" fmla="*/ 3223 w 5061"/>
                  <a:gd name="connsiteY173" fmla="*/ 755 h 1043"/>
                  <a:gd name="connsiteX174" fmla="*/ 3265 w 5061"/>
                  <a:gd name="connsiteY174" fmla="*/ 805 h 1043"/>
                  <a:gd name="connsiteX175" fmla="*/ 3306 w 5061"/>
                  <a:gd name="connsiteY175" fmla="*/ 848 h 1043"/>
                  <a:gd name="connsiteX176" fmla="*/ 3349 w 5061"/>
                  <a:gd name="connsiteY176" fmla="*/ 886 h 1043"/>
                  <a:gd name="connsiteX177" fmla="*/ 3395 w 5061"/>
                  <a:gd name="connsiteY177" fmla="*/ 917 h 1043"/>
                  <a:gd name="connsiteX178" fmla="*/ 3444 w 5061"/>
                  <a:gd name="connsiteY178" fmla="*/ 939 h 1043"/>
                  <a:gd name="connsiteX179" fmla="*/ 3498 w 5061"/>
                  <a:gd name="connsiteY179" fmla="*/ 952 h 1043"/>
                  <a:gd name="connsiteX180" fmla="*/ 3554 w 5061"/>
                  <a:gd name="connsiteY180" fmla="*/ 956 h 1043"/>
                  <a:gd name="connsiteX181" fmla="*/ 3609 w 5061"/>
                  <a:gd name="connsiteY181" fmla="*/ 950 h 1043"/>
                  <a:gd name="connsiteX182" fmla="*/ 3659 w 5061"/>
                  <a:gd name="connsiteY182" fmla="*/ 935 h 1043"/>
                  <a:gd name="connsiteX183" fmla="*/ 3706 w 5061"/>
                  <a:gd name="connsiteY183" fmla="*/ 915 h 1043"/>
                  <a:gd name="connsiteX184" fmla="*/ 3750 w 5061"/>
                  <a:gd name="connsiteY184" fmla="*/ 884 h 1043"/>
                  <a:gd name="connsiteX185" fmla="*/ 3789 w 5061"/>
                  <a:gd name="connsiteY185" fmla="*/ 848 h 1043"/>
                  <a:gd name="connsiteX186" fmla="*/ 3826 w 5061"/>
                  <a:gd name="connsiteY186" fmla="*/ 807 h 1043"/>
                  <a:gd name="connsiteX187" fmla="*/ 3861 w 5061"/>
                  <a:gd name="connsiteY187" fmla="*/ 759 h 1043"/>
                  <a:gd name="connsiteX188" fmla="*/ 3894 w 5061"/>
                  <a:gd name="connsiteY188" fmla="*/ 709 h 1043"/>
                  <a:gd name="connsiteX189" fmla="*/ 3927 w 5061"/>
                  <a:gd name="connsiteY189" fmla="*/ 655 h 1043"/>
                  <a:gd name="connsiteX190" fmla="*/ 3960 w 5061"/>
                  <a:gd name="connsiteY190" fmla="*/ 597 h 1043"/>
                  <a:gd name="connsiteX191" fmla="*/ 3993 w 5061"/>
                  <a:gd name="connsiteY191" fmla="*/ 537 h 1043"/>
                  <a:gd name="connsiteX192" fmla="*/ 4022 w 5061"/>
                  <a:gd name="connsiteY192" fmla="*/ 483 h 1043"/>
                  <a:gd name="connsiteX193" fmla="*/ 4084 w 5061"/>
                  <a:gd name="connsiteY193" fmla="*/ 375 h 1043"/>
                  <a:gd name="connsiteX194" fmla="*/ 4154 w 5061"/>
                  <a:gd name="connsiteY194" fmla="*/ 272 h 1043"/>
                  <a:gd name="connsiteX195" fmla="*/ 4192 w 5061"/>
                  <a:gd name="connsiteY195" fmla="*/ 224 h 1043"/>
                  <a:gd name="connsiteX196" fmla="*/ 4233 w 5061"/>
                  <a:gd name="connsiteY196" fmla="*/ 178 h 1043"/>
                  <a:gd name="connsiteX197" fmla="*/ 4276 w 5061"/>
                  <a:gd name="connsiteY197" fmla="*/ 137 h 1043"/>
                  <a:gd name="connsiteX198" fmla="*/ 4433 w 5061"/>
                  <a:gd name="connsiteY198" fmla="*/ 39 h 1043"/>
                  <a:gd name="connsiteX199" fmla="*/ 4559 w 5061"/>
                  <a:gd name="connsiteY199" fmla="*/ 6 h 1043"/>
                  <a:gd name="connsiteX0" fmla="*/ 4559 w 4910"/>
                  <a:gd name="connsiteY0" fmla="*/ 6 h 1043"/>
                  <a:gd name="connsiteX1" fmla="*/ 4681 w 4910"/>
                  <a:gd name="connsiteY1" fmla="*/ 0 h 1043"/>
                  <a:gd name="connsiteX2" fmla="*/ 4710 w 4910"/>
                  <a:gd name="connsiteY2" fmla="*/ 4 h 1043"/>
                  <a:gd name="connsiteX3" fmla="*/ 4778 w 4910"/>
                  <a:gd name="connsiteY3" fmla="*/ 23 h 1043"/>
                  <a:gd name="connsiteX4" fmla="*/ 4819 w 4910"/>
                  <a:gd name="connsiteY4" fmla="*/ 39 h 1043"/>
                  <a:gd name="connsiteX5" fmla="*/ 4910 w 4910"/>
                  <a:gd name="connsiteY5" fmla="*/ 89 h 1043"/>
                  <a:gd name="connsiteX6" fmla="*/ 4900 w 4910"/>
                  <a:gd name="connsiteY6" fmla="*/ 189 h 1043"/>
                  <a:gd name="connsiteX7" fmla="*/ 4770 w 4910"/>
                  <a:gd name="connsiteY7" fmla="*/ 112 h 1043"/>
                  <a:gd name="connsiteX8" fmla="*/ 4691 w 4910"/>
                  <a:gd name="connsiteY8" fmla="*/ 89 h 1043"/>
                  <a:gd name="connsiteX9" fmla="*/ 4662 w 4910"/>
                  <a:gd name="connsiteY9" fmla="*/ 87 h 1043"/>
                  <a:gd name="connsiteX10" fmla="*/ 4507 w 4910"/>
                  <a:gd name="connsiteY10" fmla="*/ 106 h 1043"/>
                  <a:gd name="connsiteX11" fmla="*/ 4400 w 4910"/>
                  <a:gd name="connsiteY11" fmla="*/ 154 h 1043"/>
                  <a:gd name="connsiteX12" fmla="*/ 4353 w 4910"/>
                  <a:gd name="connsiteY12" fmla="*/ 187 h 1043"/>
                  <a:gd name="connsiteX13" fmla="*/ 4309 w 4910"/>
                  <a:gd name="connsiteY13" fmla="*/ 224 h 1043"/>
                  <a:gd name="connsiteX14" fmla="*/ 4270 w 4910"/>
                  <a:gd name="connsiteY14" fmla="*/ 268 h 1043"/>
                  <a:gd name="connsiteX15" fmla="*/ 4196 w 4910"/>
                  <a:gd name="connsiteY15" fmla="*/ 363 h 1043"/>
                  <a:gd name="connsiteX16" fmla="*/ 4163 w 4910"/>
                  <a:gd name="connsiteY16" fmla="*/ 415 h 1043"/>
                  <a:gd name="connsiteX17" fmla="*/ 4101 w 4910"/>
                  <a:gd name="connsiteY17" fmla="*/ 523 h 1043"/>
                  <a:gd name="connsiteX18" fmla="*/ 4008 w 4910"/>
                  <a:gd name="connsiteY18" fmla="*/ 691 h 1043"/>
                  <a:gd name="connsiteX19" fmla="*/ 3975 w 4910"/>
                  <a:gd name="connsiteY19" fmla="*/ 747 h 1043"/>
                  <a:gd name="connsiteX20" fmla="*/ 3940 w 4910"/>
                  <a:gd name="connsiteY20" fmla="*/ 798 h 1043"/>
                  <a:gd name="connsiteX21" fmla="*/ 3905 w 4910"/>
                  <a:gd name="connsiteY21" fmla="*/ 848 h 1043"/>
                  <a:gd name="connsiteX22" fmla="*/ 3865 w 4910"/>
                  <a:gd name="connsiteY22" fmla="*/ 894 h 1043"/>
                  <a:gd name="connsiteX23" fmla="*/ 3824 w 4910"/>
                  <a:gd name="connsiteY23" fmla="*/ 935 h 1043"/>
                  <a:gd name="connsiteX24" fmla="*/ 3779 w 4910"/>
                  <a:gd name="connsiteY24" fmla="*/ 971 h 1043"/>
                  <a:gd name="connsiteX25" fmla="*/ 3729 w 4910"/>
                  <a:gd name="connsiteY25" fmla="*/ 1000 h 1043"/>
                  <a:gd name="connsiteX26" fmla="*/ 3677 w 4910"/>
                  <a:gd name="connsiteY26" fmla="*/ 1022 h 1043"/>
                  <a:gd name="connsiteX27" fmla="*/ 3620 w 4910"/>
                  <a:gd name="connsiteY27" fmla="*/ 1037 h 1043"/>
                  <a:gd name="connsiteX28" fmla="*/ 3556 w 4910"/>
                  <a:gd name="connsiteY28" fmla="*/ 1043 h 1043"/>
                  <a:gd name="connsiteX29" fmla="*/ 3547 w 4910"/>
                  <a:gd name="connsiteY29" fmla="*/ 1043 h 1043"/>
                  <a:gd name="connsiteX30" fmla="*/ 3485 w 4910"/>
                  <a:gd name="connsiteY30" fmla="*/ 1039 h 1043"/>
                  <a:gd name="connsiteX31" fmla="*/ 3426 w 4910"/>
                  <a:gd name="connsiteY31" fmla="*/ 1025 h 1043"/>
                  <a:gd name="connsiteX32" fmla="*/ 3372 w 4910"/>
                  <a:gd name="connsiteY32" fmla="*/ 1002 h 1043"/>
                  <a:gd name="connsiteX33" fmla="*/ 3320 w 4910"/>
                  <a:gd name="connsiteY33" fmla="*/ 973 h 1043"/>
                  <a:gd name="connsiteX34" fmla="*/ 3273 w 4910"/>
                  <a:gd name="connsiteY34" fmla="*/ 935 h 1043"/>
                  <a:gd name="connsiteX35" fmla="*/ 3229 w 4910"/>
                  <a:gd name="connsiteY35" fmla="*/ 894 h 1043"/>
                  <a:gd name="connsiteX36" fmla="*/ 3186 w 4910"/>
                  <a:gd name="connsiteY36" fmla="*/ 846 h 1043"/>
                  <a:gd name="connsiteX37" fmla="*/ 3147 w 4910"/>
                  <a:gd name="connsiteY37" fmla="*/ 796 h 1043"/>
                  <a:gd name="connsiteX38" fmla="*/ 3108 w 4910"/>
                  <a:gd name="connsiteY38" fmla="*/ 740 h 1043"/>
                  <a:gd name="connsiteX39" fmla="*/ 3070 w 4910"/>
                  <a:gd name="connsiteY39" fmla="*/ 684 h 1043"/>
                  <a:gd name="connsiteX40" fmla="*/ 2965 w 4910"/>
                  <a:gd name="connsiteY40" fmla="*/ 510 h 1043"/>
                  <a:gd name="connsiteX41" fmla="*/ 2928 w 4910"/>
                  <a:gd name="connsiteY41" fmla="*/ 452 h 1043"/>
                  <a:gd name="connsiteX42" fmla="*/ 2891 w 4910"/>
                  <a:gd name="connsiteY42" fmla="*/ 396 h 1043"/>
                  <a:gd name="connsiteX43" fmla="*/ 2854 w 4910"/>
                  <a:gd name="connsiteY43" fmla="*/ 342 h 1043"/>
                  <a:gd name="connsiteX44" fmla="*/ 2814 w 4910"/>
                  <a:gd name="connsiteY44" fmla="*/ 292 h 1043"/>
                  <a:gd name="connsiteX45" fmla="*/ 2773 w 4910"/>
                  <a:gd name="connsiteY45" fmla="*/ 247 h 1043"/>
                  <a:gd name="connsiteX46" fmla="*/ 2732 w 4910"/>
                  <a:gd name="connsiteY46" fmla="*/ 205 h 1043"/>
                  <a:gd name="connsiteX47" fmla="*/ 2686 w 4910"/>
                  <a:gd name="connsiteY47" fmla="*/ 168 h 1043"/>
                  <a:gd name="connsiteX48" fmla="*/ 2639 w 4910"/>
                  <a:gd name="connsiteY48" fmla="*/ 139 h 1043"/>
                  <a:gd name="connsiteX49" fmla="*/ 2587 w 4910"/>
                  <a:gd name="connsiteY49" fmla="*/ 116 h 1043"/>
                  <a:gd name="connsiteX50" fmla="*/ 2532 w 4910"/>
                  <a:gd name="connsiteY50" fmla="*/ 100 h 1043"/>
                  <a:gd name="connsiteX51" fmla="*/ 2474 w 4910"/>
                  <a:gd name="connsiteY51" fmla="*/ 91 h 1043"/>
                  <a:gd name="connsiteX52" fmla="*/ 2410 w 4910"/>
                  <a:gd name="connsiteY52" fmla="*/ 93 h 1043"/>
                  <a:gd name="connsiteX53" fmla="*/ 2342 w 4910"/>
                  <a:gd name="connsiteY53" fmla="*/ 104 h 1043"/>
                  <a:gd name="connsiteX54" fmla="*/ 2280 w 4910"/>
                  <a:gd name="connsiteY54" fmla="*/ 122 h 1043"/>
                  <a:gd name="connsiteX55" fmla="*/ 2222 w 4910"/>
                  <a:gd name="connsiteY55" fmla="*/ 147 h 1043"/>
                  <a:gd name="connsiteX56" fmla="*/ 2168 w 4910"/>
                  <a:gd name="connsiteY56" fmla="*/ 180 h 1043"/>
                  <a:gd name="connsiteX57" fmla="*/ 2117 w 4910"/>
                  <a:gd name="connsiteY57" fmla="*/ 218 h 1043"/>
                  <a:gd name="connsiteX58" fmla="*/ 2071 w 4910"/>
                  <a:gd name="connsiteY58" fmla="*/ 261 h 1043"/>
                  <a:gd name="connsiteX59" fmla="*/ 2026 w 4910"/>
                  <a:gd name="connsiteY59" fmla="*/ 307 h 1043"/>
                  <a:gd name="connsiteX60" fmla="*/ 1984 w 4910"/>
                  <a:gd name="connsiteY60" fmla="*/ 359 h 1043"/>
                  <a:gd name="connsiteX61" fmla="*/ 1945 w 4910"/>
                  <a:gd name="connsiteY61" fmla="*/ 413 h 1043"/>
                  <a:gd name="connsiteX62" fmla="*/ 1908 w 4910"/>
                  <a:gd name="connsiteY62" fmla="*/ 467 h 1043"/>
                  <a:gd name="connsiteX63" fmla="*/ 1871 w 4910"/>
                  <a:gd name="connsiteY63" fmla="*/ 523 h 1043"/>
                  <a:gd name="connsiteX64" fmla="*/ 1834 w 4910"/>
                  <a:gd name="connsiteY64" fmla="*/ 581 h 1043"/>
                  <a:gd name="connsiteX65" fmla="*/ 1799 w 4910"/>
                  <a:gd name="connsiteY65" fmla="*/ 637 h 1043"/>
                  <a:gd name="connsiteX66" fmla="*/ 1724 w 4910"/>
                  <a:gd name="connsiteY66" fmla="*/ 749 h 1043"/>
                  <a:gd name="connsiteX67" fmla="*/ 1685 w 4910"/>
                  <a:gd name="connsiteY67" fmla="*/ 801 h 1043"/>
                  <a:gd name="connsiteX68" fmla="*/ 1644 w 4910"/>
                  <a:gd name="connsiteY68" fmla="*/ 850 h 1043"/>
                  <a:gd name="connsiteX69" fmla="*/ 1600 w 4910"/>
                  <a:gd name="connsiteY69" fmla="*/ 896 h 1043"/>
                  <a:gd name="connsiteX70" fmla="*/ 1553 w 4910"/>
                  <a:gd name="connsiteY70" fmla="*/ 937 h 1043"/>
                  <a:gd name="connsiteX71" fmla="*/ 1503 w 4910"/>
                  <a:gd name="connsiteY71" fmla="*/ 973 h 1043"/>
                  <a:gd name="connsiteX72" fmla="*/ 1450 w 4910"/>
                  <a:gd name="connsiteY72" fmla="*/ 1002 h 1043"/>
                  <a:gd name="connsiteX73" fmla="*/ 1394 w 4910"/>
                  <a:gd name="connsiteY73" fmla="*/ 1025 h 1043"/>
                  <a:gd name="connsiteX74" fmla="*/ 1330 w 4910"/>
                  <a:gd name="connsiteY74" fmla="*/ 1037 h 1043"/>
                  <a:gd name="connsiteX75" fmla="*/ 1264 w 4910"/>
                  <a:gd name="connsiteY75" fmla="*/ 1043 h 1043"/>
                  <a:gd name="connsiteX76" fmla="*/ 1258 w 4910"/>
                  <a:gd name="connsiteY76" fmla="*/ 1043 h 1043"/>
                  <a:gd name="connsiteX77" fmla="*/ 1190 w 4910"/>
                  <a:gd name="connsiteY77" fmla="*/ 1039 h 1043"/>
                  <a:gd name="connsiteX78" fmla="*/ 1128 w 4910"/>
                  <a:gd name="connsiteY78" fmla="*/ 1027 h 1043"/>
                  <a:gd name="connsiteX79" fmla="*/ 1070 w 4910"/>
                  <a:gd name="connsiteY79" fmla="*/ 1008 h 1043"/>
                  <a:gd name="connsiteX80" fmla="*/ 1018 w 4910"/>
                  <a:gd name="connsiteY80" fmla="*/ 983 h 1043"/>
                  <a:gd name="connsiteX81" fmla="*/ 971 w 4910"/>
                  <a:gd name="connsiteY81" fmla="*/ 952 h 1043"/>
                  <a:gd name="connsiteX82" fmla="*/ 925 w 4910"/>
                  <a:gd name="connsiteY82" fmla="*/ 915 h 1043"/>
                  <a:gd name="connsiteX83" fmla="*/ 884 w 4910"/>
                  <a:gd name="connsiteY83" fmla="*/ 873 h 1043"/>
                  <a:gd name="connsiteX84" fmla="*/ 847 w 4910"/>
                  <a:gd name="connsiteY84" fmla="*/ 828 h 1043"/>
                  <a:gd name="connsiteX85" fmla="*/ 810 w 4910"/>
                  <a:gd name="connsiteY85" fmla="*/ 780 h 1043"/>
                  <a:gd name="connsiteX86" fmla="*/ 777 w 4910"/>
                  <a:gd name="connsiteY86" fmla="*/ 728 h 1043"/>
                  <a:gd name="connsiteX87" fmla="*/ 742 w 4910"/>
                  <a:gd name="connsiteY87" fmla="*/ 674 h 1043"/>
                  <a:gd name="connsiteX88" fmla="*/ 711 w 4910"/>
                  <a:gd name="connsiteY88" fmla="*/ 618 h 1043"/>
                  <a:gd name="connsiteX89" fmla="*/ 678 w 4910"/>
                  <a:gd name="connsiteY89" fmla="*/ 560 h 1043"/>
                  <a:gd name="connsiteX90" fmla="*/ 616 w 4910"/>
                  <a:gd name="connsiteY90" fmla="*/ 448 h 1043"/>
                  <a:gd name="connsiteX91" fmla="*/ 547 w 4910"/>
                  <a:gd name="connsiteY91" fmla="*/ 340 h 1043"/>
                  <a:gd name="connsiteX92" fmla="*/ 504 w 4910"/>
                  <a:gd name="connsiteY92" fmla="*/ 284 h 1043"/>
                  <a:gd name="connsiteX93" fmla="*/ 457 w 4910"/>
                  <a:gd name="connsiteY93" fmla="*/ 239 h 1043"/>
                  <a:gd name="connsiteX94" fmla="*/ 409 w 4910"/>
                  <a:gd name="connsiteY94" fmla="*/ 199 h 1043"/>
                  <a:gd name="connsiteX95" fmla="*/ 358 w 4910"/>
                  <a:gd name="connsiteY95" fmla="*/ 168 h 1043"/>
                  <a:gd name="connsiteX96" fmla="*/ 308 w 4910"/>
                  <a:gd name="connsiteY96" fmla="*/ 145 h 1043"/>
                  <a:gd name="connsiteX97" fmla="*/ 256 w 4910"/>
                  <a:gd name="connsiteY97" fmla="*/ 127 h 1043"/>
                  <a:gd name="connsiteX98" fmla="*/ 209 w 4910"/>
                  <a:gd name="connsiteY98" fmla="*/ 112 h 1043"/>
                  <a:gd name="connsiteX99" fmla="*/ 163 w 4910"/>
                  <a:gd name="connsiteY99" fmla="*/ 104 h 1043"/>
                  <a:gd name="connsiteX100" fmla="*/ 122 w 4910"/>
                  <a:gd name="connsiteY100" fmla="*/ 100 h 1043"/>
                  <a:gd name="connsiteX101" fmla="*/ 85 w 4910"/>
                  <a:gd name="connsiteY101" fmla="*/ 95 h 1043"/>
                  <a:gd name="connsiteX102" fmla="*/ 31 w 4910"/>
                  <a:gd name="connsiteY102" fmla="*/ 95 h 1043"/>
                  <a:gd name="connsiteX103" fmla="*/ 17 w 4910"/>
                  <a:gd name="connsiteY103" fmla="*/ 98 h 1043"/>
                  <a:gd name="connsiteX104" fmla="*/ 11 w 4910"/>
                  <a:gd name="connsiteY104" fmla="*/ 98 h 1043"/>
                  <a:gd name="connsiteX105" fmla="*/ 0 w 4910"/>
                  <a:gd name="connsiteY105" fmla="*/ 13 h 1043"/>
                  <a:gd name="connsiteX106" fmla="*/ 9 w 4910"/>
                  <a:gd name="connsiteY106" fmla="*/ 13 h 1043"/>
                  <a:gd name="connsiteX107" fmla="*/ 29 w 4910"/>
                  <a:gd name="connsiteY107" fmla="*/ 10 h 1043"/>
                  <a:gd name="connsiteX108" fmla="*/ 91 w 4910"/>
                  <a:gd name="connsiteY108" fmla="*/ 10 h 1043"/>
                  <a:gd name="connsiteX109" fmla="*/ 135 w 4910"/>
                  <a:gd name="connsiteY109" fmla="*/ 13 h 1043"/>
                  <a:gd name="connsiteX110" fmla="*/ 182 w 4910"/>
                  <a:gd name="connsiteY110" fmla="*/ 19 h 1043"/>
                  <a:gd name="connsiteX111" fmla="*/ 234 w 4910"/>
                  <a:gd name="connsiteY111" fmla="*/ 29 h 1043"/>
                  <a:gd name="connsiteX112" fmla="*/ 287 w 4910"/>
                  <a:gd name="connsiteY112" fmla="*/ 46 h 1043"/>
                  <a:gd name="connsiteX113" fmla="*/ 345 w 4910"/>
                  <a:gd name="connsiteY113" fmla="*/ 66 h 1043"/>
                  <a:gd name="connsiteX114" fmla="*/ 403 w 4910"/>
                  <a:gd name="connsiteY114" fmla="*/ 93 h 1043"/>
                  <a:gd name="connsiteX115" fmla="*/ 459 w 4910"/>
                  <a:gd name="connsiteY115" fmla="*/ 131 h 1043"/>
                  <a:gd name="connsiteX116" fmla="*/ 514 w 4910"/>
                  <a:gd name="connsiteY116" fmla="*/ 174 h 1043"/>
                  <a:gd name="connsiteX117" fmla="*/ 568 w 4910"/>
                  <a:gd name="connsiteY117" fmla="*/ 228 h 1043"/>
                  <a:gd name="connsiteX118" fmla="*/ 618 w 4910"/>
                  <a:gd name="connsiteY118" fmla="*/ 292 h 1043"/>
                  <a:gd name="connsiteX119" fmla="*/ 667 w 4910"/>
                  <a:gd name="connsiteY119" fmla="*/ 367 h 1043"/>
                  <a:gd name="connsiteX120" fmla="*/ 754 w 4910"/>
                  <a:gd name="connsiteY120" fmla="*/ 516 h 1043"/>
                  <a:gd name="connsiteX121" fmla="*/ 787 w 4910"/>
                  <a:gd name="connsiteY121" fmla="*/ 575 h 1043"/>
                  <a:gd name="connsiteX122" fmla="*/ 820 w 4910"/>
                  <a:gd name="connsiteY122" fmla="*/ 631 h 1043"/>
                  <a:gd name="connsiteX123" fmla="*/ 853 w 4910"/>
                  <a:gd name="connsiteY123" fmla="*/ 684 h 1043"/>
                  <a:gd name="connsiteX124" fmla="*/ 886 w 4910"/>
                  <a:gd name="connsiteY124" fmla="*/ 736 h 1043"/>
                  <a:gd name="connsiteX125" fmla="*/ 921 w 4910"/>
                  <a:gd name="connsiteY125" fmla="*/ 782 h 1043"/>
                  <a:gd name="connsiteX126" fmla="*/ 958 w 4910"/>
                  <a:gd name="connsiteY126" fmla="*/ 825 h 1043"/>
                  <a:gd name="connsiteX127" fmla="*/ 1000 w 4910"/>
                  <a:gd name="connsiteY127" fmla="*/ 863 h 1043"/>
                  <a:gd name="connsiteX128" fmla="*/ 1043 w 4910"/>
                  <a:gd name="connsiteY128" fmla="*/ 894 h 1043"/>
                  <a:gd name="connsiteX129" fmla="*/ 1090 w 4910"/>
                  <a:gd name="connsiteY129" fmla="*/ 921 h 1043"/>
                  <a:gd name="connsiteX130" fmla="*/ 1140 w 4910"/>
                  <a:gd name="connsiteY130" fmla="*/ 939 h 1043"/>
                  <a:gd name="connsiteX131" fmla="*/ 1196 w 4910"/>
                  <a:gd name="connsiteY131" fmla="*/ 952 h 1043"/>
                  <a:gd name="connsiteX132" fmla="*/ 1258 w 4910"/>
                  <a:gd name="connsiteY132" fmla="*/ 956 h 1043"/>
                  <a:gd name="connsiteX133" fmla="*/ 1264 w 4910"/>
                  <a:gd name="connsiteY133" fmla="*/ 956 h 1043"/>
                  <a:gd name="connsiteX134" fmla="*/ 1324 w 4910"/>
                  <a:gd name="connsiteY134" fmla="*/ 950 h 1043"/>
                  <a:gd name="connsiteX135" fmla="*/ 1380 w 4910"/>
                  <a:gd name="connsiteY135" fmla="*/ 935 h 1043"/>
                  <a:gd name="connsiteX136" fmla="*/ 1433 w 4910"/>
                  <a:gd name="connsiteY136" fmla="*/ 913 h 1043"/>
                  <a:gd name="connsiteX137" fmla="*/ 1481 w 4910"/>
                  <a:gd name="connsiteY137" fmla="*/ 884 h 1043"/>
                  <a:gd name="connsiteX138" fmla="*/ 1526 w 4910"/>
                  <a:gd name="connsiteY138" fmla="*/ 846 h 1043"/>
                  <a:gd name="connsiteX139" fmla="*/ 1569 w 4910"/>
                  <a:gd name="connsiteY139" fmla="*/ 803 h 1043"/>
                  <a:gd name="connsiteX140" fmla="*/ 1609 w 4910"/>
                  <a:gd name="connsiteY140" fmla="*/ 755 h 1043"/>
                  <a:gd name="connsiteX141" fmla="*/ 1648 w 4910"/>
                  <a:gd name="connsiteY141" fmla="*/ 703 h 1043"/>
                  <a:gd name="connsiteX142" fmla="*/ 1687 w 4910"/>
                  <a:gd name="connsiteY142" fmla="*/ 649 h 1043"/>
                  <a:gd name="connsiteX143" fmla="*/ 1799 w 4910"/>
                  <a:gd name="connsiteY143" fmla="*/ 475 h 1043"/>
                  <a:gd name="connsiteX144" fmla="*/ 1838 w 4910"/>
                  <a:gd name="connsiteY144" fmla="*/ 415 h 1043"/>
                  <a:gd name="connsiteX145" fmla="*/ 1879 w 4910"/>
                  <a:gd name="connsiteY145" fmla="*/ 357 h 1043"/>
                  <a:gd name="connsiteX146" fmla="*/ 1923 w 4910"/>
                  <a:gd name="connsiteY146" fmla="*/ 299 h 1043"/>
                  <a:gd name="connsiteX147" fmla="*/ 1968 w 4910"/>
                  <a:gd name="connsiteY147" fmla="*/ 245 h 1043"/>
                  <a:gd name="connsiteX148" fmla="*/ 2015 w 4910"/>
                  <a:gd name="connsiteY148" fmla="*/ 193 h 1043"/>
                  <a:gd name="connsiteX149" fmla="*/ 2069 w 4910"/>
                  <a:gd name="connsiteY149" fmla="*/ 145 h 1043"/>
                  <a:gd name="connsiteX150" fmla="*/ 2125 w 4910"/>
                  <a:gd name="connsiteY150" fmla="*/ 104 h 1043"/>
                  <a:gd name="connsiteX151" fmla="*/ 2187 w 4910"/>
                  <a:gd name="connsiteY151" fmla="*/ 69 h 1043"/>
                  <a:gd name="connsiteX152" fmla="*/ 2253 w 4910"/>
                  <a:gd name="connsiteY152" fmla="*/ 39 h 1043"/>
                  <a:gd name="connsiteX153" fmla="*/ 2325 w 4910"/>
                  <a:gd name="connsiteY153" fmla="*/ 19 h 1043"/>
                  <a:gd name="connsiteX154" fmla="*/ 2404 w 4910"/>
                  <a:gd name="connsiteY154" fmla="*/ 6 h 1043"/>
                  <a:gd name="connsiteX155" fmla="*/ 2474 w 4910"/>
                  <a:gd name="connsiteY155" fmla="*/ 4 h 1043"/>
                  <a:gd name="connsiteX156" fmla="*/ 2540 w 4910"/>
                  <a:gd name="connsiteY156" fmla="*/ 13 h 1043"/>
                  <a:gd name="connsiteX157" fmla="*/ 2600 w 4910"/>
                  <a:gd name="connsiteY157" fmla="*/ 27 h 1043"/>
                  <a:gd name="connsiteX158" fmla="*/ 2658 w 4910"/>
                  <a:gd name="connsiteY158" fmla="*/ 50 h 1043"/>
                  <a:gd name="connsiteX159" fmla="*/ 2711 w 4910"/>
                  <a:gd name="connsiteY159" fmla="*/ 81 h 1043"/>
                  <a:gd name="connsiteX160" fmla="*/ 2761 w 4910"/>
                  <a:gd name="connsiteY160" fmla="*/ 116 h 1043"/>
                  <a:gd name="connsiteX161" fmla="*/ 2806 w 4910"/>
                  <a:gd name="connsiteY161" fmla="*/ 158 h 1043"/>
                  <a:gd name="connsiteX162" fmla="*/ 2852 w 4910"/>
                  <a:gd name="connsiteY162" fmla="*/ 203 h 1043"/>
                  <a:gd name="connsiteX163" fmla="*/ 2893 w 4910"/>
                  <a:gd name="connsiteY163" fmla="*/ 251 h 1043"/>
                  <a:gd name="connsiteX164" fmla="*/ 2932 w 4910"/>
                  <a:gd name="connsiteY164" fmla="*/ 303 h 1043"/>
                  <a:gd name="connsiteX165" fmla="*/ 2969 w 4910"/>
                  <a:gd name="connsiteY165" fmla="*/ 357 h 1043"/>
                  <a:gd name="connsiteX166" fmla="*/ 3004 w 4910"/>
                  <a:gd name="connsiteY166" fmla="*/ 413 h 1043"/>
                  <a:gd name="connsiteX167" fmla="*/ 3039 w 4910"/>
                  <a:gd name="connsiteY167" fmla="*/ 467 h 1043"/>
                  <a:gd name="connsiteX168" fmla="*/ 3073 w 4910"/>
                  <a:gd name="connsiteY168" fmla="*/ 523 h 1043"/>
                  <a:gd name="connsiteX169" fmla="*/ 3110 w 4910"/>
                  <a:gd name="connsiteY169" fmla="*/ 585 h 1043"/>
                  <a:gd name="connsiteX170" fmla="*/ 3147 w 4910"/>
                  <a:gd name="connsiteY170" fmla="*/ 643 h 1043"/>
                  <a:gd name="connsiteX171" fmla="*/ 3186 w 4910"/>
                  <a:gd name="connsiteY171" fmla="*/ 701 h 1043"/>
                  <a:gd name="connsiteX172" fmla="*/ 3223 w 4910"/>
                  <a:gd name="connsiteY172" fmla="*/ 755 h 1043"/>
                  <a:gd name="connsiteX173" fmla="*/ 3265 w 4910"/>
                  <a:gd name="connsiteY173" fmla="*/ 805 h 1043"/>
                  <a:gd name="connsiteX174" fmla="*/ 3306 w 4910"/>
                  <a:gd name="connsiteY174" fmla="*/ 848 h 1043"/>
                  <a:gd name="connsiteX175" fmla="*/ 3349 w 4910"/>
                  <a:gd name="connsiteY175" fmla="*/ 886 h 1043"/>
                  <a:gd name="connsiteX176" fmla="*/ 3395 w 4910"/>
                  <a:gd name="connsiteY176" fmla="*/ 917 h 1043"/>
                  <a:gd name="connsiteX177" fmla="*/ 3444 w 4910"/>
                  <a:gd name="connsiteY177" fmla="*/ 939 h 1043"/>
                  <a:gd name="connsiteX178" fmla="*/ 3498 w 4910"/>
                  <a:gd name="connsiteY178" fmla="*/ 952 h 1043"/>
                  <a:gd name="connsiteX179" fmla="*/ 3554 w 4910"/>
                  <a:gd name="connsiteY179" fmla="*/ 956 h 1043"/>
                  <a:gd name="connsiteX180" fmla="*/ 3609 w 4910"/>
                  <a:gd name="connsiteY180" fmla="*/ 950 h 1043"/>
                  <a:gd name="connsiteX181" fmla="*/ 3659 w 4910"/>
                  <a:gd name="connsiteY181" fmla="*/ 935 h 1043"/>
                  <a:gd name="connsiteX182" fmla="*/ 3706 w 4910"/>
                  <a:gd name="connsiteY182" fmla="*/ 915 h 1043"/>
                  <a:gd name="connsiteX183" fmla="*/ 3750 w 4910"/>
                  <a:gd name="connsiteY183" fmla="*/ 884 h 1043"/>
                  <a:gd name="connsiteX184" fmla="*/ 3789 w 4910"/>
                  <a:gd name="connsiteY184" fmla="*/ 848 h 1043"/>
                  <a:gd name="connsiteX185" fmla="*/ 3826 w 4910"/>
                  <a:gd name="connsiteY185" fmla="*/ 807 h 1043"/>
                  <a:gd name="connsiteX186" fmla="*/ 3861 w 4910"/>
                  <a:gd name="connsiteY186" fmla="*/ 759 h 1043"/>
                  <a:gd name="connsiteX187" fmla="*/ 3894 w 4910"/>
                  <a:gd name="connsiteY187" fmla="*/ 709 h 1043"/>
                  <a:gd name="connsiteX188" fmla="*/ 3927 w 4910"/>
                  <a:gd name="connsiteY188" fmla="*/ 655 h 1043"/>
                  <a:gd name="connsiteX189" fmla="*/ 3960 w 4910"/>
                  <a:gd name="connsiteY189" fmla="*/ 597 h 1043"/>
                  <a:gd name="connsiteX190" fmla="*/ 3993 w 4910"/>
                  <a:gd name="connsiteY190" fmla="*/ 537 h 1043"/>
                  <a:gd name="connsiteX191" fmla="*/ 4022 w 4910"/>
                  <a:gd name="connsiteY191" fmla="*/ 483 h 1043"/>
                  <a:gd name="connsiteX192" fmla="*/ 4084 w 4910"/>
                  <a:gd name="connsiteY192" fmla="*/ 375 h 1043"/>
                  <a:gd name="connsiteX193" fmla="*/ 4154 w 4910"/>
                  <a:gd name="connsiteY193" fmla="*/ 272 h 1043"/>
                  <a:gd name="connsiteX194" fmla="*/ 4192 w 4910"/>
                  <a:gd name="connsiteY194" fmla="*/ 224 h 1043"/>
                  <a:gd name="connsiteX195" fmla="*/ 4233 w 4910"/>
                  <a:gd name="connsiteY195" fmla="*/ 178 h 1043"/>
                  <a:gd name="connsiteX196" fmla="*/ 4276 w 4910"/>
                  <a:gd name="connsiteY196" fmla="*/ 137 h 1043"/>
                  <a:gd name="connsiteX197" fmla="*/ 4433 w 4910"/>
                  <a:gd name="connsiteY197" fmla="*/ 39 h 1043"/>
                  <a:gd name="connsiteX198" fmla="*/ 4559 w 4910"/>
                  <a:gd name="connsiteY198" fmla="*/ 6 h 1043"/>
                  <a:gd name="connsiteX0" fmla="*/ 4559 w 4910"/>
                  <a:gd name="connsiteY0" fmla="*/ 6 h 1043"/>
                  <a:gd name="connsiteX1" fmla="*/ 4681 w 4910"/>
                  <a:gd name="connsiteY1" fmla="*/ 0 h 1043"/>
                  <a:gd name="connsiteX2" fmla="*/ 4710 w 4910"/>
                  <a:gd name="connsiteY2" fmla="*/ 4 h 1043"/>
                  <a:gd name="connsiteX3" fmla="*/ 4778 w 4910"/>
                  <a:gd name="connsiteY3" fmla="*/ 23 h 1043"/>
                  <a:gd name="connsiteX4" fmla="*/ 4819 w 4910"/>
                  <a:gd name="connsiteY4" fmla="*/ 39 h 1043"/>
                  <a:gd name="connsiteX5" fmla="*/ 4910 w 4910"/>
                  <a:gd name="connsiteY5" fmla="*/ 89 h 1043"/>
                  <a:gd name="connsiteX6" fmla="*/ 4900 w 4910"/>
                  <a:gd name="connsiteY6" fmla="*/ 189 h 1043"/>
                  <a:gd name="connsiteX7" fmla="*/ 4770 w 4910"/>
                  <a:gd name="connsiteY7" fmla="*/ 112 h 1043"/>
                  <a:gd name="connsiteX8" fmla="*/ 4691 w 4910"/>
                  <a:gd name="connsiteY8" fmla="*/ 89 h 1043"/>
                  <a:gd name="connsiteX9" fmla="*/ 4662 w 4910"/>
                  <a:gd name="connsiteY9" fmla="*/ 87 h 1043"/>
                  <a:gd name="connsiteX10" fmla="*/ 4507 w 4910"/>
                  <a:gd name="connsiteY10" fmla="*/ 106 h 1043"/>
                  <a:gd name="connsiteX11" fmla="*/ 4400 w 4910"/>
                  <a:gd name="connsiteY11" fmla="*/ 154 h 1043"/>
                  <a:gd name="connsiteX12" fmla="*/ 4353 w 4910"/>
                  <a:gd name="connsiteY12" fmla="*/ 187 h 1043"/>
                  <a:gd name="connsiteX13" fmla="*/ 4309 w 4910"/>
                  <a:gd name="connsiteY13" fmla="*/ 224 h 1043"/>
                  <a:gd name="connsiteX14" fmla="*/ 4270 w 4910"/>
                  <a:gd name="connsiteY14" fmla="*/ 268 h 1043"/>
                  <a:gd name="connsiteX15" fmla="*/ 4196 w 4910"/>
                  <a:gd name="connsiteY15" fmla="*/ 363 h 1043"/>
                  <a:gd name="connsiteX16" fmla="*/ 4163 w 4910"/>
                  <a:gd name="connsiteY16" fmla="*/ 415 h 1043"/>
                  <a:gd name="connsiteX17" fmla="*/ 4101 w 4910"/>
                  <a:gd name="connsiteY17" fmla="*/ 523 h 1043"/>
                  <a:gd name="connsiteX18" fmla="*/ 4008 w 4910"/>
                  <a:gd name="connsiteY18" fmla="*/ 691 h 1043"/>
                  <a:gd name="connsiteX19" fmla="*/ 3975 w 4910"/>
                  <a:gd name="connsiteY19" fmla="*/ 747 h 1043"/>
                  <a:gd name="connsiteX20" fmla="*/ 3940 w 4910"/>
                  <a:gd name="connsiteY20" fmla="*/ 798 h 1043"/>
                  <a:gd name="connsiteX21" fmla="*/ 3905 w 4910"/>
                  <a:gd name="connsiteY21" fmla="*/ 848 h 1043"/>
                  <a:gd name="connsiteX22" fmla="*/ 3865 w 4910"/>
                  <a:gd name="connsiteY22" fmla="*/ 894 h 1043"/>
                  <a:gd name="connsiteX23" fmla="*/ 3824 w 4910"/>
                  <a:gd name="connsiteY23" fmla="*/ 935 h 1043"/>
                  <a:gd name="connsiteX24" fmla="*/ 3779 w 4910"/>
                  <a:gd name="connsiteY24" fmla="*/ 971 h 1043"/>
                  <a:gd name="connsiteX25" fmla="*/ 3729 w 4910"/>
                  <a:gd name="connsiteY25" fmla="*/ 1000 h 1043"/>
                  <a:gd name="connsiteX26" fmla="*/ 3677 w 4910"/>
                  <a:gd name="connsiteY26" fmla="*/ 1022 h 1043"/>
                  <a:gd name="connsiteX27" fmla="*/ 3620 w 4910"/>
                  <a:gd name="connsiteY27" fmla="*/ 1037 h 1043"/>
                  <a:gd name="connsiteX28" fmla="*/ 3556 w 4910"/>
                  <a:gd name="connsiteY28" fmla="*/ 1043 h 1043"/>
                  <a:gd name="connsiteX29" fmla="*/ 3547 w 4910"/>
                  <a:gd name="connsiteY29" fmla="*/ 1043 h 1043"/>
                  <a:gd name="connsiteX30" fmla="*/ 3485 w 4910"/>
                  <a:gd name="connsiteY30" fmla="*/ 1039 h 1043"/>
                  <a:gd name="connsiteX31" fmla="*/ 3426 w 4910"/>
                  <a:gd name="connsiteY31" fmla="*/ 1025 h 1043"/>
                  <a:gd name="connsiteX32" fmla="*/ 3372 w 4910"/>
                  <a:gd name="connsiteY32" fmla="*/ 1002 h 1043"/>
                  <a:gd name="connsiteX33" fmla="*/ 3320 w 4910"/>
                  <a:gd name="connsiteY33" fmla="*/ 973 h 1043"/>
                  <a:gd name="connsiteX34" fmla="*/ 3273 w 4910"/>
                  <a:gd name="connsiteY34" fmla="*/ 935 h 1043"/>
                  <a:gd name="connsiteX35" fmla="*/ 3229 w 4910"/>
                  <a:gd name="connsiteY35" fmla="*/ 894 h 1043"/>
                  <a:gd name="connsiteX36" fmla="*/ 3186 w 4910"/>
                  <a:gd name="connsiteY36" fmla="*/ 846 h 1043"/>
                  <a:gd name="connsiteX37" fmla="*/ 3147 w 4910"/>
                  <a:gd name="connsiteY37" fmla="*/ 796 h 1043"/>
                  <a:gd name="connsiteX38" fmla="*/ 3108 w 4910"/>
                  <a:gd name="connsiteY38" fmla="*/ 740 h 1043"/>
                  <a:gd name="connsiteX39" fmla="*/ 3070 w 4910"/>
                  <a:gd name="connsiteY39" fmla="*/ 684 h 1043"/>
                  <a:gd name="connsiteX40" fmla="*/ 2965 w 4910"/>
                  <a:gd name="connsiteY40" fmla="*/ 510 h 1043"/>
                  <a:gd name="connsiteX41" fmla="*/ 2928 w 4910"/>
                  <a:gd name="connsiteY41" fmla="*/ 452 h 1043"/>
                  <a:gd name="connsiteX42" fmla="*/ 2891 w 4910"/>
                  <a:gd name="connsiteY42" fmla="*/ 396 h 1043"/>
                  <a:gd name="connsiteX43" fmla="*/ 2854 w 4910"/>
                  <a:gd name="connsiteY43" fmla="*/ 342 h 1043"/>
                  <a:gd name="connsiteX44" fmla="*/ 2814 w 4910"/>
                  <a:gd name="connsiteY44" fmla="*/ 292 h 1043"/>
                  <a:gd name="connsiteX45" fmla="*/ 2773 w 4910"/>
                  <a:gd name="connsiteY45" fmla="*/ 247 h 1043"/>
                  <a:gd name="connsiteX46" fmla="*/ 2732 w 4910"/>
                  <a:gd name="connsiteY46" fmla="*/ 205 h 1043"/>
                  <a:gd name="connsiteX47" fmla="*/ 2686 w 4910"/>
                  <a:gd name="connsiteY47" fmla="*/ 168 h 1043"/>
                  <a:gd name="connsiteX48" fmla="*/ 2639 w 4910"/>
                  <a:gd name="connsiteY48" fmla="*/ 139 h 1043"/>
                  <a:gd name="connsiteX49" fmla="*/ 2587 w 4910"/>
                  <a:gd name="connsiteY49" fmla="*/ 116 h 1043"/>
                  <a:gd name="connsiteX50" fmla="*/ 2532 w 4910"/>
                  <a:gd name="connsiteY50" fmla="*/ 100 h 1043"/>
                  <a:gd name="connsiteX51" fmla="*/ 2474 w 4910"/>
                  <a:gd name="connsiteY51" fmla="*/ 91 h 1043"/>
                  <a:gd name="connsiteX52" fmla="*/ 2410 w 4910"/>
                  <a:gd name="connsiteY52" fmla="*/ 93 h 1043"/>
                  <a:gd name="connsiteX53" fmla="*/ 2342 w 4910"/>
                  <a:gd name="connsiteY53" fmla="*/ 104 h 1043"/>
                  <a:gd name="connsiteX54" fmla="*/ 2280 w 4910"/>
                  <a:gd name="connsiteY54" fmla="*/ 122 h 1043"/>
                  <a:gd name="connsiteX55" fmla="*/ 2222 w 4910"/>
                  <a:gd name="connsiteY55" fmla="*/ 147 h 1043"/>
                  <a:gd name="connsiteX56" fmla="*/ 2168 w 4910"/>
                  <a:gd name="connsiteY56" fmla="*/ 180 h 1043"/>
                  <a:gd name="connsiteX57" fmla="*/ 2117 w 4910"/>
                  <a:gd name="connsiteY57" fmla="*/ 218 h 1043"/>
                  <a:gd name="connsiteX58" fmla="*/ 2071 w 4910"/>
                  <a:gd name="connsiteY58" fmla="*/ 261 h 1043"/>
                  <a:gd name="connsiteX59" fmla="*/ 2026 w 4910"/>
                  <a:gd name="connsiteY59" fmla="*/ 307 h 1043"/>
                  <a:gd name="connsiteX60" fmla="*/ 1984 w 4910"/>
                  <a:gd name="connsiteY60" fmla="*/ 359 h 1043"/>
                  <a:gd name="connsiteX61" fmla="*/ 1945 w 4910"/>
                  <a:gd name="connsiteY61" fmla="*/ 413 h 1043"/>
                  <a:gd name="connsiteX62" fmla="*/ 1908 w 4910"/>
                  <a:gd name="connsiteY62" fmla="*/ 467 h 1043"/>
                  <a:gd name="connsiteX63" fmla="*/ 1871 w 4910"/>
                  <a:gd name="connsiteY63" fmla="*/ 523 h 1043"/>
                  <a:gd name="connsiteX64" fmla="*/ 1834 w 4910"/>
                  <a:gd name="connsiteY64" fmla="*/ 581 h 1043"/>
                  <a:gd name="connsiteX65" fmla="*/ 1799 w 4910"/>
                  <a:gd name="connsiteY65" fmla="*/ 637 h 1043"/>
                  <a:gd name="connsiteX66" fmla="*/ 1724 w 4910"/>
                  <a:gd name="connsiteY66" fmla="*/ 749 h 1043"/>
                  <a:gd name="connsiteX67" fmla="*/ 1685 w 4910"/>
                  <a:gd name="connsiteY67" fmla="*/ 801 h 1043"/>
                  <a:gd name="connsiteX68" fmla="*/ 1644 w 4910"/>
                  <a:gd name="connsiteY68" fmla="*/ 850 h 1043"/>
                  <a:gd name="connsiteX69" fmla="*/ 1600 w 4910"/>
                  <a:gd name="connsiteY69" fmla="*/ 896 h 1043"/>
                  <a:gd name="connsiteX70" fmla="*/ 1553 w 4910"/>
                  <a:gd name="connsiteY70" fmla="*/ 937 h 1043"/>
                  <a:gd name="connsiteX71" fmla="*/ 1503 w 4910"/>
                  <a:gd name="connsiteY71" fmla="*/ 973 h 1043"/>
                  <a:gd name="connsiteX72" fmla="*/ 1450 w 4910"/>
                  <a:gd name="connsiteY72" fmla="*/ 1002 h 1043"/>
                  <a:gd name="connsiteX73" fmla="*/ 1394 w 4910"/>
                  <a:gd name="connsiteY73" fmla="*/ 1025 h 1043"/>
                  <a:gd name="connsiteX74" fmla="*/ 1330 w 4910"/>
                  <a:gd name="connsiteY74" fmla="*/ 1037 h 1043"/>
                  <a:gd name="connsiteX75" fmla="*/ 1264 w 4910"/>
                  <a:gd name="connsiteY75" fmla="*/ 1043 h 1043"/>
                  <a:gd name="connsiteX76" fmla="*/ 1258 w 4910"/>
                  <a:gd name="connsiteY76" fmla="*/ 1043 h 1043"/>
                  <a:gd name="connsiteX77" fmla="*/ 1190 w 4910"/>
                  <a:gd name="connsiteY77" fmla="*/ 1039 h 1043"/>
                  <a:gd name="connsiteX78" fmla="*/ 1128 w 4910"/>
                  <a:gd name="connsiteY78" fmla="*/ 1027 h 1043"/>
                  <a:gd name="connsiteX79" fmla="*/ 1070 w 4910"/>
                  <a:gd name="connsiteY79" fmla="*/ 1008 h 1043"/>
                  <a:gd name="connsiteX80" fmla="*/ 1018 w 4910"/>
                  <a:gd name="connsiteY80" fmla="*/ 983 h 1043"/>
                  <a:gd name="connsiteX81" fmla="*/ 971 w 4910"/>
                  <a:gd name="connsiteY81" fmla="*/ 952 h 1043"/>
                  <a:gd name="connsiteX82" fmla="*/ 925 w 4910"/>
                  <a:gd name="connsiteY82" fmla="*/ 915 h 1043"/>
                  <a:gd name="connsiteX83" fmla="*/ 884 w 4910"/>
                  <a:gd name="connsiteY83" fmla="*/ 873 h 1043"/>
                  <a:gd name="connsiteX84" fmla="*/ 847 w 4910"/>
                  <a:gd name="connsiteY84" fmla="*/ 828 h 1043"/>
                  <a:gd name="connsiteX85" fmla="*/ 810 w 4910"/>
                  <a:gd name="connsiteY85" fmla="*/ 780 h 1043"/>
                  <a:gd name="connsiteX86" fmla="*/ 777 w 4910"/>
                  <a:gd name="connsiteY86" fmla="*/ 728 h 1043"/>
                  <a:gd name="connsiteX87" fmla="*/ 742 w 4910"/>
                  <a:gd name="connsiteY87" fmla="*/ 674 h 1043"/>
                  <a:gd name="connsiteX88" fmla="*/ 711 w 4910"/>
                  <a:gd name="connsiteY88" fmla="*/ 618 h 1043"/>
                  <a:gd name="connsiteX89" fmla="*/ 678 w 4910"/>
                  <a:gd name="connsiteY89" fmla="*/ 560 h 1043"/>
                  <a:gd name="connsiteX90" fmla="*/ 616 w 4910"/>
                  <a:gd name="connsiteY90" fmla="*/ 448 h 1043"/>
                  <a:gd name="connsiteX91" fmla="*/ 547 w 4910"/>
                  <a:gd name="connsiteY91" fmla="*/ 340 h 1043"/>
                  <a:gd name="connsiteX92" fmla="*/ 504 w 4910"/>
                  <a:gd name="connsiteY92" fmla="*/ 284 h 1043"/>
                  <a:gd name="connsiteX93" fmla="*/ 457 w 4910"/>
                  <a:gd name="connsiteY93" fmla="*/ 239 h 1043"/>
                  <a:gd name="connsiteX94" fmla="*/ 409 w 4910"/>
                  <a:gd name="connsiteY94" fmla="*/ 199 h 1043"/>
                  <a:gd name="connsiteX95" fmla="*/ 358 w 4910"/>
                  <a:gd name="connsiteY95" fmla="*/ 168 h 1043"/>
                  <a:gd name="connsiteX96" fmla="*/ 308 w 4910"/>
                  <a:gd name="connsiteY96" fmla="*/ 145 h 1043"/>
                  <a:gd name="connsiteX97" fmla="*/ 256 w 4910"/>
                  <a:gd name="connsiteY97" fmla="*/ 127 h 1043"/>
                  <a:gd name="connsiteX98" fmla="*/ 209 w 4910"/>
                  <a:gd name="connsiteY98" fmla="*/ 112 h 1043"/>
                  <a:gd name="connsiteX99" fmla="*/ 163 w 4910"/>
                  <a:gd name="connsiteY99" fmla="*/ 104 h 1043"/>
                  <a:gd name="connsiteX100" fmla="*/ 122 w 4910"/>
                  <a:gd name="connsiteY100" fmla="*/ 100 h 1043"/>
                  <a:gd name="connsiteX101" fmla="*/ 85 w 4910"/>
                  <a:gd name="connsiteY101" fmla="*/ 95 h 1043"/>
                  <a:gd name="connsiteX102" fmla="*/ 31 w 4910"/>
                  <a:gd name="connsiteY102" fmla="*/ 95 h 1043"/>
                  <a:gd name="connsiteX103" fmla="*/ 17 w 4910"/>
                  <a:gd name="connsiteY103" fmla="*/ 98 h 1043"/>
                  <a:gd name="connsiteX104" fmla="*/ 11 w 4910"/>
                  <a:gd name="connsiteY104" fmla="*/ 98 h 1043"/>
                  <a:gd name="connsiteX105" fmla="*/ 0 w 4910"/>
                  <a:gd name="connsiteY105" fmla="*/ 13 h 1043"/>
                  <a:gd name="connsiteX106" fmla="*/ 9 w 4910"/>
                  <a:gd name="connsiteY106" fmla="*/ 13 h 1043"/>
                  <a:gd name="connsiteX107" fmla="*/ 29 w 4910"/>
                  <a:gd name="connsiteY107" fmla="*/ 10 h 1043"/>
                  <a:gd name="connsiteX108" fmla="*/ 91 w 4910"/>
                  <a:gd name="connsiteY108" fmla="*/ 10 h 1043"/>
                  <a:gd name="connsiteX109" fmla="*/ 135 w 4910"/>
                  <a:gd name="connsiteY109" fmla="*/ 13 h 1043"/>
                  <a:gd name="connsiteX110" fmla="*/ 182 w 4910"/>
                  <a:gd name="connsiteY110" fmla="*/ 19 h 1043"/>
                  <a:gd name="connsiteX111" fmla="*/ 234 w 4910"/>
                  <a:gd name="connsiteY111" fmla="*/ 29 h 1043"/>
                  <a:gd name="connsiteX112" fmla="*/ 287 w 4910"/>
                  <a:gd name="connsiteY112" fmla="*/ 46 h 1043"/>
                  <a:gd name="connsiteX113" fmla="*/ 345 w 4910"/>
                  <a:gd name="connsiteY113" fmla="*/ 66 h 1043"/>
                  <a:gd name="connsiteX114" fmla="*/ 403 w 4910"/>
                  <a:gd name="connsiteY114" fmla="*/ 93 h 1043"/>
                  <a:gd name="connsiteX115" fmla="*/ 459 w 4910"/>
                  <a:gd name="connsiteY115" fmla="*/ 131 h 1043"/>
                  <a:gd name="connsiteX116" fmla="*/ 514 w 4910"/>
                  <a:gd name="connsiteY116" fmla="*/ 174 h 1043"/>
                  <a:gd name="connsiteX117" fmla="*/ 568 w 4910"/>
                  <a:gd name="connsiteY117" fmla="*/ 228 h 1043"/>
                  <a:gd name="connsiteX118" fmla="*/ 618 w 4910"/>
                  <a:gd name="connsiteY118" fmla="*/ 292 h 1043"/>
                  <a:gd name="connsiteX119" fmla="*/ 667 w 4910"/>
                  <a:gd name="connsiteY119" fmla="*/ 367 h 1043"/>
                  <a:gd name="connsiteX120" fmla="*/ 754 w 4910"/>
                  <a:gd name="connsiteY120" fmla="*/ 516 h 1043"/>
                  <a:gd name="connsiteX121" fmla="*/ 787 w 4910"/>
                  <a:gd name="connsiteY121" fmla="*/ 575 h 1043"/>
                  <a:gd name="connsiteX122" fmla="*/ 820 w 4910"/>
                  <a:gd name="connsiteY122" fmla="*/ 631 h 1043"/>
                  <a:gd name="connsiteX123" fmla="*/ 853 w 4910"/>
                  <a:gd name="connsiteY123" fmla="*/ 684 h 1043"/>
                  <a:gd name="connsiteX124" fmla="*/ 886 w 4910"/>
                  <a:gd name="connsiteY124" fmla="*/ 736 h 1043"/>
                  <a:gd name="connsiteX125" fmla="*/ 921 w 4910"/>
                  <a:gd name="connsiteY125" fmla="*/ 782 h 1043"/>
                  <a:gd name="connsiteX126" fmla="*/ 958 w 4910"/>
                  <a:gd name="connsiteY126" fmla="*/ 825 h 1043"/>
                  <a:gd name="connsiteX127" fmla="*/ 1000 w 4910"/>
                  <a:gd name="connsiteY127" fmla="*/ 863 h 1043"/>
                  <a:gd name="connsiteX128" fmla="*/ 1043 w 4910"/>
                  <a:gd name="connsiteY128" fmla="*/ 894 h 1043"/>
                  <a:gd name="connsiteX129" fmla="*/ 1090 w 4910"/>
                  <a:gd name="connsiteY129" fmla="*/ 921 h 1043"/>
                  <a:gd name="connsiteX130" fmla="*/ 1140 w 4910"/>
                  <a:gd name="connsiteY130" fmla="*/ 939 h 1043"/>
                  <a:gd name="connsiteX131" fmla="*/ 1196 w 4910"/>
                  <a:gd name="connsiteY131" fmla="*/ 952 h 1043"/>
                  <a:gd name="connsiteX132" fmla="*/ 1258 w 4910"/>
                  <a:gd name="connsiteY132" fmla="*/ 956 h 1043"/>
                  <a:gd name="connsiteX133" fmla="*/ 1264 w 4910"/>
                  <a:gd name="connsiteY133" fmla="*/ 956 h 1043"/>
                  <a:gd name="connsiteX134" fmla="*/ 1324 w 4910"/>
                  <a:gd name="connsiteY134" fmla="*/ 950 h 1043"/>
                  <a:gd name="connsiteX135" fmla="*/ 1380 w 4910"/>
                  <a:gd name="connsiteY135" fmla="*/ 935 h 1043"/>
                  <a:gd name="connsiteX136" fmla="*/ 1433 w 4910"/>
                  <a:gd name="connsiteY136" fmla="*/ 913 h 1043"/>
                  <a:gd name="connsiteX137" fmla="*/ 1481 w 4910"/>
                  <a:gd name="connsiteY137" fmla="*/ 884 h 1043"/>
                  <a:gd name="connsiteX138" fmla="*/ 1526 w 4910"/>
                  <a:gd name="connsiteY138" fmla="*/ 846 h 1043"/>
                  <a:gd name="connsiteX139" fmla="*/ 1569 w 4910"/>
                  <a:gd name="connsiteY139" fmla="*/ 803 h 1043"/>
                  <a:gd name="connsiteX140" fmla="*/ 1609 w 4910"/>
                  <a:gd name="connsiteY140" fmla="*/ 755 h 1043"/>
                  <a:gd name="connsiteX141" fmla="*/ 1648 w 4910"/>
                  <a:gd name="connsiteY141" fmla="*/ 703 h 1043"/>
                  <a:gd name="connsiteX142" fmla="*/ 1687 w 4910"/>
                  <a:gd name="connsiteY142" fmla="*/ 649 h 1043"/>
                  <a:gd name="connsiteX143" fmla="*/ 1799 w 4910"/>
                  <a:gd name="connsiteY143" fmla="*/ 475 h 1043"/>
                  <a:gd name="connsiteX144" fmla="*/ 1838 w 4910"/>
                  <a:gd name="connsiteY144" fmla="*/ 415 h 1043"/>
                  <a:gd name="connsiteX145" fmla="*/ 1879 w 4910"/>
                  <a:gd name="connsiteY145" fmla="*/ 357 h 1043"/>
                  <a:gd name="connsiteX146" fmla="*/ 1923 w 4910"/>
                  <a:gd name="connsiteY146" fmla="*/ 299 h 1043"/>
                  <a:gd name="connsiteX147" fmla="*/ 1968 w 4910"/>
                  <a:gd name="connsiteY147" fmla="*/ 245 h 1043"/>
                  <a:gd name="connsiteX148" fmla="*/ 2015 w 4910"/>
                  <a:gd name="connsiteY148" fmla="*/ 193 h 1043"/>
                  <a:gd name="connsiteX149" fmla="*/ 2069 w 4910"/>
                  <a:gd name="connsiteY149" fmla="*/ 145 h 1043"/>
                  <a:gd name="connsiteX150" fmla="*/ 2125 w 4910"/>
                  <a:gd name="connsiteY150" fmla="*/ 104 h 1043"/>
                  <a:gd name="connsiteX151" fmla="*/ 2187 w 4910"/>
                  <a:gd name="connsiteY151" fmla="*/ 69 h 1043"/>
                  <a:gd name="connsiteX152" fmla="*/ 2253 w 4910"/>
                  <a:gd name="connsiteY152" fmla="*/ 39 h 1043"/>
                  <a:gd name="connsiteX153" fmla="*/ 2325 w 4910"/>
                  <a:gd name="connsiteY153" fmla="*/ 19 h 1043"/>
                  <a:gd name="connsiteX154" fmla="*/ 2404 w 4910"/>
                  <a:gd name="connsiteY154" fmla="*/ 6 h 1043"/>
                  <a:gd name="connsiteX155" fmla="*/ 2474 w 4910"/>
                  <a:gd name="connsiteY155" fmla="*/ 4 h 1043"/>
                  <a:gd name="connsiteX156" fmla="*/ 2540 w 4910"/>
                  <a:gd name="connsiteY156" fmla="*/ 13 h 1043"/>
                  <a:gd name="connsiteX157" fmla="*/ 2600 w 4910"/>
                  <a:gd name="connsiteY157" fmla="*/ 27 h 1043"/>
                  <a:gd name="connsiteX158" fmla="*/ 2658 w 4910"/>
                  <a:gd name="connsiteY158" fmla="*/ 50 h 1043"/>
                  <a:gd name="connsiteX159" fmla="*/ 2711 w 4910"/>
                  <a:gd name="connsiteY159" fmla="*/ 81 h 1043"/>
                  <a:gd name="connsiteX160" fmla="*/ 2761 w 4910"/>
                  <a:gd name="connsiteY160" fmla="*/ 116 h 1043"/>
                  <a:gd name="connsiteX161" fmla="*/ 2806 w 4910"/>
                  <a:gd name="connsiteY161" fmla="*/ 158 h 1043"/>
                  <a:gd name="connsiteX162" fmla="*/ 2852 w 4910"/>
                  <a:gd name="connsiteY162" fmla="*/ 203 h 1043"/>
                  <a:gd name="connsiteX163" fmla="*/ 2893 w 4910"/>
                  <a:gd name="connsiteY163" fmla="*/ 251 h 1043"/>
                  <a:gd name="connsiteX164" fmla="*/ 2932 w 4910"/>
                  <a:gd name="connsiteY164" fmla="*/ 303 h 1043"/>
                  <a:gd name="connsiteX165" fmla="*/ 2969 w 4910"/>
                  <a:gd name="connsiteY165" fmla="*/ 357 h 1043"/>
                  <a:gd name="connsiteX166" fmla="*/ 3004 w 4910"/>
                  <a:gd name="connsiteY166" fmla="*/ 413 h 1043"/>
                  <a:gd name="connsiteX167" fmla="*/ 3039 w 4910"/>
                  <a:gd name="connsiteY167" fmla="*/ 467 h 1043"/>
                  <a:gd name="connsiteX168" fmla="*/ 3073 w 4910"/>
                  <a:gd name="connsiteY168" fmla="*/ 523 h 1043"/>
                  <a:gd name="connsiteX169" fmla="*/ 3110 w 4910"/>
                  <a:gd name="connsiteY169" fmla="*/ 585 h 1043"/>
                  <a:gd name="connsiteX170" fmla="*/ 3147 w 4910"/>
                  <a:gd name="connsiteY170" fmla="*/ 643 h 1043"/>
                  <a:gd name="connsiteX171" fmla="*/ 3186 w 4910"/>
                  <a:gd name="connsiteY171" fmla="*/ 701 h 1043"/>
                  <a:gd name="connsiteX172" fmla="*/ 3223 w 4910"/>
                  <a:gd name="connsiteY172" fmla="*/ 755 h 1043"/>
                  <a:gd name="connsiteX173" fmla="*/ 3265 w 4910"/>
                  <a:gd name="connsiteY173" fmla="*/ 805 h 1043"/>
                  <a:gd name="connsiteX174" fmla="*/ 3306 w 4910"/>
                  <a:gd name="connsiteY174" fmla="*/ 848 h 1043"/>
                  <a:gd name="connsiteX175" fmla="*/ 3349 w 4910"/>
                  <a:gd name="connsiteY175" fmla="*/ 886 h 1043"/>
                  <a:gd name="connsiteX176" fmla="*/ 3395 w 4910"/>
                  <a:gd name="connsiteY176" fmla="*/ 917 h 1043"/>
                  <a:gd name="connsiteX177" fmla="*/ 3444 w 4910"/>
                  <a:gd name="connsiteY177" fmla="*/ 939 h 1043"/>
                  <a:gd name="connsiteX178" fmla="*/ 3498 w 4910"/>
                  <a:gd name="connsiteY178" fmla="*/ 952 h 1043"/>
                  <a:gd name="connsiteX179" fmla="*/ 3554 w 4910"/>
                  <a:gd name="connsiteY179" fmla="*/ 956 h 1043"/>
                  <a:gd name="connsiteX180" fmla="*/ 3609 w 4910"/>
                  <a:gd name="connsiteY180" fmla="*/ 950 h 1043"/>
                  <a:gd name="connsiteX181" fmla="*/ 3659 w 4910"/>
                  <a:gd name="connsiteY181" fmla="*/ 935 h 1043"/>
                  <a:gd name="connsiteX182" fmla="*/ 3706 w 4910"/>
                  <a:gd name="connsiteY182" fmla="*/ 915 h 1043"/>
                  <a:gd name="connsiteX183" fmla="*/ 3750 w 4910"/>
                  <a:gd name="connsiteY183" fmla="*/ 884 h 1043"/>
                  <a:gd name="connsiteX184" fmla="*/ 3789 w 4910"/>
                  <a:gd name="connsiteY184" fmla="*/ 848 h 1043"/>
                  <a:gd name="connsiteX185" fmla="*/ 3826 w 4910"/>
                  <a:gd name="connsiteY185" fmla="*/ 807 h 1043"/>
                  <a:gd name="connsiteX186" fmla="*/ 3861 w 4910"/>
                  <a:gd name="connsiteY186" fmla="*/ 759 h 1043"/>
                  <a:gd name="connsiteX187" fmla="*/ 3894 w 4910"/>
                  <a:gd name="connsiteY187" fmla="*/ 709 h 1043"/>
                  <a:gd name="connsiteX188" fmla="*/ 3927 w 4910"/>
                  <a:gd name="connsiteY188" fmla="*/ 655 h 1043"/>
                  <a:gd name="connsiteX189" fmla="*/ 3960 w 4910"/>
                  <a:gd name="connsiteY189" fmla="*/ 597 h 1043"/>
                  <a:gd name="connsiteX190" fmla="*/ 3993 w 4910"/>
                  <a:gd name="connsiteY190" fmla="*/ 537 h 1043"/>
                  <a:gd name="connsiteX191" fmla="*/ 4022 w 4910"/>
                  <a:gd name="connsiteY191" fmla="*/ 483 h 1043"/>
                  <a:gd name="connsiteX192" fmla="*/ 4084 w 4910"/>
                  <a:gd name="connsiteY192" fmla="*/ 375 h 1043"/>
                  <a:gd name="connsiteX193" fmla="*/ 4154 w 4910"/>
                  <a:gd name="connsiteY193" fmla="*/ 272 h 1043"/>
                  <a:gd name="connsiteX194" fmla="*/ 4192 w 4910"/>
                  <a:gd name="connsiteY194" fmla="*/ 224 h 1043"/>
                  <a:gd name="connsiteX195" fmla="*/ 4233 w 4910"/>
                  <a:gd name="connsiteY195" fmla="*/ 178 h 1043"/>
                  <a:gd name="connsiteX196" fmla="*/ 4276 w 4910"/>
                  <a:gd name="connsiteY196" fmla="*/ 137 h 1043"/>
                  <a:gd name="connsiteX197" fmla="*/ 4559 w 4910"/>
                  <a:gd name="connsiteY197" fmla="*/ 6 h 1043"/>
                  <a:gd name="connsiteX0" fmla="*/ 4276 w 4910"/>
                  <a:gd name="connsiteY0" fmla="*/ 137 h 1043"/>
                  <a:gd name="connsiteX1" fmla="*/ 4681 w 4910"/>
                  <a:gd name="connsiteY1" fmla="*/ 0 h 1043"/>
                  <a:gd name="connsiteX2" fmla="*/ 4710 w 4910"/>
                  <a:gd name="connsiteY2" fmla="*/ 4 h 1043"/>
                  <a:gd name="connsiteX3" fmla="*/ 4778 w 4910"/>
                  <a:gd name="connsiteY3" fmla="*/ 23 h 1043"/>
                  <a:gd name="connsiteX4" fmla="*/ 4819 w 4910"/>
                  <a:gd name="connsiteY4" fmla="*/ 39 h 1043"/>
                  <a:gd name="connsiteX5" fmla="*/ 4910 w 4910"/>
                  <a:gd name="connsiteY5" fmla="*/ 89 h 1043"/>
                  <a:gd name="connsiteX6" fmla="*/ 4900 w 4910"/>
                  <a:gd name="connsiteY6" fmla="*/ 189 h 1043"/>
                  <a:gd name="connsiteX7" fmla="*/ 4770 w 4910"/>
                  <a:gd name="connsiteY7" fmla="*/ 112 h 1043"/>
                  <a:gd name="connsiteX8" fmla="*/ 4691 w 4910"/>
                  <a:gd name="connsiteY8" fmla="*/ 89 h 1043"/>
                  <a:gd name="connsiteX9" fmla="*/ 4662 w 4910"/>
                  <a:gd name="connsiteY9" fmla="*/ 87 h 1043"/>
                  <a:gd name="connsiteX10" fmla="*/ 4507 w 4910"/>
                  <a:gd name="connsiteY10" fmla="*/ 106 h 1043"/>
                  <a:gd name="connsiteX11" fmla="*/ 4400 w 4910"/>
                  <a:gd name="connsiteY11" fmla="*/ 154 h 1043"/>
                  <a:gd name="connsiteX12" fmla="*/ 4353 w 4910"/>
                  <a:gd name="connsiteY12" fmla="*/ 187 h 1043"/>
                  <a:gd name="connsiteX13" fmla="*/ 4309 w 4910"/>
                  <a:gd name="connsiteY13" fmla="*/ 224 h 1043"/>
                  <a:gd name="connsiteX14" fmla="*/ 4270 w 4910"/>
                  <a:gd name="connsiteY14" fmla="*/ 268 h 1043"/>
                  <a:gd name="connsiteX15" fmla="*/ 4196 w 4910"/>
                  <a:gd name="connsiteY15" fmla="*/ 363 h 1043"/>
                  <a:gd name="connsiteX16" fmla="*/ 4163 w 4910"/>
                  <a:gd name="connsiteY16" fmla="*/ 415 h 1043"/>
                  <a:gd name="connsiteX17" fmla="*/ 4101 w 4910"/>
                  <a:gd name="connsiteY17" fmla="*/ 523 h 1043"/>
                  <a:gd name="connsiteX18" fmla="*/ 4008 w 4910"/>
                  <a:gd name="connsiteY18" fmla="*/ 691 h 1043"/>
                  <a:gd name="connsiteX19" fmla="*/ 3975 w 4910"/>
                  <a:gd name="connsiteY19" fmla="*/ 747 h 1043"/>
                  <a:gd name="connsiteX20" fmla="*/ 3940 w 4910"/>
                  <a:gd name="connsiteY20" fmla="*/ 798 h 1043"/>
                  <a:gd name="connsiteX21" fmla="*/ 3905 w 4910"/>
                  <a:gd name="connsiteY21" fmla="*/ 848 h 1043"/>
                  <a:gd name="connsiteX22" fmla="*/ 3865 w 4910"/>
                  <a:gd name="connsiteY22" fmla="*/ 894 h 1043"/>
                  <a:gd name="connsiteX23" fmla="*/ 3824 w 4910"/>
                  <a:gd name="connsiteY23" fmla="*/ 935 h 1043"/>
                  <a:gd name="connsiteX24" fmla="*/ 3779 w 4910"/>
                  <a:gd name="connsiteY24" fmla="*/ 971 h 1043"/>
                  <a:gd name="connsiteX25" fmla="*/ 3729 w 4910"/>
                  <a:gd name="connsiteY25" fmla="*/ 1000 h 1043"/>
                  <a:gd name="connsiteX26" fmla="*/ 3677 w 4910"/>
                  <a:gd name="connsiteY26" fmla="*/ 1022 h 1043"/>
                  <a:gd name="connsiteX27" fmla="*/ 3620 w 4910"/>
                  <a:gd name="connsiteY27" fmla="*/ 1037 h 1043"/>
                  <a:gd name="connsiteX28" fmla="*/ 3556 w 4910"/>
                  <a:gd name="connsiteY28" fmla="*/ 1043 h 1043"/>
                  <a:gd name="connsiteX29" fmla="*/ 3547 w 4910"/>
                  <a:gd name="connsiteY29" fmla="*/ 1043 h 1043"/>
                  <a:gd name="connsiteX30" fmla="*/ 3485 w 4910"/>
                  <a:gd name="connsiteY30" fmla="*/ 1039 h 1043"/>
                  <a:gd name="connsiteX31" fmla="*/ 3426 w 4910"/>
                  <a:gd name="connsiteY31" fmla="*/ 1025 h 1043"/>
                  <a:gd name="connsiteX32" fmla="*/ 3372 w 4910"/>
                  <a:gd name="connsiteY32" fmla="*/ 1002 h 1043"/>
                  <a:gd name="connsiteX33" fmla="*/ 3320 w 4910"/>
                  <a:gd name="connsiteY33" fmla="*/ 973 h 1043"/>
                  <a:gd name="connsiteX34" fmla="*/ 3273 w 4910"/>
                  <a:gd name="connsiteY34" fmla="*/ 935 h 1043"/>
                  <a:gd name="connsiteX35" fmla="*/ 3229 w 4910"/>
                  <a:gd name="connsiteY35" fmla="*/ 894 h 1043"/>
                  <a:gd name="connsiteX36" fmla="*/ 3186 w 4910"/>
                  <a:gd name="connsiteY36" fmla="*/ 846 h 1043"/>
                  <a:gd name="connsiteX37" fmla="*/ 3147 w 4910"/>
                  <a:gd name="connsiteY37" fmla="*/ 796 h 1043"/>
                  <a:gd name="connsiteX38" fmla="*/ 3108 w 4910"/>
                  <a:gd name="connsiteY38" fmla="*/ 740 h 1043"/>
                  <a:gd name="connsiteX39" fmla="*/ 3070 w 4910"/>
                  <a:gd name="connsiteY39" fmla="*/ 684 h 1043"/>
                  <a:gd name="connsiteX40" fmla="*/ 2965 w 4910"/>
                  <a:gd name="connsiteY40" fmla="*/ 510 h 1043"/>
                  <a:gd name="connsiteX41" fmla="*/ 2928 w 4910"/>
                  <a:gd name="connsiteY41" fmla="*/ 452 h 1043"/>
                  <a:gd name="connsiteX42" fmla="*/ 2891 w 4910"/>
                  <a:gd name="connsiteY42" fmla="*/ 396 h 1043"/>
                  <a:gd name="connsiteX43" fmla="*/ 2854 w 4910"/>
                  <a:gd name="connsiteY43" fmla="*/ 342 h 1043"/>
                  <a:gd name="connsiteX44" fmla="*/ 2814 w 4910"/>
                  <a:gd name="connsiteY44" fmla="*/ 292 h 1043"/>
                  <a:gd name="connsiteX45" fmla="*/ 2773 w 4910"/>
                  <a:gd name="connsiteY45" fmla="*/ 247 h 1043"/>
                  <a:gd name="connsiteX46" fmla="*/ 2732 w 4910"/>
                  <a:gd name="connsiteY46" fmla="*/ 205 h 1043"/>
                  <a:gd name="connsiteX47" fmla="*/ 2686 w 4910"/>
                  <a:gd name="connsiteY47" fmla="*/ 168 h 1043"/>
                  <a:gd name="connsiteX48" fmla="*/ 2639 w 4910"/>
                  <a:gd name="connsiteY48" fmla="*/ 139 h 1043"/>
                  <a:gd name="connsiteX49" fmla="*/ 2587 w 4910"/>
                  <a:gd name="connsiteY49" fmla="*/ 116 h 1043"/>
                  <a:gd name="connsiteX50" fmla="*/ 2532 w 4910"/>
                  <a:gd name="connsiteY50" fmla="*/ 100 h 1043"/>
                  <a:gd name="connsiteX51" fmla="*/ 2474 w 4910"/>
                  <a:gd name="connsiteY51" fmla="*/ 91 h 1043"/>
                  <a:gd name="connsiteX52" fmla="*/ 2410 w 4910"/>
                  <a:gd name="connsiteY52" fmla="*/ 93 h 1043"/>
                  <a:gd name="connsiteX53" fmla="*/ 2342 w 4910"/>
                  <a:gd name="connsiteY53" fmla="*/ 104 h 1043"/>
                  <a:gd name="connsiteX54" fmla="*/ 2280 w 4910"/>
                  <a:gd name="connsiteY54" fmla="*/ 122 h 1043"/>
                  <a:gd name="connsiteX55" fmla="*/ 2222 w 4910"/>
                  <a:gd name="connsiteY55" fmla="*/ 147 h 1043"/>
                  <a:gd name="connsiteX56" fmla="*/ 2168 w 4910"/>
                  <a:gd name="connsiteY56" fmla="*/ 180 h 1043"/>
                  <a:gd name="connsiteX57" fmla="*/ 2117 w 4910"/>
                  <a:gd name="connsiteY57" fmla="*/ 218 h 1043"/>
                  <a:gd name="connsiteX58" fmla="*/ 2071 w 4910"/>
                  <a:gd name="connsiteY58" fmla="*/ 261 h 1043"/>
                  <a:gd name="connsiteX59" fmla="*/ 2026 w 4910"/>
                  <a:gd name="connsiteY59" fmla="*/ 307 h 1043"/>
                  <a:gd name="connsiteX60" fmla="*/ 1984 w 4910"/>
                  <a:gd name="connsiteY60" fmla="*/ 359 h 1043"/>
                  <a:gd name="connsiteX61" fmla="*/ 1945 w 4910"/>
                  <a:gd name="connsiteY61" fmla="*/ 413 h 1043"/>
                  <a:gd name="connsiteX62" fmla="*/ 1908 w 4910"/>
                  <a:gd name="connsiteY62" fmla="*/ 467 h 1043"/>
                  <a:gd name="connsiteX63" fmla="*/ 1871 w 4910"/>
                  <a:gd name="connsiteY63" fmla="*/ 523 h 1043"/>
                  <a:gd name="connsiteX64" fmla="*/ 1834 w 4910"/>
                  <a:gd name="connsiteY64" fmla="*/ 581 h 1043"/>
                  <a:gd name="connsiteX65" fmla="*/ 1799 w 4910"/>
                  <a:gd name="connsiteY65" fmla="*/ 637 h 1043"/>
                  <a:gd name="connsiteX66" fmla="*/ 1724 w 4910"/>
                  <a:gd name="connsiteY66" fmla="*/ 749 h 1043"/>
                  <a:gd name="connsiteX67" fmla="*/ 1685 w 4910"/>
                  <a:gd name="connsiteY67" fmla="*/ 801 h 1043"/>
                  <a:gd name="connsiteX68" fmla="*/ 1644 w 4910"/>
                  <a:gd name="connsiteY68" fmla="*/ 850 h 1043"/>
                  <a:gd name="connsiteX69" fmla="*/ 1600 w 4910"/>
                  <a:gd name="connsiteY69" fmla="*/ 896 h 1043"/>
                  <a:gd name="connsiteX70" fmla="*/ 1553 w 4910"/>
                  <a:gd name="connsiteY70" fmla="*/ 937 h 1043"/>
                  <a:gd name="connsiteX71" fmla="*/ 1503 w 4910"/>
                  <a:gd name="connsiteY71" fmla="*/ 973 h 1043"/>
                  <a:gd name="connsiteX72" fmla="*/ 1450 w 4910"/>
                  <a:gd name="connsiteY72" fmla="*/ 1002 h 1043"/>
                  <a:gd name="connsiteX73" fmla="*/ 1394 w 4910"/>
                  <a:gd name="connsiteY73" fmla="*/ 1025 h 1043"/>
                  <a:gd name="connsiteX74" fmla="*/ 1330 w 4910"/>
                  <a:gd name="connsiteY74" fmla="*/ 1037 h 1043"/>
                  <a:gd name="connsiteX75" fmla="*/ 1264 w 4910"/>
                  <a:gd name="connsiteY75" fmla="*/ 1043 h 1043"/>
                  <a:gd name="connsiteX76" fmla="*/ 1258 w 4910"/>
                  <a:gd name="connsiteY76" fmla="*/ 1043 h 1043"/>
                  <a:gd name="connsiteX77" fmla="*/ 1190 w 4910"/>
                  <a:gd name="connsiteY77" fmla="*/ 1039 h 1043"/>
                  <a:gd name="connsiteX78" fmla="*/ 1128 w 4910"/>
                  <a:gd name="connsiteY78" fmla="*/ 1027 h 1043"/>
                  <a:gd name="connsiteX79" fmla="*/ 1070 w 4910"/>
                  <a:gd name="connsiteY79" fmla="*/ 1008 h 1043"/>
                  <a:gd name="connsiteX80" fmla="*/ 1018 w 4910"/>
                  <a:gd name="connsiteY80" fmla="*/ 983 h 1043"/>
                  <a:gd name="connsiteX81" fmla="*/ 971 w 4910"/>
                  <a:gd name="connsiteY81" fmla="*/ 952 h 1043"/>
                  <a:gd name="connsiteX82" fmla="*/ 925 w 4910"/>
                  <a:gd name="connsiteY82" fmla="*/ 915 h 1043"/>
                  <a:gd name="connsiteX83" fmla="*/ 884 w 4910"/>
                  <a:gd name="connsiteY83" fmla="*/ 873 h 1043"/>
                  <a:gd name="connsiteX84" fmla="*/ 847 w 4910"/>
                  <a:gd name="connsiteY84" fmla="*/ 828 h 1043"/>
                  <a:gd name="connsiteX85" fmla="*/ 810 w 4910"/>
                  <a:gd name="connsiteY85" fmla="*/ 780 h 1043"/>
                  <a:gd name="connsiteX86" fmla="*/ 777 w 4910"/>
                  <a:gd name="connsiteY86" fmla="*/ 728 h 1043"/>
                  <a:gd name="connsiteX87" fmla="*/ 742 w 4910"/>
                  <a:gd name="connsiteY87" fmla="*/ 674 h 1043"/>
                  <a:gd name="connsiteX88" fmla="*/ 711 w 4910"/>
                  <a:gd name="connsiteY88" fmla="*/ 618 h 1043"/>
                  <a:gd name="connsiteX89" fmla="*/ 678 w 4910"/>
                  <a:gd name="connsiteY89" fmla="*/ 560 h 1043"/>
                  <a:gd name="connsiteX90" fmla="*/ 616 w 4910"/>
                  <a:gd name="connsiteY90" fmla="*/ 448 h 1043"/>
                  <a:gd name="connsiteX91" fmla="*/ 547 w 4910"/>
                  <a:gd name="connsiteY91" fmla="*/ 340 h 1043"/>
                  <a:gd name="connsiteX92" fmla="*/ 504 w 4910"/>
                  <a:gd name="connsiteY92" fmla="*/ 284 h 1043"/>
                  <a:gd name="connsiteX93" fmla="*/ 457 w 4910"/>
                  <a:gd name="connsiteY93" fmla="*/ 239 h 1043"/>
                  <a:gd name="connsiteX94" fmla="*/ 409 w 4910"/>
                  <a:gd name="connsiteY94" fmla="*/ 199 h 1043"/>
                  <a:gd name="connsiteX95" fmla="*/ 358 w 4910"/>
                  <a:gd name="connsiteY95" fmla="*/ 168 h 1043"/>
                  <a:gd name="connsiteX96" fmla="*/ 308 w 4910"/>
                  <a:gd name="connsiteY96" fmla="*/ 145 h 1043"/>
                  <a:gd name="connsiteX97" fmla="*/ 256 w 4910"/>
                  <a:gd name="connsiteY97" fmla="*/ 127 h 1043"/>
                  <a:gd name="connsiteX98" fmla="*/ 209 w 4910"/>
                  <a:gd name="connsiteY98" fmla="*/ 112 h 1043"/>
                  <a:gd name="connsiteX99" fmla="*/ 163 w 4910"/>
                  <a:gd name="connsiteY99" fmla="*/ 104 h 1043"/>
                  <a:gd name="connsiteX100" fmla="*/ 122 w 4910"/>
                  <a:gd name="connsiteY100" fmla="*/ 100 h 1043"/>
                  <a:gd name="connsiteX101" fmla="*/ 85 w 4910"/>
                  <a:gd name="connsiteY101" fmla="*/ 95 h 1043"/>
                  <a:gd name="connsiteX102" fmla="*/ 31 w 4910"/>
                  <a:gd name="connsiteY102" fmla="*/ 95 h 1043"/>
                  <a:gd name="connsiteX103" fmla="*/ 17 w 4910"/>
                  <a:gd name="connsiteY103" fmla="*/ 98 h 1043"/>
                  <a:gd name="connsiteX104" fmla="*/ 11 w 4910"/>
                  <a:gd name="connsiteY104" fmla="*/ 98 h 1043"/>
                  <a:gd name="connsiteX105" fmla="*/ 0 w 4910"/>
                  <a:gd name="connsiteY105" fmla="*/ 13 h 1043"/>
                  <a:gd name="connsiteX106" fmla="*/ 9 w 4910"/>
                  <a:gd name="connsiteY106" fmla="*/ 13 h 1043"/>
                  <a:gd name="connsiteX107" fmla="*/ 29 w 4910"/>
                  <a:gd name="connsiteY107" fmla="*/ 10 h 1043"/>
                  <a:gd name="connsiteX108" fmla="*/ 91 w 4910"/>
                  <a:gd name="connsiteY108" fmla="*/ 10 h 1043"/>
                  <a:gd name="connsiteX109" fmla="*/ 135 w 4910"/>
                  <a:gd name="connsiteY109" fmla="*/ 13 h 1043"/>
                  <a:gd name="connsiteX110" fmla="*/ 182 w 4910"/>
                  <a:gd name="connsiteY110" fmla="*/ 19 h 1043"/>
                  <a:gd name="connsiteX111" fmla="*/ 234 w 4910"/>
                  <a:gd name="connsiteY111" fmla="*/ 29 h 1043"/>
                  <a:gd name="connsiteX112" fmla="*/ 287 w 4910"/>
                  <a:gd name="connsiteY112" fmla="*/ 46 h 1043"/>
                  <a:gd name="connsiteX113" fmla="*/ 345 w 4910"/>
                  <a:gd name="connsiteY113" fmla="*/ 66 h 1043"/>
                  <a:gd name="connsiteX114" fmla="*/ 403 w 4910"/>
                  <a:gd name="connsiteY114" fmla="*/ 93 h 1043"/>
                  <a:gd name="connsiteX115" fmla="*/ 459 w 4910"/>
                  <a:gd name="connsiteY115" fmla="*/ 131 h 1043"/>
                  <a:gd name="connsiteX116" fmla="*/ 514 w 4910"/>
                  <a:gd name="connsiteY116" fmla="*/ 174 h 1043"/>
                  <a:gd name="connsiteX117" fmla="*/ 568 w 4910"/>
                  <a:gd name="connsiteY117" fmla="*/ 228 h 1043"/>
                  <a:gd name="connsiteX118" fmla="*/ 618 w 4910"/>
                  <a:gd name="connsiteY118" fmla="*/ 292 h 1043"/>
                  <a:gd name="connsiteX119" fmla="*/ 667 w 4910"/>
                  <a:gd name="connsiteY119" fmla="*/ 367 h 1043"/>
                  <a:gd name="connsiteX120" fmla="*/ 754 w 4910"/>
                  <a:gd name="connsiteY120" fmla="*/ 516 h 1043"/>
                  <a:gd name="connsiteX121" fmla="*/ 787 w 4910"/>
                  <a:gd name="connsiteY121" fmla="*/ 575 h 1043"/>
                  <a:gd name="connsiteX122" fmla="*/ 820 w 4910"/>
                  <a:gd name="connsiteY122" fmla="*/ 631 h 1043"/>
                  <a:gd name="connsiteX123" fmla="*/ 853 w 4910"/>
                  <a:gd name="connsiteY123" fmla="*/ 684 h 1043"/>
                  <a:gd name="connsiteX124" fmla="*/ 886 w 4910"/>
                  <a:gd name="connsiteY124" fmla="*/ 736 h 1043"/>
                  <a:gd name="connsiteX125" fmla="*/ 921 w 4910"/>
                  <a:gd name="connsiteY125" fmla="*/ 782 h 1043"/>
                  <a:gd name="connsiteX126" fmla="*/ 958 w 4910"/>
                  <a:gd name="connsiteY126" fmla="*/ 825 h 1043"/>
                  <a:gd name="connsiteX127" fmla="*/ 1000 w 4910"/>
                  <a:gd name="connsiteY127" fmla="*/ 863 h 1043"/>
                  <a:gd name="connsiteX128" fmla="*/ 1043 w 4910"/>
                  <a:gd name="connsiteY128" fmla="*/ 894 h 1043"/>
                  <a:gd name="connsiteX129" fmla="*/ 1090 w 4910"/>
                  <a:gd name="connsiteY129" fmla="*/ 921 h 1043"/>
                  <a:gd name="connsiteX130" fmla="*/ 1140 w 4910"/>
                  <a:gd name="connsiteY130" fmla="*/ 939 h 1043"/>
                  <a:gd name="connsiteX131" fmla="*/ 1196 w 4910"/>
                  <a:gd name="connsiteY131" fmla="*/ 952 h 1043"/>
                  <a:gd name="connsiteX132" fmla="*/ 1258 w 4910"/>
                  <a:gd name="connsiteY132" fmla="*/ 956 h 1043"/>
                  <a:gd name="connsiteX133" fmla="*/ 1264 w 4910"/>
                  <a:gd name="connsiteY133" fmla="*/ 956 h 1043"/>
                  <a:gd name="connsiteX134" fmla="*/ 1324 w 4910"/>
                  <a:gd name="connsiteY134" fmla="*/ 950 h 1043"/>
                  <a:gd name="connsiteX135" fmla="*/ 1380 w 4910"/>
                  <a:gd name="connsiteY135" fmla="*/ 935 h 1043"/>
                  <a:gd name="connsiteX136" fmla="*/ 1433 w 4910"/>
                  <a:gd name="connsiteY136" fmla="*/ 913 h 1043"/>
                  <a:gd name="connsiteX137" fmla="*/ 1481 w 4910"/>
                  <a:gd name="connsiteY137" fmla="*/ 884 h 1043"/>
                  <a:gd name="connsiteX138" fmla="*/ 1526 w 4910"/>
                  <a:gd name="connsiteY138" fmla="*/ 846 h 1043"/>
                  <a:gd name="connsiteX139" fmla="*/ 1569 w 4910"/>
                  <a:gd name="connsiteY139" fmla="*/ 803 h 1043"/>
                  <a:gd name="connsiteX140" fmla="*/ 1609 w 4910"/>
                  <a:gd name="connsiteY140" fmla="*/ 755 h 1043"/>
                  <a:gd name="connsiteX141" fmla="*/ 1648 w 4910"/>
                  <a:gd name="connsiteY141" fmla="*/ 703 h 1043"/>
                  <a:gd name="connsiteX142" fmla="*/ 1687 w 4910"/>
                  <a:gd name="connsiteY142" fmla="*/ 649 h 1043"/>
                  <a:gd name="connsiteX143" fmla="*/ 1799 w 4910"/>
                  <a:gd name="connsiteY143" fmla="*/ 475 h 1043"/>
                  <a:gd name="connsiteX144" fmla="*/ 1838 w 4910"/>
                  <a:gd name="connsiteY144" fmla="*/ 415 h 1043"/>
                  <a:gd name="connsiteX145" fmla="*/ 1879 w 4910"/>
                  <a:gd name="connsiteY145" fmla="*/ 357 h 1043"/>
                  <a:gd name="connsiteX146" fmla="*/ 1923 w 4910"/>
                  <a:gd name="connsiteY146" fmla="*/ 299 h 1043"/>
                  <a:gd name="connsiteX147" fmla="*/ 1968 w 4910"/>
                  <a:gd name="connsiteY147" fmla="*/ 245 h 1043"/>
                  <a:gd name="connsiteX148" fmla="*/ 2015 w 4910"/>
                  <a:gd name="connsiteY148" fmla="*/ 193 h 1043"/>
                  <a:gd name="connsiteX149" fmla="*/ 2069 w 4910"/>
                  <a:gd name="connsiteY149" fmla="*/ 145 h 1043"/>
                  <a:gd name="connsiteX150" fmla="*/ 2125 w 4910"/>
                  <a:gd name="connsiteY150" fmla="*/ 104 h 1043"/>
                  <a:gd name="connsiteX151" fmla="*/ 2187 w 4910"/>
                  <a:gd name="connsiteY151" fmla="*/ 69 h 1043"/>
                  <a:gd name="connsiteX152" fmla="*/ 2253 w 4910"/>
                  <a:gd name="connsiteY152" fmla="*/ 39 h 1043"/>
                  <a:gd name="connsiteX153" fmla="*/ 2325 w 4910"/>
                  <a:gd name="connsiteY153" fmla="*/ 19 h 1043"/>
                  <a:gd name="connsiteX154" fmla="*/ 2404 w 4910"/>
                  <a:gd name="connsiteY154" fmla="*/ 6 h 1043"/>
                  <a:gd name="connsiteX155" fmla="*/ 2474 w 4910"/>
                  <a:gd name="connsiteY155" fmla="*/ 4 h 1043"/>
                  <a:gd name="connsiteX156" fmla="*/ 2540 w 4910"/>
                  <a:gd name="connsiteY156" fmla="*/ 13 h 1043"/>
                  <a:gd name="connsiteX157" fmla="*/ 2600 w 4910"/>
                  <a:gd name="connsiteY157" fmla="*/ 27 h 1043"/>
                  <a:gd name="connsiteX158" fmla="*/ 2658 w 4910"/>
                  <a:gd name="connsiteY158" fmla="*/ 50 h 1043"/>
                  <a:gd name="connsiteX159" fmla="*/ 2711 w 4910"/>
                  <a:gd name="connsiteY159" fmla="*/ 81 h 1043"/>
                  <a:gd name="connsiteX160" fmla="*/ 2761 w 4910"/>
                  <a:gd name="connsiteY160" fmla="*/ 116 h 1043"/>
                  <a:gd name="connsiteX161" fmla="*/ 2806 w 4910"/>
                  <a:gd name="connsiteY161" fmla="*/ 158 h 1043"/>
                  <a:gd name="connsiteX162" fmla="*/ 2852 w 4910"/>
                  <a:gd name="connsiteY162" fmla="*/ 203 h 1043"/>
                  <a:gd name="connsiteX163" fmla="*/ 2893 w 4910"/>
                  <a:gd name="connsiteY163" fmla="*/ 251 h 1043"/>
                  <a:gd name="connsiteX164" fmla="*/ 2932 w 4910"/>
                  <a:gd name="connsiteY164" fmla="*/ 303 h 1043"/>
                  <a:gd name="connsiteX165" fmla="*/ 2969 w 4910"/>
                  <a:gd name="connsiteY165" fmla="*/ 357 h 1043"/>
                  <a:gd name="connsiteX166" fmla="*/ 3004 w 4910"/>
                  <a:gd name="connsiteY166" fmla="*/ 413 h 1043"/>
                  <a:gd name="connsiteX167" fmla="*/ 3039 w 4910"/>
                  <a:gd name="connsiteY167" fmla="*/ 467 h 1043"/>
                  <a:gd name="connsiteX168" fmla="*/ 3073 w 4910"/>
                  <a:gd name="connsiteY168" fmla="*/ 523 h 1043"/>
                  <a:gd name="connsiteX169" fmla="*/ 3110 w 4910"/>
                  <a:gd name="connsiteY169" fmla="*/ 585 h 1043"/>
                  <a:gd name="connsiteX170" fmla="*/ 3147 w 4910"/>
                  <a:gd name="connsiteY170" fmla="*/ 643 h 1043"/>
                  <a:gd name="connsiteX171" fmla="*/ 3186 w 4910"/>
                  <a:gd name="connsiteY171" fmla="*/ 701 h 1043"/>
                  <a:gd name="connsiteX172" fmla="*/ 3223 w 4910"/>
                  <a:gd name="connsiteY172" fmla="*/ 755 h 1043"/>
                  <a:gd name="connsiteX173" fmla="*/ 3265 w 4910"/>
                  <a:gd name="connsiteY173" fmla="*/ 805 h 1043"/>
                  <a:gd name="connsiteX174" fmla="*/ 3306 w 4910"/>
                  <a:gd name="connsiteY174" fmla="*/ 848 h 1043"/>
                  <a:gd name="connsiteX175" fmla="*/ 3349 w 4910"/>
                  <a:gd name="connsiteY175" fmla="*/ 886 h 1043"/>
                  <a:gd name="connsiteX176" fmla="*/ 3395 w 4910"/>
                  <a:gd name="connsiteY176" fmla="*/ 917 h 1043"/>
                  <a:gd name="connsiteX177" fmla="*/ 3444 w 4910"/>
                  <a:gd name="connsiteY177" fmla="*/ 939 h 1043"/>
                  <a:gd name="connsiteX178" fmla="*/ 3498 w 4910"/>
                  <a:gd name="connsiteY178" fmla="*/ 952 h 1043"/>
                  <a:gd name="connsiteX179" fmla="*/ 3554 w 4910"/>
                  <a:gd name="connsiteY179" fmla="*/ 956 h 1043"/>
                  <a:gd name="connsiteX180" fmla="*/ 3609 w 4910"/>
                  <a:gd name="connsiteY180" fmla="*/ 950 h 1043"/>
                  <a:gd name="connsiteX181" fmla="*/ 3659 w 4910"/>
                  <a:gd name="connsiteY181" fmla="*/ 935 h 1043"/>
                  <a:gd name="connsiteX182" fmla="*/ 3706 w 4910"/>
                  <a:gd name="connsiteY182" fmla="*/ 915 h 1043"/>
                  <a:gd name="connsiteX183" fmla="*/ 3750 w 4910"/>
                  <a:gd name="connsiteY183" fmla="*/ 884 h 1043"/>
                  <a:gd name="connsiteX184" fmla="*/ 3789 w 4910"/>
                  <a:gd name="connsiteY184" fmla="*/ 848 h 1043"/>
                  <a:gd name="connsiteX185" fmla="*/ 3826 w 4910"/>
                  <a:gd name="connsiteY185" fmla="*/ 807 h 1043"/>
                  <a:gd name="connsiteX186" fmla="*/ 3861 w 4910"/>
                  <a:gd name="connsiteY186" fmla="*/ 759 h 1043"/>
                  <a:gd name="connsiteX187" fmla="*/ 3894 w 4910"/>
                  <a:gd name="connsiteY187" fmla="*/ 709 h 1043"/>
                  <a:gd name="connsiteX188" fmla="*/ 3927 w 4910"/>
                  <a:gd name="connsiteY188" fmla="*/ 655 h 1043"/>
                  <a:gd name="connsiteX189" fmla="*/ 3960 w 4910"/>
                  <a:gd name="connsiteY189" fmla="*/ 597 h 1043"/>
                  <a:gd name="connsiteX190" fmla="*/ 3993 w 4910"/>
                  <a:gd name="connsiteY190" fmla="*/ 537 h 1043"/>
                  <a:gd name="connsiteX191" fmla="*/ 4022 w 4910"/>
                  <a:gd name="connsiteY191" fmla="*/ 483 h 1043"/>
                  <a:gd name="connsiteX192" fmla="*/ 4084 w 4910"/>
                  <a:gd name="connsiteY192" fmla="*/ 375 h 1043"/>
                  <a:gd name="connsiteX193" fmla="*/ 4154 w 4910"/>
                  <a:gd name="connsiteY193" fmla="*/ 272 h 1043"/>
                  <a:gd name="connsiteX194" fmla="*/ 4192 w 4910"/>
                  <a:gd name="connsiteY194" fmla="*/ 224 h 1043"/>
                  <a:gd name="connsiteX195" fmla="*/ 4233 w 4910"/>
                  <a:gd name="connsiteY195" fmla="*/ 178 h 1043"/>
                  <a:gd name="connsiteX196" fmla="*/ 4276 w 4910"/>
                  <a:gd name="connsiteY196" fmla="*/ 137 h 1043"/>
                  <a:gd name="connsiteX0" fmla="*/ 4276 w 4910"/>
                  <a:gd name="connsiteY0" fmla="*/ 137 h 1043"/>
                  <a:gd name="connsiteX1" fmla="*/ 4681 w 4910"/>
                  <a:gd name="connsiteY1" fmla="*/ 0 h 1043"/>
                  <a:gd name="connsiteX2" fmla="*/ 4778 w 4910"/>
                  <a:gd name="connsiteY2" fmla="*/ 23 h 1043"/>
                  <a:gd name="connsiteX3" fmla="*/ 4819 w 4910"/>
                  <a:gd name="connsiteY3" fmla="*/ 39 h 1043"/>
                  <a:gd name="connsiteX4" fmla="*/ 4910 w 4910"/>
                  <a:gd name="connsiteY4" fmla="*/ 89 h 1043"/>
                  <a:gd name="connsiteX5" fmla="*/ 4900 w 4910"/>
                  <a:gd name="connsiteY5" fmla="*/ 189 h 1043"/>
                  <a:gd name="connsiteX6" fmla="*/ 4770 w 4910"/>
                  <a:gd name="connsiteY6" fmla="*/ 112 h 1043"/>
                  <a:gd name="connsiteX7" fmla="*/ 4691 w 4910"/>
                  <a:gd name="connsiteY7" fmla="*/ 89 h 1043"/>
                  <a:gd name="connsiteX8" fmla="*/ 4662 w 4910"/>
                  <a:gd name="connsiteY8" fmla="*/ 87 h 1043"/>
                  <a:gd name="connsiteX9" fmla="*/ 4507 w 4910"/>
                  <a:gd name="connsiteY9" fmla="*/ 106 h 1043"/>
                  <a:gd name="connsiteX10" fmla="*/ 4400 w 4910"/>
                  <a:gd name="connsiteY10" fmla="*/ 154 h 1043"/>
                  <a:gd name="connsiteX11" fmla="*/ 4353 w 4910"/>
                  <a:gd name="connsiteY11" fmla="*/ 187 h 1043"/>
                  <a:gd name="connsiteX12" fmla="*/ 4309 w 4910"/>
                  <a:gd name="connsiteY12" fmla="*/ 224 h 1043"/>
                  <a:gd name="connsiteX13" fmla="*/ 4270 w 4910"/>
                  <a:gd name="connsiteY13" fmla="*/ 268 h 1043"/>
                  <a:gd name="connsiteX14" fmla="*/ 4196 w 4910"/>
                  <a:gd name="connsiteY14" fmla="*/ 363 h 1043"/>
                  <a:gd name="connsiteX15" fmla="*/ 4163 w 4910"/>
                  <a:gd name="connsiteY15" fmla="*/ 415 h 1043"/>
                  <a:gd name="connsiteX16" fmla="*/ 4101 w 4910"/>
                  <a:gd name="connsiteY16" fmla="*/ 523 h 1043"/>
                  <a:gd name="connsiteX17" fmla="*/ 4008 w 4910"/>
                  <a:gd name="connsiteY17" fmla="*/ 691 h 1043"/>
                  <a:gd name="connsiteX18" fmla="*/ 3975 w 4910"/>
                  <a:gd name="connsiteY18" fmla="*/ 747 h 1043"/>
                  <a:gd name="connsiteX19" fmla="*/ 3940 w 4910"/>
                  <a:gd name="connsiteY19" fmla="*/ 798 h 1043"/>
                  <a:gd name="connsiteX20" fmla="*/ 3905 w 4910"/>
                  <a:gd name="connsiteY20" fmla="*/ 848 h 1043"/>
                  <a:gd name="connsiteX21" fmla="*/ 3865 w 4910"/>
                  <a:gd name="connsiteY21" fmla="*/ 894 h 1043"/>
                  <a:gd name="connsiteX22" fmla="*/ 3824 w 4910"/>
                  <a:gd name="connsiteY22" fmla="*/ 935 h 1043"/>
                  <a:gd name="connsiteX23" fmla="*/ 3779 w 4910"/>
                  <a:gd name="connsiteY23" fmla="*/ 971 h 1043"/>
                  <a:gd name="connsiteX24" fmla="*/ 3729 w 4910"/>
                  <a:gd name="connsiteY24" fmla="*/ 1000 h 1043"/>
                  <a:gd name="connsiteX25" fmla="*/ 3677 w 4910"/>
                  <a:gd name="connsiteY25" fmla="*/ 1022 h 1043"/>
                  <a:gd name="connsiteX26" fmla="*/ 3620 w 4910"/>
                  <a:gd name="connsiteY26" fmla="*/ 1037 h 1043"/>
                  <a:gd name="connsiteX27" fmla="*/ 3556 w 4910"/>
                  <a:gd name="connsiteY27" fmla="*/ 1043 h 1043"/>
                  <a:gd name="connsiteX28" fmla="*/ 3547 w 4910"/>
                  <a:gd name="connsiteY28" fmla="*/ 1043 h 1043"/>
                  <a:gd name="connsiteX29" fmla="*/ 3485 w 4910"/>
                  <a:gd name="connsiteY29" fmla="*/ 1039 h 1043"/>
                  <a:gd name="connsiteX30" fmla="*/ 3426 w 4910"/>
                  <a:gd name="connsiteY30" fmla="*/ 1025 h 1043"/>
                  <a:gd name="connsiteX31" fmla="*/ 3372 w 4910"/>
                  <a:gd name="connsiteY31" fmla="*/ 1002 h 1043"/>
                  <a:gd name="connsiteX32" fmla="*/ 3320 w 4910"/>
                  <a:gd name="connsiteY32" fmla="*/ 973 h 1043"/>
                  <a:gd name="connsiteX33" fmla="*/ 3273 w 4910"/>
                  <a:gd name="connsiteY33" fmla="*/ 935 h 1043"/>
                  <a:gd name="connsiteX34" fmla="*/ 3229 w 4910"/>
                  <a:gd name="connsiteY34" fmla="*/ 894 h 1043"/>
                  <a:gd name="connsiteX35" fmla="*/ 3186 w 4910"/>
                  <a:gd name="connsiteY35" fmla="*/ 846 h 1043"/>
                  <a:gd name="connsiteX36" fmla="*/ 3147 w 4910"/>
                  <a:gd name="connsiteY36" fmla="*/ 796 h 1043"/>
                  <a:gd name="connsiteX37" fmla="*/ 3108 w 4910"/>
                  <a:gd name="connsiteY37" fmla="*/ 740 h 1043"/>
                  <a:gd name="connsiteX38" fmla="*/ 3070 w 4910"/>
                  <a:gd name="connsiteY38" fmla="*/ 684 h 1043"/>
                  <a:gd name="connsiteX39" fmla="*/ 2965 w 4910"/>
                  <a:gd name="connsiteY39" fmla="*/ 510 h 1043"/>
                  <a:gd name="connsiteX40" fmla="*/ 2928 w 4910"/>
                  <a:gd name="connsiteY40" fmla="*/ 452 h 1043"/>
                  <a:gd name="connsiteX41" fmla="*/ 2891 w 4910"/>
                  <a:gd name="connsiteY41" fmla="*/ 396 h 1043"/>
                  <a:gd name="connsiteX42" fmla="*/ 2854 w 4910"/>
                  <a:gd name="connsiteY42" fmla="*/ 342 h 1043"/>
                  <a:gd name="connsiteX43" fmla="*/ 2814 w 4910"/>
                  <a:gd name="connsiteY43" fmla="*/ 292 h 1043"/>
                  <a:gd name="connsiteX44" fmla="*/ 2773 w 4910"/>
                  <a:gd name="connsiteY44" fmla="*/ 247 h 1043"/>
                  <a:gd name="connsiteX45" fmla="*/ 2732 w 4910"/>
                  <a:gd name="connsiteY45" fmla="*/ 205 h 1043"/>
                  <a:gd name="connsiteX46" fmla="*/ 2686 w 4910"/>
                  <a:gd name="connsiteY46" fmla="*/ 168 h 1043"/>
                  <a:gd name="connsiteX47" fmla="*/ 2639 w 4910"/>
                  <a:gd name="connsiteY47" fmla="*/ 139 h 1043"/>
                  <a:gd name="connsiteX48" fmla="*/ 2587 w 4910"/>
                  <a:gd name="connsiteY48" fmla="*/ 116 h 1043"/>
                  <a:gd name="connsiteX49" fmla="*/ 2532 w 4910"/>
                  <a:gd name="connsiteY49" fmla="*/ 100 h 1043"/>
                  <a:gd name="connsiteX50" fmla="*/ 2474 w 4910"/>
                  <a:gd name="connsiteY50" fmla="*/ 91 h 1043"/>
                  <a:gd name="connsiteX51" fmla="*/ 2410 w 4910"/>
                  <a:gd name="connsiteY51" fmla="*/ 93 h 1043"/>
                  <a:gd name="connsiteX52" fmla="*/ 2342 w 4910"/>
                  <a:gd name="connsiteY52" fmla="*/ 104 h 1043"/>
                  <a:gd name="connsiteX53" fmla="*/ 2280 w 4910"/>
                  <a:gd name="connsiteY53" fmla="*/ 122 h 1043"/>
                  <a:gd name="connsiteX54" fmla="*/ 2222 w 4910"/>
                  <a:gd name="connsiteY54" fmla="*/ 147 h 1043"/>
                  <a:gd name="connsiteX55" fmla="*/ 2168 w 4910"/>
                  <a:gd name="connsiteY55" fmla="*/ 180 h 1043"/>
                  <a:gd name="connsiteX56" fmla="*/ 2117 w 4910"/>
                  <a:gd name="connsiteY56" fmla="*/ 218 h 1043"/>
                  <a:gd name="connsiteX57" fmla="*/ 2071 w 4910"/>
                  <a:gd name="connsiteY57" fmla="*/ 261 h 1043"/>
                  <a:gd name="connsiteX58" fmla="*/ 2026 w 4910"/>
                  <a:gd name="connsiteY58" fmla="*/ 307 h 1043"/>
                  <a:gd name="connsiteX59" fmla="*/ 1984 w 4910"/>
                  <a:gd name="connsiteY59" fmla="*/ 359 h 1043"/>
                  <a:gd name="connsiteX60" fmla="*/ 1945 w 4910"/>
                  <a:gd name="connsiteY60" fmla="*/ 413 h 1043"/>
                  <a:gd name="connsiteX61" fmla="*/ 1908 w 4910"/>
                  <a:gd name="connsiteY61" fmla="*/ 467 h 1043"/>
                  <a:gd name="connsiteX62" fmla="*/ 1871 w 4910"/>
                  <a:gd name="connsiteY62" fmla="*/ 523 h 1043"/>
                  <a:gd name="connsiteX63" fmla="*/ 1834 w 4910"/>
                  <a:gd name="connsiteY63" fmla="*/ 581 h 1043"/>
                  <a:gd name="connsiteX64" fmla="*/ 1799 w 4910"/>
                  <a:gd name="connsiteY64" fmla="*/ 637 h 1043"/>
                  <a:gd name="connsiteX65" fmla="*/ 1724 w 4910"/>
                  <a:gd name="connsiteY65" fmla="*/ 749 h 1043"/>
                  <a:gd name="connsiteX66" fmla="*/ 1685 w 4910"/>
                  <a:gd name="connsiteY66" fmla="*/ 801 h 1043"/>
                  <a:gd name="connsiteX67" fmla="*/ 1644 w 4910"/>
                  <a:gd name="connsiteY67" fmla="*/ 850 h 1043"/>
                  <a:gd name="connsiteX68" fmla="*/ 1600 w 4910"/>
                  <a:gd name="connsiteY68" fmla="*/ 896 h 1043"/>
                  <a:gd name="connsiteX69" fmla="*/ 1553 w 4910"/>
                  <a:gd name="connsiteY69" fmla="*/ 937 h 1043"/>
                  <a:gd name="connsiteX70" fmla="*/ 1503 w 4910"/>
                  <a:gd name="connsiteY70" fmla="*/ 973 h 1043"/>
                  <a:gd name="connsiteX71" fmla="*/ 1450 w 4910"/>
                  <a:gd name="connsiteY71" fmla="*/ 1002 h 1043"/>
                  <a:gd name="connsiteX72" fmla="*/ 1394 w 4910"/>
                  <a:gd name="connsiteY72" fmla="*/ 1025 h 1043"/>
                  <a:gd name="connsiteX73" fmla="*/ 1330 w 4910"/>
                  <a:gd name="connsiteY73" fmla="*/ 1037 h 1043"/>
                  <a:gd name="connsiteX74" fmla="*/ 1264 w 4910"/>
                  <a:gd name="connsiteY74" fmla="*/ 1043 h 1043"/>
                  <a:gd name="connsiteX75" fmla="*/ 1258 w 4910"/>
                  <a:gd name="connsiteY75" fmla="*/ 1043 h 1043"/>
                  <a:gd name="connsiteX76" fmla="*/ 1190 w 4910"/>
                  <a:gd name="connsiteY76" fmla="*/ 1039 h 1043"/>
                  <a:gd name="connsiteX77" fmla="*/ 1128 w 4910"/>
                  <a:gd name="connsiteY77" fmla="*/ 1027 h 1043"/>
                  <a:gd name="connsiteX78" fmla="*/ 1070 w 4910"/>
                  <a:gd name="connsiteY78" fmla="*/ 1008 h 1043"/>
                  <a:gd name="connsiteX79" fmla="*/ 1018 w 4910"/>
                  <a:gd name="connsiteY79" fmla="*/ 983 h 1043"/>
                  <a:gd name="connsiteX80" fmla="*/ 971 w 4910"/>
                  <a:gd name="connsiteY80" fmla="*/ 952 h 1043"/>
                  <a:gd name="connsiteX81" fmla="*/ 925 w 4910"/>
                  <a:gd name="connsiteY81" fmla="*/ 915 h 1043"/>
                  <a:gd name="connsiteX82" fmla="*/ 884 w 4910"/>
                  <a:gd name="connsiteY82" fmla="*/ 873 h 1043"/>
                  <a:gd name="connsiteX83" fmla="*/ 847 w 4910"/>
                  <a:gd name="connsiteY83" fmla="*/ 828 h 1043"/>
                  <a:gd name="connsiteX84" fmla="*/ 810 w 4910"/>
                  <a:gd name="connsiteY84" fmla="*/ 780 h 1043"/>
                  <a:gd name="connsiteX85" fmla="*/ 777 w 4910"/>
                  <a:gd name="connsiteY85" fmla="*/ 728 h 1043"/>
                  <a:gd name="connsiteX86" fmla="*/ 742 w 4910"/>
                  <a:gd name="connsiteY86" fmla="*/ 674 h 1043"/>
                  <a:gd name="connsiteX87" fmla="*/ 711 w 4910"/>
                  <a:gd name="connsiteY87" fmla="*/ 618 h 1043"/>
                  <a:gd name="connsiteX88" fmla="*/ 678 w 4910"/>
                  <a:gd name="connsiteY88" fmla="*/ 560 h 1043"/>
                  <a:gd name="connsiteX89" fmla="*/ 616 w 4910"/>
                  <a:gd name="connsiteY89" fmla="*/ 448 h 1043"/>
                  <a:gd name="connsiteX90" fmla="*/ 547 w 4910"/>
                  <a:gd name="connsiteY90" fmla="*/ 340 h 1043"/>
                  <a:gd name="connsiteX91" fmla="*/ 504 w 4910"/>
                  <a:gd name="connsiteY91" fmla="*/ 284 h 1043"/>
                  <a:gd name="connsiteX92" fmla="*/ 457 w 4910"/>
                  <a:gd name="connsiteY92" fmla="*/ 239 h 1043"/>
                  <a:gd name="connsiteX93" fmla="*/ 409 w 4910"/>
                  <a:gd name="connsiteY93" fmla="*/ 199 h 1043"/>
                  <a:gd name="connsiteX94" fmla="*/ 358 w 4910"/>
                  <a:gd name="connsiteY94" fmla="*/ 168 h 1043"/>
                  <a:gd name="connsiteX95" fmla="*/ 308 w 4910"/>
                  <a:gd name="connsiteY95" fmla="*/ 145 h 1043"/>
                  <a:gd name="connsiteX96" fmla="*/ 256 w 4910"/>
                  <a:gd name="connsiteY96" fmla="*/ 127 h 1043"/>
                  <a:gd name="connsiteX97" fmla="*/ 209 w 4910"/>
                  <a:gd name="connsiteY97" fmla="*/ 112 h 1043"/>
                  <a:gd name="connsiteX98" fmla="*/ 163 w 4910"/>
                  <a:gd name="connsiteY98" fmla="*/ 104 h 1043"/>
                  <a:gd name="connsiteX99" fmla="*/ 122 w 4910"/>
                  <a:gd name="connsiteY99" fmla="*/ 100 h 1043"/>
                  <a:gd name="connsiteX100" fmla="*/ 85 w 4910"/>
                  <a:gd name="connsiteY100" fmla="*/ 95 h 1043"/>
                  <a:gd name="connsiteX101" fmla="*/ 31 w 4910"/>
                  <a:gd name="connsiteY101" fmla="*/ 95 h 1043"/>
                  <a:gd name="connsiteX102" fmla="*/ 17 w 4910"/>
                  <a:gd name="connsiteY102" fmla="*/ 98 h 1043"/>
                  <a:gd name="connsiteX103" fmla="*/ 11 w 4910"/>
                  <a:gd name="connsiteY103" fmla="*/ 98 h 1043"/>
                  <a:gd name="connsiteX104" fmla="*/ 0 w 4910"/>
                  <a:gd name="connsiteY104" fmla="*/ 13 h 1043"/>
                  <a:gd name="connsiteX105" fmla="*/ 9 w 4910"/>
                  <a:gd name="connsiteY105" fmla="*/ 13 h 1043"/>
                  <a:gd name="connsiteX106" fmla="*/ 29 w 4910"/>
                  <a:gd name="connsiteY106" fmla="*/ 10 h 1043"/>
                  <a:gd name="connsiteX107" fmla="*/ 91 w 4910"/>
                  <a:gd name="connsiteY107" fmla="*/ 10 h 1043"/>
                  <a:gd name="connsiteX108" fmla="*/ 135 w 4910"/>
                  <a:gd name="connsiteY108" fmla="*/ 13 h 1043"/>
                  <a:gd name="connsiteX109" fmla="*/ 182 w 4910"/>
                  <a:gd name="connsiteY109" fmla="*/ 19 h 1043"/>
                  <a:gd name="connsiteX110" fmla="*/ 234 w 4910"/>
                  <a:gd name="connsiteY110" fmla="*/ 29 h 1043"/>
                  <a:gd name="connsiteX111" fmla="*/ 287 w 4910"/>
                  <a:gd name="connsiteY111" fmla="*/ 46 h 1043"/>
                  <a:gd name="connsiteX112" fmla="*/ 345 w 4910"/>
                  <a:gd name="connsiteY112" fmla="*/ 66 h 1043"/>
                  <a:gd name="connsiteX113" fmla="*/ 403 w 4910"/>
                  <a:gd name="connsiteY113" fmla="*/ 93 h 1043"/>
                  <a:gd name="connsiteX114" fmla="*/ 459 w 4910"/>
                  <a:gd name="connsiteY114" fmla="*/ 131 h 1043"/>
                  <a:gd name="connsiteX115" fmla="*/ 514 w 4910"/>
                  <a:gd name="connsiteY115" fmla="*/ 174 h 1043"/>
                  <a:gd name="connsiteX116" fmla="*/ 568 w 4910"/>
                  <a:gd name="connsiteY116" fmla="*/ 228 h 1043"/>
                  <a:gd name="connsiteX117" fmla="*/ 618 w 4910"/>
                  <a:gd name="connsiteY117" fmla="*/ 292 h 1043"/>
                  <a:gd name="connsiteX118" fmla="*/ 667 w 4910"/>
                  <a:gd name="connsiteY118" fmla="*/ 367 h 1043"/>
                  <a:gd name="connsiteX119" fmla="*/ 754 w 4910"/>
                  <a:gd name="connsiteY119" fmla="*/ 516 h 1043"/>
                  <a:gd name="connsiteX120" fmla="*/ 787 w 4910"/>
                  <a:gd name="connsiteY120" fmla="*/ 575 h 1043"/>
                  <a:gd name="connsiteX121" fmla="*/ 820 w 4910"/>
                  <a:gd name="connsiteY121" fmla="*/ 631 h 1043"/>
                  <a:gd name="connsiteX122" fmla="*/ 853 w 4910"/>
                  <a:gd name="connsiteY122" fmla="*/ 684 h 1043"/>
                  <a:gd name="connsiteX123" fmla="*/ 886 w 4910"/>
                  <a:gd name="connsiteY123" fmla="*/ 736 h 1043"/>
                  <a:gd name="connsiteX124" fmla="*/ 921 w 4910"/>
                  <a:gd name="connsiteY124" fmla="*/ 782 h 1043"/>
                  <a:gd name="connsiteX125" fmla="*/ 958 w 4910"/>
                  <a:gd name="connsiteY125" fmla="*/ 825 h 1043"/>
                  <a:gd name="connsiteX126" fmla="*/ 1000 w 4910"/>
                  <a:gd name="connsiteY126" fmla="*/ 863 h 1043"/>
                  <a:gd name="connsiteX127" fmla="*/ 1043 w 4910"/>
                  <a:gd name="connsiteY127" fmla="*/ 894 h 1043"/>
                  <a:gd name="connsiteX128" fmla="*/ 1090 w 4910"/>
                  <a:gd name="connsiteY128" fmla="*/ 921 h 1043"/>
                  <a:gd name="connsiteX129" fmla="*/ 1140 w 4910"/>
                  <a:gd name="connsiteY129" fmla="*/ 939 h 1043"/>
                  <a:gd name="connsiteX130" fmla="*/ 1196 w 4910"/>
                  <a:gd name="connsiteY130" fmla="*/ 952 h 1043"/>
                  <a:gd name="connsiteX131" fmla="*/ 1258 w 4910"/>
                  <a:gd name="connsiteY131" fmla="*/ 956 h 1043"/>
                  <a:gd name="connsiteX132" fmla="*/ 1264 w 4910"/>
                  <a:gd name="connsiteY132" fmla="*/ 956 h 1043"/>
                  <a:gd name="connsiteX133" fmla="*/ 1324 w 4910"/>
                  <a:gd name="connsiteY133" fmla="*/ 950 h 1043"/>
                  <a:gd name="connsiteX134" fmla="*/ 1380 w 4910"/>
                  <a:gd name="connsiteY134" fmla="*/ 935 h 1043"/>
                  <a:gd name="connsiteX135" fmla="*/ 1433 w 4910"/>
                  <a:gd name="connsiteY135" fmla="*/ 913 h 1043"/>
                  <a:gd name="connsiteX136" fmla="*/ 1481 w 4910"/>
                  <a:gd name="connsiteY136" fmla="*/ 884 h 1043"/>
                  <a:gd name="connsiteX137" fmla="*/ 1526 w 4910"/>
                  <a:gd name="connsiteY137" fmla="*/ 846 h 1043"/>
                  <a:gd name="connsiteX138" fmla="*/ 1569 w 4910"/>
                  <a:gd name="connsiteY138" fmla="*/ 803 h 1043"/>
                  <a:gd name="connsiteX139" fmla="*/ 1609 w 4910"/>
                  <a:gd name="connsiteY139" fmla="*/ 755 h 1043"/>
                  <a:gd name="connsiteX140" fmla="*/ 1648 w 4910"/>
                  <a:gd name="connsiteY140" fmla="*/ 703 h 1043"/>
                  <a:gd name="connsiteX141" fmla="*/ 1687 w 4910"/>
                  <a:gd name="connsiteY141" fmla="*/ 649 h 1043"/>
                  <a:gd name="connsiteX142" fmla="*/ 1799 w 4910"/>
                  <a:gd name="connsiteY142" fmla="*/ 475 h 1043"/>
                  <a:gd name="connsiteX143" fmla="*/ 1838 w 4910"/>
                  <a:gd name="connsiteY143" fmla="*/ 415 h 1043"/>
                  <a:gd name="connsiteX144" fmla="*/ 1879 w 4910"/>
                  <a:gd name="connsiteY144" fmla="*/ 357 h 1043"/>
                  <a:gd name="connsiteX145" fmla="*/ 1923 w 4910"/>
                  <a:gd name="connsiteY145" fmla="*/ 299 h 1043"/>
                  <a:gd name="connsiteX146" fmla="*/ 1968 w 4910"/>
                  <a:gd name="connsiteY146" fmla="*/ 245 h 1043"/>
                  <a:gd name="connsiteX147" fmla="*/ 2015 w 4910"/>
                  <a:gd name="connsiteY147" fmla="*/ 193 h 1043"/>
                  <a:gd name="connsiteX148" fmla="*/ 2069 w 4910"/>
                  <a:gd name="connsiteY148" fmla="*/ 145 h 1043"/>
                  <a:gd name="connsiteX149" fmla="*/ 2125 w 4910"/>
                  <a:gd name="connsiteY149" fmla="*/ 104 h 1043"/>
                  <a:gd name="connsiteX150" fmla="*/ 2187 w 4910"/>
                  <a:gd name="connsiteY150" fmla="*/ 69 h 1043"/>
                  <a:gd name="connsiteX151" fmla="*/ 2253 w 4910"/>
                  <a:gd name="connsiteY151" fmla="*/ 39 h 1043"/>
                  <a:gd name="connsiteX152" fmla="*/ 2325 w 4910"/>
                  <a:gd name="connsiteY152" fmla="*/ 19 h 1043"/>
                  <a:gd name="connsiteX153" fmla="*/ 2404 w 4910"/>
                  <a:gd name="connsiteY153" fmla="*/ 6 h 1043"/>
                  <a:gd name="connsiteX154" fmla="*/ 2474 w 4910"/>
                  <a:gd name="connsiteY154" fmla="*/ 4 h 1043"/>
                  <a:gd name="connsiteX155" fmla="*/ 2540 w 4910"/>
                  <a:gd name="connsiteY155" fmla="*/ 13 h 1043"/>
                  <a:gd name="connsiteX156" fmla="*/ 2600 w 4910"/>
                  <a:gd name="connsiteY156" fmla="*/ 27 h 1043"/>
                  <a:gd name="connsiteX157" fmla="*/ 2658 w 4910"/>
                  <a:gd name="connsiteY157" fmla="*/ 50 h 1043"/>
                  <a:gd name="connsiteX158" fmla="*/ 2711 w 4910"/>
                  <a:gd name="connsiteY158" fmla="*/ 81 h 1043"/>
                  <a:gd name="connsiteX159" fmla="*/ 2761 w 4910"/>
                  <a:gd name="connsiteY159" fmla="*/ 116 h 1043"/>
                  <a:gd name="connsiteX160" fmla="*/ 2806 w 4910"/>
                  <a:gd name="connsiteY160" fmla="*/ 158 h 1043"/>
                  <a:gd name="connsiteX161" fmla="*/ 2852 w 4910"/>
                  <a:gd name="connsiteY161" fmla="*/ 203 h 1043"/>
                  <a:gd name="connsiteX162" fmla="*/ 2893 w 4910"/>
                  <a:gd name="connsiteY162" fmla="*/ 251 h 1043"/>
                  <a:gd name="connsiteX163" fmla="*/ 2932 w 4910"/>
                  <a:gd name="connsiteY163" fmla="*/ 303 h 1043"/>
                  <a:gd name="connsiteX164" fmla="*/ 2969 w 4910"/>
                  <a:gd name="connsiteY164" fmla="*/ 357 h 1043"/>
                  <a:gd name="connsiteX165" fmla="*/ 3004 w 4910"/>
                  <a:gd name="connsiteY165" fmla="*/ 413 h 1043"/>
                  <a:gd name="connsiteX166" fmla="*/ 3039 w 4910"/>
                  <a:gd name="connsiteY166" fmla="*/ 467 h 1043"/>
                  <a:gd name="connsiteX167" fmla="*/ 3073 w 4910"/>
                  <a:gd name="connsiteY167" fmla="*/ 523 h 1043"/>
                  <a:gd name="connsiteX168" fmla="*/ 3110 w 4910"/>
                  <a:gd name="connsiteY168" fmla="*/ 585 h 1043"/>
                  <a:gd name="connsiteX169" fmla="*/ 3147 w 4910"/>
                  <a:gd name="connsiteY169" fmla="*/ 643 h 1043"/>
                  <a:gd name="connsiteX170" fmla="*/ 3186 w 4910"/>
                  <a:gd name="connsiteY170" fmla="*/ 701 h 1043"/>
                  <a:gd name="connsiteX171" fmla="*/ 3223 w 4910"/>
                  <a:gd name="connsiteY171" fmla="*/ 755 h 1043"/>
                  <a:gd name="connsiteX172" fmla="*/ 3265 w 4910"/>
                  <a:gd name="connsiteY172" fmla="*/ 805 h 1043"/>
                  <a:gd name="connsiteX173" fmla="*/ 3306 w 4910"/>
                  <a:gd name="connsiteY173" fmla="*/ 848 h 1043"/>
                  <a:gd name="connsiteX174" fmla="*/ 3349 w 4910"/>
                  <a:gd name="connsiteY174" fmla="*/ 886 h 1043"/>
                  <a:gd name="connsiteX175" fmla="*/ 3395 w 4910"/>
                  <a:gd name="connsiteY175" fmla="*/ 917 h 1043"/>
                  <a:gd name="connsiteX176" fmla="*/ 3444 w 4910"/>
                  <a:gd name="connsiteY176" fmla="*/ 939 h 1043"/>
                  <a:gd name="connsiteX177" fmla="*/ 3498 w 4910"/>
                  <a:gd name="connsiteY177" fmla="*/ 952 h 1043"/>
                  <a:gd name="connsiteX178" fmla="*/ 3554 w 4910"/>
                  <a:gd name="connsiteY178" fmla="*/ 956 h 1043"/>
                  <a:gd name="connsiteX179" fmla="*/ 3609 w 4910"/>
                  <a:gd name="connsiteY179" fmla="*/ 950 h 1043"/>
                  <a:gd name="connsiteX180" fmla="*/ 3659 w 4910"/>
                  <a:gd name="connsiteY180" fmla="*/ 935 h 1043"/>
                  <a:gd name="connsiteX181" fmla="*/ 3706 w 4910"/>
                  <a:gd name="connsiteY181" fmla="*/ 915 h 1043"/>
                  <a:gd name="connsiteX182" fmla="*/ 3750 w 4910"/>
                  <a:gd name="connsiteY182" fmla="*/ 884 h 1043"/>
                  <a:gd name="connsiteX183" fmla="*/ 3789 w 4910"/>
                  <a:gd name="connsiteY183" fmla="*/ 848 h 1043"/>
                  <a:gd name="connsiteX184" fmla="*/ 3826 w 4910"/>
                  <a:gd name="connsiteY184" fmla="*/ 807 h 1043"/>
                  <a:gd name="connsiteX185" fmla="*/ 3861 w 4910"/>
                  <a:gd name="connsiteY185" fmla="*/ 759 h 1043"/>
                  <a:gd name="connsiteX186" fmla="*/ 3894 w 4910"/>
                  <a:gd name="connsiteY186" fmla="*/ 709 h 1043"/>
                  <a:gd name="connsiteX187" fmla="*/ 3927 w 4910"/>
                  <a:gd name="connsiteY187" fmla="*/ 655 h 1043"/>
                  <a:gd name="connsiteX188" fmla="*/ 3960 w 4910"/>
                  <a:gd name="connsiteY188" fmla="*/ 597 h 1043"/>
                  <a:gd name="connsiteX189" fmla="*/ 3993 w 4910"/>
                  <a:gd name="connsiteY189" fmla="*/ 537 h 1043"/>
                  <a:gd name="connsiteX190" fmla="*/ 4022 w 4910"/>
                  <a:gd name="connsiteY190" fmla="*/ 483 h 1043"/>
                  <a:gd name="connsiteX191" fmla="*/ 4084 w 4910"/>
                  <a:gd name="connsiteY191" fmla="*/ 375 h 1043"/>
                  <a:gd name="connsiteX192" fmla="*/ 4154 w 4910"/>
                  <a:gd name="connsiteY192" fmla="*/ 272 h 1043"/>
                  <a:gd name="connsiteX193" fmla="*/ 4192 w 4910"/>
                  <a:gd name="connsiteY193" fmla="*/ 224 h 1043"/>
                  <a:gd name="connsiteX194" fmla="*/ 4233 w 4910"/>
                  <a:gd name="connsiteY194" fmla="*/ 178 h 1043"/>
                  <a:gd name="connsiteX195" fmla="*/ 4276 w 4910"/>
                  <a:gd name="connsiteY195" fmla="*/ 137 h 1043"/>
                  <a:gd name="connsiteX0" fmla="*/ 4276 w 4910"/>
                  <a:gd name="connsiteY0" fmla="*/ 133 h 1039"/>
                  <a:gd name="connsiteX1" fmla="*/ 4778 w 4910"/>
                  <a:gd name="connsiteY1" fmla="*/ 19 h 1039"/>
                  <a:gd name="connsiteX2" fmla="*/ 4819 w 4910"/>
                  <a:gd name="connsiteY2" fmla="*/ 35 h 1039"/>
                  <a:gd name="connsiteX3" fmla="*/ 4910 w 4910"/>
                  <a:gd name="connsiteY3" fmla="*/ 85 h 1039"/>
                  <a:gd name="connsiteX4" fmla="*/ 4900 w 4910"/>
                  <a:gd name="connsiteY4" fmla="*/ 185 h 1039"/>
                  <a:gd name="connsiteX5" fmla="*/ 4770 w 4910"/>
                  <a:gd name="connsiteY5" fmla="*/ 108 h 1039"/>
                  <a:gd name="connsiteX6" fmla="*/ 4691 w 4910"/>
                  <a:gd name="connsiteY6" fmla="*/ 85 h 1039"/>
                  <a:gd name="connsiteX7" fmla="*/ 4662 w 4910"/>
                  <a:gd name="connsiteY7" fmla="*/ 83 h 1039"/>
                  <a:gd name="connsiteX8" fmla="*/ 4507 w 4910"/>
                  <a:gd name="connsiteY8" fmla="*/ 102 h 1039"/>
                  <a:gd name="connsiteX9" fmla="*/ 4400 w 4910"/>
                  <a:gd name="connsiteY9" fmla="*/ 150 h 1039"/>
                  <a:gd name="connsiteX10" fmla="*/ 4353 w 4910"/>
                  <a:gd name="connsiteY10" fmla="*/ 183 h 1039"/>
                  <a:gd name="connsiteX11" fmla="*/ 4309 w 4910"/>
                  <a:gd name="connsiteY11" fmla="*/ 220 h 1039"/>
                  <a:gd name="connsiteX12" fmla="*/ 4270 w 4910"/>
                  <a:gd name="connsiteY12" fmla="*/ 264 h 1039"/>
                  <a:gd name="connsiteX13" fmla="*/ 4196 w 4910"/>
                  <a:gd name="connsiteY13" fmla="*/ 359 h 1039"/>
                  <a:gd name="connsiteX14" fmla="*/ 4163 w 4910"/>
                  <a:gd name="connsiteY14" fmla="*/ 411 h 1039"/>
                  <a:gd name="connsiteX15" fmla="*/ 4101 w 4910"/>
                  <a:gd name="connsiteY15" fmla="*/ 519 h 1039"/>
                  <a:gd name="connsiteX16" fmla="*/ 4008 w 4910"/>
                  <a:gd name="connsiteY16" fmla="*/ 687 h 1039"/>
                  <a:gd name="connsiteX17" fmla="*/ 3975 w 4910"/>
                  <a:gd name="connsiteY17" fmla="*/ 743 h 1039"/>
                  <a:gd name="connsiteX18" fmla="*/ 3940 w 4910"/>
                  <a:gd name="connsiteY18" fmla="*/ 794 h 1039"/>
                  <a:gd name="connsiteX19" fmla="*/ 3905 w 4910"/>
                  <a:gd name="connsiteY19" fmla="*/ 844 h 1039"/>
                  <a:gd name="connsiteX20" fmla="*/ 3865 w 4910"/>
                  <a:gd name="connsiteY20" fmla="*/ 890 h 1039"/>
                  <a:gd name="connsiteX21" fmla="*/ 3824 w 4910"/>
                  <a:gd name="connsiteY21" fmla="*/ 931 h 1039"/>
                  <a:gd name="connsiteX22" fmla="*/ 3779 w 4910"/>
                  <a:gd name="connsiteY22" fmla="*/ 967 h 1039"/>
                  <a:gd name="connsiteX23" fmla="*/ 3729 w 4910"/>
                  <a:gd name="connsiteY23" fmla="*/ 996 h 1039"/>
                  <a:gd name="connsiteX24" fmla="*/ 3677 w 4910"/>
                  <a:gd name="connsiteY24" fmla="*/ 1018 h 1039"/>
                  <a:gd name="connsiteX25" fmla="*/ 3620 w 4910"/>
                  <a:gd name="connsiteY25" fmla="*/ 1033 h 1039"/>
                  <a:gd name="connsiteX26" fmla="*/ 3556 w 4910"/>
                  <a:gd name="connsiteY26" fmla="*/ 1039 h 1039"/>
                  <a:gd name="connsiteX27" fmla="*/ 3547 w 4910"/>
                  <a:gd name="connsiteY27" fmla="*/ 1039 h 1039"/>
                  <a:gd name="connsiteX28" fmla="*/ 3485 w 4910"/>
                  <a:gd name="connsiteY28" fmla="*/ 1035 h 1039"/>
                  <a:gd name="connsiteX29" fmla="*/ 3426 w 4910"/>
                  <a:gd name="connsiteY29" fmla="*/ 1021 h 1039"/>
                  <a:gd name="connsiteX30" fmla="*/ 3372 w 4910"/>
                  <a:gd name="connsiteY30" fmla="*/ 998 h 1039"/>
                  <a:gd name="connsiteX31" fmla="*/ 3320 w 4910"/>
                  <a:gd name="connsiteY31" fmla="*/ 969 h 1039"/>
                  <a:gd name="connsiteX32" fmla="*/ 3273 w 4910"/>
                  <a:gd name="connsiteY32" fmla="*/ 931 h 1039"/>
                  <a:gd name="connsiteX33" fmla="*/ 3229 w 4910"/>
                  <a:gd name="connsiteY33" fmla="*/ 890 h 1039"/>
                  <a:gd name="connsiteX34" fmla="*/ 3186 w 4910"/>
                  <a:gd name="connsiteY34" fmla="*/ 842 h 1039"/>
                  <a:gd name="connsiteX35" fmla="*/ 3147 w 4910"/>
                  <a:gd name="connsiteY35" fmla="*/ 792 h 1039"/>
                  <a:gd name="connsiteX36" fmla="*/ 3108 w 4910"/>
                  <a:gd name="connsiteY36" fmla="*/ 736 h 1039"/>
                  <a:gd name="connsiteX37" fmla="*/ 3070 w 4910"/>
                  <a:gd name="connsiteY37" fmla="*/ 680 h 1039"/>
                  <a:gd name="connsiteX38" fmla="*/ 2965 w 4910"/>
                  <a:gd name="connsiteY38" fmla="*/ 506 h 1039"/>
                  <a:gd name="connsiteX39" fmla="*/ 2928 w 4910"/>
                  <a:gd name="connsiteY39" fmla="*/ 448 h 1039"/>
                  <a:gd name="connsiteX40" fmla="*/ 2891 w 4910"/>
                  <a:gd name="connsiteY40" fmla="*/ 392 h 1039"/>
                  <a:gd name="connsiteX41" fmla="*/ 2854 w 4910"/>
                  <a:gd name="connsiteY41" fmla="*/ 338 h 1039"/>
                  <a:gd name="connsiteX42" fmla="*/ 2814 w 4910"/>
                  <a:gd name="connsiteY42" fmla="*/ 288 h 1039"/>
                  <a:gd name="connsiteX43" fmla="*/ 2773 w 4910"/>
                  <a:gd name="connsiteY43" fmla="*/ 243 h 1039"/>
                  <a:gd name="connsiteX44" fmla="*/ 2732 w 4910"/>
                  <a:gd name="connsiteY44" fmla="*/ 201 h 1039"/>
                  <a:gd name="connsiteX45" fmla="*/ 2686 w 4910"/>
                  <a:gd name="connsiteY45" fmla="*/ 164 h 1039"/>
                  <a:gd name="connsiteX46" fmla="*/ 2639 w 4910"/>
                  <a:gd name="connsiteY46" fmla="*/ 135 h 1039"/>
                  <a:gd name="connsiteX47" fmla="*/ 2587 w 4910"/>
                  <a:gd name="connsiteY47" fmla="*/ 112 h 1039"/>
                  <a:gd name="connsiteX48" fmla="*/ 2532 w 4910"/>
                  <a:gd name="connsiteY48" fmla="*/ 96 h 1039"/>
                  <a:gd name="connsiteX49" fmla="*/ 2474 w 4910"/>
                  <a:gd name="connsiteY49" fmla="*/ 87 h 1039"/>
                  <a:gd name="connsiteX50" fmla="*/ 2410 w 4910"/>
                  <a:gd name="connsiteY50" fmla="*/ 89 h 1039"/>
                  <a:gd name="connsiteX51" fmla="*/ 2342 w 4910"/>
                  <a:gd name="connsiteY51" fmla="*/ 100 h 1039"/>
                  <a:gd name="connsiteX52" fmla="*/ 2280 w 4910"/>
                  <a:gd name="connsiteY52" fmla="*/ 118 h 1039"/>
                  <a:gd name="connsiteX53" fmla="*/ 2222 w 4910"/>
                  <a:gd name="connsiteY53" fmla="*/ 143 h 1039"/>
                  <a:gd name="connsiteX54" fmla="*/ 2168 w 4910"/>
                  <a:gd name="connsiteY54" fmla="*/ 176 h 1039"/>
                  <a:gd name="connsiteX55" fmla="*/ 2117 w 4910"/>
                  <a:gd name="connsiteY55" fmla="*/ 214 h 1039"/>
                  <a:gd name="connsiteX56" fmla="*/ 2071 w 4910"/>
                  <a:gd name="connsiteY56" fmla="*/ 257 h 1039"/>
                  <a:gd name="connsiteX57" fmla="*/ 2026 w 4910"/>
                  <a:gd name="connsiteY57" fmla="*/ 303 h 1039"/>
                  <a:gd name="connsiteX58" fmla="*/ 1984 w 4910"/>
                  <a:gd name="connsiteY58" fmla="*/ 355 h 1039"/>
                  <a:gd name="connsiteX59" fmla="*/ 1945 w 4910"/>
                  <a:gd name="connsiteY59" fmla="*/ 409 h 1039"/>
                  <a:gd name="connsiteX60" fmla="*/ 1908 w 4910"/>
                  <a:gd name="connsiteY60" fmla="*/ 463 h 1039"/>
                  <a:gd name="connsiteX61" fmla="*/ 1871 w 4910"/>
                  <a:gd name="connsiteY61" fmla="*/ 519 h 1039"/>
                  <a:gd name="connsiteX62" fmla="*/ 1834 w 4910"/>
                  <a:gd name="connsiteY62" fmla="*/ 577 h 1039"/>
                  <a:gd name="connsiteX63" fmla="*/ 1799 w 4910"/>
                  <a:gd name="connsiteY63" fmla="*/ 633 h 1039"/>
                  <a:gd name="connsiteX64" fmla="*/ 1724 w 4910"/>
                  <a:gd name="connsiteY64" fmla="*/ 745 h 1039"/>
                  <a:gd name="connsiteX65" fmla="*/ 1685 w 4910"/>
                  <a:gd name="connsiteY65" fmla="*/ 797 h 1039"/>
                  <a:gd name="connsiteX66" fmla="*/ 1644 w 4910"/>
                  <a:gd name="connsiteY66" fmla="*/ 846 h 1039"/>
                  <a:gd name="connsiteX67" fmla="*/ 1600 w 4910"/>
                  <a:gd name="connsiteY67" fmla="*/ 892 h 1039"/>
                  <a:gd name="connsiteX68" fmla="*/ 1553 w 4910"/>
                  <a:gd name="connsiteY68" fmla="*/ 933 h 1039"/>
                  <a:gd name="connsiteX69" fmla="*/ 1503 w 4910"/>
                  <a:gd name="connsiteY69" fmla="*/ 969 h 1039"/>
                  <a:gd name="connsiteX70" fmla="*/ 1450 w 4910"/>
                  <a:gd name="connsiteY70" fmla="*/ 998 h 1039"/>
                  <a:gd name="connsiteX71" fmla="*/ 1394 w 4910"/>
                  <a:gd name="connsiteY71" fmla="*/ 1021 h 1039"/>
                  <a:gd name="connsiteX72" fmla="*/ 1330 w 4910"/>
                  <a:gd name="connsiteY72" fmla="*/ 1033 h 1039"/>
                  <a:gd name="connsiteX73" fmla="*/ 1264 w 4910"/>
                  <a:gd name="connsiteY73" fmla="*/ 1039 h 1039"/>
                  <a:gd name="connsiteX74" fmla="*/ 1258 w 4910"/>
                  <a:gd name="connsiteY74" fmla="*/ 1039 h 1039"/>
                  <a:gd name="connsiteX75" fmla="*/ 1190 w 4910"/>
                  <a:gd name="connsiteY75" fmla="*/ 1035 h 1039"/>
                  <a:gd name="connsiteX76" fmla="*/ 1128 w 4910"/>
                  <a:gd name="connsiteY76" fmla="*/ 1023 h 1039"/>
                  <a:gd name="connsiteX77" fmla="*/ 1070 w 4910"/>
                  <a:gd name="connsiteY77" fmla="*/ 1004 h 1039"/>
                  <a:gd name="connsiteX78" fmla="*/ 1018 w 4910"/>
                  <a:gd name="connsiteY78" fmla="*/ 979 h 1039"/>
                  <a:gd name="connsiteX79" fmla="*/ 971 w 4910"/>
                  <a:gd name="connsiteY79" fmla="*/ 948 h 1039"/>
                  <a:gd name="connsiteX80" fmla="*/ 925 w 4910"/>
                  <a:gd name="connsiteY80" fmla="*/ 911 h 1039"/>
                  <a:gd name="connsiteX81" fmla="*/ 884 w 4910"/>
                  <a:gd name="connsiteY81" fmla="*/ 869 h 1039"/>
                  <a:gd name="connsiteX82" fmla="*/ 847 w 4910"/>
                  <a:gd name="connsiteY82" fmla="*/ 824 h 1039"/>
                  <a:gd name="connsiteX83" fmla="*/ 810 w 4910"/>
                  <a:gd name="connsiteY83" fmla="*/ 776 h 1039"/>
                  <a:gd name="connsiteX84" fmla="*/ 777 w 4910"/>
                  <a:gd name="connsiteY84" fmla="*/ 724 h 1039"/>
                  <a:gd name="connsiteX85" fmla="*/ 742 w 4910"/>
                  <a:gd name="connsiteY85" fmla="*/ 670 h 1039"/>
                  <a:gd name="connsiteX86" fmla="*/ 711 w 4910"/>
                  <a:gd name="connsiteY86" fmla="*/ 614 h 1039"/>
                  <a:gd name="connsiteX87" fmla="*/ 678 w 4910"/>
                  <a:gd name="connsiteY87" fmla="*/ 556 h 1039"/>
                  <a:gd name="connsiteX88" fmla="*/ 616 w 4910"/>
                  <a:gd name="connsiteY88" fmla="*/ 444 h 1039"/>
                  <a:gd name="connsiteX89" fmla="*/ 547 w 4910"/>
                  <a:gd name="connsiteY89" fmla="*/ 336 h 1039"/>
                  <a:gd name="connsiteX90" fmla="*/ 504 w 4910"/>
                  <a:gd name="connsiteY90" fmla="*/ 280 h 1039"/>
                  <a:gd name="connsiteX91" fmla="*/ 457 w 4910"/>
                  <a:gd name="connsiteY91" fmla="*/ 235 h 1039"/>
                  <a:gd name="connsiteX92" fmla="*/ 409 w 4910"/>
                  <a:gd name="connsiteY92" fmla="*/ 195 h 1039"/>
                  <a:gd name="connsiteX93" fmla="*/ 358 w 4910"/>
                  <a:gd name="connsiteY93" fmla="*/ 164 h 1039"/>
                  <a:gd name="connsiteX94" fmla="*/ 308 w 4910"/>
                  <a:gd name="connsiteY94" fmla="*/ 141 h 1039"/>
                  <a:gd name="connsiteX95" fmla="*/ 256 w 4910"/>
                  <a:gd name="connsiteY95" fmla="*/ 123 h 1039"/>
                  <a:gd name="connsiteX96" fmla="*/ 209 w 4910"/>
                  <a:gd name="connsiteY96" fmla="*/ 108 h 1039"/>
                  <a:gd name="connsiteX97" fmla="*/ 163 w 4910"/>
                  <a:gd name="connsiteY97" fmla="*/ 100 h 1039"/>
                  <a:gd name="connsiteX98" fmla="*/ 122 w 4910"/>
                  <a:gd name="connsiteY98" fmla="*/ 96 h 1039"/>
                  <a:gd name="connsiteX99" fmla="*/ 85 w 4910"/>
                  <a:gd name="connsiteY99" fmla="*/ 91 h 1039"/>
                  <a:gd name="connsiteX100" fmla="*/ 31 w 4910"/>
                  <a:gd name="connsiteY100" fmla="*/ 91 h 1039"/>
                  <a:gd name="connsiteX101" fmla="*/ 17 w 4910"/>
                  <a:gd name="connsiteY101" fmla="*/ 94 h 1039"/>
                  <a:gd name="connsiteX102" fmla="*/ 11 w 4910"/>
                  <a:gd name="connsiteY102" fmla="*/ 94 h 1039"/>
                  <a:gd name="connsiteX103" fmla="*/ 0 w 4910"/>
                  <a:gd name="connsiteY103" fmla="*/ 9 h 1039"/>
                  <a:gd name="connsiteX104" fmla="*/ 9 w 4910"/>
                  <a:gd name="connsiteY104" fmla="*/ 9 h 1039"/>
                  <a:gd name="connsiteX105" fmla="*/ 29 w 4910"/>
                  <a:gd name="connsiteY105" fmla="*/ 6 h 1039"/>
                  <a:gd name="connsiteX106" fmla="*/ 91 w 4910"/>
                  <a:gd name="connsiteY106" fmla="*/ 6 h 1039"/>
                  <a:gd name="connsiteX107" fmla="*/ 135 w 4910"/>
                  <a:gd name="connsiteY107" fmla="*/ 9 h 1039"/>
                  <a:gd name="connsiteX108" fmla="*/ 182 w 4910"/>
                  <a:gd name="connsiteY108" fmla="*/ 15 h 1039"/>
                  <a:gd name="connsiteX109" fmla="*/ 234 w 4910"/>
                  <a:gd name="connsiteY109" fmla="*/ 25 h 1039"/>
                  <a:gd name="connsiteX110" fmla="*/ 287 w 4910"/>
                  <a:gd name="connsiteY110" fmla="*/ 42 h 1039"/>
                  <a:gd name="connsiteX111" fmla="*/ 345 w 4910"/>
                  <a:gd name="connsiteY111" fmla="*/ 62 h 1039"/>
                  <a:gd name="connsiteX112" fmla="*/ 403 w 4910"/>
                  <a:gd name="connsiteY112" fmla="*/ 89 h 1039"/>
                  <a:gd name="connsiteX113" fmla="*/ 459 w 4910"/>
                  <a:gd name="connsiteY113" fmla="*/ 127 h 1039"/>
                  <a:gd name="connsiteX114" fmla="*/ 514 w 4910"/>
                  <a:gd name="connsiteY114" fmla="*/ 170 h 1039"/>
                  <a:gd name="connsiteX115" fmla="*/ 568 w 4910"/>
                  <a:gd name="connsiteY115" fmla="*/ 224 h 1039"/>
                  <a:gd name="connsiteX116" fmla="*/ 618 w 4910"/>
                  <a:gd name="connsiteY116" fmla="*/ 288 h 1039"/>
                  <a:gd name="connsiteX117" fmla="*/ 667 w 4910"/>
                  <a:gd name="connsiteY117" fmla="*/ 363 h 1039"/>
                  <a:gd name="connsiteX118" fmla="*/ 754 w 4910"/>
                  <a:gd name="connsiteY118" fmla="*/ 512 h 1039"/>
                  <a:gd name="connsiteX119" fmla="*/ 787 w 4910"/>
                  <a:gd name="connsiteY119" fmla="*/ 571 h 1039"/>
                  <a:gd name="connsiteX120" fmla="*/ 820 w 4910"/>
                  <a:gd name="connsiteY120" fmla="*/ 627 h 1039"/>
                  <a:gd name="connsiteX121" fmla="*/ 853 w 4910"/>
                  <a:gd name="connsiteY121" fmla="*/ 680 h 1039"/>
                  <a:gd name="connsiteX122" fmla="*/ 886 w 4910"/>
                  <a:gd name="connsiteY122" fmla="*/ 732 h 1039"/>
                  <a:gd name="connsiteX123" fmla="*/ 921 w 4910"/>
                  <a:gd name="connsiteY123" fmla="*/ 778 h 1039"/>
                  <a:gd name="connsiteX124" fmla="*/ 958 w 4910"/>
                  <a:gd name="connsiteY124" fmla="*/ 821 h 1039"/>
                  <a:gd name="connsiteX125" fmla="*/ 1000 w 4910"/>
                  <a:gd name="connsiteY125" fmla="*/ 859 h 1039"/>
                  <a:gd name="connsiteX126" fmla="*/ 1043 w 4910"/>
                  <a:gd name="connsiteY126" fmla="*/ 890 h 1039"/>
                  <a:gd name="connsiteX127" fmla="*/ 1090 w 4910"/>
                  <a:gd name="connsiteY127" fmla="*/ 917 h 1039"/>
                  <a:gd name="connsiteX128" fmla="*/ 1140 w 4910"/>
                  <a:gd name="connsiteY128" fmla="*/ 935 h 1039"/>
                  <a:gd name="connsiteX129" fmla="*/ 1196 w 4910"/>
                  <a:gd name="connsiteY129" fmla="*/ 948 h 1039"/>
                  <a:gd name="connsiteX130" fmla="*/ 1258 w 4910"/>
                  <a:gd name="connsiteY130" fmla="*/ 952 h 1039"/>
                  <a:gd name="connsiteX131" fmla="*/ 1264 w 4910"/>
                  <a:gd name="connsiteY131" fmla="*/ 952 h 1039"/>
                  <a:gd name="connsiteX132" fmla="*/ 1324 w 4910"/>
                  <a:gd name="connsiteY132" fmla="*/ 946 h 1039"/>
                  <a:gd name="connsiteX133" fmla="*/ 1380 w 4910"/>
                  <a:gd name="connsiteY133" fmla="*/ 931 h 1039"/>
                  <a:gd name="connsiteX134" fmla="*/ 1433 w 4910"/>
                  <a:gd name="connsiteY134" fmla="*/ 909 h 1039"/>
                  <a:gd name="connsiteX135" fmla="*/ 1481 w 4910"/>
                  <a:gd name="connsiteY135" fmla="*/ 880 h 1039"/>
                  <a:gd name="connsiteX136" fmla="*/ 1526 w 4910"/>
                  <a:gd name="connsiteY136" fmla="*/ 842 h 1039"/>
                  <a:gd name="connsiteX137" fmla="*/ 1569 w 4910"/>
                  <a:gd name="connsiteY137" fmla="*/ 799 h 1039"/>
                  <a:gd name="connsiteX138" fmla="*/ 1609 w 4910"/>
                  <a:gd name="connsiteY138" fmla="*/ 751 h 1039"/>
                  <a:gd name="connsiteX139" fmla="*/ 1648 w 4910"/>
                  <a:gd name="connsiteY139" fmla="*/ 699 h 1039"/>
                  <a:gd name="connsiteX140" fmla="*/ 1687 w 4910"/>
                  <a:gd name="connsiteY140" fmla="*/ 645 h 1039"/>
                  <a:gd name="connsiteX141" fmla="*/ 1799 w 4910"/>
                  <a:gd name="connsiteY141" fmla="*/ 471 h 1039"/>
                  <a:gd name="connsiteX142" fmla="*/ 1838 w 4910"/>
                  <a:gd name="connsiteY142" fmla="*/ 411 h 1039"/>
                  <a:gd name="connsiteX143" fmla="*/ 1879 w 4910"/>
                  <a:gd name="connsiteY143" fmla="*/ 353 h 1039"/>
                  <a:gd name="connsiteX144" fmla="*/ 1923 w 4910"/>
                  <a:gd name="connsiteY144" fmla="*/ 295 h 1039"/>
                  <a:gd name="connsiteX145" fmla="*/ 1968 w 4910"/>
                  <a:gd name="connsiteY145" fmla="*/ 241 h 1039"/>
                  <a:gd name="connsiteX146" fmla="*/ 2015 w 4910"/>
                  <a:gd name="connsiteY146" fmla="*/ 189 h 1039"/>
                  <a:gd name="connsiteX147" fmla="*/ 2069 w 4910"/>
                  <a:gd name="connsiteY147" fmla="*/ 141 h 1039"/>
                  <a:gd name="connsiteX148" fmla="*/ 2125 w 4910"/>
                  <a:gd name="connsiteY148" fmla="*/ 100 h 1039"/>
                  <a:gd name="connsiteX149" fmla="*/ 2187 w 4910"/>
                  <a:gd name="connsiteY149" fmla="*/ 65 h 1039"/>
                  <a:gd name="connsiteX150" fmla="*/ 2253 w 4910"/>
                  <a:gd name="connsiteY150" fmla="*/ 35 h 1039"/>
                  <a:gd name="connsiteX151" fmla="*/ 2325 w 4910"/>
                  <a:gd name="connsiteY151" fmla="*/ 15 h 1039"/>
                  <a:gd name="connsiteX152" fmla="*/ 2404 w 4910"/>
                  <a:gd name="connsiteY152" fmla="*/ 2 h 1039"/>
                  <a:gd name="connsiteX153" fmla="*/ 2474 w 4910"/>
                  <a:gd name="connsiteY153" fmla="*/ 0 h 1039"/>
                  <a:gd name="connsiteX154" fmla="*/ 2540 w 4910"/>
                  <a:gd name="connsiteY154" fmla="*/ 9 h 1039"/>
                  <a:gd name="connsiteX155" fmla="*/ 2600 w 4910"/>
                  <a:gd name="connsiteY155" fmla="*/ 23 h 1039"/>
                  <a:gd name="connsiteX156" fmla="*/ 2658 w 4910"/>
                  <a:gd name="connsiteY156" fmla="*/ 46 h 1039"/>
                  <a:gd name="connsiteX157" fmla="*/ 2711 w 4910"/>
                  <a:gd name="connsiteY157" fmla="*/ 77 h 1039"/>
                  <a:gd name="connsiteX158" fmla="*/ 2761 w 4910"/>
                  <a:gd name="connsiteY158" fmla="*/ 112 h 1039"/>
                  <a:gd name="connsiteX159" fmla="*/ 2806 w 4910"/>
                  <a:gd name="connsiteY159" fmla="*/ 154 h 1039"/>
                  <a:gd name="connsiteX160" fmla="*/ 2852 w 4910"/>
                  <a:gd name="connsiteY160" fmla="*/ 199 h 1039"/>
                  <a:gd name="connsiteX161" fmla="*/ 2893 w 4910"/>
                  <a:gd name="connsiteY161" fmla="*/ 247 h 1039"/>
                  <a:gd name="connsiteX162" fmla="*/ 2932 w 4910"/>
                  <a:gd name="connsiteY162" fmla="*/ 299 h 1039"/>
                  <a:gd name="connsiteX163" fmla="*/ 2969 w 4910"/>
                  <a:gd name="connsiteY163" fmla="*/ 353 h 1039"/>
                  <a:gd name="connsiteX164" fmla="*/ 3004 w 4910"/>
                  <a:gd name="connsiteY164" fmla="*/ 409 h 1039"/>
                  <a:gd name="connsiteX165" fmla="*/ 3039 w 4910"/>
                  <a:gd name="connsiteY165" fmla="*/ 463 h 1039"/>
                  <a:gd name="connsiteX166" fmla="*/ 3073 w 4910"/>
                  <a:gd name="connsiteY166" fmla="*/ 519 h 1039"/>
                  <a:gd name="connsiteX167" fmla="*/ 3110 w 4910"/>
                  <a:gd name="connsiteY167" fmla="*/ 581 h 1039"/>
                  <a:gd name="connsiteX168" fmla="*/ 3147 w 4910"/>
                  <a:gd name="connsiteY168" fmla="*/ 639 h 1039"/>
                  <a:gd name="connsiteX169" fmla="*/ 3186 w 4910"/>
                  <a:gd name="connsiteY169" fmla="*/ 697 h 1039"/>
                  <a:gd name="connsiteX170" fmla="*/ 3223 w 4910"/>
                  <a:gd name="connsiteY170" fmla="*/ 751 h 1039"/>
                  <a:gd name="connsiteX171" fmla="*/ 3265 w 4910"/>
                  <a:gd name="connsiteY171" fmla="*/ 801 h 1039"/>
                  <a:gd name="connsiteX172" fmla="*/ 3306 w 4910"/>
                  <a:gd name="connsiteY172" fmla="*/ 844 h 1039"/>
                  <a:gd name="connsiteX173" fmla="*/ 3349 w 4910"/>
                  <a:gd name="connsiteY173" fmla="*/ 882 h 1039"/>
                  <a:gd name="connsiteX174" fmla="*/ 3395 w 4910"/>
                  <a:gd name="connsiteY174" fmla="*/ 913 h 1039"/>
                  <a:gd name="connsiteX175" fmla="*/ 3444 w 4910"/>
                  <a:gd name="connsiteY175" fmla="*/ 935 h 1039"/>
                  <a:gd name="connsiteX176" fmla="*/ 3498 w 4910"/>
                  <a:gd name="connsiteY176" fmla="*/ 948 h 1039"/>
                  <a:gd name="connsiteX177" fmla="*/ 3554 w 4910"/>
                  <a:gd name="connsiteY177" fmla="*/ 952 h 1039"/>
                  <a:gd name="connsiteX178" fmla="*/ 3609 w 4910"/>
                  <a:gd name="connsiteY178" fmla="*/ 946 h 1039"/>
                  <a:gd name="connsiteX179" fmla="*/ 3659 w 4910"/>
                  <a:gd name="connsiteY179" fmla="*/ 931 h 1039"/>
                  <a:gd name="connsiteX180" fmla="*/ 3706 w 4910"/>
                  <a:gd name="connsiteY180" fmla="*/ 911 h 1039"/>
                  <a:gd name="connsiteX181" fmla="*/ 3750 w 4910"/>
                  <a:gd name="connsiteY181" fmla="*/ 880 h 1039"/>
                  <a:gd name="connsiteX182" fmla="*/ 3789 w 4910"/>
                  <a:gd name="connsiteY182" fmla="*/ 844 h 1039"/>
                  <a:gd name="connsiteX183" fmla="*/ 3826 w 4910"/>
                  <a:gd name="connsiteY183" fmla="*/ 803 h 1039"/>
                  <a:gd name="connsiteX184" fmla="*/ 3861 w 4910"/>
                  <a:gd name="connsiteY184" fmla="*/ 755 h 1039"/>
                  <a:gd name="connsiteX185" fmla="*/ 3894 w 4910"/>
                  <a:gd name="connsiteY185" fmla="*/ 705 h 1039"/>
                  <a:gd name="connsiteX186" fmla="*/ 3927 w 4910"/>
                  <a:gd name="connsiteY186" fmla="*/ 651 h 1039"/>
                  <a:gd name="connsiteX187" fmla="*/ 3960 w 4910"/>
                  <a:gd name="connsiteY187" fmla="*/ 593 h 1039"/>
                  <a:gd name="connsiteX188" fmla="*/ 3993 w 4910"/>
                  <a:gd name="connsiteY188" fmla="*/ 533 h 1039"/>
                  <a:gd name="connsiteX189" fmla="*/ 4022 w 4910"/>
                  <a:gd name="connsiteY189" fmla="*/ 479 h 1039"/>
                  <a:gd name="connsiteX190" fmla="*/ 4084 w 4910"/>
                  <a:gd name="connsiteY190" fmla="*/ 371 h 1039"/>
                  <a:gd name="connsiteX191" fmla="*/ 4154 w 4910"/>
                  <a:gd name="connsiteY191" fmla="*/ 268 h 1039"/>
                  <a:gd name="connsiteX192" fmla="*/ 4192 w 4910"/>
                  <a:gd name="connsiteY192" fmla="*/ 220 h 1039"/>
                  <a:gd name="connsiteX193" fmla="*/ 4233 w 4910"/>
                  <a:gd name="connsiteY193" fmla="*/ 174 h 1039"/>
                  <a:gd name="connsiteX194" fmla="*/ 4276 w 4910"/>
                  <a:gd name="connsiteY194" fmla="*/ 133 h 1039"/>
                  <a:gd name="connsiteX0" fmla="*/ 4276 w 4910"/>
                  <a:gd name="connsiteY0" fmla="*/ 133 h 1039"/>
                  <a:gd name="connsiteX1" fmla="*/ 4778 w 4910"/>
                  <a:gd name="connsiteY1" fmla="*/ 19 h 1039"/>
                  <a:gd name="connsiteX2" fmla="*/ 4910 w 4910"/>
                  <a:gd name="connsiteY2" fmla="*/ 85 h 1039"/>
                  <a:gd name="connsiteX3" fmla="*/ 4900 w 4910"/>
                  <a:gd name="connsiteY3" fmla="*/ 185 h 1039"/>
                  <a:gd name="connsiteX4" fmla="*/ 4770 w 4910"/>
                  <a:gd name="connsiteY4" fmla="*/ 108 h 1039"/>
                  <a:gd name="connsiteX5" fmla="*/ 4691 w 4910"/>
                  <a:gd name="connsiteY5" fmla="*/ 85 h 1039"/>
                  <a:gd name="connsiteX6" fmla="*/ 4662 w 4910"/>
                  <a:gd name="connsiteY6" fmla="*/ 83 h 1039"/>
                  <a:gd name="connsiteX7" fmla="*/ 4507 w 4910"/>
                  <a:gd name="connsiteY7" fmla="*/ 102 h 1039"/>
                  <a:gd name="connsiteX8" fmla="*/ 4400 w 4910"/>
                  <a:gd name="connsiteY8" fmla="*/ 150 h 1039"/>
                  <a:gd name="connsiteX9" fmla="*/ 4353 w 4910"/>
                  <a:gd name="connsiteY9" fmla="*/ 183 h 1039"/>
                  <a:gd name="connsiteX10" fmla="*/ 4309 w 4910"/>
                  <a:gd name="connsiteY10" fmla="*/ 220 h 1039"/>
                  <a:gd name="connsiteX11" fmla="*/ 4270 w 4910"/>
                  <a:gd name="connsiteY11" fmla="*/ 264 h 1039"/>
                  <a:gd name="connsiteX12" fmla="*/ 4196 w 4910"/>
                  <a:gd name="connsiteY12" fmla="*/ 359 h 1039"/>
                  <a:gd name="connsiteX13" fmla="*/ 4163 w 4910"/>
                  <a:gd name="connsiteY13" fmla="*/ 411 h 1039"/>
                  <a:gd name="connsiteX14" fmla="*/ 4101 w 4910"/>
                  <a:gd name="connsiteY14" fmla="*/ 519 h 1039"/>
                  <a:gd name="connsiteX15" fmla="*/ 4008 w 4910"/>
                  <a:gd name="connsiteY15" fmla="*/ 687 h 1039"/>
                  <a:gd name="connsiteX16" fmla="*/ 3975 w 4910"/>
                  <a:gd name="connsiteY16" fmla="*/ 743 h 1039"/>
                  <a:gd name="connsiteX17" fmla="*/ 3940 w 4910"/>
                  <a:gd name="connsiteY17" fmla="*/ 794 h 1039"/>
                  <a:gd name="connsiteX18" fmla="*/ 3905 w 4910"/>
                  <a:gd name="connsiteY18" fmla="*/ 844 h 1039"/>
                  <a:gd name="connsiteX19" fmla="*/ 3865 w 4910"/>
                  <a:gd name="connsiteY19" fmla="*/ 890 h 1039"/>
                  <a:gd name="connsiteX20" fmla="*/ 3824 w 4910"/>
                  <a:gd name="connsiteY20" fmla="*/ 931 h 1039"/>
                  <a:gd name="connsiteX21" fmla="*/ 3779 w 4910"/>
                  <a:gd name="connsiteY21" fmla="*/ 967 h 1039"/>
                  <a:gd name="connsiteX22" fmla="*/ 3729 w 4910"/>
                  <a:gd name="connsiteY22" fmla="*/ 996 h 1039"/>
                  <a:gd name="connsiteX23" fmla="*/ 3677 w 4910"/>
                  <a:gd name="connsiteY23" fmla="*/ 1018 h 1039"/>
                  <a:gd name="connsiteX24" fmla="*/ 3620 w 4910"/>
                  <a:gd name="connsiteY24" fmla="*/ 1033 h 1039"/>
                  <a:gd name="connsiteX25" fmla="*/ 3556 w 4910"/>
                  <a:gd name="connsiteY25" fmla="*/ 1039 h 1039"/>
                  <a:gd name="connsiteX26" fmla="*/ 3547 w 4910"/>
                  <a:gd name="connsiteY26" fmla="*/ 1039 h 1039"/>
                  <a:gd name="connsiteX27" fmla="*/ 3485 w 4910"/>
                  <a:gd name="connsiteY27" fmla="*/ 1035 h 1039"/>
                  <a:gd name="connsiteX28" fmla="*/ 3426 w 4910"/>
                  <a:gd name="connsiteY28" fmla="*/ 1021 h 1039"/>
                  <a:gd name="connsiteX29" fmla="*/ 3372 w 4910"/>
                  <a:gd name="connsiteY29" fmla="*/ 998 h 1039"/>
                  <a:gd name="connsiteX30" fmla="*/ 3320 w 4910"/>
                  <a:gd name="connsiteY30" fmla="*/ 969 h 1039"/>
                  <a:gd name="connsiteX31" fmla="*/ 3273 w 4910"/>
                  <a:gd name="connsiteY31" fmla="*/ 931 h 1039"/>
                  <a:gd name="connsiteX32" fmla="*/ 3229 w 4910"/>
                  <a:gd name="connsiteY32" fmla="*/ 890 h 1039"/>
                  <a:gd name="connsiteX33" fmla="*/ 3186 w 4910"/>
                  <a:gd name="connsiteY33" fmla="*/ 842 h 1039"/>
                  <a:gd name="connsiteX34" fmla="*/ 3147 w 4910"/>
                  <a:gd name="connsiteY34" fmla="*/ 792 h 1039"/>
                  <a:gd name="connsiteX35" fmla="*/ 3108 w 4910"/>
                  <a:gd name="connsiteY35" fmla="*/ 736 h 1039"/>
                  <a:gd name="connsiteX36" fmla="*/ 3070 w 4910"/>
                  <a:gd name="connsiteY36" fmla="*/ 680 h 1039"/>
                  <a:gd name="connsiteX37" fmla="*/ 2965 w 4910"/>
                  <a:gd name="connsiteY37" fmla="*/ 506 h 1039"/>
                  <a:gd name="connsiteX38" fmla="*/ 2928 w 4910"/>
                  <a:gd name="connsiteY38" fmla="*/ 448 h 1039"/>
                  <a:gd name="connsiteX39" fmla="*/ 2891 w 4910"/>
                  <a:gd name="connsiteY39" fmla="*/ 392 h 1039"/>
                  <a:gd name="connsiteX40" fmla="*/ 2854 w 4910"/>
                  <a:gd name="connsiteY40" fmla="*/ 338 h 1039"/>
                  <a:gd name="connsiteX41" fmla="*/ 2814 w 4910"/>
                  <a:gd name="connsiteY41" fmla="*/ 288 h 1039"/>
                  <a:gd name="connsiteX42" fmla="*/ 2773 w 4910"/>
                  <a:gd name="connsiteY42" fmla="*/ 243 h 1039"/>
                  <a:gd name="connsiteX43" fmla="*/ 2732 w 4910"/>
                  <a:gd name="connsiteY43" fmla="*/ 201 h 1039"/>
                  <a:gd name="connsiteX44" fmla="*/ 2686 w 4910"/>
                  <a:gd name="connsiteY44" fmla="*/ 164 h 1039"/>
                  <a:gd name="connsiteX45" fmla="*/ 2639 w 4910"/>
                  <a:gd name="connsiteY45" fmla="*/ 135 h 1039"/>
                  <a:gd name="connsiteX46" fmla="*/ 2587 w 4910"/>
                  <a:gd name="connsiteY46" fmla="*/ 112 h 1039"/>
                  <a:gd name="connsiteX47" fmla="*/ 2532 w 4910"/>
                  <a:gd name="connsiteY47" fmla="*/ 96 h 1039"/>
                  <a:gd name="connsiteX48" fmla="*/ 2474 w 4910"/>
                  <a:gd name="connsiteY48" fmla="*/ 87 h 1039"/>
                  <a:gd name="connsiteX49" fmla="*/ 2410 w 4910"/>
                  <a:gd name="connsiteY49" fmla="*/ 89 h 1039"/>
                  <a:gd name="connsiteX50" fmla="*/ 2342 w 4910"/>
                  <a:gd name="connsiteY50" fmla="*/ 100 h 1039"/>
                  <a:gd name="connsiteX51" fmla="*/ 2280 w 4910"/>
                  <a:gd name="connsiteY51" fmla="*/ 118 h 1039"/>
                  <a:gd name="connsiteX52" fmla="*/ 2222 w 4910"/>
                  <a:gd name="connsiteY52" fmla="*/ 143 h 1039"/>
                  <a:gd name="connsiteX53" fmla="*/ 2168 w 4910"/>
                  <a:gd name="connsiteY53" fmla="*/ 176 h 1039"/>
                  <a:gd name="connsiteX54" fmla="*/ 2117 w 4910"/>
                  <a:gd name="connsiteY54" fmla="*/ 214 h 1039"/>
                  <a:gd name="connsiteX55" fmla="*/ 2071 w 4910"/>
                  <a:gd name="connsiteY55" fmla="*/ 257 h 1039"/>
                  <a:gd name="connsiteX56" fmla="*/ 2026 w 4910"/>
                  <a:gd name="connsiteY56" fmla="*/ 303 h 1039"/>
                  <a:gd name="connsiteX57" fmla="*/ 1984 w 4910"/>
                  <a:gd name="connsiteY57" fmla="*/ 355 h 1039"/>
                  <a:gd name="connsiteX58" fmla="*/ 1945 w 4910"/>
                  <a:gd name="connsiteY58" fmla="*/ 409 h 1039"/>
                  <a:gd name="connsiteX59" fmla="*/ 1908 w 4910"/>
                  <a:gd name="connsiteY59" fmla="*/ 463 h 1039"/>
                  <a:gd name="connsiteX60" fmla="*/ 1871 w 4910"/>
                  <a:gd name="connsiteY60" fmla="*/ 519 h 1039"/>
                  <a:gd name="connsiteX61" fmla="*/ 1834 w 4910"/>
                  <a:gd name="connsiteY61" fmla="*/ 577 h 1039"/>
                  <a:gd name="connsiteX62" fmla="*/ 1799 w 4910"/>
                  <a:gd name="connsiteY62" fmla="*/ 633 h 1039"/>
                  <a:gd name="connsiteX63" fmla="*/ 1724 w 4910"/>
                  <a:gd name="connsiteY63" fmla="*/ 745 h 1039"/>
                  <a:gd name="connsiteX64" fmla="*/ 1685 w 4910"/>
                  <a:gd name="connsiteY64" fmla="*/ 797 h 1039"/>
                  <a:gd name="connsiteX65" fmla="*/ 1644 w 4910"/>
                  <a:gd name="connsiteY65" fmla="*/ 846 h 1039"/>
                  <a:gd name="connsiteX66" fmla="*/ 1600 w 4910"/>
                  <a:gd name="connsiteY66" fmla="*/ 892 h 1039"/>
                  <a:gd name="connsiteX67" fmla="*/ 1553 w 4910"/>
                  <a:gd name="connsiteY67" fmla="*/ 933 h 1039"/>
                  <a:gd name="connsiteX68" fmla="*/ 1503 w 4910"/>
                  <a:gd name="connsiteY68" fmla="*/ 969 h 1039"/>
                  <a:gd name="connsiteX69" fmla="*/ 1450 w 4910"/>
                  <a:gd name="connsiteY69" fmla="*/ 998 h 1039"/>
                  <a:gd name="connsiteX70" fmla="*/ 1394 w 4910"/>
                  <a:gd name="connsiteY70" fmla="*/ 1021 h 1039"/>
                  <a:gd name="connsiteX71" fmla="*/ 1330 w 4910"/>
                  <a:gd name="connsiteY71" fmla="*/ 1033 h 1039"/>
                  <a:gd name="connsiteX72" fmla="*/ 1264 w 4910"/>
                  <a:gd name="connsiteY72" fmla="*/ 1039 h 1039"/>
                  <a:gd name="connsiteX73" fmla="*/ 1258 w 4910"/>
                  <a:gd name="connsiteY73" fmla="*/ 1039 h 1039"/>
                  <a:gd name="connsiteX74" fmla="*/ 1190 w 4910"/>
                  <a:gd name="connsiteY74" fmla="*/ 1035 h 1039"/>
                  <a:gd name="connsiteX75" fmla="*/ 1128 w 4910"/>
                  <a:gd name="connsiteY75" fmla="*/ 1023 h 1039"/>
                  <a:gd name="connsiteX76" fmla="*/ 1070 w 4910"/>
                  <a:gd name="connsiteY76" fmla="*/ 1004 h 1039"/>
                  <a:gd name="connsiteX77" fmla="*/ 1018 w 4910"/>
                  <a:gd name="connsiteY77" fmla="*/ 979 h 1039"/>
                  <a:gd name="connsiteX78" fmla="*/ 971 w 4910"/>
                  <a:gd name="connsiteY78" fmla="*/ 948 h 1039"/>
                  <a:gd name="connsiteX79" fmla="*/ 925 w 4910"/>
                  <a:gd name="connsiteY79" fmla="*/ 911 h 1039"/>
                  <a:gd name="connsiteX80" fmla="*/ 884 w 4910"/>
                  <a:gd name="connsiteY80" fmla="*/ 869 h 1039"/>
                  <a:gd name="connsiteX81" fmla="*/ 847 w 4910"/>
                  <a:gd name="connsiteY81" fmla="*/ 824 h 1039"/>
                  <a:gd name="connsiteX82" fmla="*/ 810 w 4910"/>
                  <a:gd name="connsiteY82" fmla="*/ 776 h 1039"/>
                  <a:gd name="connsiteX83" fmla="*/ 777 w 4910"/>
                  <a:gd name="connsiteY83" fmla="*/ 724 h 1039"/>
                  <a:gd name="connsiteX84" fmla="*/ 742 w 4910"/>
                  <a:gd name="connsiteY84" fmla="*/ 670 h 1039"/>
                  <a:gd name="connsiteX85" fmla="*/ 711 w 4910"/>
                  <a:gd name="connsiteY85" fmla="*/ 614 h 1039"/>
                  <a:gd name="connsiteX86" fmla="*/ 678 w 4910"/>
                  <a:gd name="connsiteY86" fmla="*/ 556 h 1039"/>
                  <a:gd name="connsiteX87" fmla="*/ 616 w 4910"/>
                  <a:gd name="connsiteY87" fmla="*/ 444 h 1039"/>
                  <a:gd name="connsiteX88" fmla="*/ 547 w 4910"/>
                  <a:gd name="connsiteY88" fmla="*/ 336 h 1039"/>
                  <a:gd name="connsiteX89" fmla="*/ 504 w 4910"/>
                  <a:gd name="connsiteY89" fmla="*/ 280 h 1039"/>
                  <a:gd name="connsiteX90" fmla="*/ 457 w 4910"/>
                  <a:gd name="connsiteY90" fmla="*/ 235 h 1039"/>
                  <a:gd name="connsiteX91" fmla="*/ 409 w 4910"/>
                  <a:gd name="connsiteY91" fmla="*/ 195 h 1039"/>
                  <a:gd name="connsiteX92" fmla="*/ 358 w 4910"/>
                  <a:gd name="connsiteY92" fmla="*/ 164 h 1039"/>
                  <a:gd name="connsiteX93" fmla="*/ 308 w 4910"/>
                  <a:gd name="connsiteY93" fmla="*/ 141 h 1039"/>
                  <a:gd name="connsiteX94" fmla="*/ 256 w 4910"/>
                  <a:gd name="connsiteY94" fmla="*/ 123 h 1039"/>
                  <a:gd name="connsiteX95" fmla="*/ 209 w 4910"/>
                  <a:gd name="connsiteY95" fmla="*/ 108 h 1039"/>
                  <a:gd name="connsiteX96" fmla="*/ 163 w 4910"/>
                  <a:gd name="connsiteY96" fmla="*/ 100 h 1039"/>
                  <a:gd name="connsiteX97" fmla="*/ 122 w 4910"/>
                  <a:gd name="connsiteY97" fmla="*/ 96 h 1039"/>
                  <a:gd name="connsiteX98" fmla="*/ 85 w 4910"/>
                  <a:gd name="connsiteY98" fmla="*/ 91 h 1039"/>
                  <a:gd name="connsiteX99" fmla="*/ 31 w 4910"/>
                  <a:gd name="connsiteY99" fmla="*/ 91 h 1039"/>
                  <a:gd name="connsiteX100" fmla="*/ 17 w 4910"/>
                  <a:gd name="connsiteY100" fmla="*/ 94 h 1039"/>
                  <a:gd name="connsiteX101" fmla="*/ 11 w 4910"/>
                  <a:gd name="connsiteY101" fmla="*/ 94 h 1039"/>
                  <a:gd name="connsiteX102" fmla="*/ 0 w 4910"/>
                  <a:gd name="connsiteY102" fmla="*/ 9 h 1039"/>
                  <a:gd name="connsiteX103" fmla="*/ 9 w 4910"/>
                  <a:gd name="connsiteY103" fmla="*/ 9 h 1039"/>
                  <a:gd name="connsiteX104" fmla="*/ 29 w 4910"/>
                  <a:gd name="connsiteY104" fmla="*/ 6 h 1039"/>
                  <a:gd name="connsiteX105" fmla="*/ 91 w 4910"/>
                  <a:gd name="connsiteY105" fmla="*/ 6 h 1039"/>
                  <a:gd name="connsiteX106" fmla="*/ 135 w 4910"/>
                  <a:gd name="connsiteY106" fmla="*/ 9 h 1039"/>
                  <a:gd name="connsiteX107" fmla="*/ 182 w 4910"/>
                  <a:gd name="connsiteY107" fmla="*/ 15 h 1039"/>
                  <a:gd name="connsiteX108" fmla="*/ 234 w 4910"/>
                  <a:gd name="connsiteY108" fmla="*/ 25 h 1039"/>
                  <a:gd name="connsiteX109" fmla="*/ 287 w 4910"/>
                  <a:gd name="connsiteY109" fmla="*/ 42 h 1039"/>
                  <a:gd name="connsiteX110" fmla="*/ 345 w 4910"/>
                  <a:gd name="connsiteY110" fmla="*/ 62 h 1039"/>
                  <a:gd name="connsiteX111" fmla="*/ 403 w 4910"/>
                  <a:gd name="connsiteY111" fmla="*/ 89 h 1039"/>
                  <a:gd name="connsiteX112" fmla="*/ 459 w 4910"/>
                  <a:gd name="connsiteY112" fmla="*/ 127 h 1039"/>
                  <a:gd name="connsiteX113" fmla="*/ 514 w 4910"/>
                  <a:gd name="connsiteY113" fmla="*/ 170 h 1039"/>
                  <a:gd name="connsiteX114" fmla="*/ 568 w 4910"/>
                  <a:gd name="connsiteY114" fmla="*/ 224 h 1039"/>
                  <a:gd name="connsiteX115" fmla="*/ 618 w 4910"/>
                  <a:gd name="connsiteY115" fmla="*/ 288 h 1039"/>
                  <a:gd name="connsiteX116" fmla="*/ 667 w 4910"/>
                  <a:gd name="connsiteY116" fmla="*/ 363 h 1039"/>
                  <a:gd name="connsiteX117" fmla="*/ 754 w 4910"/>
                  <a:gd name="connsiteY117" fmla="*/ 512 h 1039"/>
                  <a:gd name="connsiteX118" fmla="*/ 787 w 4910"/>
                  <a:gd name="connsiteY118" fmla="*/ 571 h 1039"/>
                  <a:gd name="connsiteX119" fmla="*/ 820 w 4910"/>
                  <a:gd name="connsiteY119" fmla="*/ 627 h 1039"/>
                  <a:gd name="connsiteX120" fmla="*/ 853 w 4910"/>
                  <a:gd name="connsiteY120" fmla="*/ 680 h 1039"/>
                  <a:gd name="connsiteX121" fmla="*/ 886 w 4910"/>
                  <a:gd name="connsiteY121" fmla="*/ 732 h 1039"/>
                  <a:gd name="connsiteX122" fmla="*/ 921 w 4910"/>
                  <a:gd name="connsiteY122" fmla="*/ 778 h 1039"/>
                  <a:gd name="connsiteX123" fmla="*/ 958 w 4910"/>
                  <a:gd name="connsiteY123" fmla="*/ 821 h 1039"/>
                  <a:gd name="connsiteX124" fmla="*/ 1000 w 4910"/>
                  <a:gd name="connsiteY124" fmla="*/ 859 h 1039"/>
                  <a:gd name="connsiteX125" fmla="*/ 1043 w 4910"/>
                  <a:gd name="connsiteY125" fmla="*/ 890 h 1039"/>
                  <a:gd name="connsiteX126" fmla="*/ 1090 w 4910"/>
                  <a:gd name="connsiteY126" fmla="*/ 917 h 1039"/>
                  <a:gd name="connsiteX127" fmla="*/ 1140 w 4910"/>
                  <a:gd name="connsiteY127" fmla="*/ 935 h 1039"/>
                  <a:gd name="connsiteX128" fmla="*/ 1196 w 4910"/>
                  <a:gd name="connsiteY128" fmla="*/ 948 h 1039"/>
                  <a:gd name="connsiteX129" fmla="*/ 1258 w 4910"/>
                  <a:gd name="connsiteY129" fmla="*/ 952 h 1039"/>
                  <a:gd name="connsiteX130" fmla="*/ 1264 w 4910"/>
                  <a:gd name="connsiteY130" fmla="*/ 952 h 1039"/>
                  <a:gd name="connsiteX131" fmla="*/ 1324 w 4910"/>
                  <a:gd name="connsiteY131" fmla="*/ 946 h 1039"/>
                  <a:gd name="connsiteX132" fmla="*/ 1380 w 4910"/>
                  <a:gd name="connsiteY132" fmla="*/ 931 h 1039"/>
                  <a:gd name="connsiteX133" fmla="*/ 1433 w 4910"/>
                  <a:gd name="connsiteY133" fmla="*/ 909 h 1039"/>
                  <a:gd name="connsiteX134" fmla="*/ 1481 w 4910"/>
                  <a:gd name="connsiteY134" fmla="*/ 880 h 1039"/>
                  <a:gd name="connsiteX135" fmla="*/ 1526 w 4910"/>
                  <a:gd name="connsiteY135" fmla="*/ 842 h 1039"/>
                  <a:gd name="connsiteX136" fmla="*/ 1569 w 4910"/>
                  <a:gd name="connsiteY136" fmla="*/ 799 h 1039"/>
                  <a:gd name="connsiteX137" fmla="*/ 1609 w 4910"/>
                  <a:gd name="connsiteY137" fmla="*/ 751 h 1039"/>
                  <a:gd name="connsiteX138" fmla="*/ 1648 w 4910"/>
                  <a:gd name="connsiteY138" fmla="*/ 699 h 1039"/>
                  <a:gd name="connsiteX139" fmla="*/ 1687 w 4910"/>
                  <a:gd name="connsiteY139" fmla="*/ 645 h 1039"/>
                  <a:gd name="connsiteX140" fmla="*/ 1799 w 4910"/>
                  <a:gd name="connsiteY140" fmla="*/ 471 h 1039"/>
                  <a:gd name="connsiteX141" fmla="*/ 1838 w 4910"/>
                  <a:gd name="connsiteY141" fmla="*/ 411 h 1039"/>
                  <a:gd name="connsiteX142" fmla="*/ 1879 w 4910"/>
                  <a:gd name="connsiteY142" fmla="*/ 353 h 1039"/>
                  <a:gd name="connsiteX143" fmla="*/ 1923 w 4910"/>
                  <a:gd name="connsiteY143" fmla="*/ 295 h 1039"/>
                  <a:gd name="connsiteX144" fmla="*/ 1968 w 4910"/>
                  <a:gd name="connsiteY144" fmla="*/ 241 h 1039"/>
                  <a:gd name="connsiteX145" fmla="*/ 2015 w 4910"/>
                  <a:gd name="connsiteY145" fmla="*/ 189 h 1039"/>
                  <a:gd name="connsiteX146" fmla="*/ 2069 w 4910"/>
                  <a:gd name="connsiteY146" fmla="*/ 141 h 1039"/>
                  <a:gd name="connsiteX147" fmla="*/ 2125 w 4910"/>
                  <a:gd name="connsiteY147" fmla="*/ 100 h 1039"/>
                  <a:gd name="connsiteX148" fmla="*/ 2187 w 4910"/>
                  <a:gd name="connsiteY148" fmla="*/ 65 h 1039"/>
                  <a:gd name="connsiteX149" fmla="*/ 2253 w 4910"/>
                  <a:gd name="connsiteY149" fmla="*/ 35 h 1039"/>
                  <a:gd name="connsiteX150" fmla="*/ 2325 w 4910"/>
                  <a:gd name="connsiteY150" fmla="*/ 15 h 1039"/>
                  <a:gd name="connsiteX151" fmla="*/ 2404 w 4910"/>
                  <a:gd name="connsiteY151" fmla="*/ 2 h 1039"/>
                  <a:gd name="connsiteX152" fmla="*/ 2474 w 4910"/>
                  <a:gd name="connsiteY152" fmla="*/ 0 h 1039"/>
                  <a:gd name="connsiteX153" fmla="*/ 2540 w 4910"/>
                  <a:gd name="connsiteY153" fmla="*/ 9 h 1039"/>
                  <a:gd name="connsiteX154" fmla="*/ 2600 w 4910"/>
                  <a:gd name="connsiteY154" fmla="*/ 23 h 1039"/>
                  <a:gd name="connsiteX155" fmla="*/ 2658 w 4910"/>
                  <a:gd name="connsiteY155" fmla="*/ 46 h 1039"/>
                  <a:gd name="connsiteX156" fmla="*/ 2711 w 4910"/>
                  <a:gd name="connsiteY156" fmla="*/ 77 h 1039"/>
                  <a:gd name="connsiteX157" fmla="*/ 2761 w 4910"/>
                  <a:gd name="connsiteY157" fmla="*/ 112 h 1039"/>
                  <a:gd name="connsiteX158" fmla="*/ 2806 w 4910"/>
                  <a:gd name="connsiteY158" fmla="*/ 154 h 1039"/>
                  <a:gd name="connsiteX159" fmla="*/ 2852 w 4910"/>
                  <a:gd name="connsiteY159" fmla="*/ 199 h 1039"/>
                  <a:gd name="connsiteX160" fmla="*/ 2893 w 4910"/>
                  <a:gd name="connsiteY160" fmla="*/ 247 h 1039"/>
                  <a:gd name="connsiteX161" fmla="*/ 2932 w 4910"/>
                  <a:gd name="connsiteY161" fmla="*/ 299 h 1039"/>
                  <a:gd name="connsiteX162" fmla="*/ 2969 w 4910"/>
                  <a:gd name="connsiteY162" fmla="*/ 353 h 1039"/>
                  <a:gd name="connsiteX163" fmla="*/ 3004 w 4910"/>
                  <a:gd name="connsiteY163" fmla="*/ 409 h 1039"/>
                  <a:gd name="connsiteX164" fmla="*/ 3039 w 4910"/>
                  <a:gd name="connsiteY164" fmla="*/ 463 h 1039"/>
                  <a:gd name="connsiteX165" fmla="*/ 3073 w 4910"/>
                  <a:gd name="connsiteY165" fmla="*/ 519 h 1039"/>
                  <a:gd name="connsiteX166" fmla="*/ 3110 w 4910"/>
                  <a:gd name="connsiteY166" fmla="*/ 581 h 1039"/>
                  <a:gd name="connsiteX167" fmla="*/ 3147 w 4910"/>
                  <a:gd name="connsiteY167" fmla="*/ 639 h 1039"/>
                  <a:gd name="connsiteX168" fmla="*/ 3186 w 4910"/>
                  <a:gd name="connsiteY168" fmla="*/ 697 h 1039"/>
                  <a:gd name="connsiteX169" fmla="*/ 3223 w 4910"/>
                  <a:gd name="connsiteY169" fmla="*/ 751 h 1039"/>
                  <a:gd name="connsiteX170" fmla="*/ 3265 w 4910"/>
                  <a:gd name="connsiteY170" fmla="*/ 801 h 1039"/>
                  <a:gd name="connsiteX171" fmla="*/ 3306 w 4910"/>
                  <a:gd name="connsiteY171" fmla="*/ 844 h 1039"/>
                  <a:gd name="connsiteX172" fmla="*/ 3349 w 4910"/>
                  <a:gd name="connsiteY172" fmla="*/ 882 h 1039"/>
                  <a:gd name="connsiteX173" fmla="*/ 3395 w 4910"/>
                  <a:gd name="connsiteY173" fmla="*/ 913 h 1039"/>
                  <a:gd name="connsiteX174" fmla="*/ 3444 w 4910"/>
                  <a:gd name="connsiteY174" fmla="*/ 935 h 1039"/>
                  <a:gd name="connsiteX175" fmla="*/ 3498 w 4910"/>
                  <a:gd name="connsiteY175" fmla="*/ 948 h 1039"/>
                  <a:gd name="connsiteX176" fmla="*/ 3554 w 4910"/>
                  <a:gd name="connsiteY176" fmla="*/ 952 h 1039"/>
                  <a:gd name="connsiteX177" fmla="*/ 3609 w 4910"/>
                  <a:gd name="connsiteY177" fmla="*/ 946 h 1039"/>
                  <a:gd name="connsiteX178" fmla="*/ 3659 w 4910"/>
                  <a:gd name="connsiteY178" fmla="*/ 931 h 1039"/>
                  <a:gd name="connsiteX179" fmla="*/ 3706 w 4910"/>
                  <a:gd name="connsiteY179" fmla="*/ 911 h 1039"/>
                  <a:gd name="connsiteX180" fmla="*/ 3750 w 4910"/>
                  <a:gd name="connsiteY180" fmla="*/ 880 h 1039"/>
                  <a:gd name="connsiteX181" fmla="*/ 3789 w 4910"/>
                  <a:gd name="connsiteY181" fmla="*/ 844 h 1039"/>
                  <a:gd name="connsiteX182" fmla="*/ 3826 w 4910"/>
                  <a:gd name="connsiteY182" fmla="*/ 803 h 1039"/>
                  <a:gd name="connsiteX183" fmla="*/ 3861 w 4910"/>
                  <a:gd name="connsiteY183" fmla="*/ 755 h 1039"/>
                  <a:gd name="connsiteX184" fmla="*/ 3894 w 4910"/>
                  <a:gd name="connsiteY184" fmla="*/ 705 h 1039"/>
                  <a:gd name="connsiteX185" fmla="*/ 3927 w 4910"/>
                  <a:gd name="connsiteY185" fmla="*/ 651 h 1039"/>
                  <a:gd name="connsiteX186" fmla="*/ 3960 w 4910"/>
                  <a:gd name="connsiteY186" fmla="*/ 593 h 1039"/>
                  <a:gd name="connsiteX187" fmla="*/ 3993 w 4910"/>
                  <a:gd name="connsiteY187" fmla="*/ 533 h 1039"/>
                  <a:gd name="connsiteX188" fmla="*/ 4022 w 4910"/>
                  <a:gd name="connsiteY188" fmla="*/ 479 h 1039"/>
                  <a:gd name="connsiteX189" fmla="*/ 4084 w 4910"/>
                  <a:gd name="connsiteY189" fmla="*/ 371 h 1039"/>
                  <a:gd name="connsiteX190" fmla="*/ 4154 w 4910"/>
                  <a:gd name="connsiteY190" fmla="*/ 268 h 1039"/>
                  <a:gd name="connsiteX191" fmla="*/ 4192 w 4910"/>
                  <a:gd name="connsiteY191" fmla="*/ 220 h 1039"/>
                  <a:gd name="connsiteX192" fmla="*/ 4233 w 4910"/>
                  <a:gd name="connsiteY192" fmla="*/ 174 h 1039"/>
                  <a:gd name="connsiteX193" fmla="*/ 4276 w 4910"/>
                  <a:gd name="connsiteY193" fmla="*/ 133 h 1039"/>
                  <a:gd name="connsiteX0" fmla="*/ 4276 w 4910"/>
                  <a:gd name="connsiteY0" fmla="*/ 133 h 1039"/>
                  <a:gd name="connsiteX1" fmla="*/ 4910 w 4910"/>
                  <a:gd name="connsiteY1" fmla="*/ 85 h 1039"/>
                  <a:gd name="connsiteX2" fmla="*/ 4900 w 4910"/>
                  <a:gd name="connsiteY2" fmla="*/ 185 h 1039"/>
                  <a:gd name="connsiteX3" fmla="*/ 4770 w 4910"/>
                  <a:gd name="connsiteY3" fmla="*/ 108 h 1039"/>
                  <a:gd name="connsiteX4" fmla="*/ 4691 w 4910"/>
                  <a:gd name="connsiteY4" fmla="*/ 85 h 1039"/>
                  <a:gd name="connsiteX5" fmla="*/ 4662 w 4910"/>
                  <a:gd name="connsiteY5" fmla="*/ 83 h 1039"/>
                  <a:gd name="connsiteX6" fmla="*/ 4507 w 4910"/>
                  <a:gd name="connsiteY6" fmla="*/ 102 h 1039"/>
                  <a:gd name="connsiteX7" fmla="*/ 4400 w 4910"/>
                  <a:gd name="connsiteY7" fmla="*/ 150 h 1039"/>
                  <a:gd name="connsiteX8" fmla="*/ 4353 w 4910"/>
                  <a:gd name="connsiteY8" fmla="*/ 183 h 1039"/>
                  <a:gd name="connsiteX9" fmla="*/ 4309 w 4910"/>
                  <a:gd name="connsiteY9" fmla="*/ 220 h 1039"/>
                  <a:gd name="connsiteX10" fmla="*/ 4270 w 4910"/>
                  <a:gd name="connsiteY10" fmla="*/ 264 h 1039"/>
                  <a:gd name="connsiteX11" fmla="*/ 4196 w 4910"/>
                  <a:gd name="connsiteY11" fmla="*/ 359 h 1039"/>
                  <a:gd name="connsiteX12" fmla="*/ 4163 w 4910"/>
                  <a:gd name="connsiteY12" fmla="*/ 411 h 1039"/>
                  <a:gd name="connsiteX13" fmla="*/ 4101 w 4910"/>
                  <a:gd name="connsiteY13" fmla="*/ 519 h 1039"/>
                  <a:gd name="connsiteX14" fmla="*/ 4008 w 4910"/>
                  <a:gd name="connsiteY14" fmla="*/ 687 h 1039"/>
                  <a:gd name="connsiteX15" fmla="*/ 3975 w 4910"/>
                  <a:gd name="connsiteY15" fmla="*/ 743 h 1039"/>
                  <a:gd name="connsiteX16" fmla="*/ 3940 w 4910"/>
                  <a:gd name="connsiteY16" fmla="*/ 794 h 1039"/>
                  <a:gd name="connsiteX17" fmla="*/ 3905 w 4910"/>
                  <a:gd name="connsiteY17" fmla="*/ 844 h 1039"/>
                  <a:gd name="connsiteX18" fmla="*/ 3865 w 4910"/>
                  <a:gd name="connsiteY18" fmla="*/ 890 h 1039"/>
                  <a:gd name="connsiteX19" fmla="*/ 3824 w 4910"/>
                  <a:gd name="connsiteY19" fmla="*/ 931 h 1039"/>
                  <a:gd name="connsiteX20" fmla="*/ 3779 w 4910"/>
                  <a:gd name="connsiteY20" fmla="*/ 967 h 1039"/>
                  <a:gd name="connsiteX21" fmla="*/ 3729 w 4910"/>
                  <a:gd name="connsiteY21" fmla="*/ 996 h 1039"/>
                  <a:gd name="connsiteX22" fmla="*/ 3677 w 4910"/>
                  <a:gd name="connsiteY22" fmla="*/ 1018 h 1039"/>
                  <a:gd name="connsiteX23" fmla="*/ 3620 w 4910"/>
                  <a:gd name="connsiteY23" fmla="*/ 1033 h 1039"/>
                  <a:gd name="connsiteX24" fmla="*/ 3556 w 4910"/>
                  <a:gd name="connsiteY24" fmla="*/ 1039 h 1039"/>
                  <a:gd name="connsiteX25" fmla="*/ 3547 w 4910"/>
                  <a:gd name="connsiteY25" fmla="*/ 1039 h 1039"/>
                  <a:gd name="connsiteX26" fmla="*/ 3485 w 4910"/>
                  <a:gd name="connsiteY26" fmla="*/ 1035 h 1039"/>
                  <a:gd name="connsiteX27" fmla="*/ 3426 w 4910"/>
                  <a:gd name="connsiteY27" fmla="*/ 1021 h 1039"/>
                  <a:gd name="connsiteX28" fmla="*/ 3372 w 4910"/>
                  <a:gd name="connsiteY28" fmla="*/ 998 h 1039"/>
                  <a:gd name="connsiteX29" fmla="*/ 3320 w 4910"/>
                  <a:gd name="connsiteY29" fmla="*/ 969 h 1039"/>
                  <a:gd name="connsiteX30" fmla="*/ 3273 w 4910"/>
                  <a:gd name="connsiteY30" fmla="*/ 931 h 1039"/>
                  <a:gd name="connsiteX31" fmla="*/ 3229 w 4910"/>
                  <a:gd name="connsiteY31" fmla="*/ 890 h 1039"/>
                  <a:gd name="connsiteX32" fmla="*/ 3186 w 4910"/>
                  <a:gd name="connsiteY32" fmla="*/ 842 h 1039"/>
                  <a:gd name="connsiteX33" fmla="*/ 3147 w 4910"/>
                  <a:gd name="connsiteY33" fmla="*/ 792 h 1039"/>
                  <a:gd name="connsiteX34" fmla="*/ 3108 w 4910"/>
                  <a:gd name="connsiteY34" fmla="*/ 736 h 1039"/>
                  <a:gd name="connsiteX35" fmla="*/ 3070 w 4910"/>
                  <a:gd name="connsiteY35" fmla="*/ 680 h 1039"/>
                  <a:gd name="connsiteX36" fmla="*/ 2965 w 4910"/>
                  <a:gd name="connsiteY36" fmla="*/ 506 h 1039"/>
                  <a:gd name="connsiteX37" fmla="*/ 2928 w 4910"/>
                  <a:gd name="connsiteY37" fmla="*/ 448 h 1039"/>
                  <a:gd name="connsiteX38" fmla="*/ 2891 w 4910"/>
                  <a:gd name="connsiteY38" fmla="*/ 392 h 1039"/>
                  <a:gd name="connsiteX39" fmla="*/ 2854 w 4910"/>
                  <a:gd name="connsiteY39" fmla="*/ 338 h 1039"/>
                  <a:gd name="connsiteX40" fmla="*/ 2814 w 4910"/>
                  <a:gd name="connsiteY40" fmla="*/ 288 h 1039"/>
                  <a:gd name="connsiteX41" fmla="*/ 2773 w 4910"/>
                  <a:gd name="connsiteY41" fmla="*/ 243 h 1039"/>
                  <a:gd name="connsiteX42" fmla="*/ 2732 w 4910"/>
                  <a:gd name="connsiteY42" fmla="*/ 201 h 1039"/>
                  <a:gd name="connsiteX43" fmla="*/ 2686 w 4910"/>
                  <a:gd name="connsiteY43" fmla="*/ 164 h 1039"/>
                  <a:gd name="connsiteX44" fmla="*/ 2639 w 4910"/>
                  <a:gd name="connsiteY44" fmla="*/ 135 h 1039"/>
                  <a:gd name="connsiteX45" fmla="*/ 2587 w 4910"/>
                  <a:gd name="connsiteY45" fmla="*/ 112 h 1039"/>
                  <a:gd name="connsiteX46" fmla="*/ 2532 w 4910"/>
                  <a:gd name="connsiteY46" fmla="*/ 96 h 1039"/>
                  <a:gd name="connsiteX47" fmla="*/ 2474 w 4910"/>
                  <a:gd name="connsiteY47" fmla="*/ 87 h 1039"/>
                  <a:gd name="connsiteX48" fmla="*/ 2410 w 4910"/>
                  <a:gd name="connsiteY48" fmla="*/ 89 h 1039"/>
                  <a:gd name="connsiteX49" fmla="*/ 2342 w 4910"/>
                  <a:gd name="connsiteY49" fmla="*/ 100 h 1039"/>
                  <a:gd name="connsiteX50" fmla="*/ 2280 w 4910"/>
                  <a:gd name="connsiteY50" fmla="*/ 118 h 1039"/>
                  <a:gd name="connsiteX51" fmla="*/ 2222 w 4910"/>
                  <a:gd name="connsiteY51" fmla="*/ 143 h 1039"/>
                  <a:gd name="connsiteX52" fmla="*/ 2168 w 4910"/>
                  <a:gd name="connsiteY52" fmla="*/ 176 h 1039"/>
                  <a:gd name="connsiteX53" fmla="*/ 2117 w 4910"/>
                  <a:gd name="connsiteY53" fmla="*/ 214 h 1039"/>
                  <a:gd name="connsiteX54" fmla="*/ 2071 w 4910"/>
                  <a:gd name="connsiteY54" fmla="*/ 257 h 1039"/>
                  <a:gd name="connsiteX55" fmla="*/ 2026 w 4910"/>
                  <a:gd name="connsiteY55" fmla="*/ 303 h 1039"/>
                  <a:gd name="connsiteX56" fmla="*/ 1984 w 4910"/>
                  <a:gd name="connsiteY56" fmla="*/ 355 h 1039"/>
                  <a:gd name="connsiteX57" fmla="*/ 1945 w 4910"/>
                  <a:gd name="connsiteY57" fmla="*/ 409 h 1039"/>
                  <a:gd name="connsiteX58" fmla="*/ 1908 w 4910"/>
                  <a:gd name="connsiteY58" fmla="*/ 463 h 1039"/>
                  <a:gd name="connsiteX59" fmla="*/ 1871 w 4910"/>
                  <a:gd name="connsiteY59" fmla="*/ 519 h 1039"/>
                  <a:gd name="connsiteX60" fmla="*/ 1834 w 4910"/>
                  <a:gd name="connsiteY60" fmla="*/ 577 h 1039"/>
                  <a:gd name="connsiteX61" fmla="*/ 1799 w 4910"/>
                  <a:gd name="connsiteY61" fmla="*/ 633 h 1039"/>
                  <a:gd name="connsiteX62" fmla="*/ 1724 w 4910"/>
                  <a:gd name="connsiteY62" fmla="*/ 745 h 1039"/>
                  <a:gd name="connsiteX63" fmla="*/ 1685 w 4910"/>
                  <a:gd name="connsiteY63" fmla="*/ 797 h 1039"/>
                  <a:gd name="connsiteX64" fmla="*/ 1644 w 4910"/>
                  <a:gd name="connsiteY64" fmla="*/ 846 h 1039"/>
                  <a:gd name="connsiteX65" fmla="*/ 1600 w 4910"/>
                  <a:gd name="connsiteY65" fmla="*/ 892 h 1039"/>
                  <a:gd name="connsiteX66" fmla="*/ 1553 w 4910"/>
                  <a:gd name="connsiteY66" fmla="*/ 933 h 1039"/>
                  <a:gd name="connsiteX67" fmla="*/ 1503 w 4910"/>
                  <a:gd name="connsiteY67" fmla="*/ 969 h 1039"/>
                  <a:gd name="connsiteX68" fmla="*/ 1450 w 4910"/>
                  <a:gd name="connsiteY68" fmla="*/ 998 h 1039"/>
                  <a:gd name="connsiteX69" fmla="*/ 1394 w 4910"/>
                  <a:gd name="connsiteY69" fmla="*/ 1021 h 1039"/>
                  <a:gd name="connsiteX70" fmla="*/ 1330 w 4910"/>
                  <a:gd name="connsiteY70" fmla="*/ 1033 h 1039"/>
                  <a:gd name="connsiteX71" fmla="*/ 1264 w 4910"/>
                  <a:gd name="connsiteY71" fmla="*/ 1039 h 1039"/>
                  <a:gd name="connsiteX72" fmla="*/ 1258 w 4910"/>
                  <a:gd name="connsiteY72" fmla="*/ 1039 h 1039"/>
                  <a:gd name="connsiteX73" fmla="*/ 1190 w 4910"/>
                  <a:gd name="connsiteY73" fmla="*/ 1035 h 1039"/>
                  <a:gd name="connsiteX74" fmla="*/ 1128 w 4910"/>
                  <a:gd name="connsiteY74" fmla="*/ 1023 h 1039"/>
                  <a:gd name="connsiteX75" fmla="*/ 1070 w 4910"/>
                  <a:gd name="connsiteY75" fmla="*/ 1004 h 1039"/>
                  <a:gd name="connsiteX76" fmla="*/ 1018 w 4910"/>
                  <a:gd name="connsiteY76" fmla="*/ 979 h 1039"/>
                  <a:gd name="connsiteX77" fmla="*/ 971 w 4910"/>
                  <a:gd name="connsiteY77" fmla="*/ 948 h 1039"/>
                  <a:gd name="connsiteX78" fmla="*/ 925 w 4910"/>
                  <a:gd name="connsiteY78" fmla="*/ 911 h 1039"/>
                  <a:gd name="connsiteX79" fmla="*/ 884 w 4910"/>
                  <a:gd name="connsiteY79" fmla="*/ 869 h 1039"/>
                  <a:gd name="connsiteX80" fmla="*/ 847 w 4910"/>
                  <a:gd name="connsiteY80" fmla="*/ 824 h 1039"/>
                  <a:gd name="connsiteX81" fmla="*/ 810 w 4910"/>
                  <a:gd name="connsiteY81" fmla="*/ 776 h 1039"/>
                  <a:gd name="connsiteX82" fmla="*/ 777 w 4910"/>
                  <a:gd name="connsiteY82" fmla="*/ 724 h 1039"/>
                  <a:gd name="connsiteX83" fmla="*/ 742 w 4910"/>
                  <a:gd name="connsiteY83" fmla="*/ 670 h 1039"/>
                  <a:gd name="connsiteX84" fmla="*/ 711 w 4910"/>
                  <a:gd name="connsiteY84" fmla="*/ 614 h 1039"/>
                  <a:gd name="connsiteX85" fmla="*/ 678 w 4910"/>
                  <a:gd name="connsiteY85" fmla="*/ 556 h 1039"/>
                  <a:gd name="connsiteX86" fmla="*/ 616 w 4910"/>
                  <a:gd name="connsiteY86" fmla="*/ 444 h 1039"/>
                  <a:gd name="connsiteX87" fmla="*/ 547 w 4910"/>
                  <a:gd name="connsiteY87" fmla="*/ 336 h 1039"/>
                  <a:gd name="connsiteX88" fmla="*/ 504 w 4910"/>
                  <a:gd name="connsiteY88" fmla="*/ 280 h 1039"/>
                  <a:gd name="connsiteX89" fmla="*/ 457 w 4910"/>
                  <a:gd name="connsiteY89" fmla="*/ 235 h 1039"/>
                  <a:gd name="connsiteX90" fmla="*/ 409 w 4910"/>
                  <a:gd name="connsiteY90" fmla="*/ 195 h 1039"/>
                  <a:gd name="connsiteX91" fmla="*/ 358 w 4910"/>
                  <a:gd name="connsiteY91" fmla="*/ 164 h 1039"/>
                  <a:gd name="connsiteX92" fmla="*/ 308 w 4910"/>
                  <a:gd name="connsiteY92" fmla="*/ 141 h 1039"/>
                  <a:gd name="connsiteX93" fmla="*/ 256 w 4910"/>
                  <a:gd name="connsiteY93" fmla="*/ 123 h 1039"/>
                  <a:gd name="connsiteX94" fmla="*/ 209 w 4910"/>
                  <a:gd name="connsiteY94" fmla="*/ 108 h 1039"/>
                  <a:gd name="connsiteX95" fmla="*/ 163 w 4910"/>
                  <a:gd name="connsiteY95" fmla="*/ 100 h 1039"/>
                  <a:gd name="connsiteX96" fmla="*/ 122 w 4910"/>
                  <a:gd name="connsiteY96" fmla="*/ 96 h 1039"/>
                  <a:gd name="connsiteX97" fmla="*/ 85 w 4910"/>
                  <a:gd name="connsiteY97" fmla="*/ 91 h 1039"/>
                  <a:gd name="connsiteX98" fmla="*/ 31 w 4910"/>
                  <a:gd name="connsiteY98" fmla="*/ 91 h 1039"/>
                  <a:gd name="connsiteX99" fmla="*/ 17 w 4910"/>
                  <a:gd name="connsiteY99" fmla="*/ 94 h 1039"/>
                  <a:gd name="connsiteX100" fmla="*/ 11 w 4910"/>
                  <a:gd name="connsiteY100" fmla="*/ 94 h 1039"/>
                  <a:gd name="connsiteX101" fmla="*/ 0 w 4910"/>
                  <a:gd name="connsiteY101" fmla="*/ 9 h 1039"/>
                  <a:gd name="connsiteX102" fmla="*/ 9 w 4910"/>
                  <a:gd name="connsiteY102" fmla="*/ 9 h 1039"/>
                  <a:gd name="connsiteX103" fmla="*/ 29 w 4910"/>
                  <a:gd name="connsiteY103" fmla="*/ 6 h 1039"/>
                  <a:gd name="connsiteX104" fmla="*/ 91 w 4910"/>
                  <a:gd name="connsiteY104" fmla="*/ 6 h 1039"/>
                  <a:gd name="connsiteX105" fmla="*/ 135 w 4910"/>
                  <a:gd name="connsiteY105" fmla="*/ 9 h 1039"/>
                  <a:gd name="connsiteX106" fmla="*/ 182 w 4910"/>
                  <a:gd name="connsiteY106" fmla="*/ 15 h 1039"/>
                  <a:gd name="connsiteX107" fmla="*/ 234 w 4910"/>
                  <a:gd name="connsiteY107" fmla="*/ 25 h 1039"/>
                  <a:gd name="connsiteX108" fmla="*/ 287 w 4910"/>
                  <a:gd name="connsiteY108" fmla="*/ 42 h 1039"/>
                  <a:gd name="connsiteX109" fmla="*/ 345 w 4910"/>
                  <a:gd name="connsiteY109" fmla="*/ 62 h 1039"/>
                  <a:gd name="connsiteX110" fmla="*/ 403 w 4910"/>
                  <a:gd name="connsiteY110" fmla="*/ 89 h 1039"/>
                  <a:gd name="connsiteX111" fmla="*/ 459 w 4910"/>
                  <a:gd name="connsiteY111" fmla="*/ 127 h 1039"/>
                  <a:gd name="connsiteX112" fmla="*/ 514 w 4910"/>
                  <a:gd name="connsiteY112" fmla="*/ 170 h 1039"/>
                  <a:gd name="connsiteX113" fmla="*/ 568 w 4910"/>
                  <a:gd name="connsiteY113" fmla="*/ 224 h 1039"/>
                  <a:gd name="connsiteX114" fmla="*/ 618 w 4910"/>
                  <a:gd name="connsiteY114" fmla="*/ 288 h 1039"/>
                  <a:gd name="connsiteX115" fmla="*/ 667 w 4910"/>
                  <a:gd name="connsiteY115" fmla="*/ 363 h 1039"/>
                  <a:gd name="connsiteX116" fmla="*/ 754 w 4910"/>
                  <a:gd name="connsiteY116" fmla="*/ 512 h 1039"/>
                  <a:gd name="connsiteX117" fmla="*/ 787 w 4910"/>
                  <a:gd name="connsiteY117" fmla="*/ 571 h 1039"/>
                  <a:gd name="connsiteX118" fmla="*/ 820 w 4910"/>
                  <a:gd name="connsiteY118" fmla="*/ 627 h 1039"/>
                  <a:gd name="connsiteX119" fmla="*/ 853 w 4910"/>
                  <a:gd name="connsiteY119" fmla="*/ 680 h 1039"/>
                  <a:gd name="connsiteX120" fmla="*/ 886 w 4910"/>
                  <a:gd name="connsiteY120" fmla="*/ 732 h 1039"/>
                  <a:gd name="connsiteX121" fmla="*/ 921 w 4910"/>
                  <a:gd name="connsiteY121" fmla="*/ 778 h 1039"/>
                  <a:gd name="connsiteX122" fmla="*/ 958 w 4910"/>
                  <a:gd name="connsiteY122" fmla="*/ 821 h 1039"/>
                  <a:gd name="connsiteX123" fmla="*/ 1000 w 4910"/>
                  <a:gd name="connsiteY123" fmla="*/ 859 h 1039"/>
                  <a:gd name="connsiteX124" fmla="*/ 1043 w 4910"/>
                  <a:gd name="connsiteY124" fmla="*/ 890 h 1039"/>
                  <a:gd name="connsiteX125" fmla="*/ 1090 w 4910"/>
                  <a:gd name="connsiteY125" fmla="*/ 917 h 1039"/>
                  <a:gd name="connsiteX126" fmla="*/ 1140 w 4910"/>
                  <a:gd name="connsiteY126" fmla="*/ 935 h 1039"/>
                  <a:gd name="connsiteX127" fmla="*/ 1196 w 4910"/>
                  <a:gd name="connsiteY127" fmla="*/ 948 h 1039"/>
                  <a:gd name="connsiteX128" fmla="*/ 1258 w 4910"/>
                  <a:gd name="connsiteY128" fmla="*/ 952 h 1039"/>
                  <a:gd name="connsiteX129" fmla="*/ 1264 w 4910"/>
                  <a:gd name="connsiteY129" fmla="*/ 952 h 1039"/>
                  <a:gd name="connsiteX130" fmla="*/ 1324 w 4910"/>
                  <a:gd name="connsiteY130" fmla="*/ 946 h 1039"/>
                  <a:gd name="connsiteX131" fmla="*/ 1380 w 4910"/>
                  <a:gd name="connsiteY131" fmla="*/ 931 h 1039"/>
                  <a:gd name="connsiteX132" fmla="*/ 1433 w 4910"/>
                  <a:gd name="connsiteY132" fmla="*/ 909 h 1039"/>
                  <a:gd name="connsiteX133" fmla="*/ 1481 w 4910"/>
                  <a:gd name="connsiteY133" fmla="*/ 880 h 1039"/>
                  <a:gd name="connsiteX134" fmla="*/ 1526 w 4910"/>
                  <a:gd name="connsiteY134" fmla="*/ 842 h 1039"/>
                  <a:gd name="connsiteX135" fmla="*/ 1569 w 4910"/>
                  <a:gd name="connsiteY135" fmla="*/ 799 h 1039"/>
                  <a:gd name="connsiteX136" fmla="*/ 1609 w 4910"/>
                  <a:gd name="connsiteY136" fmla="*/ 751 h 1039"/>
                  <a:gd name="connsiteX137" fmla="*/ 1648 w 4910"/>
                  <a:gd name="connsiteY137" fmla="*/ 699 h 1039"/>
                  <a:gd name="connsiteX138" fmla="*/ 1687 w 4910"/>
                  <a:gd name="connsiteY138" fmla="*/ 645 h 1039"/>
                  <a:gd name="connsiteX139" fmla="*/ 1799 w 4910"/>
                  <a:gd name="connsiteY139" fmla="*/ 471 h 1039"/>
                  <a:gd name="connsiteX140" fmla="*/ 1838 w 4910"/>
                  <a:gd name="connsiteY140" fmla="*/ 411 h 1039"/>
                  <a:gd name="connsiteX141" fmla="*/ 1879 w 4910"/>
                  <a:gd name="connsiteY141" fmla="*/ 353 h 1039"/>
                  <a:gd name="connsiteX142" fmla="*/ 1923 w 4910"/>
                  <a:gd name="connsiteY142" fmla="*/ 295 h 1039"/>
                  <a:gd name="connsiteX143" fmla="*/ 1968 w 4910"/>
                  <a:gd name="connsiteY143" fmla="*/ 241 h 1039"/>
                  <a:gd name="connsiteX144" fmla="*/ 2015 w 4910"/>
                  <a:gd name="connsiteY144" fmla="*/ 189 h 1039"/>
                  <a:gd name="connsiteX145" fmla="*/ 2069 w 4910"/>
                  <a:gd name="connsiteY145" fmla="*/ 141 h 1039"/>
                  <a:gd name="connsiteX146" fmla="*/ 2125 w 4910"/>
                  <a:gd name="connsiteY146" fmla="*/ 100 h 1039"/>
                  <a:gd name="connsiteX147" fmla="*/ 2187 w 4910"/>
                  <a:gd name="connsiteY147" fmla="*/ 65 h 1039"/>
                  <a:gd name="connsiteX148" fmla="*/ 2253 w 4910"/>
                  <a:gd name="connsiteY148" fmla="*/ 35 h 1039"/>
                  <a:gd name="connsiteX149" fmla="*/ 2325 w 4910"/>
                  <a:gd name="connsiteY149" fmla="*/ 15 h 1039"/>
                  <a:gd name="connsiteX150" fmla="*/ 2404 w 4910"/>
                  <a:gd name="connsiteY150" fmla="*/ 2 h 1039"/>
                  <a:gd name="connsiteX151" fmla="*/ 2474 w 4910"/>
                  <a:gd name="connsiteY151" fmla="*/ 0 h 1039"/>
                  <a:gd name="connsiteX152" fmla="*/ 2540 w 4910"/>
                  <a:gd name="connsiteY152" fmla="*/ 9 h 1039"/>
                  <a:gd name="connsiteX153" fmla="*/ 2600 w 4910"/>
                  <a:gd name="connsiteY153" fmla="*/ 23 h 1039"/>
                  <a:gd name="connsiteX154" fmla="*/ 2658 w 4910"/>
                  <a:gd name="connsiteY154" fmla="*/ 46 h 1039"/>
                  <a:gd name="connsiteX155" fmla="*/ 2711 w 4910"/>
                  <a:gd name="connsiteY155" fmla="*/ 77 h 1039"/>
                  <a:gd name="connsiteX156" fmla="*/ 2761 w 4910"/>
                  <a:gd name="connsiteY156" fmla="*/ 112 h 1039"/>
                  <a:gd name="connsiteX157" fmla="*/ 2806 w 4910"/>
                  <a:gd name="connsiteY157" fmla="*/ 154 h 1039"/>
                  <a:gd name="connsiteX158" fmla="*/ 2852 w 4910"/>
                  <a:gd name="connsiteY158" fmla="*/ 199 h 1039"/>
                  <a:gd name="connsiteX159" fmla="*/ 2893 w 4910"/>
                  <a:gd name="connsiteY159" fmla="*/ 247 h 1039"/>
                  <a:gd name="connsiteX160" fmla="*/ 2932 w 4910"/>
                  <a:gd name="connsiteY160" fmla="*/ 299 h 1039"/>
                  <a:gd name="connsiteX161" fmla="*/ 2969 w 4910"/>
                  <a:gd name="connsiteY161" fmla="*/ 353 h 1039"/>
                  <a:gd name="connsiteX162" fmla="*/ 3004 w 4910"/>
                  <a:gd name="connsiteY162" fmla="*/ 409 h 1039"/>
                  <a:gd name="connsiteX163" fmla="*/ 3039 w 4910"/>
                  <a:gd name="connsiteY163" fmla="*/ 463 h 1039"/>
                  <a:gd name="connsiteX164" fmla="*/ 3073 w 4910"/>
                  <a:gd name="connsiteY164" fmla="*/ 519 h 1039"/>
                  <a:gd name="connsiteX165" fmla="*/ 3110 w 4910"/>
                  <a:gd name="connsiteY165" fmla="*/ 581 h 1039"/>
                  <a:gd name="connsiteX166" fmla="*/ 3147 w 4910"/>
                  <a:gd name="connsiteY166" fmla="*/ 639 h 1039"/>
                  <a:gd name="connsiteX167" fmla="*/ 3186 w 4910"/>
                  <a:gd name="connsiteY167" fmla="*/ 697 h 1039"/>
                  <a:gd name="connsiteX168" fmla="*/ 3223 w 4910"/>
                  <a:gd name="connsiteY168" fmla="*/ 751 h 1039"/>
                  <a:gd name="connsiteX169" fmla="*/ 3265 w 4910"/>
                  <a:gd name="connsiteY169" fmla="*/ 801 h 1039"/>
                  <a:gd name="connsiteX170" fmla="*/ 3306 w 4910"/>
                  <a:gd name="connsiteY170" fmla="*/ 844 h 1039"/>
                  <a:gd name="connsiteX171" fmla="*/ 3349 w 4910"/>
                  <a:gd name="connsiteY171" fmla="*/ 882 h 1039"/>
                  <a:gd name="connsiteX172" fmla="*/ 3395 w 4910"/>
                  <a:gd name="connsiteY172" fmla="*/ 913 h 1039"/>
                  <a:gd name="connsiteX173" fmla="*/ 3444 w 4910"/>
                  <a:gd name="connsiteY173" fmla="*/ 935 h 1039"/>
                  <a:gd name="connsiteX174" fmla="*/ 3498 w 4910"/>
                  <a:gd name="connsiteY174" fmla="*/ 948 h 1039"/>
                  <a:gd name="connsiteX175" fmla="*/ 3554 w 4910"/>
                  <a:gd name="connsiteY175" fmla="*/ 952 h 1039"/>
                  <a:gd name="connsiteX176" fmla="*/ 3609 w 4910"/>
                  <a:gd name="connsiteY176" fmla="*/ 946 h 1039"/>
                  <a:gd name="connsiteX177" fmla="*/ 3659 w 4910"/>
                  <a:gd name="connsiteY177" fmla="*/ 931 h 1039"/>
                  <a:gd name="connsiteX178" fmla="*/ 3706 w 4910"/>
                  <a:gd name="connsiteY178" fmla="*/ 911 h 1039"/>
                  <a:gd name="connsiteX179" fmla="*/ 3750 w 4910"/>
                  <a:gd name="connsiteY179" fmla="*/ 880 h 1039"/>
                  <a:gd name="connsiteX180" fmla="*/ 3789 w 4910"/>
                  <a:gd name="connsiteY180" fmla="*/ 844 h 1039"/>
                  <a:gd name="connsiteX181" fmla="*/ 3826 w 4910"/>
                  <a:gd name="connsiteY181" fmla="*/ 803 h 1039"/>
                  <a:gd name="connsiteX182" fmla="*/ 3861 w 4910"/>
                  <a:gd name="connsiteY182" fmla="*/ 755 h 1039"/>
                  <a:gd name="connsiteX183" fmla="*/ 3894 w 4910"/>
                  <a:gd name="connsiteY183" fmla="*/ 705 h 1039"/>
                  <a:gd name="connsiteX184" fmla="*/ 3927 w 4910"/>
                  <a:gd name="connsiteY184" fmla="*/ 651 h 1039"/>
                  <a:gd name="connsiteX185" fmla="*/ 3960 w 4910"/>
                  <a:gd name="connsiteY185" fmla="*/ 593 h 1039"/>
                  <a:gd name="connsiteX186" fmla="*/ 3993 w 4910"/>
                  <a:gd name="connsiteY186" fmla="*/ 533 h 1039"/>
                  <a:gd name="connsiteX187" fmla="*/ 4022 w 4910"/>
                  <a:gd name="connsiteY187" fmla="*/ 479 h 1039"/>
                  <a:gd name="connsiteX188" fmla="*/ 4084 w 4910"/>
                  <a:gd name="connsiteY188" fmla="*/ 371 h 1039"/>
                  <a:gd name="connsiteX189" fmla="*/ 4154 w 4910"/>
                  <a:gd name="connsiteY189" fmla="*/ 268 h 1039"/>
                  <a:gd name="connsiteX190" fmla="*/ 4192 w 4910"/>
                  <a:gd name="connsiteY190" fmla="*/ 220 h 1039"/>
                  <a:gd name="connsiteX191" fmla="*/ 4233 w 4910"/>
                  <a:gd name="connsiteY191" fmla="*/ 174 h 1039"/>
                  <a:gd name="connsiteX192" fmla="*/ 4276 w 4910"/>
                  <a:gd name="connsiteY192" fmla="*/ 133 h 1039"/>
                  <a:gd name="connsiteX0" fmla="*/ 4276 w 4900"/>
                  <a:gd name="connsiteY0" fmla="*/ 133 h 1039"/>
                  <a:gd name="connsiteX1" fmla="*/ 4900 w 4900"/>
                  <a:gd name="connsiteY1" fmla="*/ 185 h 1039"/>
                  <a:gd name="connsiteX2" fmla="*/ 4770 w 4900"/>
                  <a:gd name="connsiteY2" fmla="*/ 108 h 1039"/>
                  <a:gd name="connsiteX3" fmla="*/ 4691 w 4900"/>
                  <a:gd name="connsiteY3" fmla="*/ 85 h 1039"/>
                  <a:gd name="connsiteX4" fmla="*/ 4662 w 4900"/>
                  <a:gd name="connsiteY4" fmla="*/ 83 h 1039"/>
                  <a:gd name="connsiteX5" fmla="*/ 4507 w 4900"/>
                  <a:gd name="connsiteY5" fmla="*/ 102 h 1039"/>
                  <a:gd name="connsiteX6" fmla="*/ 4400 w 4900"/>
                  <a:gd name="connsiteY6" fmla="*/ 150 h 1039"/>
                  <a:gd name="connsiteX7" fmla="*/ 4353 w 4900"/>
                  <a:gd name="connsiteY7" fmla="*/ 183 h 1039"/>
                  <a:gd name="connsiteX8" fmla="*/ 4309 w 4900"/>
                  <a:gd name="connsiteY8" fmla="*/ 220 h 1039"/>
                  <a:gd name="connsiteX9" fmla="*/ 4270 w 4900"/>
                  <a:gd name="connsiteY9" fmla="*/ 264 h 1039"/>
                  <a:gd name="connsiteX10" fmla="*/ 4196 w 4900"/>
                  <a:gd name="connsiteY10" fmla="*/ 359 h 1039"/>
                  <a:gd name="connsiteX11" fmla="*/ 4163 w 4900"/>
                  <a:gd name="connsiteY11" fmla="*/ 411 h 1039"/>
                  <a:gd name="connsiteX12" fmla="*/ 4101 w 4900"/>
                  <a:gd name="connsiteY12" fmla="*/ 519 h 1039"/>
                  <a:gd name="connsiteX13" fmla="*/ 4008 w 4900"/>
                  <a:gd name="connsiteY13" fmla="*/ 687 h 1039"/>
                  <a:gd name="connsiteX14" fmla="*/ 3975 w 4900"/>
                  <a:gd name="connsiteY14" fmla="*/ 743 h 1039"/>
                  <a:gd name="connsiteX15" fmla="*/ 3940 w 4900"/>
                  <a:gd name="connsiteY15" fmla="*/ 794 h 1039"/>
                  <a:gd name="connsiteX16" fmla="*/ 3905 w 4900"/>
                  <a:gd name="connsiteY16" fmla="*/ 844 h 1039"/>
                  <a:gd name="connsiteX17" fmla="*/ 3865 w 4900"/>
                  <a:gd name="connsiteY17" fmla="*/ 890 h 1039"/>
                  <a:gd name="connsiteX18" fmla="*/ 3824 w 4900"/>
                  <a:gd name="connsiteY18" fmla="*/ 931 h 1039"/>
                  <a:gd name="connsiteX19" fmla="*/ 3779 w 4900"/>
                  <a:gd name="connsiteY19" fmla="*/ 967 h 1039"/>
                  <a:gd name="connsiteX20" fmla="*/ 3729 w 4900"/>
                  <a:gd name="connsiteY20" fmla="*/ 996 h 1039"/>
                  <a:gd name="connsiteX21" fmla="*/ 3677 w 4900"/>
                  <a:gd name="connsiteY21" fmla="*/ 1018 h 1039"/>
                  <a:gd name="connsiteX22" fmla="*/ 3620 w 4900"/>
                  <a:gd name="connsiteY22" fmla="*/ 1033 h 1039"/>
                  <a:gd name="connsiteX23" fmla="*/ 3556 w 4900"/>
                  <a:gd name="connsiteY23" fmla="*/ 1039 h 1039"/>
                  <a:gd name="connsiteX24" fmla="*/ 3547 w 4900"/>
                  <a:gd name="connsiteY24" fmla="*/ 1039 h 1039"/>
                  <a:gd name="connsiteX25" fmla="*/ 3485 w 4900"/>
                  <a:gd name="connsiteY25" fmla="*/ 1035 h 1039"/>
                  <a:gd name="connsiteX26" fmla="*/ 3426 w 4900"/>
                  <a:gd name="connsiteY26" fmla="*/ 1021 h 1039"/>
                  <a:gd name="connsiteX27" fmla="*/ 3372 w 4900"/>
                  <a:gd name="connsiteY27" fmla="*/ 998 h 1039"/>
                  <a:gd name="connsiteX28" fmla="*/ 3320 w 4900"/>
                  <a:gd name="connsiteY28" fmla="*/ 969 h 1039"/>
                  <a:gd name="connsiteX29" fmla="*/ 3273 w 4900"/>
                  <a:gd name="connsiteY29" fmla="*/ 931 h 1039"/>
                  <a:gd name="connsiteX30" fmla="*/ 3229 w 4900"/>
                  <a:gd name="connsiteY30" fmla="*/ 890 h 1039"/>
                  <a:gd name="connsiteX31" fmla="*/ 3186 w 4900"/>
                  <a:gd name="connsiteY31" fmla="*/ 842 h 1039"/>
                  <a:gd name="connsiteX32" fmla="*/ 3147 w 4900"/>
                  <a:gd name="connsiteY32" fmla="*/ 792 h 1039"/>
                  <a:gd name="connsiteX33" fmla="*/ 3108 w 4900"/>
                  <a:gd name="connsiteY33" fmla="*/ 736 h 1039"/>
                  <a:gd name="connsiteX34" fmla="*/ 3070 w 4900"/>
                  <a:gd name="connsiteY34" fmla="*/ 680 h 1039"/>
                  <a:gd name="connsiteX35" fmla="*/ 2965 w 4900"/>
                  <a:gd name="connsiteY35" fmla="*/ 506 h 1039"/>
                  <a:gd name="connsiteX36" fmla="*/ 2928 w 4900"/>
                  <a:gd name="connsiteY36" fmla="*/ 448 h 1039"/>
                  <a:gd name="connsiteX37" fmla="*/ 2891 w 4900"/>
                  <a:gd name="connsiteY37" fmla="*/ 392 h 1039"/>
                  <a:gd name="connsiteX38" fmla="*/ 2854 w 4900"/>
                  <a:gd name="connsiteY38" fmla="*/ 338 h 1039"/>
                  <a:gd name="connsiteX39" fmla="*/ 2814 w 4900"/>
                  <a:gd name="connsiteY39" fmla="*/ 288 h 1039"/>
                  <a:gd name="connsiteX40" fmla="*/ 2773 w 4900"/>
                  <a:gd name="connsiteY40" fmla="*/ 243 h 1039"/>
                  <a:gd name="connsiteX41" fmla="*/ 2732 w 4900"/>
                  <a:gd name="connsiteY41" fmla="*/ 201 h 1039"/>
                  <a:gd name="connsiteX42" fmla="*/ 2686 w 4900"/>
                  <a:gd name="connsiteY42" fmla="*/ 164 h 1039"/>
                  <a:gd name="connsiteX43" fmla="*/ 2639 w 4900"/>
                  <a:gd name="connsiteY43" fmla="*/ 135 h 1039"/>
                  <a:gd name="connsiteX44" fmla="*/ 2587 w 4900"/>
                  <a:gd name="connsiteY44" fmla="*/ 112 h 1039"/>
                  <a:gd name="connsiteX45" fmla="*/ 2532 w 4900"/>
                  <a:gd name="connsiteY45" fmla="*/ 96 h 1039"/>
                  <a:gd name="connsiteX46" fmla="*/ 2474 w 4900"/>
                  <a:gd name="connsiteY46" fmla="*/ 87 h 1039"/>
                  <a:gd name="connsiteX47" fmla="*/ 2410 w 4900"/>
                  <a:gd name="connsiteY47" fmla="*/ 89 h 1039"/>
                  <a:gd name="connsiteX48" fmla="*/ 2342 w 4900"/>
                  <a:gd name="connsiteY48" fmla="*/ 100 h 1039"/>
                  <a:gd name="connsiteX49" fmla="*/ 2280 w 4900"/>
                  <a:gd name="connsiteY49" fmla="*/ 118 h 1039"/>
                  <a:gd name="connsiteX50" fmla="*/ 2222 w 4900"/>
                  <a:gd name="connsiteY50" fmla="*/ 143 h 1039"/>
                  <a:gd name="connsiteX51" fmla="*/ 2168 w 4900"/>
                  <a:gd name="connsiteY51" fmla="*/ 176 h 1039"/>
                  <a:gd name="connsiteX52" fmla="*/ 2117 w 4900"/>
                  <a:gd name="connsiteY52" fmla="*/ 214 h 1039"/>
                  <a:gd name="connsiteX53" fmla="*/ 2071 w 4900"/>
                  <a:gd name="connsiteY53" fmla="*/ 257 h 1039"/>
                  <a:gd name="connsiteX54" fmla="*/ 2026 w 4900"/>
                  <a:gd name="connsiteY54" fmla="*/ 303 h 1039"/>
                  <a:gd name="connsiteX55" fmla="*/ 1984 w 4900"/>
                  <a:gd name="connsiteY55" fmla="*/ 355 h 1039"/>
                  <a:gd name="connsiteX56" fmla="*/ 1945 w 4900"/>
                  <a:gd name="connsiteY56" fmla="*/ 409 h 1039"/>
                  <a:gd name="connsiteX57" fmla="*/ 1908 w 4900"/>
                  <a:gd name="connsiteY57" fmla="*/ 463 h 1039"/>
                  <a:gd name="connsiteX58" fmla="*/ 1871 w 4900"/>
                  <a:gd name="connsiteY58" fmla="*/ 519 h 1039"/>
                  <a:gd name="connsiteX59" fmla="*/ 1834 w 4900"/>
                  <a:gd name="connsiteY59" fmla="*/ 577 h 1039"/>
                  <a:gd name="connsiteX60" fmla="*/ 1799 w 4900"/>
                  <a:gd name="connsiteY60" fmla="*/ 633 h 1039"/>
                  <a:gd name="connsiteX61" fmla="*/ 1724 w 4900"/>
                  <a:gd name="connsiteY61" fmla="*/ 745 h 1039"/>
                  <a:gd name="connsiteX62" fmla="*/ 1685 w 4900"/>
                  <a:gd name="connsiteY62" fmla="*/ 797 h 1039"/>
                  <a:gd name="connsiteX63" fmla="*/ 1644 w 4900"/>
                  <a:gd name="connsiteY63" fmla="*/ 846 h 1039"/>
                  <a:gd name="connsiteX64" fmla="*/ 1600 w 4900"/>
                  <a:gd name="connsiteY64" fmla="*/ 892 h 1039"/>
                  <a:gd name="connsiteX65" fmla="*/ 1553 w 4900"/>
                  <a:gd name="connsiteY65" fmla="*/ 933 h 1039"/>
                  <a:gd name="connsiteX66" fmla="*/ 1503 w 4900"/>
                  <a:gd name="connsiteY66" fmla="*/ 969 h 1039"/>
                  <a:gd name="connsiteX67" fmla="*/ 1450 w 4900"/>
                  <a:gd name="connsiteY67" fmla="*/ 998 h 1039"/>
                  <a:gd name="connsiteX68" fmla="*/ 1394 w 4900"/>
                  <a:gd name="connsiteY68" fmla="*/ 1021 h 1039"/>
                  <a:gd name="connsiteX69" fmla="*/ 1330 w 4900"/>
                  <a:gd name="connsiteY69" fmla="*/ 1033 h 1039"/>
                  <a:gd name="connsiteX70" fmla="*/ 1264 w 4900"/>
                  <a:gd name="connsiteY70" fmla="*/ 1039 h 1039"/>
                  <a:gd name="connsiteX71" fmla="*/ 1258 w 4900"/>
                  <a:gd name="connsiteY71" fmla="*/ 1039 h 1039"/>
                  <a:gd name="connsiteX72" fmla="*/ 1190 w 4900"/>
                  <a:gd name="connsiteY72" fmla="*/ 1035 h 1039"/>
                  <a:gd name="connsiteX73" fmla="*/ 1128 w 4900"/>
                  <a:gd name="connsiteY73" fmla="*/ 1023 h 1039"/>
                  <a:gd name="connsiteX74" fmla="*/ 1070 w 4900"/>
                  <a:gd name="connsiteY74" fmla="*/ 1004 h 1039"/>
                  <a:gd name="connsiteX75" fmla="*/ 1018 w 4900"/>
                  <a:gd name="connsiteY75" fmla="*/ 979 h 1039"/>
                  <a:gd name="connsiteX76" fmla="*/ 971 w 4900"/>
                  <a:gd name="connsiteY76" fmla="*/ 948 h 1039"/>
                  <a:gd name="connsiteX77" fmla="*/ 925 w 4900"/>
                  <a:gd name="connsiteY77" fmla="*/ 911 h 1039"/>
                  <a:gd name="connsiteX78" fmla="*/ 884 w 4900"/>
                  <a:gd name="connsiteY78" fmla="*/ 869 h 1039"/>
                  <a:gd name="connsiteX79" fmla="*/ 847 w 4900"/>
                  <a:gd name="connsiteY79" fmla="*/ 824 h 1039"/>
                  <a:gd name="connsiteX80" fmla="*/ 810 w 4900"/>
                  <a:gd name="connsiteY80" fmla="*/ 776 h 1039"/>
                  <a:gd name="connsiteX81" fmla="*/ 777 w 4900"/>
                  <a:gd name="connsiteY81" fmla="*/ 724 h 1039"/>
                  <a:gd name="connsiteX82" fmla="*/ 742 w 4900"/>
                  <a:gd name="connsiteY82" fmla="*/ 670 h 1039"/>
                  <a:gd name="connsiteX83" fmla="*/ 711 w 4900"/>
                  <a:gd name="connsiteY83" fmla="*/ 614 h 1039"/>
                  <a:gd name="connsiteX84" fmla="*/ 678 w 4900"/>
                  <a:gd name="connsiteY84" fmla="*/ 556 h 1039"/>
                  <a:gd name="connsiteX85" fmla="*/ 616 w 4900"/>
                  <a:gd name="connsiteY85" fmla="*/ 444 h 1039"/>
                  <a:gd name="connsiteX86" fmla="*/ 547 w 4900"/>
                  <a:gd name="connsiteY86" fmla="*/ 336 h 1039"/>
                  <a:gd name="connsiteX87" fmla="*/ 504 w 4900"/>
                  <a:gd name="connsiteY87" fmla="*/ 280 h 1039"/>
                  <a:gd name="connsiteX88" fmla="*/ 457 w 4900"/>
                  <a:gd name="connsiteY88" fmla="*/ 235 h 1039"/>
                  <a:gd name="connsiteX89" fmla="*/ 409 w 4900"/>
                  <a:gd name="connsiteY89" fmla="*/ 195 h 1039"/>
                  <a:gd name="connsiteX90" fmla="*/ 358 w 4900"/>
                  <a:gd name="connsiteY90" fmla="*/ 164 h 1039"/>
                  <a:gd name="connsiteX91" fmla="*/ 308 w 4900"/>
                  <a:gd name="connsiteY91" fmla="*/ 141 h 1039"/>
                  <a:gd name="connsiteX92" fmla="*/ 256 w 4900"/>
                  <a:gd name="connsiteY92" fmla="*/ 123 h 1039"/>
                  <a:gd name="connsiteX93" fmla="*/ 209 w 4900"/>
                  <a:gd name="connsiteY93" fmla="*/ 108 h 1039"/>
                  <a:gd name="connsiteX94" fmla="*/ 163 w 4900"/>
                  <a:gd name="connsiteY94" fmla="*/ 100 h 1039"/>
                  <a:gd name="connsiteX95" fmla="*/ 122 w 4900"/>
                  <a:gd name="connsiteY95" fmla="*/ 96 h 1039"/>
                  <a:gd name="connsiteX96" fmla="*/ 85 w 4900"/>
                  <a:gd name="connsiteY96" fmla="*/ 91 h 1039"/>
                  <a:gd name="connsiteX97" fmla="*/ 31 w 4900"/>
                  <a:gd name="connsiteY97" fmla="*/ 91 h 1039"/>
                  <a:gd name="connsiteX98" fmla="*/ 17 w 4900"/>
                  <a:gd name="connsiteY98" fmla="*/ 94 h 1039"/>
                  <a:gd name="connsiteX99" fmla="*/ 11 w 4900"/>
                  <a:gd name="connsiteY99" fmla="*/ 94 h 1039"/>
                  <a:gd name="connsiteX100" fmla="*/ 0 w 4900"/>
                  <a:gd name="connsiteY100" fmla="*/ 9 h 1039"/>
                  <a:gd name="connsiteX101" fmla="*/ 9 w 4900"/>
                  <a:gd name="connsiteY101" fmla="*/ 9 h 1039"/>
                  <a:gd name="connsiteX102" fmla="*/ 29 w 4900"/>
                  <a:gd name="connsiteY102" fmla="*/ 6 h 1039"/>
                  <a:gd name="connsiteX103" fmla="*/ 91 w 4900"/>
                  <a:gd name="connsiteY103" fmla="*/ 6 h 1039"/>
                  <a:gd name="connsiteX104" fmla="*/ 135 w 4900"/>
                  <a:gd name="connsiteY104" fmla="*/ 9 h 1039"/>
                  <a:gd name="connsiteX105" fmla="*/ 182 w 4900"/>
                  <a:gd name="connsiteY105" fmla="*/ 15 h 1039"/>
                  <a:gd name="connsiteX106" fmla="*/ 234 w 4900"/>
                  <a:gd name="connsiteY106" fmla="*/ 25 h 1039"/>
                  <a:gd name="connsiteX107" fmla="*/ 287 w 4900"/>
                  <a:gd name="connsiteY107" fmla="*/ 42 h 1039"/>
                  <a:gd name="connsiteX108" fmla="*/ 345 w 4900"/>
                  <a:gd name="connsiteY108" fmla="*/ 62 h 1039"/>
                  <a:gd name="connsiteX109" fmla="*/ 403 w 4900"/>
                  <a:gd name="connsiteY109" fmla="*/ 89 h 1039"/>
                  <a:gd name="connsiteX110" fmla="*/ 459 w 4900"/>
                  <a:gd name="connsiteY110" fmla="*/ 127 h 1039"/>
                  <a:gd name="connsiteX111" fmla="*/ 514 w 4900"/>
                  <a:gd name="connsiteY111" fmla="*/ 170 h 1039"/>
                  <a:gd name="connsiteX112" fmla="*/ 568 w 4900"/>
                  <a:gd name="connsiteY112" fmla="*/ 224 h 1039"/>
                  <a:gd name="connsiteX113" fmla="*/ 618 w 4900"/>
                  <a:gd name="connsiteY113" fmla="*/ 288 h 1039"/>
                  <a:gd name="connsiteX114" fmla="*/ 667 w 4900"/>
                  <a:gd name="connsiteY114" fmla="*/ 363 h 1039"/>
                  <a:gd name="connsiteX115" fmla="*/ 754 w 4900"/>
                  <a:gd name="connsiteY115" fmla="*/ 512 h 1039"/>
                  <a:gd name="connsiteX116" fmla="*/ 787 w 4900"/>
                  <a:gd name="connsiteY116" fmla="*/ 571 h 1039"/>
                  <a:gd name="connsiteX117" fmla="*/ 820 w 4900"/>
                  <a:gd name="connsiteY117" fmla="*/ 627 h 1039"/>
                  <a:gd name="connsiteX118" fmla="*/ 853 w 4900"/>
                  <a:gd name="connsiteY118" fmla="*/ 680 h 1039"/>
                  <a:gd name="connsiteX119" fmla="*/ 886 w 4900"/>
                  <a:gd name="connsiteY119" fmla="*/ 732 h 1039"/>
                  <a:gd name="connsiteX120" fmla="*/ 921 w 4900"/>
                  <a:gd name="connsiteY120" fmla="*/ 778 h 1039"/>
                  <a:gd name="connsiteX121" fmla="*/ 958 w 4900"/>
                  <a:gd name="connsiteY121" fmla="*/ 821 h 1039"/>
                  <a:gd name="connsiteX122" fmla="*/ 1000 w 4900"/>
                  <a:gd name="connsiteY122" fmla="*/ 859 h 1039"/>
                  <a:gd name="connsiteX123" fmla="*/ 1043 w 4900"/>
                  <a:gd name="connsiteY123" fmla="*/ 890 h 1039"/>
                  <a:gd name="connsiteX124" fmla="*/ 1090 w 4900"/>
                  <a:gd name="connsiteY124" fmla="*/ 917 h 1039"/>
                  <a:gd name="connsiteX125" fmla="*/ 1140 w 4900"/>
                  <a:gd name="connsiteY125" fmla="*/ 935 h 1039"/>
                  <a:gd name="connsiteX126" fmla="*/ 1196 w 4900"/>
                  <a:gd name="connsiteY126" fmla="*/ 948 h 1039"/>
                  <a:gd name="connsiteX127" fmla="*/ 1258 w 4900"/>
                  <a:gd name="connsiteY127" fmla="*/ 952 h 1039"/>
                  <a:gd name="connsiteX128" fmla="*/ 1264 w 4900"/>
                  <a:gd name="connsiteY128" fmla="*/ 952 h 1039"/>
                  <a:gd name="connsiteX129" fmla="*/ 1324 w 4900"/>
                  <a:gd name="connsiteY129" fmla="*/ 946 h 1039"/>
                  <a:gd name="connsiteX130" fmla="*/ 1380 w 4900"/>
                  <a:gd name="connsiteY130" fmla="*/ 931 h 1039"/>
                  <a:gd name="connsiteX131" fmla="*/ 1433 w 4900"/>
                  <a:gd name="connsiteY131" fmla="*/ 909 h 1039"/>
                  <a:gd name="connsiteX132" fmla="*/ 1481 w 4900"/>
                  <a:gd name="connsiteY132" fmla="*/ 880 h 1039"/>
                  <a:gd name="connsiteX133" fmla="*/ 1526 w 4900"/>
                  <a:gd name="connsiteY133" fmla="*/ 842 h 1039"/>
                  <a:gd name="connsiteX134" fmla="*/ 1569 w 4900"/>
                  <a:gd name="connsiteY134" fmla="*/ 799 h 1039"/>
                  <a:gd name="connsiteX135" fmla="*/ 1609 w 4900"/>
                  <a:gd name="connsiteY135" fmla="*/ 751 h 1039"/>
                  <a:gd name="connsiteX136" fmla="*/ 1648 w 4900"/>
                  <a:gd name="connsiteY136" fmla="*/ 699 h 1039"/>
                  <a:gd name="connsiteX137" fmla="*/ 1687 w 4900"/>
                  <a:gd name="connsiteY137" fmla="*/ 645 h 1039"/>
                  <a:gd name="connsiteX138" fmla="*/ 1799 w 4900"/>
                  <a:gd name="connsiteY138" fmla="*/ 471 h 1039"/>
                  <a:gd name="connsiteX139" fmla="*/ 1838 w 4900"/>
                  <a:gd name="connsiteY139" fmla="*/ 411 h 1039"/>
                  <a:gd name="connsiteX140" fmla="*/ 1879 w 4900"/>
                  <a:gd name="connsiteY140" fmla="*/ 353 h 1039"/>
                  <a:gd name="connsiteX141" fmla="*/ 1923 w 4900"/>
                  <a:gd name="connsiteY141" fmla="*/ 295 h 1039"/>
                  <a:gd name="connsiteX142" fmla="*/ 1968 w 4900"/>
                  <a:gd name="connsiteY142" fmla="*/ 241 h 1039"/>
                  <a:gd name="connsiteX143" fmla="*/ 2015 w 4900"/>
                  <a:gd name="connsiteY143" fmla="*/ 189 h 1039"/>
                  <a:gd name="connsiteX144" fmla="*/ 2069 w 4900"/>
                  <a:gd name="connsiteY144" fmla="*/ 141 h 1039"/>
                  <a:gd name="connsiteX145" fmla="*/ 2125 w 4900"/>
                  <a:gd name="connsiteY145" fmla="*/ 100 h 1039"/>
                  <a:gd name="connsiteX146" fmla="*/ 2187 w 4900"/>
                  <a:gd name="connsiteY146" fmla="*/ 65 h 1039"/>
                  <a:gd name="connsiteX147" fmla="*/ 2253 w 4900"/>
                  <a:gd name="connsiteY147" fmla="*/ 35 h 1039"/>
                  <a:gd name="connsiteX148" fmla="*/ 2325 w 4900"/>
                  <a:gd name="connsiteY148" fmla="*/ 15 h 1039"/>
                  <a:gd name="connsiteX149" fmla="*/ 2404 w 4900"/>
                  <a:gd name="connsiteY149" fmla="*/ 2 h 1039"/>
                  <a:gd name="connsiteX150" fmla="*/ 2474 w 4900"/>
                  <a:gd name="connsiteY150" fmla="*/ 0 h 1039"/>
                  <a:gd name="connsiteX151" fmla="*/ 2540 w 4900"/>
                  <a:gd name="connsiteY151" fmla="*/ 9 h 1039"/>
                  <a:gd name="connsiteX152" fmla="*/ 2600 w 4900"/>
                  <a:gd name="connsiteY152" fmla="*/ 23 h 1039"/>
                  <a:gd name="connsiteX153" fmla="*/ 2658 w 4900"/>
                  <a:gd name="connsiteY153" fmla="*/ 46 h 1039"/>
                  <a:gd name="connsiteX154" fmla="*/ 2711 w 4900"/>
                  <a:gd name="connsiteY154" fmla="*/ 77 h 1039"/>
                  <a:gd name="connsiteX155" fmla="*/ 2761 w 4900"/>
                  <a:gd name="connsiteY155" fmla="*/ 112 h 1039"/>
                  <a:gd name="connsiteX156" fmla="*/ 2806 w 4900"/>
                  <a:gd name="connsiteY156" fmla="*/ 154 h 1039"/>
                  <a:gd name="connsiteX157" fmla="*/ 2852 w 4900"/>
                  <a:gd name="connsiteY157" fmla="*/ 199 h 1039"/>
                  <a:gd name="connsiteX158" fmla="*/ 2893 w 4900"/>
                  <a:gd name="connsiteY158" fmla="*/ 247 h 1039"/>
                  <a:gd name="connsiteX159" fmla="*/ 2932 w 4900"/>
                  <a:gd name="connsiteY159" fmla="*/ 299 h 1039"/>
                  <a:gd name="connsiteX160" fmla="*/ 2969 w 4900"/>
                  <a:gd name="connsiteY160" fmla="*/ 353 h 1039"/>
                  <a:gd name="connsiteX161" fmla="*/ 3004 w 4900"/>
                  <a:gd name="connsiteY161" fmla="*/ 409 h 1039"/>
                  <a:gd name="connsiteX162" fmla="*/ 3039 w 4900"/>
                  <a:gd name="connsiteY162" fmla="*/ 463 h 1039"/>
                  <a:gd name="connsiteX163" fmla="*/ 3073 w 4900"/>
                  <a:gd name="connsiteY163" fmla="*/ 519 h 1039"/>
                  <a:gd name="connsiteX164" fmla="*/ 3110 w 4900"/>
                  <a:gd name="connsiteY164" fmla="*/ 581 h 1039"/>
                  <a:gd name="connsiteX165" fmla="*/ 3147 w 4900"/>
                  <a:gd name="connsiteY165" fmla="*/ 639 h 1039"/>
                  <a:gd name="connsiteX166" fmla="*/ 3186 w 4900"/>
                  <a:gd name="connsiteY166" fmla="*/ 697 h 1039"/>
                  <a:gd name="connsiteX167" fmla="*/ 3223 w 4900"/>
                  <a:gd name="connsiteY167" fmla="*/ 751 h 1039"/>
                  <a:gd name="connsiteX168" fmla="*/ 3265 w 4900"/>
                  <a:gd name="connsiteY168" fmla="*/ 801 h 1039"/>
                  <a:gd name="connsiteX169" fmla="*/ 3306 w 4900"/>
                  <a:gd name="connsiteY169" fmla="*/ 844 h 1039"/>
                  <a:gd name="connsiteX170" fmla="*/ 3349 w 4900"/>
                  <a:gd name="connsiteY170" fmla="*/ 882 h 1039"/>
                  <a:gd name="connsiteX171" fmla="*/ 3395 w 4900"/>
                  <a:gd name="connsiteY171" fmla="*/ 913 h 1039"/>
                  <a:gd name="connsiteX172" fmla="*/ 3444 w 4900"/>
                  <a:gd name="connsiteY172" fmla="*/ 935 h 1039"/>
                  <a:gd name="connsiteX173" fmla="*/ 3498 w 4900"/>
                  <a:gd name="connsiteY173" fmla="*/ 948 h 1039"/>
                  <a:gd name="connsiteX174" fmla="*/ 3554 w 4900"/>
                  <a:gd name="connsiteY174" fmla="*/ 952 h 1039"/>
                  <a:gd name="connsiteX175" fmla="*/ 3609 w 4900"/>
                  <a:gd name="connsiteY175" fmla="*/ 946 h 1039"/>
                  <a:gd name="connsiteX176" fmla="*/ 3659 w 4900"/>
                  <a:gd name="connsiteY176" fmla="*/ 931 h 1039"/>
                  <a:gd name="connsiteX177" fmla="*/ 3706 w 4900"/>
                  <a:gd name="connsiteY177" fmla="*/ 911 h 1039"/>
                  <a:gd name="connsiteX178" fmla="*/ 3750 w 4900"/>
                  <a:gd name="connsiteY178" fmla="*/ 880 h 1039"/>
                  <a:gd name="connsiteX179" fmla="*/ 3789 w 4900"/>
                  <a:gd name="connsiteY179" fmla="*/ 844 h 1039"/>
                  <a:gd name="connsiteX180" fmla="*/ 3826 w 4900"/>
                  <a:gd name="connsiteY180" fmla="*/ 803 h 1039"/>
                  <a:gd name="connsiteX181" fmla="*/ 3861 w 4900"/>
                  <a:gd name="connsiteY181" fmla="*/ 755 h 1039"/>
                  <a:gd name="connsiteX182" fmla="*/ 3894 w 4900"/>
                  <a:gd name="connsiteY182" fmla="*/ 705 h 1039"/>
                  <a:gd name="connsiteX183" fmla="*/ 3927 w 4900"/>
                  <a:gd name="connsiteY183" fmla="*/ 651 h 1039"/>
                  <a:gd name="connsiteX184" fmla="*/ 3960 w 4900"/>
                  <a:gd name="connsiteY184" fmla="*/ 593 h 1039"/>
                  <a:gd name="connsiteX185" fmla="*/ 3993 w 4900"/>
                  <a:gd name="connsiteY185" fmla="*/ 533 h 1039"/>
                  <a:gd name="connsiteX186" fmla="*/ 4022 w 4900"/>
                  <a:gd name="connsiteY186" fmla="*/ 479 h 1039"/>
                  <a:gd name="connsiteX187" fmla="*/ 4084 w 4900"/>
                  <a:gd name="connsiteY187" fmla="*/ 371 h 1039"/>
                  <a:gd name="connsiteX188" fmla="*/ 4154 w 4900"/>
                  <a:gd name="connsiteY188" fmla="*/ 268 h 1039"/>
                  <a:gd name="connsiteX189" fmla="*/ 4192 w 4900"/>
                  <a:gd name="connsiteY189" fmla="*/ 220 h 1039"/>
                  <a:gd name="connsiteX190" fmla="*/ 4233 w 4900"/>
                  <a:gd name="connsiteY190" fmla="*/ 174 h 1039"/>
                  <a:gd name="connsiteX191" fmla="*/ 4276 w 4900"/>
                  <a:gd name="connsiteY191" fmla="*/ 133 h 1039"/>
                  <a:gd name="connsiteX0" fmla="*/ 4276 w 4770"/>
                  <a:gd name="connsiteY0" fmla="*/ 133 h 1039"/>
                  <a:gd name="connsiteX1" fmla="*/ 4770 w 4770"/>
                  <a:gd name="connsiteY1" fmla="*/ 108 h 1039"/>
                  <a:gd name="connsiteX2" fmla="*/ 4691 w 4770"/>
                  <a:gd name="connsiteY2" fmla="*/ 85 h 1039"/>
                  <a:gd name="connsiteX3" fmla="*/ 4662 w 4770"/>
                  <a:gd name="connsiteY3" fmla="*/ 83 h 1039"/>
                  <a:gd name="connsiteX4" fmla="*/ 4507 w 4770"/>
                  <a:gd name="connsiteY4" fmla="*/ 102 h 1039"/>
                  <a:gd name="connsiteX5" fmla="*/ 4400 w 4770"/>
                  <a:gd name="connsiteY5" fmla="*/ 150 h 1039"/>
                  <a:gd name="connsiteX6" fmla="*/ 4353 w 4770"/>
                  <a:gd name="connsiteY6" fmla="*/ 183 h 1039"/>
                  <a:gd name="connsiteX7" fmla="*/ 4309 w 4770"/>
                  <a:gd name="connsiteY7" fmla="*/ 220 h 1039"/>
                  <a:gd name="connsiteX8" fmla="*/ 4270 w 4770"/>
                  <a:gd name="connsiteY8" fmla="*/ 264 h 1039"/>
                  <a:gd name="connsiteX9" fmla="*/ 4196 w 4770"/>
                  <a:gd name="connsiteY9" fmla="*/ 359 h 1039"/>
                  <a:gd name="connsiteX10" fmla="*/ 4163 w 4770"/>
                  <a:gd name="connsiteY10" fmla="*/ 411 h 1039"/>
                  <a:gd name="connsiteX11" fmla="*/ 4101 w 4770"/>
                  <a:gd name="connsiteY11" fmla="*/ 519 h 1039"/>
                  <a:gd name="connsiteX12" fmla="*/ 4008 w 4770"/>
                  <a:gd name="connsiteY12" fmla="*/ 687 h 1039"/>
                  <a:gd name="connsiteX13" fmla="*/ 3975 w 4770"/>
                  <a:gd name="connsiteY13" fmla="*/ 743 h 1039"/>
                  <a:gd name="connsiteX14" fmla="*/ 3940 w 4770"/>
                  <a:gd name="connsiteY14" fmla="*/ 794 h 1039"/>
                  <a:gd name="connsiteX15" fmla="*/ 3905 w 4770"/>
                  <a:gd name="connsiteY15" fmla="*/ 844 h 1039"/>
                  <a:gd name="connsiteX16" fmla="*/ 3865 w 4770"/>
                  <a:gd name="connsiteY16" fmla="*/ 890 h 1039"/>
                  <a:gd name="connsiteX17" fmla="*/ 3824 w 4770"/>
                  <a:gd name="connsiteY17" fmla="*/ 931 h 1039"/>
                  <a:gd name="connsiteX18" fmla="*/ 3779 w 4770"/>
                  <a:gd name="connsiteY18" fmla="*/ 967 h 1039"/>
                  <a:gd name="connsiteX19" fmla="*/ 3729 w 4770"/>
                  <a:gd name="connsiteY19" fmla="*/ 996 h 1039"/>
                  <a:gd name="connsiteX20" fmla="*/ 3677 w 4770"/>
                  <a:gd name="connsiteY20" fmla="*/ 1018 h 1039"/>
                  <a:gd name="connsiteX21" fmla="*/ 3620 w 4770"/>
                  <a:gd name="connsiteY21" fmla="*/ 1033 h 1039"/>
                  <a:gd name="connsiteX22" fmla="*/ 3556 w 4770"/>
                  <a:gd name="connsiteY22" fmla="*/ 1039 h 1039"/>
                  <a:gd name="connsiteX23" fmla="*/ 3547 w 4770"/>
                  <a:gd name="connsiteY23" fmla="*/ 1039 h 1039"/>
                  <a:gd name="connsiteX24" fmla="*/ 3485 w 4770"/>
                  <a:gd name="connsiteY24" fmla="*/ 1035 h 1039"/>
                  <a:gd name="connsiteX25" fmla="*/ 3426 w 4770"/>
                  <a:gd name="connsiteY25" fmla="*/ 1021 h 1039"/>
                  <a:gd name="connsiteX26" fmla="*/ 3372 w 4770"/>
                  <a:gd name="connsiteY26" fmla="*/ 998 h 1039"/>
                  <a:gd name="connsiteX27" fmla="*/ 3320 w 4770"/>
                  <a:gd name="connsiteY27" fmla="*/ 969 h 1039"/>
                  <a:gd name="connsiteX28" fmla="*/ 3273 w 4770"/>
                  <a:gd name="connsiteY28" fmla="*/ 931 h 1039"/>
                  <a:gd name="connsiteX29" fmla="*/ 3229 w 4770"/>
                  <a:gd name="connsiteY29" fmla="*/ 890 h 1039"/>
                  <a:gd name="connsiteX30" fmla="*/ 3186 w 4770"/>
                  <a:gd name="connsiteY30" fmla="*/ 842 h 1039"/>
                  <a:gd name="connsiteX31" fmla="*/ 3147 w 4770"/>
                  <a:gd name="connsiteY31" fmla="*/ 792 h 1039"/>
                  <a:gd name="connsiteX32" fmla="*/ 3108 w 4770"/>
                  <a:gd name="connsiteY32" fmla="*/ 736 h 1039"/>
                  <a:gd name="connsiteX33" fmla="*/ 3070 w 4770"/>
                  <a:gd name="connsiteY33" fmla="*/ 680 h 1039"/>
                  <a:gd name="connsiteX34" fmla="*/ 2965 w 4770"/>
                  <a:gd name="connsiteY34" fmla="*/ 506 h 1039"/>
                  <a:gd name="connsiteX35" fmla="*/ 2928 w 4770"/>
                  <a:gd name="connsiteY35" fmla="*/ 448 h 1039"/>
                  <a:gd name="connsiteX36" fmla="*/ 2891 w 4770"/>
                  <a:gd name="connsiteY36" fmla="*/ 392 h 1039"/>
                  <a:gd name="connsiteX37" fmla="*/ 2854 w 4770"/>
                  <a:gd name="connsiteY37" fmla="*/ 338 h 1039"/>
                  <a:gd name="connsiteX38" fmla="*/ 2814 w 4770"/>
                  <a:gd name="connsiteY38" fmla="*/ 288 h 1039"/>
                  <a:gd name="connsiteX39" fmla="*/ 2773 w 4770"/>
                  <a:gd name="connsiteY39" fmla="*/ 243 h 1039"/>
                  <a:gd name="connsiteX40" fmla="*/ 2732 w 4770"/>
                  <a:gd name="connsiteY40" fmla="*/ 201 h 1039"/>
                  <a:gd name="connsiteX41" fmla="*/ 2686 w 4770"/>
                  <a:gd name="connsiteY41" fmla="*/ 164 h 1039"/>
                  <a:gd name="connsiteX42" fmla="*/ 2639 w 4770"/>
                  <a:gd name="connsiteY42" fmla="*/ 135 h 1039"/>
                  <a:gd name="connsiteX43" fmla="*/ 2587 w 4770"/>
                  <a:gd name="connsiteY43" fmla="*/ 112 h 1039"/>
                  <a:gd name="connsiteX44" fmla="*/ 2532 w 4770"/>
                  <a:gd name="connsiteY44" fmla="*/ 96 h 1039"/>
                  <a:gd name="connsiteX45" fmla="*/ 2474 w 4770"/>
                  <a:gd name="connsiteY45" fmla="*/ 87 h 1039"/>
                  <a:gd name="connsiteX46" fmla="*/ 2410 w 4770"/>
                  <a:gd name="connsiteY46" fmla="*/ 89 h 1039"/>
                  <a:gd name="connsiteX47" fmla="*/ 2342 w 4770"/>
                  <a:gd name="connsiteY47" fmla="*/ 100 h 1039"/>
                  <a:gd name="connsiteX48" fmla="*/ 2280 w 4770"/>
                  <a:gd name="connsiteY48" fmla="*/ 118 h 1039"/>
                  <a:gd name="connsiteX49" fmla="*/ 2222 w 4770"/>
                  <a:gd name="connsiteY49" fmla="*/ 143 h 1039"/>
                  <a:gd name="connsiteX50" fmla="*/ 2168 w 4770"/>
                  <a:gd name="connsiteY50" fmla="*/ 176 h 1039"/>
                  <a:gd name="connsiteX51" fmla="*/ 2117 w 4770"/>
                  <a:gd name="connsiteY51" fmla="*/ 214 h 1039"/>
                  <a:gd name="connsiteX52" fmla="*/ 2071 w 4770"/>
                  <a:gd name="connsiteY52" fmla="*/ 257 h 1039"/>
                  <a:gd name="connsiteX53" fmla="*/ 2026 w 4770"/>
                  <a:gd name="connsiteY53" fmla="*/ 303 h 1039"/>
                  <a:gd name="connsiteX54" fmla="*/ 1984 w 4770"/>
                  <a:gd name="connsiteY54" fmla="*/ 355 h 1039"/>
                  <a:gd name="connsiteX55" fmla="*/ 1945 w 4770"/>
                  <a:gd name="connsiteY55" fmla="*/ 409 h 1039"/>
                  <a:gd name="connsiteX56" fmla="*/ 1908 w 4770"/>
                  <a:gd name="connsiteY56" fmla="*/ 463 h 1039"/>
                  <a:gd name="connsiteX57" fmla="*/ 1871 w 4770"/>
                  <a:gd name="connsiteY57" fmla="*/ 519 h 1039"/>
                  <a:gd name="connsiteX58" fmla="*/ 1834 w 4770"/>
                  <a:gd name="connsiteY58" fmla="*/ 577 h 1039"/>
                  <a:gd name="connsiteX59" fmla="*/ 1799 w 4770"/>
                  <a:gd name="connsiteY59" fmla="*/ 633 h 1039"/>
                  <a:gd name="connsiteX60" fmla="*/ 1724 w 4770"/>
                  <a:gd name="connsiteY60" fmla="*/ 745 h 1039"/>
                  <a:gd name="connsiteX61" fmla="*/ 1685 w 4770"/>
                  <a:gd name="connsiteY61" fmla="*/ 797 h 1039"/>
                  <a:gd name="connsiteX62" fmla="*/ 1644 w 4770"/>
                  <a:gd name="connsiteY62" fmla="*/ 846 h 1039"/>
                  <a:gd name="connsiteX63" fmla="*/ 1600 w 4770"/>
                  <a:gd name="connsiteY63" fmla="*/ 892 h 1039"/>
                  <a:gd name="connsiteX64" fmla="*/ 1553 w 4770"/>
                  <a:gd name="connsiteY64" fmla="*/ 933 h 1039"/>
                  <a:gd name="connsiteX65" fmla="*/ 1503 w 4770"/>
                  <a:gd name="connsiteY65" fmla="*/ 969 h 1039"/>
                  <a:gd name="connsiteX66" fmla="*/ 1450 w 4770"/>
                  <a:gd name="connsiteY66" fmla="*/ 998 h 1039"/>
                  <a:gd name="connsiteX67" fmla="*/ 1394 w 4770"/>
                  <a:gd name="connsiteY67" fmla="*/ 1021 h 1039"/>
                  <a:gd name="connsiteX68" fmla="*/ 1330 w 4770"/>
                  <a:gd name="connsiteY68" fmla="*/ 1033 h 1039"/>
                  <a:gd name="connsiteX69" fmla="*/ 1264 w 4770"/>
                  <a:gd name="connsiteY69" fmla="*/ 1039 h 1039"/>
                  <a:gd name="connsiteX70" fmla="*/ 1258 w 4770"/>
                  <a:gd name="connsiteY70" fmla="*/ 1039 h 1039"/>
                  <a:gd name="connsiteX71" fmla="*/ 1190 w 4770"/>
                  <a:gd name="connsiteY71" fmla="*/ 1035 h 1039"/>
                  <a:gd name="connsiteX72" fmla="*/ 1128 w 4770"/>
                  <a:gd name="connsiteY72" fmla="*/ 1023 h 1039"/>
                  <a:gd name="connsiteX73" fmla="*/ 1070 w 4770"/>
                  <a:gd name="connsiteY73" fmla="*/ 1004 h 1039"/>
                  <a:gd name="connsiteX74" fmla="*/ 1018 w 4770"/>
                  <a:gd name="connsiteY74" fmla="*/ 979 h 1039"/>
                  <a:gd name="connsiteX75" fmla="*/ 971 w 4770"/>
                  <a:gd name="connsiteY75" fmla="*/ 948 h 1039"/>
                  <a:gd name="connsiteX76" fmla="*/ 925 w 4770"/>
                  <a:gd name="connsiteY76" fmla="*/ 911 h 1039"/>
                  <a:gd name="connsiteX77" fmla="*/ 884 w 4770"/>
                  <a:gd name="connsiteY77" fmla="*/ 869 h 1039"/>
                  <a:gd name="connsiteX78" fmla="*/ 847 w 4770"/>
                  <a:gd name="connsiteY78" fmla="*/ 824 h 1039"/>
                  <a:gd name="connsiteX79" fmla="*/ 810 w 4770"/>
                  <a:gd name="connsiteY79" fmla="*/ 776 h 1039"/>
                  <a:gd name="connsiteX80" fmla="*/ 777 w 4770"/>
                  <a:gd name="connsiteY80" fmla="*/ 724 h 1039"/>
                  <a:gd name="connsiteX81" fmla="*/ 742 w 4770"/>
                  <a:gd name="connsiteY81" fmla="*/ 670 h 1039"/>
                  <a:gd name="connsiteX82" fmla="*/ 711 w 4770"/>
                  <a:gd name="connsiteY82" fmla="*/ 614 h 1039"/>
                  <a:gd name="connsiteX83" fmla="*/ 678 w 4770"/>
                  <a:gd name="connsiteY83" fmla="*/ 556 h 1039"/>
                  <a:gd name="connsiteX84" fmla="*/ 616 w 4770"/>
                  <a:gd name="connsiteY84" fmla="*/ 444 h 1039"/>
                  <a:gd name="connsiteX85" fmla="*/ 547 w 4770"/>
                  <a:gd name="connsiteY85" fmla="*/ 336 h 1039"/>
                  <a:gd name="connsiteX86" fmla="*/ 504 w 4770"/>
                  <a:gd name="connsiteY86" fmla="*/ 280 h 1039"/>
                  <a:gd name="connsiteX87" fmla="*/ 457 w 4770"/>
                  <a:gd name="connsiteY87" fmla="*/ 235 h 1039"/>
                  <a:gd name="connsiteX88" fmla="*/ 409 w 4770"/>
                  <a:gd name="connsiteY88" fmla="*/ 195 h 1039"/>
                  <a:gd name="connsiteX89" fmla="*/ 358 w 4770"/>
                  <a:gd name="connsiteY89" fmla="*/ 164 h 1039"/>
                  <a:gd name="connsiteX90" fmla="*/ 308 w 4770"/>
                  <a:gd name="connsiteY90" fmla="*/ 141 h 1039"/>
                  <a:gd name="connsiteX91" fmla="*/ 256 w 4770"/>
                  <a:gd name="connsiteY91" fmla="*/ 123 h 1039"/>
                  <a:gd name="connsiteX92" fmla="*/ 209 w 4770"/>
                  <a:gd name="connsiteY92" fmla="*/ 108 h 1039"/>
                  <a:gd name="connsiteX93" fmla="*/ 163 w 4770"/>
                  <a:gd name="connsiteY93" fmla="*/ 100 h 1039"/>
                  <a:gd name="connsiteX94" fmla="*/ 122 w 4770"/>
                  <a:gd name="connsiteY94" fmla="*/ 96 h 1039"/>
                  <a:gd name="connsiteX95" fmla="*/ 85 w 4770"/>
                  <a:gd name="connsiteY95" fmla="*/ 91 h 1039"/>
                  <a:gd name="connsiteX96" fmla="*/ 31 w 4770"/>
                  <a:gd name="connsiteY96" fmla="*/ 91 h 1039"/>
                  <a:gd name="connsiteX97" fmla="*/ 17 w 4770"/>
                  <a:gd name="connsiteY97" fmla="*/ 94 h 1039"/>
                  <a:gd name="connsiteX98" fmla="*/ 11 w 4770"/>
                  <a:gd name="connsiteY98" fmla="*/ 94 h 1039"/>
                  <a:gd name="connsiteX99" fmla="*/ 0 w 4770"/>
                  <a:gd name="connsiteY99" fmla="*/ 9 h 1039"/>
                  <a:gd name="connsiteX100" fmla="*/ 9 w 4770"/>
                  <a:gd name="connsiteY100" fmla="*/ 9 h 1039"/>
                  <a:gd name="connsiteX101" fmla="*/ 29 w 4770"/>
                  <a:gd name="connsiteY101" fmla="*/ 6 h 1039"/>
                  <a:gd name="connsiteX102" fmla="*/ 91 w 4770"/>
                  <a:gd name="connsiteY102" fmla="*/ 6 h 1039"/>
                  <a:gd name="connsiteX103" fmla="*/ 135 w 4770"/>
                  <a:gd name="connsiteY103" fmla="*/ 9 h 1039"/>
                  <a:gd name="connsiteX104" fmla="*/ 182 w 4770"/>
                  <a:gd name="connsiteY104" fmla="*/ 15 h 1039"/>
                  <a:gd name="connsiteX105" fmla="*/ 234 w 4770"/>
                  <a:gd name="connsiteY105" fmla="*/ 25 h 1039"/>
                  <a:gd name="connsiteX106" fmla="*/ 287 w 4770"/>
                  <a:gd name="connsiteY106" fmla="*/ 42 h 1039"/>
                  <a:gd name="connsiteX107" fmla="*/ 345 w 4770"/>
                  <a:gd name="connsiteY107" fmla="*/ 62 h 1039"/>
                  <a:gd name="connsiteX108" fmla="*/ 403 w 4770"/>
                  <a:gd name="connsiteY108" fmla="*/ 89 h 1039"/>
                  <a:gd name="connsiteX109" fmla="*/ 459 w 4770"/>
                  <a:gd name="connsiteY109" fmla="*/ 127 h 1039"/>
                  <a:gd name="connsiteX110" fmla="*/ 514 w 4770"/>
                  <a:gd name="connsiteY110" fmla="*/ 170 h 1039"/>
                  <a:gd name="connsiteX111" fmla="*/ 568 w 4770"/>
                  <a:gd name="connsiteY111" fmla="*/ 224 h 1039"/>
                  <a:gd name="connsiteX112" fmla="*/ 618 w 4770"/>
                  <a:gd name="connsiteY112" fmla="*/ 288 h 1039"/>
                  <a:gd name="connsiteX113" fmla="*/ 667 w 4770"/>
                  <a:gd name="connsiteY113" fmla="*/ 363 h 1039"/>
                  <a:gd name="connsiteX114" fmla="*/ 754 w 4770"/>
                  <a:gd name="connsiteY114" fmla="*/ 512 h 1039"/>
                  <a:gd name="connsiteX115" fmla="*/ 787 w 4770"/>
                  <a:gd name="connsiteY115" fmla="*/ 571 h 1039"/>
                  <a:gd name="connsiteX116" fmla="*/ 820 w 4770"/>
                  <a:gd name="connsiteY116" fmla="*/ 627 h 1039"/>
                  <a:gd name="connsiteX117" fmla="*/ 853 w 4770"/>
                  <a:gd name="connsiteY117" fmla="*/ 680 h 1039"/>
                  <a:gd name="connsiteX118" fmla="*/ 886 w 4770"/>
                  <a:gd name="connsiteY118" fmla="*/ 732 h 1039"/>
                  <a:gd name="connsiteX119" fmla="*/ 921 w 4770"/>
                  <a:gd name="connsiteY119" fmla="*/ 778 h 1039"/>
                  <a:gd name="connsiteX120" fmla="*/ 958 w 4770"/>
                  <a:gd name="connsiteY120" fmla="*/ 821 h 1039"/>
                  <a:gd name="connsiteX121" fmla="*/ 1000 w 4770"/>
                  <a:gd name="connsiteY121" fmla="*/ 859 h 1039"/>
                  <a:gd name="connsiteX122" fmla="*/ 1043 w 4770"/>
                  <a:gd name="connsiteY122" fmla="*/ 890 h 1039"/>
                  <a:gd name="connsiteX123" fmla="*/ 1090 w 4770"/>
                  <a:gd name="connsiteY123" fmla="*/ 917 h 1039"/>
                  <a:gd name="connsiteX124" fmla="*/ 1140 w 4770"/>
                  <a:gd name="connsiteY124" fmla="*/ 935 h 1039"/>
                  <a:gd name="connsiteX125" fmla="*/ 1196 w 4770"/>
                  <a:gd name="connsiteY125" fmla="*/ 948 h 1039"/>
                  <a:gd name="connsiteX126" fmla="*/ 1258 w 4770"/>
                  <a:gd name="connsiteY126" fmla="*/ 952 h 1039"/>
                  <a:gd name="connsiteX127" fmla="*/ 1264 w 4770"/>
                  <a:gd name="connsiteY127" fmla="*/ 952 h 1039"/>
                  <a:gd name="connsiteX128" fmla="*/ 1324 w 4770"/>
                  <a:gd name="connsiteY128" fmla="*/ 946 h 1039"/>
                  <a:gd name="connsiteX129" fmla="*/ 1380 w 4770"/>
                  <a:gd name="connsiteY129" fmla="*/ 931 h 1039"/>
                  <a:gd name="connsiteX130" fmla="*/ 1433 w 4770"/>
                  <a:gd name="connsiteY130" fmla="*/ 909 h 1039"/>
                  <a:gd name="connsiteX131" fmla="*/ 1481 w 4770"/>
                  <a:gd name="connsiteY131" fmla="*/ 880 h 1039"/>
                  <a:gd name="connsiteX132" fmla="*/ 1526 w 4770"/>
                  <a:gd name="connsiteY132" fmla="*/ 842 h 1039"/>
                  <a:gd name="connsiteX133" fmla="*/ 1569 w 4770"/>
                  <a:gd name="connsiteY133" fmla="*/ 799 h 1039"/>
                  <a:gd name="connsiteX134" fmla="*/ 1609 w 4770"/>
                  <a:gd name="connsiteY134" fmla="*/ 751 h 1039"/>
                  <a:gd name="connsiteX135" fmla="*/ 1648 w 4770"/>
                  <a:gd name="connsiteY135" fmla="*/ 699 h 1039"/>
                  <a:gd name="connsiteX136" fmla="*/ 1687 w 4770"/>
                  <a:gd name="connsiteY136" fmla="*/ 645 h 1039"/>
                  <a:gd name="connsiteX137" fmla="*/ 1799 w 4770"/>
                  <a:gd name="connsiteY137" fmla="*/ 471 h 1039"/>
                  <a:gd name="connsiteX138" fmla="*/ 1838 w 4770"/>
                  <a:gd name="connsiteY138" fmla="*/ 411 h 1039"/>
                  <a:gd name="connsiteX139" fmla="*/ 1879 w 4770"/>
                  <a:gd name="connsiteY139" fmla="*/ 353 h 1039"/>
                  <a:gd name="connsiteX140" fmla="*/ 1923 w 4770"/>
                  <a:gd name="connsiteY140" fmla="*/ 295 h 1039"/>
                  <a:gd name="connsiteX141" fmla="*/ 1968 w 4770"/>
                  <a:gd name="connsiteY141" fmla="*/ 241 h 1039"/>
                  <a:gd name="connsiteX142" fmla="*/ 2015 w 4770"/>
                  <a:gd name="connsiteY142" fmla="*/ 189 h 1039"/>
                  <a:gd name="connsiteX143" fmla="*/ 2069 w 4770"/>
                  <a:gd name="connsiteY143" fmla="*/ 141 h 1039"/>
                  <a:gd name="connsiteX144" fmla="*/ 2125 w 4770"/>
                  <a:gd name="connsiteY144" fmla="*/ 100 h 1039"/>
                  <a:gd name="connsiteX145" fmla="*/ 2187 w 4770"/>
                  <a:gd name="connsiteY145" fmla="*/ 65 h 1039"/>
                  <a:gd name="connsiteX146" fmla="*/ 2253 w 4770"/>
                  <a:gd name="connsiteY146" fmla="*/ 35 h 1039"/>
                  <a:gd name="connsiteX147" fmla="*/ 2325 w 4770"/>
                  <a:gd name="connsiteY147" fmla="*/ 15 h 1039"/>
                  <a:gd name="connsiteX148" fmla="*/ 2404 w 4770"/>
                  <a:gd name="connsiteY148" fmla="*/ 2 h 1039"/>
                  <a:gd name="connsiteX149" fmla="*/ 2474 w 4770"/>
                  <a:gd name="connsiteY149" fmla="*/ 0 h 1039"/>
                  <a:gd name="connsiteX150" fmla="*/ 2540 w 4770"/>
                  <a:gd name="connsiteY150" fmla="*/ 9 h 1039"/>
                  <a:gd name="connsiteX151" fmla="*/ 2600 w 4770"/>
                  <a:gd name="connsiteY151" fmla="*/ 23 h 1039"/>
                  <a:gd name="connsiteX152" fmla="*/ 2658 w 4770"/>
                  <a:gd name="connsiteY152" fmla="*/ 46 h 1039"/>
                  <a:gd name="connsiteX153" fmla="*/ 2711 w 4770"/>
                  <a:gd name="connsiteY153" fmla="*/ 77 h 1039"/>
                  <a:gd name="connsiteX154" fmla="*/ 2761 w 4770"/>
                  <a:gd name="connsiteY154" fmla="*/ 112 h 1039"/>
                  <a:gd name="connsiteX155" fmla="*/ 2806 w 4770"/>
                  <a:gd name="connsiteY155" fmla="*/ 154 h 1039"/>
                  <a:gd name="connsiteX156" fmla="*/ 2852 w 4770"/>
                  <a:gd name="connsiteY156" fmla="*/ 199 h 1039"/>
                  <a:gd name="connsiteX157" fmla="*/ 2893 w 4770"/>
                  <a:gd name="connsiteY157" fmla="*/ 247 h 1039"/>
                  <a:gd name="connsiteX158" fmla="*/ 2932 w 4770"/>
                  <a:gd name="connsiteY158" fmla="*/ 299 h 1039"/>
                  <a:gd name="connsiteX159" fmla="*/ 2969 w 4770"/>
                  <a:gd name="connsiteY159" fmla="*/ 353 h 1039"/>
                  <a:gd name="connsiteX160" fmla="*/ 3004 w 4770"/>
                  <a:gd name="connsiteY160" fmla="*/ 409 h 1039"/>
                  <a:gd name="connsiteX161" fmla="*/ 3039 w 4770"/>
                  <a:gd name="connsiteY161" fmla="*/ 463 h 1039"/>
                  <a:gd name="connsiteX162" fmla="*/ 3073 w 4770"/>
                  <a:gd name="connsiteY162" fmla="*/ 519 h 1039"/>
                  <a:gd name="connsiteX163" fmla="*/ 3110 w 4770"/>
                  <a:gd name="connsiteY163" fmla="*/ 581 h 1039"/>
                  <a:gd name="connsiteX164" fmla="*/ 3147 w 4770"/>
                  <a:gd name="connsiteY164" fmla="*/ 639 h 1039"/>
                  <a:gd name="connsiteX165" fmla="*/ 3186 w 4770"/>
                  <a:gd name="connsiteY165" fmla="*/ 697 h 1039"/>
                  <a:gd name="connsiteX166" fmla="*/ 3223 w 4770"/>
                  <a:gd name="connsiteY166" fmla="*/ 751 h 1039"/>
                  <a:gd name="connsiteX167" fmla="*/ 3265 w 4770"/>
                  <a:gd name="connsiteY167" fmla="*/ 801 h 1039"/>
                  <a:gd name="connsiteX168" fmla="*/ 3306 w 4770"/>
                  <a:gd name="connsiteY168" fmla="*/ 844 h 1039"/>
                  <a:gd name="connsiteX169" fmla="*/ 3349 w 4770"/>
                  <a:gd name="connsiteY169" fmla="*/ 882 h 1039"/>
                  <a:gd name="connsiteX170" fmla="*/ 3395 w 4770"/>
                  <a:gd name="connsiteY170" fmla="*/ 913 h 1039"/>
                  <a:gd name="connsiteX171" fmla="*/ 3444 w 4770"/>
                  <a:gd name="connsiteY171" fmla="*/ 935 h 1039"/>
                  <a:gd name="connsiteX172" fmla="*/ 3498 w 4770"/>
                  <a:gd name="connsiteY172" fmla="*/ 948 h 1039"/>
                  <a:gd name="connsiteX173" fmla="*/ 3554 w 4770"/>
                  <a:gd name="connsiteY173" fmla="*/ 952 h 1039"/>
                  <a:gd name="connsiteX174" fmla="*/ 3609 w 4770"/>
                  <a:gd name="connsiteY174" fmla="*/ 946 h 1039"/>
                  <a:gd name="connsiteX175" fmla="*/ 3659 w 4770"/>
                  <a:gd name="connsiteY175" fmla="*/ 931 h 1039"/>
                  <a:gd name="connsiteX176" fmla="*/ 3706 w 4770"/>
                  <a:gd name="connsiteY176" fmla="*/ 911 h 1039"/>
                  <a:gd name="connsiteX177" fmla="*/ 3750 w 4770"/>
                  <a:gd name="connsiteY177" fmla="*/ 880 h 1039"/>
                  <a:gd name="connsiteX178" fmla="*/ 3789 w 4770"/>
                  <a:gd name="connsiteY178" fmla="*/ 844 h 1039"/>
                  <a:gd name="connsiteX179" fmla="*/ 3826 w 4770"/>
                  <a:gd name="connsiteY179" fmla="*/ 803 h 1039"/>
                  <a:gd name="connsiteX180" fmla="*/ 3861 w 4770"/>
                  <a:gd name="connsiteY180" fmla="*/ 755 h 1039"/>
                  <a:gd name="connsiteX181" fmla="*/ 3894 w 4770"/>
                  <a:gd name="connsiteY181" fmla="*/ 705 h 1039"/>
                  <a:gd name="connsiteX182" fmla="*/ 3927 w 4770"/>
                  <a:gd name="connsiteY182" fmla="*/ 651 h 1039"/>
                  <a:gd name="connsiteX183" fmla="*/ 3960 w 4770"/>
                  <a:gd name="connsiteY183" fmla="*/ 593 h 1039"/>
                  <a:gd name="connsiteX184" fmla="*/ 3993 w 4770"/>
                  <a:gd name="connsiteY184" fmla="*/ 533 h 1039"/>
                  <a:gd name="connsiteX185" fmla="*/ 4022 w 4770"/>
                  <a:gd name="connsiteY185" fmla="*/ 479 h 1039"/>
                  <a:gd name="connsiteX186" fmla="*/ 4084 w 4770"/>
                  <a:gd name="connsiteY186" fmla="*/ 371 h 1039"/>
                  <a:gd name="connsiteX187" fmla="*/ 4154 w 4770"/>
                  <a:gd name="connsiteY187" fmla="*/ 268 h 1039"/>
                  <a:gd name="connsiteX188" fmla="*/ 4192 w 4770"/>
                  <a:gd name="connsiteY188" fmla="*/ 220 h 1039"/>
                  <a:gd name="connsiteX189" fmla="*/ 4233 w 4770"/>
                  <a:gd name="connsiteY189" fmla="*/ 174 h 1039"/>
                  <a:gd name="connsiteX190" fmla="*/ 4276 w 4770"/>
                  <a:gd name="connsiteY190" fmla="*/ 133 h 1039"/>
                  <a:gd name="connsiteX0" fmla="*/ 4276 w 4691"/>
                  <a:gd name="connsiteY0" fmla="*/ 133 h 1039"/>
                  <a:gd name="connsiteX1" fmla="*/ 4691 w 4691"/>
                  <a:gd name="connsiteY1" fmla="*/ 85 h 1039"/>
                  <a:gd name="connsiteX2" fmla="*/ 4662 w 4691"/>
                  <a:gd name="connsiteY2" fmla="*/ 83 h 1039"/>
                  <a:gd name="connsiteX3" fmla="*/ 4507 w 4691"/>
                  <a:gd name="connsiteY3" fmla="*/ 102 h 1039"/>
                  <a:gd name="connsiteX4" fmla="*/ 4400 w 4691"/>
                  <a:gd name="connsiteY4" fmla="*/ 150 h 1039"/>
                  <a:gd name="connsiteX5" fmla="*/ 4353 w 4691"/>
                  <a:gd name="connsiteY5" fmla="*/ 183 h 1039"/>
                  <a:gd name="connsiteX6" fmla="*/ 4309 w 4691"/>
                  <a:gd name="connsiteY6" fmla="*/ 220 h 1039"/>
                  <a:gd name="connsiteX7" fmla="*/ 4270 w 4691"/>
                  <a:gd name="connsiteY7" fmla="*/ 264 h 1039"/>
                  <a:gd name="connsiteX8" fmla="*/ 4196 w 4691"/>
                  <a:gd name="connsiteY8" fmla="*/ 359 h 1039"/>
                  <a:gd name="connsiteX9" fmla="*/ 4163 w 4691"/>
                  <a:gd name="connsiteY9" fmla="*/ 411 h 1039"/>
                  <a:gd name="connsiteX10" fmla="*/ 4101 w 4691"/>
                  <a:gd name="connsiteY10" fmla="*/ 519 h 1039"/>
                  <a:gd name="connsiteX11" fmla="*/ 4008 w 4691"/>
                  <a:gd name="connsiteY11" fmla="*/ 687 h 1039"/>
                  <a:gd name="connsiteX12" fmla="*/ 3975 w 4691"/>
                  <a:gd name="connsiteY12" fmla="*/ 743 h 1039"/>
                  <a:gd name="connsiteX13" fmla="*/ 3940 w 4691"/>
                  <a:gd name="connsiteY13" fmla="*/ 794 h 1039"/>
                  <a:gd name="connsiteX14" fmla="*/ 3905 w 4691"/>
                  <a:gd name="connsiteY14" fmla="*/ 844 h 1039"/>
                  <a:gd name="connsiteX15" fmla="*/ 3865 w 4691"/>
                  <a:gd name="connsiteY15" fmla="*/ 890 h 1039"/>
                  <a:gd name="connsiteX16" fmla="*/ 3824 w 4691"/>
                  <a:gd name="connsiteY16" fmla="*/ 931 h 1039"/>
                  <a:gd name="connsiteX17" fmla="*/ 3779 w 4691"/>
                  <a:gd name="connsiteY17" fmla="*/ 967 h 1039"/>
                  <a:gd name="connsiteX18" fmla="*/ 3729 w 4691"/>
                  <a:gd name="connsiteY18" fmla="*/ 996 h 1039"/>
                  <a:gd name="connsiteX19" fmla="*/ 3677 w 4691"/>
                  <a:gd name="connsiteY19" fmla="*/ 1018 h 1039"/>
                  <a:gd name="connsiteX20" fmla="*/ 3620 w 4691"/>
                  <a:gd name="connsiteY20" fmla="*/ 1033 h 1039"/>
                  <a:gd name="connsiteX21" fmla="*/ 3556 w 4691"/>
                  <a:gd name="connsiteY21" fmla="*/ 1039 h 1039"/>
                  <a:gd name="connsiteX22" fmla="*/ 3547 w 4691"/>
                  <a:gd name="connsiteY22" fmla="*/ 1039 h 1039"/>
                  <a:gd name="connsiteX23" fmla="*/ 3485 w 4691"/>
                  <a:gd name="connsiteY23" fmla="*/ 1035 h 1039"/>
                  <a:gd name="connsiteX24" fmla="*/ 3426 w 4691"/>
                  <a:gd name="connsiteY24" fmla="*/ 1021 h 1039"/>
                  <a:gd name="connsiteX25" fmla="*/ 3372 w 4691"/>
                  <a:gd name="connsiteY25" fmla="*/ 998 h 1039"/>
                  <a:gd name="connsiteX26" fmla="*/ 3320 w 4691"/>
                  <a:gd name="connsiteY26" fmla="*/ 969 h 1039"/>
                  <a:gd name="connsiteX27" fmla="*/ 3273 w 4691"/>
                  <a:gd name="connsiteY27" fmla="*/ 931 h 1039"/>
                  <a:gd name="connsiteX28" fmla="*/ 3229 w 4691"/>
                  <a:gd name="connsiteY28" fmla="*/ 890 h 1039"/>
                  <a:gd name="connsiteX29" fmla="*/ 3186 w 4691"/>
                  <a:gd name="connsiteY29" fmla="*/ 842 h 1039"/>
                  <a:gd name="connsiteX30" fmla="*/ 3147 w 4691"/>
                  <a:gd name="connsiteY30" fmla="*/ 792 h 1039"/>
                  <a:gd name="connsiteX31" fmla="*/ 3108 w 4691"/>
                  <a:gd name="connsiteY31" fmla="*/ 736 h 1039"/>
                  <a:gd name="connsiteX32" fmla="*/ 3070 w 4691"/>
                  <a:gd name="connsiteY32" fmla="*/ 680 h 1039"/>
                  <a:gd name="connsiteX33" fmla="*/ 2965 w 4691"/>
                  <a:gd name="connsiteY33" fmla="*/ 506 h 1039"/>
                  <a:gd name="connsiteX34" fmla="*/ 2928 w 4691"/>
                  <a:gd name="connsiteY34" fmla="*/ 448 h 1039"/>
                  <a:gd name="connsiteX35" fmla="*/ 2891 w 4691"/>
                  <a:gd name="connsiteY35" fmla="*/ 392 h 1039"/>
                  <a:gd name="connsiteX36" fmla="*/ 2854 w 4691"/>
                  <a:gd name="connsiteY36" fmla="*/ 338 h 1039"/>
                  <a:gd name="connsiteX37" fmla="*/ 2814 w 4691"/>
                  <a:gd name="connsiteY37" fmla="*/ 288 h 1039"/>
                  <a:gd name="connsiteX38" fmla="*/ 2773 w 4691"/>
                  <a:gd name="connsiteY38" fmla="*/ 243 h 1039"/>
                  <a:gd name="connsiteX39" fmla="*/ 2732 w 4691"/>
                  <a:gd name="connsiteY39" fmla="*/ 201 h 1039"/>
                  <a:gd name="connsiteX40" fmla="*/ 2686 w 4691"/>
                  <a:gd name="connsiteY40" fmla="*/ 164 h 1039"/>
                  <a:gd name="connsiteX41" fmla="*/ 2639 w 4691"/>
                  <a:gd name="connsiteY41" fmla="*/ 135 h 1039"/>
                  <a:gd name="connsiteX42" fmla="*/ 2587 w 4691"/>
                  <a:gd name="connsiteY42" fmla="*/ 112 h 1039"/>
                  <a:gd name="connsiteX43" fmla="*/ 2532 w 4691"/>
                  <a:gd name="connsiteY43" fmla="*/ 96 h 1039"/>
                  <a:gd name="connsiteX44" fmla="*/ 2474 w 4691"/>
                  <a:gd name="connsiteY44" fmla="*/ 87 h 1039"/>
                  <a:gd name="connsiteX45" fmla="*/ 2410 w 4691"/>
                  <a:gd name="connsiteY45" fmla="*/ 89 h 1039"/>
                  <a:gd name="connsiteX46" fmla="*/ 2342 w 4691"/>
                  <a:gd name="connsiteY46" fmla="*/ 100 h 1039"/>
                  <a:gd name="connsiteX47" fmla="*/ 2280 w 4691"/>
                  <a:gd name="connsiteY47" fmla="*/ 118 h 1039"/>
                  <a:gd name="connsiteX48" fmla="*/ 2222 w 4691"/>
                  <a:gd name="connsiteY48" fmla="*/ 143 h 1039"/>
                  <a:gd name="connsiteX49" fmla="*/ 2168 w 4691"/>
                  <a:gd name="connsiteY49" fmla="*/ 176 h 1039"/>
                  <a:gd name="connsiteX50" fmla="*/ 2117 w 4691"/>
                  <a:gd name="connsiteY50" fmla="*/ 214 h 1039"/>
                  <a:gd name="connsiteX51" fmla="*/ 2071 w 4691"/>
                  <a:gd name="connsiteY51" fmla="*/ 257 h 1039"/>
                  <a:gd name="connsiteX52" fmla="*/ 2026 w 4691"/>
                  <a:gd name="connsiteY52" fmla="*/ 303 h 1039"/>
                  <a:gd name="connsiteX53" fmla="*/ 1984 w 4691"/>
                  <a:gd name="connsiteY53" fmla="*/ 355 h 1039"/>
                  <a:gd name="connsiteX54" fmla="*/ 1945 w 4691"/>
                  <a:gd name="connsiteY54" fmla="*/ 409 h 1039"/>
                  <a:gd name="connsiteX55" fmla="*/ 1908 w 4691"/>
                  <a:gd name="connsiteY55" fmla="*/ 463 h 1039"/>
                  <a:gd name="connsiteX56" fmla="*/ 1871 w 4691"/>
                  <a:gd name="connsiteY56" fmla="*/ 519 h 1039"/>
                  <a:gd name="connsiteX57" fmla="*/ 1834 w 4691"/>
                  <a:gd name="connsiteY57" fmla="*/ 577 h 1039"/>
                  <a:gd name="connsiteX58" fmla="*/ 1799 w 4691"/>
                  <a:gd name="connsiteY58" fmla="*/ 633 h 1039"/>
                  <a:gd name="connsiteX59" fmla="*/ 1724 w 4691"/>
                  <a:gd name="connsiteY59" fmla="*/ 745 h 1039"/>
                  <a:gd name="connsiteX60" fmla="*/ 1685 w 4691"/>
                  <a:gd name="connsiteY60" fmla="*/ 797 h 1039"/>
                  <a:gd name="connsiteX61" fmla="*/ 1644 w 4691"/>
                  <a:gd name="connsiteY61" fmla="*/ 846 h 1039"/>
                  <a:gd name="connsiteX62" fmla="*/ 1600 w 4691"/>
                  <a:gd name="connsiteY62" fmla="*/ 892 h 1039"/>
                  <a:gd name="connsiteX63" fmla="*/ 1553 w 4691"/>
                  <a:gd name="connsiteY63" fmla="*/ 933 h 1039"/>
                  <a:gd name="connsiteX64" fmla="*/ 1503 w 4691"/>
                  <a:gd name="connsiteY64" fmla="*/ 969 h 1039"/>
                  <a:gd name="connsiteX65" fmla="*/ 1450 w 4691"/>
                  <a:gd name="connsiteY65" fmla="*/ 998 h 1039"/>
                  <a:gd name="connsiteX66" fmla="*/ 1394 w 4691"/>
                  <a:gd name="connsiteY66" fmla="*/ 1021 h 1039"/>
                  <a:gd name="connsiteX67" fmla="*/ 1330 w 4691"/>
                  <a:gd name="connsiteY67" fmla="*/ 1033 h 1039"/>
                  <a:gd name="connsiteX68" fmla="*/ 1264 w 4691"/>
                  <a:gd name="connsiteY68" fmla="*/ 1039 h 1039"/>
                  <a:gd name="connsiteX69" fmla="*/ 1258 w 4691"/>
                  <a:gd name="connsiteY69" fmla="*/ 1039 h 1039"/>
                  <a:gd name="connsiteX70" fmla="*/ 1190 w 4691"/>
                  <a:gd name="connsiteY70" fmla="*/ 1035 h 1039"/>
                  <a:gd name="connsiteX71" fmla="*/ 1128 w 4691"/>
                  <a:gd name="connsiteY71" fmla="*/ 1023 h 1039"/>
                  <a:gd name="connsiteX72" fmla="*/ 1070 w 4691"/>
                  <a:gd name="connsiteY72" fmla="*/ 1004 h 1039"/>
                  <a:gd name="connsiteX73" fmla="*/ 1018 w 4691"/>
                  <a:gd name="connsiteY73" fmla="*/ 979 h 1039"/>
                  <a:gd name="connsiteX74" fmla="*/ 971 w 4691"/>
                  <a:gd name="connsiteY74" fmla="*/ 948 h 1039"/>
                  <a:gd name="connsiteX75" fmla="*/ 925 w 4691"/>
                  <a:gd name="connsiteY75" fmla="*/ 911 h 1039"/>
                  <a:gd name="connsiteX76" fmla="*/ 884 w 4691"/>
                  <a:gd name="connsiteY76" fmla="*/ 869 h 1039"/>
                  <a:gd name="connsiteX77" fmla="*/ 847 w 4691"/>
                  <a:gd name="connsiteY77" fmla="*/ 824 h 1039"/>
                  <a:gd name="connsiteX78" fmla="*/ 810 w 4691"/>
                  <a:gd name="connsiteY78" fmla="*/ 776 h 1039"/>
                  <a:gd name="connsiteX79" fmla="*/ 777 w 4691"/>
                  <a:gd name="connsiteY79" fmla="*/ 724 h 1039"/>
                  <a:gd name="connsiteX80" fmla="*/ 742 w 4691"/>
                  <a:gd name="connsiteY80" fmla="*/ 670 h 1039"/>
                  <a:gd name="connsiteX81" fmla="*/ 711 w 4691"/>
                  <a:gd name="connsiteY81" fmla="*/ 614 h 1039"/>
                  <a:gd name="connsiteX82" fmla="*/ 678 w 4691"/>
                  <a:gd name="connsiteY82" fmla="*/ 556 h 1039"/>
                  <a:gd name="connsiteX83" fmla="*/ 616 w 4691"/>
                  <a:gd name="connsiteY83" fmla="*/ 444 h 1039"/>
                  <a:gd name="connsiteX84" fmla="*/ 547 w 4691"/>
                  <a:gd name="connsiteY84" fmla="*/ 336 h 1039"/>
                  <a:gd name="connsiteX85" fmla="*/ 504 w 4691"/>
                  <a:gd name="connsiteY85" fmla="*/ 280 h 1039"/>
                  <a:gd name="connsiteX86" fmla="*/ 457 w 4691"/>
                  <a:gd name="connsiteY86" fmla="*/ 235 h 1039"/>
                  <a:gd name="connsiteX87" fmla="*/ 409 w 4691"/>
                  <a:gd name="connsiteY87" fmla="*/ 195 h 1039"/>
                  <a:gd name="connsiteX88" fmla="*/ 358 w 4691"/>
                  <a:gd name="connsiteY88" fmla="*/ 164 h 1039"/>
                  <a:gd name="connsiteX89" fmla="*/ 308 w 4691"/>
                  <a:gd name="connsiteY89" fmla="*/ 141 h 1039"/>
                  <a:gd name="connsiteX90" fmla="*/ 256 w 4691"/>
                  <a:gd name="connsiteY90" fmla="*/ 123 h 1039"/>
                  <a:gd name="connsiteX91" fmla="*/ 209 w 4691"/>
                  <a:gd name="connsiteY91" fmla="*/ 108 h 1039"/>
                  <a:gd name="connsiteX92" fmla="*/ 163 w 4691"/>
                  <a:gd name="connsiteY92" fmla="*/ 100 h 1039"/>
                  <a:gd name="connsiteX93" fmla="*/ 122 w 4691"/>
                  <a:gd name="connsiteY93" fmla="*/ 96 h 1039"/>
                  <a:gd name="connsiteX94" fmla="*/ 85 w 4691"/>
                  <a:gd name="connsiteY94" fmla="*/ 91 h 1039"/>
                  <a:gd name="connsiteX95" fmla="*/ 31 w 4691"/>
                  <a:gd name="connsiteY95" fmla="*/ 91 h 1039"/>
                  <a:gd name="connsiteX96" fmla="*/ 17 w 4691"/>
                  <a:gd name="connsiteY96" fmla="*/ 94 h 1039"/>
                  <a:gd name="connsiteX97" fmla="*/ 11 w 4691"/>
                  <a:gd name="connsiteY97" fmla="*/ 94 h 1039"/>
                  <a:gd name="connsiteX98" fmla="*/ 0 w 4691"/>
                  <a:gd name="connsiteY98" fmla="*/ 9 h 1039"/>
                  <a:gd name="connsiteX99" fmla="*/ 9 w 4691"/>
                  <a:gd name="connsiteY99" fmla="*/ 9 h 1039"/>
                  <a:gd name="connsiteX100" fmla="*/ 29 w 4691"/>
                  <a:gd name="connsiteY100" fmla="*/ 6 h 1039"/>
                  <a:gd name="connsiteX101" fmla="*/ 91 w 4691"/>
                  <a:gd name="connsiteY101" fmla="*/ 6 h 1039"/>
                  <a:gd name="connsiteX102" fmla="*/ 135 w 4691"/>
                  <a:gd name="connsiteY102" fmla="*/ 9 h 1039"/>
                  <a:gd name="connsiteX103" fmla="*/ 182 w 4691"/>
                  <a:gd name="connsiteY103" fmla="*/ 15 h 1039"/>
                  <a:gd name="connsiteX104" fmla="*/ 234 w 4691"/>
                  <a:gd name="connsiteY104" fmla="*/ 25 h 1039"/>
                  <a:gd name="connsiteX105" fmla="*/ 287 w 4691"/>
                  <a:gd name="connsiteY105" fmla="*/ 42 h 1039"/>
                  <a:gd name="connsiteX106" fmla="*/ 345 w 4691"/>
                  <a:gd name="connsiteY106" fmla="*/ 62 h 1039"/>
                  <a:gd name="connsiteX107" fmla="*/ 403 w 4691"/>
                  <a:gd name="connsiteY107" fmla="*/ 89 h 1039"/>
                  <a:gd name="connsiteX108" fmla="*/ 459 w 4691"/>
                  <a:gd name="connsiteY108" fmla="*/ 127 h 1039"/>
                  <a:gd name="connsiteX109" fmla="*/ 514 w 4691"/>
                  <a:gd name="connsiteY109" fmla="*/ 170 h 1039"/>
                  <a:gd name="connsiteX110" fmla="*/ 568 w 4691"/>
                  <a:gd name="connsiteY110" fmla="*/ 224 h 1039"/>
                  <a:gd name="connsiteX111" fmla="*/ 618 w 4691"/>
                  <a:gd name="connsiteY111" fmla="*/ 288 h 1039"/>
                  <a:gd name="connsiteX112" fmla="*/ 667 w 4691"/>
                  <a:gd name="connsiteY112" fmla="*/ 363 h 1039"/>
                  <a:gd name="connsiteX113" fmla="*/ 754 w 4691"/>
                  <a:gd name="connsiteY113" fmla="*/ 512 h 1039"/>
                  <a:gd name="connsiteX114" fmla="*/ 787 w 4691"/>
                  <a:gd name="connsiteY114" fmla="*/ 571 h 1039"/>
                  <a:gd name="connsiteX115" fmla="*/ 820 w 4691"/>
                  <a:gd name="connsiteY115" fmla="*/ 627 h 1039"/>
                  <a:gd name="connsiteX116" fmla="*/ 853 w 4691"/>
                  <a:gd name="connsiteY116" fmla="*/ 680 h 1039"/>
                  <a:gd name="connsiteX117" fmla="*/ 886 w 4691"/>
                  <a:gd name="connsiteY117" fmla="*/ 732 h 1039"/>
                  <a:gd name="connsiteX118" fmla="*/ 921 w 4691"/>
                  <a:gd name="connsiteY118" fmla="*/ 778 h 1039"/>
                  <a:gd name="connsiteX119" fmla="*/ 958 w 4691"/>
                  <a:gd name="connsiteY119" fmla="*/ 821 h 1039"/>
                  <a:gd name="connsiteX120" fmla="*/ 1000 w 4691"/>
                  <a:gd name="connsiteY120" fmla="*/ 859 h 1039"/>
                  <a:gd name="connsiteX121" fmla="*/ 1043 w 4691"/>
                  <a:gd name="connsiteY121" fmla="*/ 890 h 1039"/>
                  <a:gd name="connsiteX122" fmla="*/ 1090 w 4691"/>
                  <a:gd name="connsiteY122" fmla="*/ 917 h 1039"/>
                  <a:gd name="connsiteX123" fmla="*/ 1140 w 4691"/>
                  <a:gd name="connsiteY123" fmla="*/ 935 h 1039"/>
                  <a:gd name="connsiteX124" fmla="*/ 1196 w 4691"/>
                  <a:gd name="connsiteY124" fmla="*/ 948 h 1039"/>
                  <a:gd name="connsiteX125" fmla="*/ 1258 w 4691"/>
                  <a:gd name="connsiteY125" fmla="*/ 952 h 1039"/>
                  <a:gd name="connsiteX126" fmla="*/ 1264 w 4691"/>
                  <a:gd name="connsiteY126" fmla="*/ 952 h 1039"/>
                  <a:gd name="connsiteX127" fmla="*/ 1324 w 4691"/>
                  <a:gd name="connsiteY127" fmla="*/ 946 h 1039"/>
                  <a:gd name="connsiteX128" fmla="*/ 1380 w 4691"/>
                  <a:gd name="connsiteY128" fmla="*/ 931 h 1039"/>
                  <a:gd name="connsiteX129" fmla="*/ 1433 w 4691"/>
                  <a:gd name="connsiteY129" fmla="*/ 909 h 1039"/>
                  <a:gd name="connsiteX130" fmla="*/ 1481 w 4691"/>
                  <a:gd name="connsiteY130" fmla="*/ 880 h 1039"/>
                  <a:gd name="connsiteX131" fmla="*/ 1526 w 4691"/>
                  <a:gd name="connsiteY131" fmla="*/ 842 h 1039"/>
                  <a:gd name="connsiteX132" fmla="*/ 1569 w 4691"/>
                  <a:gd name="connsiteY132" fmla="*/ 799 h 1039"/>
                  <a:gd name="connsiteX133" fmla="*/ 1609 w 4691"/>
                  <a:gd name="connsiteY133" fmla="*/ 751 h 1039"/>
                  <a:gd name="connsiteX134" fmla="*/ 1648 w 4691"/>
                  <a:gd name="connsiteY134" fmla="*/ 699 h 1039"/>
                  <a:gd name="connsiteX135" fmla="*/ 1687 w 4691"/>
                  <a:gd name="connsiteY135" fmla="*/ 645 h 1039"/>
                  <a:gd name="connsiteX136" fmla="*/ 1799 w 4691"/>
                  <a:gd name="connsiteY136" fmla="*/ 471 h 1039"/>
                  <a:gd name="connsiteX137" fmla="*/ 1838 w 4691"/>
                  <a:gd name="connsiteY137" fmla="*/ 411 h 1039"/>
                  <a:gd name="connsiteX138" fmla="*/ 1879 w 4691"/>
                  <a:gd name="connsiteY138" fmla="*/ 353 h 1039"/>
                  <a:gd name="connsiteX139" fmla="*/ 1923 w 4691"/>
                  <a:gd name="connsiteY139" fmla="*/ 295 h 1039"/>
                  <a:gd name="connsiteX140" fmla="*/ 1968 w 4691"/>
                  <a:gd name="connsiteY140" fmla="*/ 241 h 1039"/>
                  <a:gd name="connsiteX141" fmla="*/ 2015 w 4691"/>
                  <a:gd name="connsiteY141" fmla="*/ 189 h 1039"/>
                  <a:gd name="connsiteX142" fmla="*/ 2069 w 4691"/>
                  <a:gd name="connsiteY142" fmla="*/ 141 h 1039"/>
                  <a:gd name="connsiteX143" fmla="*/ 2125 w 4691"/>
                  <a:gd name="connsiteY143" fmla="*/ 100 h 1039"/>
                  <a:gd name="connsiteX144" fmla="*/ 2187 w 4691"/>
                  <a:gd name="connsiteY144" fmla="*/ 65 h 1039"/>
                  <a:gd name="connsiteX145" fmla="*/ 2253 w 4691"/>
                  <a:gd name="connsiteY145" fmla="*/ 35 h 1039"/>
                  <a:gd name="connsiteX146" fmla="*/ 2325 w 4691"/>
                  <a:gd name="connsiteY146" fmla="*/ 15 h 1039"/>
                  <a:gd name="connsiteX147" fmla="*/ 2404 w 4691"/>
                  <a:gd name="connsiteY147" fmla="*/ 2 h 1039"/>
                  <a:gd name="connsiteX148" fmla="*/ 2474 w 4691"/>
                  <a:gd name="connsiteY148" fmla="*/ 0 h 1039"/>
                  <a:gd name="connsiteX149" fmla="*/ 2540 w 4691"/>
                  <a:gd name="connsiteY149" fmla="*/ 9 h 1039"/>
                  <a:gd name="connsiteX150" fmla="*/ 2600 w 4691"/>
                  <a:gd name="connsiteY150" fmla="*/ 23 h 1039"/>
                  <a:gd name="connsiteX151" fmla="*/ 2658 w 4691"/>
                  <a:gd name="connsiteY151" fmla="*/ 46 h 1039"/>
                  <a:gd name="connsiteX152" fmla="*/ 2711 w 4691"/>
                  <a:gd name="connsiteY152" fmla="*/ 77 h 1039"/>
                  <a:gd name="connsiteX153" fmla="*/ 2761 w 4691"/>
                  <a:gd name="connsiteY153" fmla="*/ 112 h 1039"/>
                  <a:gd name="connsiteX154" fmla="*/ 2806 w 4691"/>
                  <a:gd name="connsiteY154" fmla="*/ 154 h 1039"/>
                  <a:gd name="connsiteX155" fmla="*/ 2852 w 4691"/>
                  <a:gd name="connsiteY155" fmla="*/ 199 h 1039"/>
                  <a:gd name="connsiteX156" fmla="*/ 2893 w 4691"/>
                  <a:gd name="connsiteY156" fmla="*/ 247 h 1039"/>
                  <a:gd name="connsiteX157" fmla="*/ 2932 w 4691"/>
                  <a:gd name="connsiteY157" fmla="*/ 299 h 1039"/>
                  <a:gd name="connsiteX158" fmla="*/ 2969 w 4691"/>
                  <a:gd name="connsiteY158" fmla="*/ 353 h 1039"/>
                  <a:gd name="connsiteX159" fmla="*/ 3004 w 4691"/>
                  <a:gd name="connsiteY159" fmla="*/ 409 h 1039"/>
                  <a:gd name="connsiteX160" fmla="*/ 3039 w 4691"/>
                  <a:gd name="connsiteY160" fmla="*/ 463 h 1039"/>
                  <a:gd name="connsiteX161" fmla="*/ 3073 w 4691"/>
                  <a:gd name="connsiteY161" fmla="*/ 519 h 1039"/>
                  <a:gd name="connsiteX162" fmla="*/ 3110 w 4691"/>
                  <a:gd name="connsiteY162" fmla="*/ 581 h 1039"/>
                  <a:gd name="connsiteX163" fmla="*/ 3147 w 4691"/>
                  <a:gd name="connsiteY163" fmla="*/ 639 h 1039"/>
                  <a:gd name="connsiteX164" fmla="*/ 3186 w 4691"/>
                  <a:gd name="connsiteY164" fmla="*/ 697 h 1039"/>
                  <a:gd name="connsiteX165" fmla="*/ 3223 w 4691"/>
                  <a:gd name="connsiteY165" fmla="*/ 751 h 1039"/>
                  <a:gd name="connsiteX166" fmla="*/ 3265 w 4691"/>
                  <a:gd name="connsiteY166" fmla="*/ 801 h 1039"/>
                  <a:gd name="connsiteX167" fmla="*/ 3306 w 4691"/>
                  <a:gd name="connsiteY167" fmla="*/ 844 h 1039"/>
                  <a:gd name="connsiteX168" fmla="*/ 3349 w 4691"/>
                  <a:gd name="connsiteY168" fmla="*/ 882 h 1039"/>
                  <a:gd name="connsiteX169" fmla="*/ 3395 w 4691"/>
                  <a:gd name="connsiteY169" fmla="*/ 913 h 1039"/>
                  <a:gd name="connsiteX170" fmla="*/ 3444 w 4691"/>
                  <a:gd name="connsiteY170" fmla="*/ 935 h 1039"/>
                  <a:gd name="connsiteX171" fmla="*/ 3498 w 4691"/>
                  <a:gd name="connsiteY171" fmla="*/ 948 h 1039"/>
                  <a:gd name="connsiteX172" fmla="*/ 3554 w 4691"/>
                  <a:gd name="connsiteY172" fmla="*/ 952 h 1039"/>
                  <a:gd name="connsiteX173" fmla="*/ 3609 w 4691"/>
                  <a:gd name="connsiteY173" fmla="*/ 946 h 1039"/>
                  <a:gd name="connsiteX174" fmla="*/ 3659 w 4691"/>
                  <a:gd name="connsiteY174" fmla="*/ 931 h 1039"/>
                  <a:gd name="connsiteX175" fmla="*/ 3706 w 4691"/>
                  <a:gd name="connsiteY175" fmla="*/ 911 h 1039"/>
                  <a:gd name="connsiteX176" fmla="*/ 3750 w 4691"/>
                  <a:gd name="connsiteY176" fmla="*/ 880 h 1039"/>
                  <a:gd name="connsiteX177" fmla="*/ 3789 w 4691"/>
                  <a:gd name="connsiteY177" fmla="*/ 844 h 1039"/>
                  <a:gd name="connsiteX178" fmla="*/ 3826 w 4691"/>
                  <a:gd name="connsiteY178" fmla="*/ 803 h 1039"/>
                  <a:gd name="connsiteX179" fmla="*/ 3861 w 4691"/>
                  <a:gd name="connsiteY179" fmla="*/ 755 h 1039"/>
                  <a:gd name="connsiteX180" fmla="*/ 3894 w 4691"/>
                  <a:gd name="connsiteY180" fmla="*/ 705 h 1039"/>
                  <a:gd name="connsiteX181" fmla="*/ 3927 w 4691"/>
                  <a:gd name="connsiteY181" fmla="*/ 651 h 1039"/>
                  <a:gd name="connsiteX182" fmla="*/ 3960 w 4691"/>
                  <a:gd name="connsiteY182" fmla="*/ 593 h 1039"/>
                  <a:gd name="connsiteX183" fmla="*/ 3993 w 4691"/>
                  <a:gd name="connsiteY183" fmla="*/ 533 h 1039"/>
                  <a:gd name="connsiteX184" fmla="*/ 4022 w 4691"/>
                  <a:gd name="connsiteY184" fmla="*/ 479 h 1039"/>
                  <a:gd name="connsiteX185" fmla="*/ 4084 w 4691"/>
                  <a:gd name="connsiteY185" fmla="*/ 371 h 1039"/>
                  <a:gd name="connsiteX186" fmla="*/ 4154 w 4691"/>
                  <a:gd name="connsiteY186" fmla="*/ 268 h 1039"/>
                  <a:gd name="connsiteX187" fmla="*/ 4192 w 4691"/>
                  <a:gd name="connsiteY187" fmla="*/ 220 h 1039"/>
                  <a:gd name="connsiteX188" fmla="*/ 4233 w 4691"/>
                  <a:gd name="connsiteY188" fmla="*/ 174 h 1039"/>
                  <a:gd name="connsiteX189" fmla="*/ 4276 w 4691"/>
                  <a:gd name="connsiteY189" fmla="*/ 133 h 1039"/>
                  <a:gd name="connsiteX0" fmla="*/ 4276 w 4729"/>
                  <a:gd name="connsiteY0" fmla="*/ 133 h 1039"/>
                  <a:gd name="connsiteX1" fmla="*/ 4691 w 4729"/>
                  <a:gd name="connsiteY1" fmla="*/ 85 h 1039"/>
                  <a:gd name="connsiteX2" fmla="*/ 4507 w 4729"/>
                  <a:gd name="connsiteY2" fmla="*/ 102 h 1039"/>
                  <a:gd name="connsiteX3" fmla="*/ 4400 w 4729"/>
                  <a:gd name="connsiteY3" fmla="*/ 150 h 1039"/>
                  <a:gd name="connsiteX4" fmla="*/ 4353 w 4729"/>
                  <a:gd name="connsiteY4" fmla="*/ 183 h 1039"/>
                  <a:gd name="connsiteX5" fmla="*/ 4309 w 4729"/>
                  <a:gd name="connsiteY5" fmla="*/ 220 h 1039"/>
                  <a:gd name="connsiteX6" fmla="*/ 4270 w 4729"/>
                  <a:gd name="connsiteY6" fmla="*/ 264 h 1039"/>
                  <a:gd name="connsiteX7" fmla="*/ 4196 w 4729"/>
                  <a:gd name="connsiteY7" fmla="*/ 359 h 1039"/>
                  <a:gd name="connsiteX8" fmla="*/ 4163 w 4729"/>
                  <a:gd name="connsiteY8" fmla="*/ 411 h 1039"/>
                  <a:gd name="connsiteX9" fmla="*/ 4101 w 4729"/>
                  <a:gd name="connsiteY9" fmla="*/ 519 h 1039"/>
                  <a:gd name="connsiteX10" fmla="*/ 4008 w 4729"/>
                  <a:gd name="connsiteY10" fmla="*/ 687 h 1039"/>
                  <a:gd name="connsiteX11" fmla="*/ 3975 w 4729"/>
                  <a:gd name="connsiteY11" fmla="*/ 743 h 1039"/>
                  <a:gd name="connsiteX12" fmla="*/ 3940 w 4729"/>
                  <a:gd name="connsiteY12" fmla="*/ 794 h 1039"/>
                  <a:gd name="connsiteX13" fmla="*/ 3905 w 4729"/>
                  <a:gd name="connsiteY13" fmla="*/ 844 h 1039"/>
                  <a:gd name="connsiteX14" fmla="*/ 3865 w 4729"/>
                  <a:gd name="connsiteY14" fmla="*/ 890 h 1039"/>
                  <a:gd name="connsiteX15" fmla="*/ 3824 w 4729"/>
                  <a:gd name="connsiteY15" fmla="*/ 931 h 1039"/>
                  <a:gd name="connsiteX16" fmla="*/ 3779 w 4729"/>
                  <a:gd name="connsiteY16" fmla="*/ 967 h 1039"/>
                  <a:gd name="connsiteX17" fmla="*/ 3729 w 4729"/>
                  <a:gd name="connsiteY17" fmla="*/ 996 h 1039"/>
                  <a:gd name="connsiteX18" fmla="*/ 3677 w 4729"/>
                  <a:gd name="connsiteY18" fmla="*/ 1018 h 1039"/>
                  <a:gd name="connsiteX19" fmla="*/ 3620 w 4729"/>
                  <a:gd name="connsiteY19" fmla="*/ 1033 h 1039"/>
                  <a:gd name="connsiteX20" fmla="*/ 3556 w 4729"/>
                  <a:gd name="connsiteY20" fmla="*/ 1039 h 1039"/>
                  <a:gd name="connsiteX21" fmla="*/ 3547 w 4729"/>
                  <a:gd name="connsiteY21" fmla="*/ 1039 h 1039"/>
                  <a:gd name="connsiteX22" fmla="*/ 3485 w 4729"/>
                  <a:gd name="connsiteY22" fmla="*/ 1035 h 1039"/>
                  <a:gd name="connsiteX23" fmla="*/ 3426 w 4729"/>
                  <a:gd name="connsiteY23" fmla="*/ 1021 h 1039"/>
                  <a:gd name="connsiteX24" fmla="*/ 3372 w 4729"/>
                  <a:gd name="connsiteY24" fmla="*/ 998 h 1039"/>
                  <a:gd name="connsiteX25" fmla="*/ 3320 w 4729"/>
                  <a:gd name="connsiteY25" fmla="*/ 969 h 1039"/>
                  <a:gd name="connsiteX26" fmla="*/ 3273 w 4729"/>
                  <a:gd name="connsiteY26" fmla="*/ 931 h 1039"/>
                  <a:gd name="connsiteX27" fmla="*/ 3229 w 4729"/>
                  <a:gd name="connsiteY27" fmla="*/ 890 h 1039"/>
                  <a:gd name="connsiteX28" fmla="*/ 3186 w 4729"/>
                  <a:gd name="connsiteY28" fmla="*/ 842 h 1039"/>
                  <a:gd name="connsiteX29" fmla="*/ 3147 w 4729"/>
                  <a:gd name="connsiteY29" fmla="*/ 792 h 1039"/>
                  <a:gd name="connsiteX30" fmla="*/ 3108 w 4729"/>
                  <a:gd name="connsiteY30" fmla="*/ 736 h 1039"/>
                  <a:gd name="connsiteX31" fmla="*/ 3070 w 4729"/>
                  <a:gd name="connsiteY31" fmla="*/ 680 h 1039"/>
                  <a:gd name="connsiteX32" fmla="*/ 2965 w 4729"/>
                  <a:gd name="connsiteY32" fmla="*/ 506 h 1039"/>
                  <a:gd name="connsiteX33" fmla="*/ 2928 w 4729"/>
                  <a:gd name="connsiteY33" fmla="*/ 448 h 1039"/>
                  <a:gd name="connsiteX34" fmla="*/ 2891 w 4729"/>
                  <a:gd name="connsiteY34" fmla="*/ 392 h 1039"/>
                  <a:gd name="connsiteX35" fmla="*/ 2854 w 4729"/>
                  <a:gd name="connsiteY35" fmla="*/ 338 h 1039"/>
                  <a:gd name="connsiteX36" fmla="*/ 2814 w 4729"/>
                  <a:gd name="connsiteY36" fmla="*/ 288 h 1039"/>
                  <a:gd name="connsiteX37" fmla="*/ 2773 w 4729"/>
                  <a:gd name="connsiteY37" fmla="*/ 243 h 1039"/>
                  <a:gd name="connsiteX38" fmla="*/ 2732 w 4729"/>
                  <a:gd name="connsiteY38" fmla="*/ 201 h 1039"/>
                  <a:gd name="connsiteX39" fmla="*/ 2686 w 4729"/>
                  <a:gd name="connsiteY39" fmla="*/ 164 h 1039"/>
                  <a:gd name="connsiteX40" fmla="*/ 2639 w 4729"/>
                  <a:gd name="connsiteY40" fmla="*/ 135 h 1039"/>
                  <a:gd name="connsiteX41" fmla="*/ 2587 w 4729"/>
                  <a:gd name="connsiteY41" fmla="*/ 112 h 1039"/>
                  <a:gd name="connsiteX42" fmla="*/ 2532 w 4729"/>
                  <a:gd name="connsiteY42" fmla="*/ 96 h 1039"/>
                  <a:gd name="connsiteX43" fmla="*/ 2474 w 4729"/>
                  <a:gd name="connsiteY43" fmla="*/ 87 h 1039"/>
                  <a:gd name="connsiteX44" fmla="*/ 2410 w 4729"/>
                  <a:gd name="connsiteY44" fmla="*/ 89 h 1039"/>
                  <a:gd name="connsiteX45" fmla="*/ 2342 w 4729"/>
                  <a:gd name="connsiteY45" fmla="*/ 100 h 1039"/>
                  <a:gd name="connsiteX46" fmla="*/ 2280 w 4729"/>
                  <a:gd name="connsiteY46" fmla="*/ 118 h 1039"/>
                  <a:gd name="connsiteX47" fmla="*/ 2222 w 4729"/>
                  <a:gd name="connsiteY47" fmla="*/ 143 h 1039"/>
                  <a:gd name="connsiteX48" fmla="*/ 2168 w 4729"/>
                  <a:gd name="connsiteY48" fmla="*/ 176 h 1039"/>
                  <a:gd name="connsiteX49" fmla="*/ 2117 w 4729"/>
                  <a:gd name="connsiteY49" fmla="*/ 214 h 1039"/>
                  <a:gd name="connsiteX50" fmla="*/ 2071 w 4729"/>
                  <a:gd name="connsiteY50" fmla="*/ 257 h 1039"/>
                  <a:gd name="connsiteX51" fmla="*/ 2026 w 4729"/>
                  <a:gd name="connsiteY51" fmla="*/ 303 h 1039"/>
                  <a:gd name="connsiteX52" fmla="*/ 1984 w 4729"/>
                  <a:gd name="connsiteY52" fmla="*/ 355 h 1039"/>
                  <a:gd name="connsiteX53" fmla="*/ 1945 w 4729"/>
                  <a:gd name="connsiteY53" fmla="*/ 409 h 1039"/>
                  <a:gd name="connsiteX54" fmla="*/ 1908 w 4729"/>
                  <a:gd name="connsiteY54" fmla="*/ 463 h 1039"/>
                  <a:gd name="connsiteX55" fmla="*/ 1871 w 4729"/>
                  <a:gd name="connsiteY55" fmla="*/ 519 h 1039"/>
                  <a:gd name="connsiteX56" fmla="*/ 1834 w 4729"/>
                  <a:gd name="connsiteY56" fmla="*/ 577 h 1039"/>
                  <a:gd name="connsiteX57" fmla="*/ 1799 w 4729"/>
                  <a:gd name="connsiteY57" fmla="*/ 633 h 1039"/>
                  <a:gd name="connsiteX58" fmla="*/ 1724 w 4729"/>
                  <a:gd name="connsiteY58" fmla="*/ 745 h 1039"/>
                  <a:gd name="connsiteX59" fmla="*/ 1685 w 4729"/>
                  <a:gd name="connsiteY59" fmla="*/ 797 h 1039"/>
                  <a:gd name="connsiteX60" fmla="*/ 1644 w 4729"/>
                  <a:gd name="connsiteY60" fmla="*/ 846 h 1039"/>
                  <a:gd name="connsiteX61" fmla="*/ 1600 w 4729"/>
                  <a:gd name="connsiteY61" fmla="*/ 892 h 1039"/>
                  <a:gd name="connsiteX62" fmla="*/ 1553 w 4729"/>
                  <a:gd name="connsiteY62" fmla="*/ 933 h 1039"/>
                  <a:gd name="connsiteX63" fmla="*/ 1503 w 4729"/>
                  <a:gd name="connsiteY63" fmla="*/ 969 h 1039"/>
                  <a:gd name="connsiteX64" fmla="*/ 1450 w 4729"/>
                  <a:gd name="connsiteY64" fmla="*/ 998 h 1039"/>
                  <a:gd name="connsiteX65" fmla="*/ 1394 w 4729"/>
                  <a:gd name="connsiteY65" fmla="*/ 1021 h 1039"/>
                  <a:gd name="connsiteX66" fmla="*/ 1330 w 4729"/>
                  <a:gd name="connsiteY66" fmla="*/ 1033 h 1039"/>
                  <a:gd name="connsiteX67" fmla="*/ 1264 w 4729"/>
                  <a:gd name="connsiteY67" fmla="*/ 1039 h 1039"/>
                  <a:gd name="connsiteX68" fmla="*/ 1258 w 4729"/>
                  <a:gd name="connsiteY68" fmla="*/ 1039 h 1039"/>
                  <a:gd name="connsiteX69" fmla="*/ 1190 w 4729"/>
                  <a:gd name="connsiteY69" fmla="*/ 1035 h 1039"/>
                  <a:gd name="connsiteX70" fmla="*/ 1128 w 4729"/>
                  <a:gd name="connsiteY70" fmla="*/ 1023 h 1039"/>
                  <a:gd name="connsiteX71" fmla="*/ 1070 w 4729"/>
                  <a:gd name="connsiteY71" fmla="*/ 1004 h 1039"/>
                  <a:gd name="connsiteX72" fmla="*/ 1018 w 4729"/>
                  <a:gd name="connsiteY72" fmla="*/ 979 h 1039"/>
                  <a:gd name="connsiteX73" fmla="*/ 971 w 4729"/>
                  <a:gd name="connsiteY73" fmla="*/ 948 h 1039"/>
                  <a:gd name="connsiteX74" fmla="*/ 925 w 4729"/>
                  <a:gd name="connsiteY74" fmla="*/ 911 h 1039"/>
                  <a:gd name="connsiteX75" fmla="*/ 884 w 4729"/>
                  <a:gd name="connsiteY75" fmla="*/ 869 h 1039"/>
                  <a:gd name="connsiteX76" fmla="*/ 847 w 4729"/>
                  <a:gd name="connsiteY76" fmla="*/ 824 h 1039"/>
                  <a:gd name="connsiteX77" fmla="*/ 810 w 4729"/>
                  <a:gd name="connsiteY77" fmla="*/ 776 h 1039"/>
                  <a:gd name="connsiteX78" fmla="*/ 777 w 4729"/>
                  <a:gd name="connsiteY78" fmla="*/ 724 h 1039"/>
                  <a:gd name="connsiteX79" fmla="*/ 742 w 4729"/>
                  <a:gd name="connsiteY79" fmla="*/ 670 h 1039"/>
                  <a:gd name="connsiteX80" fmla="*/ 711 w 4729"/>
                  <a:gd name="connsiteY80" fmla="*/ 614 h 1039"/>
                  <a:gd name="connsiteX81" fmla="*/ 678 w 4729"/>
                  <a:gd name="connsiteY81" fmla="*/ 556 h 1039"/>
                  <a:gd name="connsiteX82" fmla="*/ 616 w 4729"/>
                  <a:gd name="connsiteY82" fmla="*/ 444 h 1039"/>
                  <a:gd name="connsiteX83" fmla="*/ 547 w 4729"/>
                  <a:gd name="connsiteY83" fmla="*/ 336 h 1039"/>
                  <a:gd name="connsiteX84" fmla="*/ 504 w 4729"/>
                  <a:gd name="connsiteY84" fmla="*/ 280 h 1039"/>
                  <a:gd name="connsiteX85" fmla="*/ 457 w 4729"/>
                  <a:gd name="connsiteY85" fmla="*/ 235 h 1039"/>
                  <a:gd name="connsiteX86" fmla="*/ 409 w 4729"/>
                  <a:gd name="connsiteY86" fmla="*/ 195 h 1039"/>
                  <a:gd name="connsiteX87" fmla="*/ 358 w 4729"/>
                  <a:gd name="connsiteY87" fmla="*/ 164 h 1039"/>
                  <a:gd name="connsiteX88" fmla="*/ 308 w 4729"/>
                  <a:gd name="connsiteY88" fmla="*/ 141 h 1039"/>
                  <a:gd name="connsiteX89" fmla="*/ 256 w 4729"/>
                  <a:gd name="connsiteY89" fmla="*/ 123 h 1039"/>
                  <a:gd name="connsiteX90" fmla="*/ 209 w 4729"/>
                  <a:gd name="connsiteY90" fmla="*/ 108 h 1039"/>
                  <a:gd name="connsiteX91" fmla="*/ 163 w 4729"/>
                  <a:gd name="connsiteY91" fmla="*/ 100 h 1039"/>
                  <a:gd name="connsiteX92" fmla="*/ 122 w 4729"/>
                  <a:gd name="connsiteY92" fmla="*/ 96 h 1039"/>
                  <a:gd name="connsiteX93" fmla="*/ 85 w 4729"/>
                  <a:gd name="connsiteY93" fmla="*/ 91 h 1039"/>
                  <a:gd name="connsiteX94" fmla="*/ 31 w 4729"/>
                  <a:gd name="connsiteY94" fmla="*/ 91 h 1039"/>
                  <a:gd name="connsiteX95" fmla="*/ 17 w 4729"/>
                  <a:gd name="connsiteY95" fmla="*/ 94 h 1039"/>
                  <a:gd name="connsiteX96" fmla="*/ 11 w 4729"/>
                  <a:gd name="connsiteY96" fmla="*/ 94 h 1039"/>
                  <a:gd name="connsiteX97" fmla="*/ 0 w 4729"/>
                  <a:gd name="connsiteY97" fmla="*/ 9 h 1039"/>
                  <a:gd name="connsiteX98" fmla="*/ 9 w 4729"/>
                  <a:gd name="connsiteY98" fmla="*/ 9 h 1039"/>
                  <a:gd name="connsiteX99" fmla="*/ 29 w 4729"/>
                  <a:gd name="connsiteY99" fmla="*/ 6 h 1039"/>
                  <a:gd name="connsiteX100" fmla="*/ 91 w 4729"/>
                  <a:gd name="connsiteY100" fmla="*/ 6 h 1039"/>
                  <a:gd name="connsiteX101" fmla="*/ 135 w 4729"/>
                  <a:gd name="connsiteY101" fmla="*/ 9 h 1039"/>
                  <a:gd name="connsiteX102" fmla="*/ 182 w 4729"/>
                  <a:gd name="connsiteY102" fmla="*/ 15 h 1039"/>
                  <a:gd name="connsiteX103" fmla="*/ 234 w 4729"/>
                  <a:gd name="connsiteY103" fmla="*/ 25 h 1039"/>
                  <a:gd name="connsiteX104" fmla="*/ 287 w 4729"/>
                  <a:gd name="connsiteY104" fmla="*/ 42 h 1039"/>
                  <a:gd name="connsiteX105" fmla="*/ 345 w 4729"/>
                  <a:gd name="connsiteY105" fmla="*/ 62 h 1039"/>
                  <a:gd name="connsiteX106" fmla="*/ 403 w 4729"/>
                  <a:gd name="connsiteY106" fmla="*/ 89 h 1039"/>
                  <a:gd name="connsiteX107" fmla="*/ 459 w 4729"/>
                  <a:gd name="connsiteY107" fmla="*/ 127 h 1039"/>
                  <a:gd name="connsiteX108" fmla="*/ 514 w 4729"/>
                  <a:gd name="connsiteY108" fmla="*/ 170 h 1039"/>
                  <a:gd name="connsiteX109" fmla="*/ 568 w 4729"/>
                  <a:gd name="connsiteY109" fmla="*/ 224 h 1039"/>
                  <a:gd name="connsiteX110" fmla="*/ 618 w 4729"/>
                  <a:gd name="connsiteY110" fmla="*/ 288 h 1039"/>
                  <a:gd name="connsiteX111" fmla="*/ 667 w 4729"/>
                  <a:gd name="connsiteY111" fmla="*/ 363 h 1039"/>
                  <a:gd name="connsiteX112" fmla="*/ 754 w 4729"/>
                  <a:gd name="connsiteY112" fmla="*/ 512 h 1039"/>
                  <a:gd name="connsiteX113" fmla="*/ 787 w 4729"/>
                  <a:gd name="connsiteY113" fmla="*/ 571 h 1039"/>
                  <a:gd name="connsiteX114" fmla="*/ 820 w 4729"/>
                  <a:gd name="connsiteY114" fmla="*/ 627 h 1039"/>
                  <a:gd name="connsiteX115" fmla="*/ 853 w 4729"/>
                  <a:gd name="connsiteY115" fmla="*/ 680 h 1039"/>
                  <a:gd name="connsiteX116" fmla="*/ 886 w 4729"/>
                  <a:gd name="connsiteY116" fmla="*/ 732 h 1039"/>
                  <a:gd name="connsiteX117" fmla="*/ 921 w 4729"/>
                  <a:gd name="connsiteY117" fmla="*/ 778 h 1039"/>
                  <a:gd name="connsiteX118" fmla="*/ 958 w 4729"/>
                  <a:gd name="connsiteY118" fmla="*/ 821 h 1039"/>
                  <a:gd name="connsiteX119" fmla="*/ 1000 w 4729"/>
                  <a:gd name="connsiteY119" fmla="*/ 859 h 1039"/>
                  <a:gd name="connsiteX120" fmla="*/ 1043 w 4729"/>
                  <a:gd name="connsiteY120" fmla="*/ 890 h 1039"/>
                  <a:gd name="connsiteX121" fmla="*/ 1090 w 4729"/>
                  <a:gd name="connsiteY121" fmla="*/ 917 h 1039"/>
                  <a:gd name="connsiteX122" fmla="*/ 1140 w 4729"/>
                  <a:gd name="connsiteY122" fmla="*/ 935 h 1039"/>
                  <a:gd name="connsiteX123" fmla="*/ 1196 w 4729"/>
                  <a:gd name="connsiteY123" fmla="*/ 948 h 1039"/>
                  <a:gd name="connsiteX124" fmla="*/ 1258 w 4729"/>
                  <a:gd name="connsiteY124" fmla="*/ 952 h 1039"/>
                  <a:gd name="connsiteX125" fmla="*/ 1264 w 4729"/>
                  <a:gd name="connsiteY125" fmla="*/ 952 h 1039"/>
                  <a:gd name="connsiteX126" fmla="*/ 1324 w 4729"/>
                  <a:gd name="connsiteY126" fmla="*/ 946 h 1039"/>
                  <a:gd name="connsiteX127" fmla="*/ 1380 w 4729"/>
                  <a:gd name="connsiteY127" fmla="*/ 931 h 1039"/>
                  <a:gd name="connsiteX128" fmla="*/ 1433 w 4729"/>
                  <a:gd name="connsiteY128" fmla="*/ 909 h 1039"/>
                  <a:gd name="connsiteX129" fmla="*/ 1481 w 4729"/>
                  <a:gd name="connsiteY129" fmla="*/ 880 h 1039"/>
                  <a:gd name="connsiteX130" fmla="*/ 1526 w 4729"/>
                  <a:gd name="connsiteY130" fmla="*/ 842 h 1039"/>
                  <a:gd name="connsiteX131" fmla="*/ 1569 w 4729"/>
                  <a:gd name="connsiteY131" fmla="*/ 799 h 1039"/>
                  <a:gd name="connsiteX132" fmla="*/ 1609 w 4729"/>
                  <a:gd name="connsiteY132" fmla="*/ 751 h 1039"/>
                  <a:gd name="connsiteX133" fmla="*/ 1648 w 4729"/>
                  <a:gd name="connsiteY133" fmla="*/ 699 h 1039"/>
                  <a:gd name="connsiteX134" fmla="*/ 1687 w 4729"/>
                  <a:gd name="connsiteY134" fmla="*/ 645 h 1039"/>
                  <a:gd name="connsiteX135" fmla="*/ 1799 w 4729"/>
                  <a:gd name="connsiteY135" fmla="*/ 471 h 1039"/>
                  <a:gd name="connsiteX136" fmla="*/ 1838 w 4729"/>
                  <a:gd name="connsiteY136" fmla="*/ 411 h 1039"/>
                  <a:gd name="connsiteX137" fmla="*/ 1879 w 4729"/>
                  <a:gd name="connsiteY137" fmla="*/ 353 h 1039"/>
                  <a:gd name="connsiteX138" fmla="*/ 1923 w 4729"/>
                  <a:gd name="connsiteY138" fmla="*/ 295 h 1039"/>
                  <a:gd name="connsiteX139" fmla="*/ 1968 w 4729"/>
                  <a:gd name="connsiteY139" fmla="*/ 241 h 1039"/>
                  <a:gd name="connsiteX140" fmla="*/ 2015 w 4729"/>
                  <a:gd name="connsiteY140" fmla="*/ 189 h 1039"/>
                  <a:gd name="connsiteX141" fmla="*/ 2069 w 4729"/>
                  <a:gd name="connsiteY141" fmla="*/ 141 h 1039"/>
                  <a:gd name="connsiteX142" fmla="*/ 2125 w 4729"/>
                  <a:gd name="connsiteY142" fmla="*/ 100 h 1039"/>
                  <a:gd name="connsiteX143" fmla="*/ 2187 w 4729"/>
                  <a:gd name="connsiteY143" fmla="*/ 65 h 1039"/>
                  <a:gd name="connsiteX144" fmla="*/ 2253 w 4729"/>
                  <a:gd name="connsiteY144" fmla="*/ 35 h 1039"/>
                  <a:gd name="connsiteX145" fmla="*/ 2325 w 4729"/>
                  <a:gd name="connsiteY145" fmla="*/ 15 h 1039"/>
                  <a:gd name="connsiteX146" fmla="*/ 2404 w 4729"/>
                  <a:gd name="connsiteY146" fmla="*/ 2 h 1039"/>
                  <a:gd name="connsiteX147" fmla="*/ 2474 w 4729"/>
                  <a:gd name="connsiteY147" fmla="*/ 0 h 1039"/>
                  <a:gd name="connsiteX148" fmla="*/ 2540 w 4729"/>
                  <a:gd name="connsiteY148" fmla="*/ 9 h 1039"/>
                  <a:gd name="connsiteX149" fmla="*/ 2600 w 4729"/>
                  <a:gd name="connsiteY149" fmla="*/ 23 h 1039"/>
                  <a:gd name="connsiteX150" fmla="*/ 2658 w 4729"/>
                  <a:gd name="connsiteY150" fmla="*/ 46 h 1039"/>
                  <a:gd name="connsiteX151" fmla="*/ 2711 w 4729"/>
                  <a:gd name="connsiteY151" fmla="*/ 77 h 1039"/>
                  <a:gd name="connsiteX152" fmla="*/ 2761 w 4729"/>
                  <a:gd name="connsiteY152" fmla="*/ 112 h 1039"/>
                  <a:gd name="connsiteX153" fmla="*/ 2806 w 4729"/>
                  <a:gd name="connsiteY153" fmla="*/ 154 h 1039"/>
                  <a:gd name="connsiteX154" fmla="*/ 2852 w 4729"/>
                  <a:gd name="connsiteY154" fmla="*/ 199 h 1039"/>
                  <a:gd name="connsiteX155" fmla="*/ 2893 w 4729"/>
                  <a:gd name="connsiteY155" fmla="*/ 247 h 1039"/>
                  <a:gd name="connsiteX156" fmla="*/ 2932 w 4729"/>
                  <a:gd name="connsiteY156" fmla="*/ 299 h 1039"/>
                  <a:gd name="connsiteX157" fmla="*/ 2969 w 4729"/>
                  <a:gd name="connsiteY157" fmla="*/ 353 h 1039"/>
                  <a:gd name="connsiteX158" fmla="*/ 3004 w 4729"/>
                  <a:gd name="connsiteY158" fmla="*/ 409 h 1039"/>
                  <a:gd name="connsiteX159" fmla="*/ 3039 w 4729"/>
                  <a:gd name="connsiteY159" fmla="*/ 463 h 1039"/>
                  <a:gd name="connsiteX160" fmla="*/ 3073 w 4729"/>
                  <a:gd name="connsiteY160" fmla="*/ 519 h 1039"/>
                  <a:gd name="connsiteX161" fmla="*/ 3110 w 4729"/>
                  <a:gd name="connsiteY161" fmla="*/ 581 h 1039"/>
                  <a:gd name="connsiteX162" fmla="*/ 3147 w 4729"/>
                  <a:gd name="connsiteY162" fmla="*/ 639 h 1039"/>
                  <a:gd name="connsiteX163" fmla="*/ 3186 w 4729"/>
                  <a:gd name="connsiteY163" fmla="*/ 697 h 1039"/>
                  <a:gd name="connsiteX164" fmla="*/ 3223 w 4729"/>
                  <a:gd name="connsiteY164" fmla="*/ 751 h 1039"/>
                  <a:gd name="connsiteX165" fmla="*/ 3265 w 4729"/>
                  <a:gd name="connsiteY165" fmla="*/ 801 h 1039"/>
                  <a:gd name="connsiteX166" fmla="*/ 3306 w 4729"/>
                  <a:gd name="connsiteY166" fmla="*/ 844 h 1039"/>
                  <a:gd name="connsiteX167" fmla="*/ 3349 w 4729"/>
                  <a:gd name="connsiteY167" fmla="*/ 882 h 1039"/>
                  <a:gd name="connsiteX168" fmla="*/ 3395 w 4729"/>
                  <a:gd name="connsiteY168" fmla="*/ 913 h 1039"/>
                  <a:gd name="connsiteX169" fmla="*/ 3444 w 4729"/>
                  <a:gd name="connsiteY169" fmla="*/ 935 h 1039"/>
                  <a:gd name="connsiteX170" fmla="*/ 3498 w 4729"/>
                  <a:gd name="connsiteY170" fmla="*/ 948 h 1039"/>
                  <a:gd name="connsiteX171" fmla="*/ 3554 w 4729"/>
                  <a:gd name="connsiteY171" fmla="*/ 952 h 1039"/>
                  <a:gd name="connsiteX172" fmla="*/ 3609 w 4729"/>
                  <a:gd name="connsiteY172" fmla="*/ 946 h 1039"/>
                  <a:gd name="connsiteX173" fmla="*/ 3659 w 4729"/>
                  <a:gd name="connsiteY173" fmla="*/ 931 h 1039"/>
                  <a:gd name="connsiteX174" fmla="*/ 3706 w 4729"/>
                  <a:gd name="connsiteY174" fmla="*/ 911 h 1039"/>
                  <a:gd name="connsiteX175" fmla="*/ 3750 w 4729"/>
                  <a:gd name="connsiteY175" fmla="*/ 880 h 1039"/>
                  <a:gd name="connsiteX176" fmla="*/ 3789 w 4729"/>
                  <a:gd name="connsiteY176" fmla="*/ 844 h 1039"/>
                  <a:gd name="connsiteX177" fmla="*/ 3826 w 4729"/>
                  <a:gd name="connsiteY177" fmla="*/ 803 h 1039"/>
                  <a:gd name="connsiteX178" fmla="*/ 3861 w 4729"/>
                  <a:gd name="connsiteY178" fmla="*/ 755 h 1039"/>
                  <a:gd name="connsiteX179" fmla="*/ 3894 w 4729"/>
                  <a:gd name="connsiteY179" fmla="*/ 705 h 1039"/>
                  <a:gd name="connsiteX180" fmla="*/ 3927 w 4729"/>
                  <a:gd name="connsiteY180" fmla="*/ 651 h 1039"/>
                  <a:gd name="connsiteX181" fmla="*/ 3960 w 4729"/>
                  <a:gd name="connsiteY181" fmla="*/ 593 h 1039"/>
                  <a:gd name="connsiteX182" fmla="*/ 3993 w 4729"/>
                  <a:gd name="connsiteY182" fmla="*/ 533 h 1039"/>
                  <a:gd name="connsiteX183" fmla="*/ 4022 w 4729"/>
                  <a:gd name="connsiteY183" fmla="*/ 479 h 1039"/>
                  <a:gd name="connsiteX184" fmla="*/ 4084 w 4729"/>
                  <a:gd name="connsiteY184" fmla="*/ 371 h 1039"/>
                  <a:gd name="connsiteX185" fmla="*/ 4154 w 4729"/>
                  <a:gd name="connsiteY185" fmla="*/ 268 h 1039"/>
                  <a:gd name="connsiteX186" fmla="*/ 4192 w 4729"/>
                  <a:gd name="connsiteY186" fmla="*/ 220 h 1039"/>
                  <a:gd name="connsiteX187" fmla="*/ 4233 w 4729"/>
                  <a:gd name="connsiteY187" fmla="*/ 174 h 1039"/>
                  <a:gd name="connsiteX188" fmla="*/ 4276 w 4729"/>
                  <a:gd name="connsiteY188" fmla="*/ 133 h 1039"/>
                  <a:gd name="connsiteX0" fmla="*/ 4276 w 4507"/>
                  <a:gd name="connsiteY0" fmla="*/ 133 h 1039"/>
                  <a:gd name="connsiteX1" fmla="*/ 4507 w 4507"/>
                  <a:gd name="connsiteY1" fmla="*/ 102 h 1039"/>
                  <a:gd name="connsiteX2" fmla="*/ 4400 w 4507"/>
                  <a:gd name="connsiteY2" fmla="*/ 150 h 1039"/>
                  <a:gd name="connsiteX3" fmla="*/ 4353 w 4507"/>
                  <a:gd name="connsiteY3" fmla="*/ 183 h 1039"/>
                  <a:gd name="connsiteX4" fmla="*/ 4309 w 4507"/>
                  <a:gd name="connsiteY4" fmla="*/ 220 h 1039"/>
                  <a:gd name="connsiteX5" fmla="*/ 4270 w 4507"/>
                  <a:gd name="connsiteY5" fmla="*/ 264 h 1039"/>
                  <a:gd name="connsiteX6" fmla="*/ 4196 w 4507"/>
                  <a:gd name="connsiteY6" fmla="*/ 359 h 1039"/>
                  <a:gd name="connsiteX7" fmla="*/ 4163 w 4507"/>
                  <a:gd name="connsiteY7" fmla="*/ 411 h 1039"/>
                  <a:gd name="connsiteX8" fmla="*/ 4101 w 4507"/>
                  <a:gd name="connsiteY8" fmla="*/ 519 h 1039"/>
                  <a:gd name="connsiteX9" fmla="*/ 4008 w 4507"/>
                  <a:gd name="connsiteY9" fmla="*/ 687 h 1039"/>
                  <a:gd name="connsiteX10" fmla="*/ 3975 w 4507"/>
                  <a:gd name="connsiteY10" fmla="*/ 743 h 1039"/>
                  <a:gd name="connsiteX11" fmla="*/ 3940 w 4507"/>
                  <a:gd name="connsiteY11" fmla="*/ 794 h 1039"/>
                  <a:gd name="connsiteX12" fmla="*/ 3905 w 4507"/>
                  <a:gd name="connsiteY12" fmla="*/ 844 h 1039"/>
                  <a:gd name="connsiteX13" fmla="*/ 3865 w 4507"/>
                  <a:gd name="connsiteY13" fmla="*/ 890 h 1039"/>
                  <a:gd name="connsiteX14" fmla="*/ 3824 w 4507"/>
                  <a:gd name="connsiteY14" fmla="*/ 931 h 1039"/>
                  <a:gd name="connsiteX15" fmla="*/ 3779 w 4507"/>
                  <a:gd name="connsiteY15" fmla="*/ 967 h 1039"/>
                  <a:gd name="connsiteX16" fmla="*/ 3729 w 4507"/>
                  <a:gd name="connsiteY16" fmla="*/ 996 h 1039"/>
                  <a:gd name="connsiteX17" fmla="*/ 3677 w 4507"/>
                  <a:gd name="connsiteY17" fmla="*/ 1018 h 1039"/>
                  <a:gd name="connsiteX18" fmla="*/ 3620 w 4507"/>
                  <a:gd name="connsiteY18" fmla="*/ 1033 h 1039"/>
                  <a:gd name="connsiteX19" fmla="*/ 3556 w 4507"/>
                  <a:gd name="connsiteY19" fmla="*/ 1039 h 1039"/>
                  <a:gd name="connsiteX20" fmla="*/ 3547 w 4507"/>
                  <a:gd name="connsiteY20" fmla="*/ 1039 h 1039"/>
                  <a:gd name="connsiteX21" fmla="*/ 3485 w 4507"/>
                  <a:gd name="connsiteY21" fmla="*/ 1035 h 1039"/>
                  <a:gd name="connsiteX22" fmla="*/ 3426 w 4507"/>
                  <a:gd name="connsiteY22" fmla="*/ 1021 h 1039"/>
                  <a:gd name="connsiteX23" fmla="*/ 3372 w 4507"/>
                  <a:gd name="connsiteY23" fmla="*/ 998 h 1039"/>
                  <a:gd name="connsiteX24" fmla="*/ 3320 w 4507"/>
                  <a:gd name="connsiteY24" fmla="*/ 969 h 1039"/>
                  <a:gd name="connsiteX25" fmla="*/ 3273 w 4507"/>
                  <a:gd name="connsiteY25" fmla="*/ 931 h 1039"/>
                  <a:gd name="connsiteX26" fmla="*/ 3229 w 4507"/>
                  <a:gd name="connsiteY26" fmla="*/ 890 h 1039"/>
                  <a:gd name="connsiteX27" fmla="*/ 3186 w 4507"/>
                  <a:gd name="connsiteY27" fmla="*/ 842 h 1039"/>
                  <a:gd name="connsiteX28" fmla="*/ 3147 w 4507"/>
                  <a:gd name="connsiteY28" fmla="*/ 792 h 1039"/>
                  <a:gd name="connsiteX29" fmla="*/ 3108 w 4507"/>
                  <a:gd name="connsiteY29" fmla="*/ 736 h 1039"/>
                  <a:gd name="connsiteX30" fmla="*/ 3070 w 4507"/>
                  <a:gd name="connsiteY30" fmla="*/ 680 h 1039"/>
                  <a:gd name="connsiteX31" fmla="*/ 2965 w 4507"/>
                  <a:gd name="connsiteY31" fmla="*/ 506 h 1039"/>
                  <a:gd name="connsiteX32" fmla="*/ 2928 w 4507"/>
                  <a:gd name="connsiteY32" fmla="*/ 448 h 1039"/>
                  <a:gd name="connsiteX33" fmla="*/ 2891 w 4507"/>
                  <a:gd name="connsiteY33" fmla="*/ 392 h 1039"/>
                  <a:gd name="connsiteX34" fmla="*/ 2854 w 4507"/>
                  <a:gd name="connsiteY34" fmla="*/ 338 h 1039"/>
                  <a:gd name="connsiteX35" fmla="*/ 2814 w 4507"/>
                  <a:gd name="connsiteY35" fmla="*/ 288 h 1039"/>
                  <a:gd name="connsiteX36" fmla="*/ 2773 w 4507"/>
                  <a:gd name="connsiteY36" fmla="*/ 243 h 1039"/>
                  <a:gd name="connsiteX37" fmla="*/ 2732 w 4507"/>
                  <a:gd name="connsiteY37" fmla="*/ 201 h 1039"/>
                  <a:gd name="connsiteX38" fmla="*/ 2686 w 4507"/>
                  <a:gd name="connsiteY38" fmla="*/ 164 h 1039"/>
                  <a:gd name="connsiteX39" fmla="*/ 2639 w 4507"/>
                  <a:gd name="connsiteY39" fmla="*/ 135 h 1039"/>
                  <a:gd name="connsiteX40" fmla="*/ 2587 w 4507"/>
                  <a:gd name="connsiteY40" fmla="*/ 112 h 1039"/>
                  <a:gd name="connsiteX41" fmla="*/ 2532 w 4507"/>
                  <a:gd name="connsiteY41" fmla="*/ 96 h 1039"/>
                  <a:gd name="connsiteX42" fmla="*/ 2474 w 4507"/>
                  <a:gd name="connsiteY42" fmla="*/ 87 h 1039"/>
                  <a:gd name="connsiteX43" fmla="*/ 2410 w 4507"/>
                  <a:gd name="connsiteY43" fmla="*/ 89 h 1039"/>
                  <a:gd name="connsiteX44" fmla="*/ 2342 w 4507"/>
                  <a:gd name="connsiteY44" fmla="*/ 100 h 1039"/>
                  <a:gd name="connsiteX45" fmla="*/ 2280 w 4507"/>
                  <a:gd name="connsiteY45" fmla="*/ 118 h 1039"/>
                  <a:gd name="connsiteX46" fmla="*/ 2222 w 4507"/>
                  <a:gd name="connsiteY46" fmla="*/ 143 h 1039"/>
                  <a:gd name="connsiteX47" fmla="*/ 2168 w 4507"/>
                  <a:gd name="connsiteY47" fmla="*/ 176 h 1039"/>
                  <a:gd name="connsiteX48" fmla="*/ 2117 w 4507"/>
                  <a:gd name="connsiteY48" fmla="*/ 214 h 1039"/>
                  <a:gd name="connsiteX49" fmla="*/ 2071 w 4507"/>
                  <a:gd name="connsiteY49" fmla="*/ 257 h 1039"/>
                  <a:gd name="connsiteX50" fmla="*/ 2026 w 4507"/>
                  <a:gd name="connsiteY50" fmla="*/ 303 h 1039"/>
                  <a:gd name="connsiteX51" fmla="*/ 1984 w 4507"/>
                  <a:gd name="connsiteY51" fmla="*/ 355 h 1039"/>
                  <a:gd name="connsiteX52" fmla="*/ 1945 w 4507"/>
                  <a:gd name="connsiteY52" fmla="*/ 409 h 1039"/>
                  <a:gd name="connsiteX53" fmla="*/ 1908 w 4507"/>
                  <a:gd name="connsiteY53" fmla="*/ 463 h 1039"/>
                  <a:gd name="connsiteX54" fmla="*/ 1871 w 4507"/>
                  <a:gd name="connsiteY54" fmla="*/ 519 h 1039"/>
                  <a:gd name="connsiteX55" fmla="*/ 1834 w 4507"/>
                  <a:gd name="connsiteY55" fmla="*/ 577 h 1039"/>
                  <a:gd name="connsiteX56" fmla="*/ 1799 w 4507"/>
                  <a:gd name="connsiteY56" fmla="*/ 633 h 1039"/>
                  <a:gd name="connsiteX57" fmla="*/ 1724 w 4507"/>
                  <a:gd name="connsiteY57" fmla="*/ 745 h 1039"/>
                  <a:gd name="connsiteX58" fmla="*/ 1685 w 4507"/>
                  <a:gd name="connsiteY58" fmla="*/ 797 h 1039"/>
                  <a:gd name="connsiteX59" fmla="*/ 1644 w 4507"/>
                  <a:gd name="connsiteY59" fmla="*/ 846 h 1039"/>
                  <a:gd name="connsiteX60" fmla="*/ 1600 w 4507"/>
                  <a:gd name="connsiteY60" fmla="*/ 892 h 1039"/>
                  <a:gd name="connsiteX61" fmla="*/ 1553 w 4507"/>
                  <a:gd name="connsiteY61" fmla="*/ 933 h 1039"/>
                  <a:gd name="connsiteX62" fmla="*/ 1503 w 4507"/>
                  <a:gd name="connsiteY62" fmla="*/ 969 h 1039"/>
                  <a:gd name="connsiteX63" fmla="*/ 1450 w 4507"/>
                  <a:gd name="connsiteY63" fmla="*/ 998 h 1039"/>
                  <a:gd name="connsiteX64" fmla="*/ 1394 w 4507"/>
                  <a:gd name="connsiteY64" fmla="*/ 1021 h 1039"/>
                  <a:gd name="connsiteX65" fmla="*/ 1330 w 4507"/>
                  <a:gd name="connsiteY65" fmla="*/ 1033 h 1039"/>
                  <a:gd name="connsiteX66" fmla="*/ 1264 w 4507"/>
                  <a:gd name="connsiteY66" fmla="*/ 1039 h 1039"/>
                  <a:gd name="connsiteX67" fmla="*/ 1258 w 4507"/>
                  <a:gd name="connsiteY67" fmla="*/ 1039 h 1039"/>
                  <a:gd name="connsiteX68" fmla="*/ 1190 w 4507"/>
                  <a:gd name="connsiteY68" fmla="*/ 1035 h 1039"/>
                  <a:gd name="connsiteX69" fmla="*/ 1128 w 4507"/>
                  <a:gd name="connsiteY69" fmla="*/ 1023 h 1039"/>
                  <a:gd name="connsiteX70" fmla="*/ 1070 w 4507"/>
                  <a:gd name="connsiteY70" fmla="*/ 1004 h 1039"/>
                  <a:gd name="connsiteX71" fmla="*/ 1018 w 4507"/>
                  <a:gd name="connsiteY71" fmla="*/ 979 h 1039"/>
                  <a:gd name="connsiteX72" fmla="*/ 971 w 4507"/>
                  <a:gd name="connsiteY72" fmla="*/ 948 h 1039"/>
                  <a:gd name="connsiteX73" fmla="*/ 925 w 4507"/>
                  <a:gd name="connsiteY73" fmla="*/ 911 h 1039"/>
                  <a:gd name="connsiteX74" fmla="*/ 884 w 4507"/>
                  <a:gd name="connsiteY74" fmla="*/ 869 h 1039"/>
                  <a:gd name="connsiteX75" fmla="*/ 847 w 4507"/>
                  <a:gd name="connsiteY75" fmla="*/ 824 h 1039"/>
                  <a:gd name="connsiteX76" fmla="*/ 810 w 4507"/>
                  <a:gd name="connsiteY76" fmla="*/ 776 h 1039"/>
                  <a:gd name="connsiteX77" fmla="*/ 777 w 4507"/>
                  <a:gd name="connsiteY77" fmla="*/ 724 h 1039"/>
                  <a:gd name="connsiteX78" fmla="*/ 742 w 4507"/>
                  <a:gd name="connsiteY78" fmla="*/ 670 h 1039"/>
                  <a:gd name="connsiteX79" fmla="*/ 711 w 4507"/>
                  <a:gd name="connsiteY79" fmla="*/ 614 h 1039"/>
                  <a:gd name="connsiteX80" fmla="*/ 678 w 4507"/>
                  <a:gd name="connsiteY80" fmla="*/ 556 h 1039"/>
                  <a:gd name="connsiteX81" fmla="*/ 616 w 4507"/>
                  <a:gd name="connsiteY81" fmla="*/ 444 h 1039"/>
                  <a:gd name="connsiteX82" fmla="*/ 547 w 4507"/>
                  <a:gd name="connsiteY82" fmla="*/ 336 h 1039"/>
                  <a:gd name="connsiteX83" fmla="*/ 504 w 4507"/>
                  <a:gd name="connsiteY83" fmla="*/ 280 h 1039"/>
                  <a:gd name="connsiteX84" fmla="*/ 457 w 4507"/>
                  <a:gd name="connsiteY84" fmla="*/ 235 h 1039"/>
                  <a:gd name="connsiteX85" fmla="*/ 409 w 4507"/>
                  <a:gd name="connsiteY85" fmla="*/ 195 h 1039"/>
                  <a:gd name="connsiteX86" fmla="*/ 358 w 4507"/>
                  <a:gd name="connsiteY86" fmla="*/ 164 h 1039"/>
                  <a:gd name="connsiteX87" fmla="*/ 308 w 4507"/>
                  <a:gd name="connsiteY87" fmla="*/ 141 h 1039"/>
                  <a:gd name="connsiteX88" fmla="*/ 256 w 4507"/>
                  <a:gd name="connsiteY88" fmla="*/ 123 h 1039"/>
                  <a:gd name="connsiteX89" fmla="*/ 209 w 4507"/>
                  <a:gd name="connsiteY89" fmla="*/ 108 h 1039"/>
                  <a:gd name="connsiteX90" fmla="*/ 163 w 4507"/>
                  <a:gd name="connsiteY90" fmla="*/ 100 h 1039"/>
                  <a:gd name="connsiteX91" fmla="*/ 122 w 4507"/>
                  <a:gd name="connsiteY91" fmla="*/ 96 h 1039"/>
                  <a:gd name="connsiteX92" fmla="*/ 85 w 4507"/>
                  <a:gd name="connsiteY92" fmla="*/ 91 h 1039"/>
                  <a:gd name="connsiteX93" fmla="*/ 31 w 4507"/>
                  <a:gd name="connsiteY93" fmla="*/ 91 h 1039"/>
                  <a:gd name="connsiteX94" fmla="*/ 17 w 4507"/>
                  <a:gd name="connsiteY94" fmla="*/ 94 h 1039"/>
                  <a:gd name="connsiteX95" fmla="*/ 11 w 4507"/>
                  <a:gd name="connsiteY95" fmla="*/ 94 h 1039"/>
                  <a:gd name="connsiteX96" fmla="*/ 0 w 4507"/>
                  <a:gd name="connsiteY96" fmla="*/ 9 h 1039"/>
                  <a:gd name="connsiteX97" fmla="*/ 9 w 4507"/>
                  <a:gd name="connsiteY97" fmla="*/ 9 h 1039"/>
                  <a:gd name="connsiteX98" fmla="*/ 29 w 4507"/>
                  <a:gd name="connsiteY98" fmla="*/ 6 h 1039"/>
                  <a:gd name="connsiteX99" fmla="*/ 91 w 4507"/>
                  <a:gd name="connsiteY99" fmla="*/ 6 h 1039"/>
                  <a:gd name="connsiteX100" fmla="*/ 135 w 4507"/>
                  <a:gd name="connsiteY100" fmla="*/ 9 h 1039"/>
                  <a:gd name="connsiteX101" fmla="*/ 182 w 4507"/>
                  <a:gd name="connsiteY101" fmla="*/ 15 h 1039"/>
                  <a:gd name="connsiteX102" fmla="*/ 234 w 4507"/>
                  <a:gd name="connsiteY102" fmla="*/ 25 h 1039"/>
                  <a:gd name="connsiteX103" fmla="*/ 287 w 4507"/>
                  <a:gd name="connsiteY103" fmla="*/ 42 h 1039"/>
                  <a:gd name="connsiteX104" fmla="*/ 345 w 4507"/>
                  <a:gd name="connsiteY104" fmla="*/ 62 h 1039"/>
                  <a:gd name="connsiteX105" fmla="*/ 403 w 4507"/>
                  <a:gd name="connsiteY105" fmla="*/ 89 h 1039"/>
                  <a:gd name="connsiteX106" fmla="*/ 459 w 4507"/>
                  <a:gd name="connsiteY106" fmla="*/ 127 h 1039"/>
                  <a:gd name="connsiteX107" fmla="*/ 514 w 4507"/>
                  <a:gd name="connsiteY107" fmla="*/ 170 h 1039"/>
                  <a:gd name="connsiteX108" fmla="*/ 568 w 4507"/>
                  <a:gd name="connsiteY108" fmla="*/ 224 h 1039"/>
                  <a:gd name="connsiteX109" fmla="*/ 618 w 4507"/>
                  <a:gd name="connsiteY109" fmla="*/ 288 h 1039"/>
                  <a:gd name="connsiteX110" fmla="*/ 667 w 4507"/>
                  <a:gd name="connsiteY110" fmla="*/ 363 h 1039"/>
                  <a:gd name="connsiteX111" fmla="*/ 754 w 4507"/>
                  <a:gd name="connsiteY111" fmla="*/ 512 h 1039"/>
                  <a:gd name="connsiteX112" fmla="*/ 787 w 4507"/>
                  <a:gd name="connsiteY112" fmla="*/ 571 h 1039"/>
                  <a:gd name="connsiteX113" fmla="*/ 820 w 4507"/>
                  <a:gd name="connsiteY113" fmla="*/ 627 h 1039"/>
                  <a:gd name="connsiteX114" fmla="*/ 853 w 4507"/>
                  <a:gd name="connsiteY114" fmla="*/ 680 h 1039"/>
                  <a:gd name="connsiteX115" fmla="*/ 886 w 4507"/>
                  <a:gd name="connsiteY115" fmla="*/ 732 h 1039"/>
                  <a:gd name="connsiteX116" fmla="*/ 921 w 4507"/>
                  <a:gd name="connsiteY116" fmla="*/ 778 h 1039"/>
                  <a:gd name="connsiteX117" fmla="*/ 958 w 4507"/>
                  <a:gd name="connsiteY117" fmla="*/ 821 h 1039"/>
                  <a:gd name="connsiteX118" fmla="*/ 1000 w 4507"/>
                  <a:gd name="connsiteY118" fmla="*/ 859 h 1039"/>
                  <a:gd name="connsiteX119" fmla="*/ 1043 w 4507"/>
                  <a:gd name="connsiteY119" fmla="*/ 890 h 1039"/>
                  <a:gd name="connsiteX120" fmla="*/ 1090 w 4507"/>
                  <a:gd name="connsiteY120" fmla="*/ 917 h 1039"/>
                  <a:gd name="connsiteX121" fmla="*/ 1140 w 4507"/>
                  <a:gd name="connsiteY121" fmla="*/ 935 h 1039"/>
                  <a:gd name="connsiteX122" fmla="*/ 1196 w 4507"/>
                  <a:gd name="connsiteY122" fmla="*/ 948 h 1039"/>
                  <a:gd name="connsiteX123" fmla="*/ 1258 w 4507"/>
                  <a:gd name="connsiteY123" fmla="*/ 952 h 1039"/>
                  <a:gd name="connsiteX124" fmla="*/ 1264 w 4507"/>
                  <a:gd name="connsiteY124" fmla="*/ 952 h 1039"/>
                  <a:gd name="connsiteX125" fmla="*/ 1324 w 4507"/>
                  <a:gd name="connsiteY125" fmla="*/ 946 h 1039"/>
                  <a:gd name="connsiteX126" fmla="*/ 1380 w 4507"/>
                  <a:gd name="connsiteY126" fmla="*/ 931 h 1039"/>
                  <a:gd name="connsiteX127" fmla="*/ 1433 w 4507"/>
                  <a:gd name="connsiteY127" fmla="*/ 909 h 1039"/>
                  <a:gd name="connsiteX128" fmla="*/ 1481 w 4507"/>
                  <a:gd name="connsiteY128" fmla="*/ 880 h 1039"/>
                  <a:gd name="connsiteX129" fmla="*/ 1526 w 4507"/>
                  <a:gd name="connsiteY129" fmla="*/ 842 h 1039"/>
                  <a:gd name="connsiteX130" fmla="*/ 1569 w 4507"/>
                  <a:gd name="connsiteY130" fmla="*/ 799 h 1039"/>
                  <a:gd name="connsiteX131" fmla="*/ 1609 w 4507"/>
                  <a:gd name="connsiteY131" fmla="*/ 751 h 1039"/>
                  <a:gd name="connsiteX132" fmla="*/ 1648 w 4507"/>
                  <a:gd name="connsiteY132" fmla="*/ 699 h 1039"/>
                  <a:gd name="connsiteX133" fmla="*/ 1687 w 4507"/>
                  <a:gd name="connsiteY133" fmla="*/ 645 h 1039"/>
                  <a:gd name="connsiteX134" fmla="*/ 1799 w 4507"/>
                  <a:gd name="connsiteY134" fmla="*/ 471 h 1039"/>
                  <a:gd name="connsiteX135" fmla="*/ 1838 w 4507"/>
                  <a:gd name="connsiteY135" fmla="*/ 411 h 1039"/>
                  <a:gd name="connsiteX136" fmla="*/ 1879 w 4507"/>
                  <a:gd name="connsiteY136" fmla="*/ 353 h 1039"/>
                  <a:gd name="connsiteX137" fmla="*/ 1923 w 4507"/>
                  <a:gd name="connsiteY137" fmla="*/ 295 h 1039"/>
                  <a:gd name="connsiteX138" fmla="*/ 1968 w 4507"/>
                  <a:gd name="connsiteY138" fmla="*/ 241 h 1039"/>
                  <a:gd name="connsiteX139" fmla="*/ 2015 w 4507"/>
                  <a:gd name="connsiteY139" fmla="*/ 189 h 1039"/>
                  <a:gd name="connsiteX140" fmla="*/ 2069 w 4507"/>
                  <a:gd name="connsiteY140" fmla="*/ 141 h 1039"/>
                  <a:gd name="connsiteX141" fmla="*/ 2125 w 4507"/>
                  <a:gd name="connsiteY141" fmla="*/ 100 h 1039"/>
                  <a:gd name="connsiteX142" fmla="*/ 2187 w 4507"/>
                  <a:gd name="connsiteY142" fmla="*/ 65 h 1039"/>
                  <a:gd name="connsiteX143" fmla="*/ 2253 w 4507"/>
                  <a:gd name="connsiteY143" fmla="*/ 35 h 1039"/>
                  <a:gd name="connsiteX144" fmla="*/ 2325 w 4507"/>
                  <a:gd name="connsiteY144" fmla="*/ 15 h 1039"/>
                  <a:gd name="connsiteX145" fmla="*/ 2404 w 4507"/>
                  <a:gd name="connsiteY145" fmla="*/ 2 h 1039"/>
                  <a:gd name="connsiteX146" fmla="*/ 2474 w 4507"/>
                  <a:gd name="connsiteY146" fmla="*/ 0 h 1039"/>
                  <a:gd name="connsiteX147" fmla="*/ 2540 w 4507"/>
                  <a:gd name="connsiteY147" fmla="*/ 9 h 1039"/>
                  <a:gd name="connsiteX148" fmla="*/ 2600 w 4507"/>
                  <a:gd name="connsiteY148" fmla="*/ 23 h 1039"/>
                  <a:gd name="connsiteX149" fmla="*/ 2658 w 4507"/>
                  <a:gd name="connsiteY149" fmla="*/ 46 h 1039"/>
                  <a:gd name="connsiteX150" fmla="*/ 2711 w 4507"/>
                  <a:gd name="connsiteY150" fmla="*/ 77 h 1039"/>
                  <a:gd name="connsiteX151" fmla="*/ 2761 w 4507"/>
                  <a:gd name="connsiteY151" fmla="*/ 112 h 1039"/>
                  <a:gd name="connsiteX152" fmla="*/ 2806 w 4507"/>
                  <a:gd name="connsiteY152" fmla="*/ 154 h 1039"/>
                  <a:gd name="connsiteX153" fmla="*/ 2852 w 4507"/>
                  <a:gd name="connsiteY153" fmla="*/ 199 h 1039"/>
                  <a:gd name="connsiteX154" fmla="*/ 2893 w 4507"/>
                  <a:gd name="connsiteY154" fmla="*/ 247 h 1039"/>
                  <a:gd name="connsiteX155" fmla="*/ 2932 w 4507"/>
                  <a:gd name="connsiteY155" fmla="*/ 299 h 1039"/>
                  <a:gd name="connsiteX156" fmla="*/ 2969 w 4507"/>
                  <a:gd name="connsiteY156" fmla="*/ 353 h 1039"/>
                  <a:gd name="connsiteX157" fmla="*/ 3004 w 4507"/>
                  <a:gd name="connsiteY157" fmla="*/ 409 h 1039"/>
                  <a:gd name="connsiteX158" fmla="*/ 3039 w 4507"/>
                  <a:gd name="connsiteY158" fmla="*/ 463 h 1039"/>
                  <a:gd name="connsiteX159" fmla="*/ 3073 w 4507"/>
                  <a:gd name="connsiteY159" fmla="*/ 519 h 1039"/>
                  <a:gd name="connsiteX160" fmla="*/ 3110 w 4507"/>
                  <a:gd name="connsiteY160" fmla="*/ 581 h 1039"/>
                  <a:gd name="connsiteX161" fmla="*/ 3147 w 4507"/>
                  <a:gd name="connsiteY161" fmla="*/ 639 h 1039"/>
                  <a:gd name="connsiteX162" fmla="*/ 3186 w 4507"/>
                  <a:gd name="connsiteY162" fmla="*/ 697 h 1039"/>
                  <a:gd name="connsiteX163" fmla="*/ 3223 w 4507"/>
                  <a:gd name="connsiteY163" fmla="*/ 751 h 1039"/>
                  <a:gd name="connsiteX164" fmla="*/ 3265 w 4507"/>
                  <a:gd name="connsiteY164" fmla="*/ 801 h 1039"/>
                  <a:gd name="connsiteX165" fmla="*/ 3306 w 4507"/>
                  <a:gd name="connsiteY165" fmla="*/ 844 h 1039"/>
                  <a:gd name="connsiteX166" fmla="*/ 3349 w 4507"/>
                  <a:gd name="connsiteY166" fmla="*/ 882 h 1039"/>
                  <a:gd name="connsiteX167" fmla="*/ 3395 w 4507"/>
                  <a:gd name="connsiteY167" fmla="*/ 913 h 1039"/>
                  <a:gd name="connsiteX168" fmla="*/ 3444 w 4507"/>
                  <a:gd name="connsiteY168" fmla="*/ 935 h 1039"/>
                  <a:gd name="connsiteX169" fmla="*/ 3498 w 4507"/>
                  <a:gd name="connsiteY169" fmla="*/ 948 h 1039"/>
                  <a:gd name="connsiteX170" fmla="*/ 3554 w 4507"/>
                  <a:gd name="connsiteY170" fmla="*/ 952 h 1039"/>
                  <a:gd name="connsiteX171" fmla="*/ 3609 w 4507"/>
                  <a:gd name="connsiteY171" fmla="*/ 946 h 1039"/>
                  <a:gd name="connsiteX172" fmla="*/ 3659 w 4507"/>
                  <a:gd name="connsiteY172" fmla="*/ 931 h 1039"/>
                  <a:gd name="connsiteX173" fmla="*/ 3706 w 4507"/>
                  <a:gd name="connsiteY173" fmla="*/ 911 h 1039"/>
                  <a:gd name="connsiteX174" fmla="*/ 3750 w 4507"/>
                  <a:gd name="connsiteY174" fmla="*/ 880 h 1039"/>
                  <a:gd name="connsiteX175" fmla="*/ 3789 w 4507"/>
                  <a:gd name="connsiteY175" fmla="*/ 844 h 1039"/>
                  <a:gd name="connsiteX176" fmla="*/ 3826 w 4507"/>
                  <a:gd name="connsiteY176" fmla="*/ 803 h 1039"/>
                  <a:gd name="connsiteX177" fmla="*/ 3861 w 4507"/>
                  <a:gd name="connsiteY177" fmla="*/ 755 h 1039"/>
                  <a:gd name="connsiteX178" fmla="*/ 3894 w 4507"/>
                  <a:gd name="connsiteY178" fmla="*/ 705 h 1039"/>
                  <a:gd name="connsiteX179" fmla="*/ 3927 w 4507"/>
                  <a:gd name="connsiteY179" fmla="*/ 651 h 1039"/>
                  <a:gd name="connsiteX180" fmla="*/ 3960 w 4507"/>
                  <a:gd name="connsiteY180" fmla="*/ 593 h 1039"/>
                  <a:gd name="connsiteX181" fmla="*/ 3993 w 4507"/>
                  <a:gd name="connsiteY181" fmla="*/ 533 h 1039"/>
                  <a:gd name="connsiteX182" fmla="*/ 4022 w 4507"/>
                  <a:gd name="connsiteY182" fmla="*/ 479 h 1039"/>
                  <a:gd name="connsiteX183" fmla="*/ 4084 w 4507"/>
                  <a:gd name="connsiteY183" fmla="*/ 371 h 1039"/>
                  <a:gd name="connsiteX184" fmla="*/ 4154 w 4507"/>
                  <a:gd name="connsiteY184" fmla="*/ 268 h 1039"/>
                  <a:gd name="connsiteX185" fmla="*/ 4192 w 4507"/>
                  <a:gd name="connsiteY185" fmla="*/ 220 h 1039"/>
                  <a:gd name="connsiteX186" fmla="*/ 4233 w 4507"/>
                  <a:gd name="connsiteY186" fmla="*/ 174 h 1039"/>
                  <a:gd name="connsiteX187" fmla="*/ 4276 w 4507"/>
                  <a:gd name="connsiteY187" fmla="*/ 133 h 1039"/>
                  <a:gd name="connsiteX0" fmla="*/ 4276 w 4400"/>
                  <a:gd name="connsiteY0" fmla="*/ 133 h 1039"/>
                  <a:gd name="connsiteX1" fmla="*/ 4400 w 4400"/>
                  <a:gd name="connsiteY1" fmla="*/ 150 h 1039"/>
                  <a:gd name="connsiteX2" fmla="*/ 4353 w 4400"/>
                  <a:gd name="connsiteY2" fmla="*/ 183 h 1039"/>
                  <a:gd name="connsiteX3" fmla="*/ 4309 w 4400"/>
                  <a:gd name="connsiteY3" fmla="*/ 220 h 1039"/>
                  <a:gd name="connsiteX4" fmla="*/ 4270 w 4400"/>
                  <a:gd name="connsiteY4" fmla="*/ 264 h 1039"/>
                  <a:gd name="connsiteX5" fmla="*/ 4196 w 4400"/>
                  <a:gd name="connsiteY5" fmla="*/ 359 h 1039"/>
                  <a:gd name="connsiteX6" fmla="*/ 4163 w 4400"/>
                  <a:gd name="connsiteY6" fmla="*/ 411 h 1039"/>
                  <a:gd name="connsiteX7" fmla="*/ 4101 w 4400"/>
                  <a:gd name="connsiteY7" fmla="*/ 519 h 1039"/>
                  <a:gd name="connsiteX8" fmla="*/ 4008 w 4400"/>
                  <a:gd name="connsiteY8" fmla="*/ 687 h 1039"/>
                  <a:gd name="connsiteX9" fmla="*/ 3975 w 4400"/>
                  <a:gd name="connsiteY9" fmla="*/ 743 h 1039"/>
                  <a:gd name="connsiteX10" fmla="*/ 3940 w 4400"/>
                  <a:gd name="connsiteY10" fmla="*/ 794 h 1039"/>
                  <a:gd name="connsiteX11" fmla="*/ 3905 w 4400"/>
                  <a:gd name="connsiteY11" fmla="*/ 844 h 1039"/>
                  <a:gd name="connsiteX12" fmla="*/ 3865 w 4400"/>
                  <a:gd name="connsiteY12" fmla="*/ 890 h 1039"/>
                  <a:gd name="connsiteX13" fmla="*/ 3824 w 4400"/>
                  <a:gd name="connsiteY13" fmla="*/ 931 h 1039"/>
                  <a:gd name="connsiteX14" fmla="*/ 3779 w 4400"/>
                  <a:gd name="connsiteY14" fmla="*/ 967 h 1039"/>
                  <a:gd name="connsiteX15" fmla="*/ 3729 w 4400"/>
                  <a:gd name="connsiteY15" fmla="*/ 996 h 1039"/>
                  <a:gd name="connsiteX16" fmla="*/ 3677 w 4400"/>
                  <a:gd name="connsiteY16" fmla="*/ 1018 h 1039"/>
                  <a:gd name="connsiteX17" fmla="*/ 3620 w 4400"/>
                  <a:gd name="connsiteY17" fmla="*/ 1033 h 1039"/>
                  <a:gd name="connsiteX18" fmla="*/ 3556 w 4400"/>
                  <a:gd name="connsiteY18" fmla="*/ 1039 h 1039"/>
                  <a:gd name="connsiteX19" fmla="*/ 3547 w 4400"/>
                  <a:gd name="connsiteY19" fmla="*/ 1039 h 1039"/>
                  <a:gd name="connsiteX20" fmla="*/ 3485 w 4400"/>
                  <a:gd name="connsiteY20" fmla="*/ 1035 h 1039"/>
                  <a:gd name="connsiteX21" fmla="*/ 3426 w 4400"/>
                  <a:gd name="connsiteY21" fmla="*/ 1021 h 1039"/>
                  <a:gd name="connsiteX22" fmla="*/ 3372 w 4400"/>
                  <a:gd name="connsiteY22" fmla="*/ 998 h 1039"/>
                  <a:gd name="connsiteX23" fmla="*/ 3320 w 4400"/>
                  <a:gd name="connsiteY23" fmla="*/ 969 h 1039"/>
                  <a:gd name="connsiteX24" fmla="*/ 3273 w 4400"/>
                  <a:gd name="connsiteY24" fmla="*/ 931 h 1039"/>
                  <a:gd name="connsiteX25" fmla="*/ 3229 w 4400"/>
                  <a:gd name="connsiteY25" fmla="*/ 890 h 1039"/>
                  <a:gd name="connsiteX26" fmla="*/ 3186 w 4400"/>
                  <a:gd name="connsiteY26" fmla="*/ 842 h 1039"/>
                  <a:gd name="connsiteX27" fmla="*/ 3147 w 4400"/>
                  <a:gd name="connsiteY27" fmla="*/ 792 h 1039"/>
                  <a:gd name="connsiteX28" fmla="*/ 3108 w 4400"/>
                  <a:gd name="connsiteY28" fmla="*/ 736 h 1039"/>
                  <a:gd name="connsiteX29" fmla="*/ 3070 w 4400"/>
                  <a:gd name="connsiteY29" fmla="*/ 680 h 1039"/>
                  <a:gd name="connsiteX30" fmla="*/ 2965 w 4400"/>
                  <a:gd name="connsiteY30" fmla="*/ 506 h 1039"/>
                  <a:gd name="connsiteX31" fmla="*/ 2928 w 4400"/>
                  <a:gd name="connsiteY31" fmla="*/ 448 h 1039"/>
                  <a:gd name="connsiteX32" fmla="*/ 2891 w 4400"/>
                  <a:gd name="connsiteY32" fmla="*/ 392 h 1039"/>
                  <a:gd name="connsiteX33" fmla="*/ 2854 w 4400"/>
                  <a:gd name="connsiteY33" fmla="*/ 338 h 1039"/>
                  <a:gd name="connsiteX34" fmla="*/ 2814 w 4400"/>
                  <a:gd name="connsiteY34" fmla="*/ 288 h 1039"/>
                  <a:gd name="connsiteX35" fmla="*/ 2773 w 4400"/>
                  <a:gd name="connsiteY35" fmla="*/ 243 h 1039"/>
                  <a:gd name="connsiteX36" fmla="*/ 2732 w 4400"/>
                  <a:gd name="connsiteY36" fmla="*/ 201 h 1039"/>
                  <a:gd name="connsiteX37" fmla="*/ 2686 w 4400"/>
                  <a:gd name="connsiteY37" fmla="*/ 164 h 1039"/>
                  <a:gd name="connsiteX38" fmla="*/ 2639 w 4400"/>
                  <a:gd name="connsiteY38" fmla="*/ 135 h 1039"/>
                  <a:gd name="connsiteX39" fmla="*/ 2587 w 4400"/>
                  <a:gd name="connsiteY39" fmla="*/ 112 h 1039"/>
                  <a:gd name="connsiteX40" fmla="*/ 2532 w 4400"/>
                  <a:gd name="connsiteY40" fmla="*/ 96 h 1039"/>
                  <a:gd name="connsiteX41" fmla="*/ 2474 w 4400"/>
                  <a:gd name="connsiteY41" fmla="*/ 87 h 1039"/>
                  <a:gd name="connsiteX42" fmla="*/ 2410 w 4400"/>
                  <a:gd name="connsiteY42" fmla="*/ 89 h 1039"/>
                  <a:gd name="connsiteX43" fmla="*/ 2342 w 4400"/>
                  <a:gd name="connsiteY43" fmla="*/ 100 h 1039"/>
                  <a:gd name="connsiteX44" fmla="*/ 2280 w 4400"/>
                  <a:gd name="connsiteY44" fmla="*/ 118 h 1039"/>
                  <a:gd name="connsiteX45" fmla="*/ 2222 w 4400"/>
                  <a:gd name="connsiteY45" fmla="*/ 143 h 1039"/>
                  <a:gd name="connsiteX46" fmla="*/ 2168 w 4400"/>
                  <a:gd name="connsiteY46" fmla="*/ 176 h 1039"/>
                  <a:gd name="connsiteX47" fmla="*/ 2117 w 4400"/>
                  <a:gd name="connsiteY47" fmla="*/ 214 h 1039"/>
                  <a:gd name="connsiteX48" fmla="*/ 2071 w 4400"/>
                  <a:gd name="connsiteY48" fmla="*/ 257 h 1039"/>
                  <a:gd name="connsiteX49" fmla="*/ 2026 w 4400"/>
                  <a:gd name="connsiteY49" fmla="*/ 303 h 1039"/>
                  <a:gd name="connsiteX50" fmla="*/ 1984 w 4400"/>
                  <a:gd name="connsiteY50" fmla="*/ 355 h 1039"/>
                  <a:gd name="connsiteX51" fmla="*/ 1945 w 4400"/>
                  <a:gd name="connsiteY51" fmla="*/ 409 h 1039"/>
                  <a:gd name="connsiteX52" fmla="*/ 1908 w 4400"/>
                  <a:gd name="connsiteY52" fmla="*/ 463 h 1039"/>
                  <a:gd name="connsiteX53" fmla="*/ 1871 w 4400"/>
                  <a:gd name="connsiteY53" fmla="*/ 519 h 1039"/>
                  <a:gd name="connsiteX54" fmla="*/ 1834 w 4400"/>
                  <a:gd name="connsiteY54" fmla="*/ 577 h 1039"/>
                  <a:gd name="connsiteX55" fmla="*/ 1799 w 4400"/>
                  <a:gd name="connsiteY55" fmla="*/ 633 h 1039"/>
                  <a:gd name="connsiteX56" fmla="*/ 1724 w 4400"/>
                  <a:gd name="connsiteY56" fmla="*/ 745 h 1039"/>
                  <a:gd name="connsiteX57" fmla="*/ 1685 w 4400"/>
                  <a:gd name="connsiteY57" fmla="*/ 797 h 1039"/>
                  <a:gd name="connsiteX58" fmla="*/ 1644 w 4400"/>
                  <a:gd name="connsiteY58" fmla="*/ 846 h 1039"/>
                  <a:gd name="connsiteX59" fmla="*/ 1600 w 4400"/>
                  <a:gd name="connsiteY59" fmla="*/ 892 h 1039"/>
                  <a:gd name="connsiteX60" fmla="*/ 1553 w 4400"/>
                  <a:gd name="connsiteY60" fmla="*/ 933 h 1039"/>
                  <a:gd name="connsiteX61" fmla="*/ 1503 w 4400"/>
                  <a:gd name="connsiteY61" fmla="*/ 969 h 1039"/>
                  <a:gd name="connsiteX62" fmla="*/ 1450 w 4400"/>
                  <a:gd name="connsiteY62" fmla="*/ 998 h 1039"/>
                  <a:gd name="connsiteX63" fmla="*/ 1394 w 4400"/>
                  <a:gd name="connsiteY63" fmla="*/ 1021 h 1039"/>
                  <a:gd name="connsiteX64" fmla="*/ 1330 w 4400"/>
                  <a:gd name="connsiteY64" fmla="*/ 1033 h 1039"/>
                  <a:gd name="connsiteX65" fmla="*/ 1264 w 4400"/>
                  <a:gd name="connsiteY65" fmla="*/ 1039 h 1039"/>
                  <a:gd name="connsiteX66" fmla="*/ 1258 w 4400"/>
                  <a:gd name="connsiteY66" fmla="*/ 1039 h 1039"/>
                  <a:gd name="connsiteX67" fmla="*/ 1190 w 4400"/>
                  <a:gd name="connsiteY67" fmla="*/ 1035 h 1039"/>
                  <a:gd name="connsiteX68" fmla="*/ 1128 w 4400"/>
                  <a:gd name="connsiteY68" fmla="*/ 1023 h 1039"/>
                  <a:gd name="connsiteX69" fmla="*/ 1070 w 4400"/>
                  <a:gd name="connsiteY69" fmla="*/ 1004 h 1039"/>
                  <a:gd name="connsiteX70" fmla="*/ 1018 w 4400"/>
                  <a:gd name="connsiteY70" fmla="*/ 979 h 1039"/>
                  <a:gd name="connsiteX71" fmla="*/ 971 w 4400"/>
                  <a:gd name="connsiteY71" fmla="*/ 948 h 1039"/>
                  <a:gd name="connsiteX72" fmla="*/ 925 w 4400"/>
                  <a:gd name="connsiteY72" fmla="*/ 911 h 1039"/>
                  <a:gd name="connsiteX73" fmla="*/ 884 w 4400"/>
                  <a:gd name="connsiteY73" fmla="*/ 869 h 1039"/>
                  <a:gd name="connsiteX74" fmla="*/ 847 w 4400"/>
                  <a:gd name="connsiteY74" fmla="*/ 824 h 1039"/>
                  <a:gd name="connsiteX75" fmla="*/ 810 w 4400"/>
                  <a:gd name="connsiteY75" fmla="*/ 776 h 1039"/>
                  <a:gd name="connsiteX76" fmla="*/ 777 w 4400"/>
                  <a:gd name="connsiteY76" fmla="*/ 724 h 1039"/>
                  <a:gd name="connsiteX77" fmla="*/ 742 w 4400"/>
                  <a:gd name="connsiteY77" fmla="*/ 670 h 1039"/>
                  <a:gd name="connsiteX78" fmla="*/ 711 w 4400"/>
                  <a:gd name="connsiteY78" fmla="*/ 614 h 1039"/>
                  <a:gd name="connsiteX79" fmla="*/ 678 w 4400"/>
                  <a:gd name="connsiteY79" fmla="*/ 556 h 1039"/>
                  <a:gd name="connsiteX80" fmla="*/ 616 w 4400"/>
                  <a:gd name="connsiteY80" fmla="*/ 444 h 1039"/>
                  <a:gd name="connsiteX81" fmla="*/ 547 w 4400"/>
                  <a:gd name="connsiteY81" fmla="*/ 336 h 1039"/>
                  <a:gd name="connsiteX82" fmla="*/ 504 w 4400"/>
                  <a:gd name="connsiteY82" fmla="*/ 280 h 1039"/>
                  <a:gd name="connsiteX83" fmla="*/ 457 w 4400"/>
                  <a:gd name="connsiteY83" fmla="*/ 235 h 1039"/>
                  <a:gd name="connsiteX84" fmla="*/ 409 w 4400"/>
                  <a:gd name="connsiteY84" fmla="*/ 195 h 1039"/>
                  <a:gd name="connsiteX85" fmla="*/ 358 w 4400"/>
                  <a:gd name="connsiteY85" fmla="*/ 164 h 1039"/>
                  <a:gd name="connsiteX86" fmla="*/ 308 w 4400"/>
                  <a:gd name="connsiteY86" fmla="*/ 141 h 1039"/>
                  <a:gd name="connsiteX87" fmla="*/ 256 w 4400"/>
                  <a:gd name="connsiteY87" fmla="*/ 123 h 1039"/>
                  <a:gd name="connsiteX88" fmla="*/ 209 w 4400"/>
                  <a:gd name="connsiteY88" fmla="*/ 108 h 1039"/>
                  <a:gd name="connsiteX89" fmla="*/ 163 w 4400"/>
                  <a:gd name="connsiteY89" fmla="*/ 100 h 1039"/>
                  <a:gd name="connsiteX90" fmla="*/ 122 w 4400"/>
                  <a:gd name="connsiteY90" fmla="*/ 96 h 1039"/>
                  <a:gd name="connsiteX91" fmla="*/ 85 w 4400"/>
                  <a:gd name="connsiteY91" fmla="*/ 91 h 1039"/>
                  <a:gd name="connsiteX92" fmla="*/ 31 w 4400"/>
                  <a:gd name="connsiteY92" fmla="*/ 91 h 1039"/>
                  <a:gd name="connsiteX93" fmla="*/ 17 w 4400"/>
                  <a:gd name="connsiteY93" fmla="*/ 94 h 1039"/>
                  <a:gd name="connsiteX94" fmla="*/ 11 w 4400"/>
                  <a:gd name="connsiteY94" fmla="*/ 94 h 1039"/>
                  <a:gd name="connsiteX95" fmla="*/ 0 w 4400"/>
                  <a:gd name="connsiteY95" fmla="*/ 9 h 1039"/>
                  <a:gd name="connsiteX96" fmla="*/ 9 w 4400"/>
                  <a:gd name="connsiteY96" fmla="*/ 9 h 1039"/>
                  <a:gd name="connsiteX97" fmla="*/ 29 w 4400"/>
                  <a:gd name="connsiteY97" fmla="*/ 6 h 1039"/>
                  <a:gd name="connsiteX98" fmla="*/ 91 w 4400"/>
                  <a:gd name="connsiteY98" fmla="*/ 6 h 1039"/>
                  <a:gd name="connsiteX99" fmla="*/ 135 w 4400"/>
                  <a:gd name="connsiteY99" fmla="*/ 9 h 1039"/>
                  <a:gd name="connsiteX100" fmla="*/ 182 w 4400"/>
                  <a:gd name="connsiteY100" fmla="*/ 15 h 1039"/>
                  <a:gd name="connsiteX101" fmla="*/ 234 w 4400"/>
                  <a:gd name="connsiteY101" fmla="*/ 25 h 1039"/>
                  <a:gd name="connsiteX102" fmla="*/ 287 w 4400"/>
                  <a:gd name="connsiteY102" fmla="*/ 42 h 1039"/>
                  <a:gd name="connsiteX103" fmla="*/ 345 w 4400"/>
                  <a:gd name="connsiteY103" fmla="*/ 62 h 1039"/>
                  <a:gd name="connsiteX104" fmla="*/ 403 w 4400"/>
                  <a:gd name="connsiteY104" fmla="*/ 89 h 1039"/>
                  <a:gd name="connsiteX105" fmla="*/ 459 w 4400"/>
                  <a:gd name="connsiteY105" fmla="*/ 127 h 1039"/>
                  <a:gd name="connsiteX106" fmla="*/ 514 w 4400"/>
                  <a:gd name="connsiteY106" fmla="*/ 170 h 1039"/>
                  <a:gd name="connsiteX107" fmla="*/ 568 w 4400"/>
                  <a:gd name="connsiteY107" fmla="*/ 224 h 1039"/>
                  <a:gd name="connsiteX108" fmla="*/ 618 w 4400"/>
                  <a:gd name="connsiteY108" fmla="*/ 288 h 1039"/>
                  <a:gd name="connsiteX109" fmla="*/ 667 w 4400"/>
                  <a:gd name="connsiteY109" fmla="*/ 363 h 1039"/>
                  <a:gd name="connsiteX110" fmla="*/ 754 w 4400"/>
                  <a:gd name="connsiteY110" fmla="*/ 512 h 1039"/>
                  <a:gd name="connsiteX111" fmla="*/ 787 w 4400"/>
                  <a:gd name="connsiteY111" fmla="*/ 571 h 1039"/>
                  <a:gd name="connsiteX112" fmla="*/ 820 w 4400"/>
                  <a:gd name="connsiteY112" fmla="*/ 627 h 1039"/>
                  <a:gd name="connsiteX113" fmla="*/ 853 w 4400"/>
                  <a:gd name="connsiteY113" fmla="*/ 680 h 1039"/>
                  <a:gd name="connsiteX114" fmla="*/ 886 w 4400"/>
                  <a:gd name="connsiteY114" fmla="*/ 732 h 1039"/>
                  <a:gd name="connsiteX115" fmla="*/ 921 w 4400"/>
                  <a:gd name="connsiteY115" fmla="*/ 778 h 1039"/>
                  <a:gd name="connsiteX116" fmla="*/ 958 w 4400"/>
                  <a:gd name="connsiteY116" fmla="*/ 821 h 1039"/>
                  <a:gd name="connsiteX117" fmla="*/ 1000 w 4400"/>
                  <a:gd name="connsiteY117" fmla="*/ 859 h 1039"/>
                  <a:gd name="connsiteX118" fmla="*/ 1043 w 4400"/>
                  <a:gd name="connsiteY118" fmla="*/ 890 h 1039"/>
                  <a:gd name="connsiteX119" fmla="*/ 1090 w 4400"/>
                  <a:gd name="connsiteY119" fmla="*/ 917 h 1039"/>
                  <a:gd name="connsiteX120" fmla="*/ 1140 w 4400"/>
                  <a:gd name="connsiteY120" fmla="*/ 935 h 1039"/>
                  <a:gd name="connsiteX121" fmla="*/ 1196 w 4400"/>
                  <a:gd name="connsiteY121" fmla="*/ 948 h 1039"/>
                  <a:gd name="connsiteX122" fmla="*/ 1258 w 4400"/>
                  <a:gd name="connsiteY122" fmla="*/ 952 h 1039"/>
                  <a:gd name="connsiteX123" fmla="*/ 1264 w 4400"/>
                  <a:gd name="connsiteY123" fmla="*/ 952 h 1039"/>
                  <a:gd name="connsiteX124" fmla="*/ 1324 w 4400"/>
                  <a:gd name="connsiteY124" fmla="*/ 946 h 1039"/>
                  <a:gd name="connsiteX125" fmla="*/ 1380 w 4400"/>
                  <a:gd name="connsiteY125" fmla="*/ 931 h 1039"/>
                  <a:gd name="connsiteX126" fmla="*/ 1433 w 4400"/>
                  <a:gd name="connsiteY126" fmla="*/ 909 h 1039"/>
                  <a:gd name="connsiteX127" fmla="*/ 1481 w 4400"/>
                  <a:gd name="connsiteY127" fmla="*/ 880 h 1039"/>
                  <a:gd name="connsiteX128" fmla="*/ 1526 w 4400"/>
                  <a:gd name="connsiteY128" fmla="*/ 842 h 1039"/>
                  <a:gd name="connsiteX129" fmla="*/ 1569 w 4400"/>
                  <a:gd name="connsiteY129" fmla="*/ 799 h 1039"/>
                  <a:gd name="connsiteX130" fmla="*/ 1609 w 4400"/>
                  <a:gd name="connsiteY130" fmla="*/ 751 h 1039"/>
                  <a:gd name="connsiteX131" fmla="*/ 1648 w 4400"/>
                  <a:gd name="connsiteY131" fmla="*/ 699 h 1039"/>
                  <a:gd name="connsiteX132" fmla="*/ 1687 w 4400"/>
                  <a:gd name="connsiteY132" fmla="*/ 645 h 1039"/>
                  <a:gd name="connsiteX133" fmla="*/ 1799 w 4400"/>
                  <a:gd name="connsiteY133" fmla="*/ 471 h 1039"/>
                  <a:gd name="connsiteX134" fmla="*/ 1838 w 4400"/>
                  <a:gd name="connsiteY134" fmla="*/ 411 h 1039"/>
                  <a:gd name="connsiteX135" fmla="*/ 1879 w 4400"/>
                  <a:gd name="connsiteY135" fmla="*/ 353 h 1039"/>
                  <a:gd name="connsiteX136" fmla="*/ 1923 w 4400"/>
                  <a:gd name="connsiteY136" fmla="*/ 295 h 1039"/>
                  <a:gd name="connsiteX137" fmla="*/ 1968 w 4400"/>
                  <a:gd name="connsiteY137" fmla="*/ 241 h 1039"/>
                  <a:gd name="connsiteX138" fmla="*/ 2015 w 4400"/>
                  <a:gd name="connsiteY138" fmla="*/ 189 h 1039"/>
                  <a:gd name="connsiteX139" fmla="*/ 2069 w 4400"/>
                  <a:gd name="connsiteY139" fmla="*/ 141 h 1039"/>
                  <a:gd name="connsiteX140" fmla="*/ 2125 w 4400"/>
                  <a:gd name="connsiteY140" fmla="*/ 100 h 1039"/>
                  <a:gd name="connsiteX141" fmla="*/ 2187 w 4400"/>
                  <a:gd name="connsiteY141" fmla="*/ 65 h 1039"/>
                  <a:gd name="connsiteX142" fmla="*/ 2253 w 4400"/>
                  <a:gd name="connsiteY142" fmla="*/ 35 h 1039"/>
                  <a:gd name="connsiteX143" fmla="*/ 2325 w 4400"/>
                  <a:gd name="connsiteY143" fmla="*/ 15 h 1039"/>
                  <a:gd name="connsiteX144" fmla="*/ 2404 w 4400"/>
                  <a:gd name="connsiteY144" fmla="*/ 2 h 1039"/>
                  <a:gd name="connsiteX145" fmla="*/ 2474 w 4400"/>
                  <a:gd name="connsiteY145" fmla="*/ 0 h 1039"/>
                  <a:gd name="connsiteX146" fmla="*/ 2540 w 4400"/>
                  <a:gd name="connsiteY146" fmla="*/ 9 h 1039"/>
                  <a:gd name="connsiteX147" fmla="*/ 2600 w 4400"/>
                  <a:gd name="connsiteY147" fmla="*/ 23 h 1039"/>
                  <a:gd name="connsiteX148" fmla="*/ 2658 w 4400"/>
                  <a:gd name="connsiteY148" fmla="*/ 46 h 1039"/>
                  <a:gd name="connsiteX149" fmla="*/ 2711 w 4400"/>
                  <a:gd name="connsiteY149" fmla="*/ 77 h 1039"/>
                  <a:gd name="connsiteX150" fmla="*/ 2761 w 4400"/>
                  <a:gd name="connsiteY150" fmla="*/ 112 h 1039"/>
                  <a:gd name="connsiteX151" fmla="*/ 2806 w 4400"/>
                  <a:gd name="connsiteY151" fmla="*/ 154 h 1039"/>
                  <a:gd name="connsiteX152" fmla="*/ 2852 w 4400"/>
                  <a:gd name="connsiteY152" fmla="*/ 199 h 1039"/>
                  <a:gd name="connsiteX153" fmla="*/ 2893 w 4400"/>
                  <a:gd name="connsiteY153" fmla="*/ 247 h 1039"/>
                  <a:gd name="connsiteX154" fmla="*/ 2932 w 4400"/>
                  <a:gd name="connsiteY154" fmla="*/ 299 h 1039"/>
                  <a:gd name="connsiteX155" fmla="*/ 2969 w 4400"/>
                  <a:gd name="connsiteY155" fmla="*/ 353 h 1039"/>
                  <a:gd name="connsiteX156" fmla="*/ 3004 w 4400"/>
                  <a:gd name="connsiteY156" fmla="*/ 409 h 1039"/>
                  <a:gd name="connsiteX157" fmla="*/ 3039 w 4400"/>
                  <a:gd name="connsiteY157" fmla="*/ 463 h 1039"/>
                  <a:gd name="connsiteX158" fmla="*/ 3073 w 4400"/>
                  <a:gd name="connsiteY158" fmla="*/ 519 h 1039"/>
                  <a:gd name="connsiteX159" fmla="*/ 3110 w 4400"/>
                  <a:gd name="connsiteY159" fmla="*/ 581 h 1039"/>
                  <a:gd name="connsiteX160" fmla="*/ 3147 w 4400"/>
                  <a:gd name="connsiteY160" fmla="*/ 639 h 1039"/>
                  <a:gd name="connsiteX161" fmla="*/ 3186 w 4400"/>
                  <a:gd name="connsiteY161" fmla="*/ 697 h 1039"/>
                  <a:gd name="connsiteX162" fmla="*/ 3223 w 4400"/>
                  <a:gd name="connsiteY162" fmla="*/ 751 h 1039"/>
                  <a:gd name="connsiteX163" fmla="*/ 3265 w 4400"/>
                  <a:gd name="connsiteY163" fmla="*/ 801 h 1039"/>
                  <a:gd name="connsiteX164" fmla="*/ 3306 w 4400"/>
                  <a:gd name="connsiteY164" fmla="*/ 844 h 1039"/>
                  <a:gd name="connsiteX165" fmla="*/ 3349 w 4400"/>
                  <a:gd name="connsiteY165" fmla="*/ 882 h 1039"/>
                  <a:gd name="connsiteX166" fmla="*/ 3395 w 4400"/>
                  <a:gd name="connsiteY166" fmla="*/ 913 h 1039"/>
                  <a:gd name="connsiteX167" fmla="*/ 3444 w 4400"/>
                  <a:gd name="connsiteY167" fmla="*/ 935 h 1039"/>
                  <a:gd name="connsiteX168" fmla="*/ 3498 w 4400"/>
                  <a:gd name="connsiteY168" fmla="*/ 948 h 1039"/>
                  <a:gd name="connsiteX169" fmla="*/ 3554 w 4400"/>
                  <a:gd name="connsiteY169" fmla="*/ 952 h 1039"/>
                  <a:gd name="connsiteX170" fmla="*/ 3609 w 4400"/>
                  <a:gd name="connsiteY170" fmla="*/ 946 h 1039"/>
                  <a:gd name="connsiteX171" fmla="*/ 3659 w 4400"/>
                  <a:gd name="connsiteY171" fmla="*/ 931 h 1039"/>
                  <a:gd name="connsiteX172" fmla="*/ 3706 w 4400"/>
                  <a:gd name="connsiteY172" fmla="*/ 911 h 1039"/>
                  <a:gd name="connsiteX173" fmla="*/ 3750 w 4400"/>
                  <a:gd name="connsiteY173" fmla="*/ 880 h 1039"/>
                  <a:gd name="connsiteX174" fmla="*/ 3789 w 4400"/>
                  <a:gd name="connsiteY174" fmla="*/ 844 h 1039"/>
                  <a:gd name="connsiteX175" fmla="*/ 3826 w 4400"/>
                  <a:gd name="connsiteY175" fmla="*/ 803 h 1039"/>
                  <a:gd name="connsiteX176" fmla="*/ 3861 w 4400"/>
                  <a:gd name="connsiteY176" fmla="*/ 755 h 1039"/>
                  <a:gd name="connsiteX177" fmla="*/ 3894 w 4400"/>
                  <a:gd name="connsiteY177" fmla="*/ 705 h 1039"/>
                  <a:gd name="connsiteX178" fmla="*/ 3927 w 4400"/>
                  <a:gd name="connsiteY178" fmla="*/ 651 h 1039"/>
                  <a:gd name="connsiteX179" fmla="*/ 3960 w 4400"/>
                  <a:gd name="connsiteY179" fmla="*/ 593 h 1039"/>
                  <a:gd name="connsiteX180" fmla="*/ 3993 w 4400"/>
                  <a:gd name="connsiteY180" fmla="*/ 533 h 1039"/>
                  <a:gd name="connsiteX181" fmla="*/ 4022 w 4400"/>
                  <a:gd name="connsiteY181" fmla="*/ 479 h 1039"/>
                  <a:gd name="connsiteX182" fmla="*/ 4084 w 4400"/>
                  <a:gd name="connsiteY182" fmla="*/ 371 h 1039"/>
                  <a:gd name="connsiteX183" fmla="*/ 4154 w 4400"/>
                  <a:gd name="connsiteY183" fmla="*/ 268 h 1039"/>
                  <a:gd name="connsiteX184" fmla="*/ 4192 w 4400"/>
                  <a:gd name="connsiteY184" fmla="*/ 220 h 1039"/>
                  <a:gd name="connsiteX185" fmla="*/ 4233 w 4400"/>
                  <a:gd name="connsiteY185" fmla="*/ 174 h 1039"/>
                  <a:gd name="connsiteX186" fmla="*/ 4276 w 4400"/>
                  <a:gd name="connsiteY186" fmla="*/ 133 h 1039"/>
                  <a:gd name="connsiteX0" fmla="*/ 4276 w 4353"/>
                  <a:gd name="connsiteY0" fmla="*/ 133 h 1039"/>
                  <a:gd name="connsiteX1" fmla="*/ 4353 w 4353"/>
                  <a:gd name="connsiteY1" fmla="*/ 183 h 1039"/>
                  <a:gd name="connsiteX2" fmla="*/ 4309 w 4353"/>
                  <a:gd name="connsiteY2" fmla="*/ 220 h 1039"/>
                  <a:gd name="connsiteX3" fmla="*/ 4270 w 4353"/>
                  <a:gd name="connsiteY3" fmla="*/ 264 h 1039"/>
                  <a:gd name="connsiteX4" fmla="*/ 4196 w 4353"/>
                  <a:gd name="connsiteY4" fmla="*/ 359 h 1039"/>
                  <a:gd name="connsiteX5" fmla="*/ 4163 w 4353"/>
                  <a:gd name="connsiteY5" fmla="*/ 411 h 1039"/>
                  <a:gd name="connsiteX6" fmla="*/ 4101 w 4353"/>
                  <a:gd name="connsiteY6" fmla="*/ 519 h 1039"/>
                  <a:gd name="connsiteX7" fmla="*/ 4008 w 4353"/>
                  <a:gd name="connsiteY7" fmla="*/ 687 h 1039"/>
                  <a:gd name="connsiteX8" fmla="*/ 3975 w 4353"/>
                  <a:gd name="connsiteY8" fmla="*/ 743 h 1039"/>
                  <a:gd name="connsiteX9" fmla="*/ 3940 w 4353"/>
                  <a:gd name="connsiteY9" fmla="*/ 794 h 1039"/>
                  <a:gd name="connsiteX10" fmla="*/ 3905 w 4353"/>
                  <a:gd name="connsiteY10" fmla="*/ 844 h 1039"/>
                  <a:gd name="connsiteX11" fmla="*/ 3865 w 4353"/>
                  <a:gd name="connsiteY11" fmla="*/ 890 h 1039"/>
                  <a:gd name="connsiteX12" fmla="*/ 3824 w 4353"/>
                  <a:gd name="connsiteY12" fmla="*/ 931 h 1039"/>
                  <a:gd name="connsiteX13" fmla="*/ 3779 w 4353"/>
                  <a:gd name="connsiteY13" fmla="*/ 967 h 1039"/>
                  <a:gd name="connsiteX14" fmla="*/ 3729 w 4353"/>
                  <a:gd name="connsiteY14" fmla="*/ 996 h 1039"/>
                  <a:gd name="connsiteX15" fmla="*/ 3677 w 4353"/>
                  <a:gd name="connsiteY15" fmla="*/ 1018 h 1039"/>
                  <a:gd name="connsiteX16" fmla="*/ 3620 w 4353"/>
                  <a:gd name="connsiteY16" fmla="*/ 1033 h 1039"/>
                  <a:gd name="connsiteX17" fmla="*/ 3556 w 4353"/>
                  <a:gd name="connsiteY17" fmla="*/ 1039 h 1039"/>
                  <a:gd name="connsiteX18" fmla="*/ 3547 w 4353"/>
                  <a:gd name="connsiteY18" fmla="*/ 1039 h 1039"/>
                  <a:gd name="connsiteX19" fmla="*/ 3485 w 4353"/>
                  <a:gd name="connsiteY19" fmla="*/ 1035 h 1039"/>
                  <a:gd name="connsiteX20" fmla="*/ 3426 w 4353"/>
                  <a:gd name="connsiteY20" fmla="*/ 1021 h 1039"/>
                  <a:gd name="connsiteX21" fmla="*/ 3372 w 4353"/>
                  <a:gd name="connsiteY21" fmla="*/ 998 h 1039"/>
                  <a:gd name="connsiteX22" fmla="*/ 3320 w 4353"/>
                  <a:gd name="connsiteY22" fmla="*/ 969 h 1039"/>
                  <a:gd name="connsiteX23" fmla="*/ 3273 w 4353"/>
                  <a:gd name="connsiteY23" fmla="*/ 931 h 1039"/>
                  <a:gd name="connsiteX24" fmla="*/ 3229 w 4353"/>
                  <a:gd name="connsiteY24" fmla="*/ 890 h 1039"/>
                  <a:gd name="connsiteX25" fmla="*/ 3186 w 4353"/>
                  <a:gd name="connsiteY25" fmla="*/ 842 h 1039"/>
                  <a:gd name="connsiteX26" fmla="*/ 3147 w 4353"/>
                  <a:gd name="connsiteY26" fmla="*/ 792 h 1039"/>
                  <a:gd name="connsiteX27" fmla="*/ 3108 w 4353"/>
                  <a:gd name="connsiteY27" fmla="*/ 736 h 1039"/>
                  <a:gd name="connsiteX28" fmla="*/ 3070 w 4353"/>
                  <a:gd name="connsiteY28" fmla="*/ 680 h 1039"/>
                  <a:gd name="connsiteX29" fmla="*/ 2965 w 4353"/>
                  <a:gd name="connsiteY29" fmla="*/ 506 h 1039"/>
                  <a:gd name="connsiteX30" fmla="*/ 2928 w 4353"/>
                  <a:gd name="connsiteY30" fmla="*/ 448 h 1039"/>
                  <a:gd name="connsiteX31" fmla="*/ 2891 w 4353"/>
                  <a:gd name="connsiteY31" fmla="*/ 392 h 1039"/>
                  <a:gd name="connsiteX32" fmla="*/ 2854 w 4353"/>
                  <a:gd name="connsiteY32" fmla="*/ 338 h 1039"/>
                  <a:gd name="connsiteX33" fmla="*/ 2814 w 4353"/>
                  <a:gd name="connsiteY33" fmla="*/ 288 h 1039"/>
                  <a:gd name="connsiteX34" fmla="*/ 2773 w 4353"/>
                  <a:gd name="connsiteY34" fmla="*/ 243 h 1039"/>
                  <a:gd name="connsiteX35" fmla="*/ 2732 w 4353"/>
                  <a:gd name="connsiteY35" fmla="*/ 201 h 1039"/>
                  <a:gd name="connsiteX36" fmla="*/ 2686 w 4353"/>
                  <a:gd name="connsiteY36" fmla="*/ 164 h 1039"/>
                  <a:gd name="connsiteX37" fmla="*/ 2639 w 4353"/>
                  <a:gd name="connsiteY37" fmla="*/ 135 h 1039"/>
                  <a:gd name="connsiteX38" fmla="*/ 2587 w 4353"/>
                  <a:gd name="connsiteY38" fmla="*/ 112 h 1039"/>
                  <a:gd name="connsiteX39" fmla="*/ 2532 w 4353"/>
                  <a:gd name="connsiteY39" fmla="*/ 96 h 1039"/>
                  <a:gd name="connsiteX40" fmla="*/ 2474 w 4353"/>
                  <a:gd name="connsiteY40" fmla="*/ 87 h 1039"/>
                  <a:gd name="connsiteX41" fmla="*/ 2410 w 4353"/>
                  <a:gd name="connsiteY41" fmla="*/ 89 h 1039"/>
                  <a:gd name="connsiteX42" fmla="*/ 2342 w 4353"/>
                  <a:gd name="connsiteY42" fmla="*/ 100 h 1039"/>
                  <a:gd name="connsiteX43" fmla="*/ 2280 w 4353"/>
                  <a:gd name="connsiteY43" fmla="*/ 118 h 1039"/>
                  <a:gd name="connsiteX44" fmla="*/ 2222 w 4353"/>
                  <a:gd name="connsiteY44" fmla="*/ 143 h 1039"/>
                  <a:gd name="connsiteX45" fmla="*/ 2168 w 4353"/>
                  <a:gd name="connsiteY45" fmla="*/ 176 h 1039"/>
                  <a:gd name="connsiteX46" fmla="*/ 2117 w 4353"/>
                  <a:gd name="connsiteY46" fmla="*/ 214 h 1039"/>
                  <a:gd name="connsiteX47" fmla="*/ 2071 w 4353"/>
                  <a:gd name="connsiteY47" fmla="*/ 257 h 1039"/>
                  <a:gd name="connsiteX48" fmla="*/ 2026 w 4353"/>
                  <a:gd name="connsiteY48" fmla="*/ 303 h 1039"/>
                  <a:gd name="connsiteX49" fmla="*/ 1984 w 4353"/>
                  <a:gd name="connsiteY49" fmla="*/ 355 h 1039"/>
                  <a:gd name="connsiteX50" fmla="*/ 1945 w 4353"/>
                  <a:gd name="connsiteY50" fmla="*/ 409 h 1039"/>
                  <a:gd name="connsiteX51" fmla="*/ 1908 w 4353"/>
                  <a:gd name="connsiteY51" fmla="*/ 463 h 1039"/>
                  <a:gd name="connsiteX52" fmla="*/ 1871 w 4353"/>
                  <a:gd name="connsiteY52" fmla="*/ 519 h 1039"/>
                  <a:gd name="connsiteX53" fmla="*/ 1834 w 4353"/>
                  <a:gd name="connsiteY53" fmla="*/ 577 h 1039"/>
                  <a:gd name="connsiteX54" fmla="*/ 1799 w 4353"/>
                  <a:gd name="connsiteY54" fmla="*/ 633 h 1039"/>
                  <a:gd name="connsiteX55" fmla="*/ 1724 w 4353"/>
                  <a:gd name="connsiteY55" fmla="*/ 745 h 1039"/>
                  <a:gd name="connsiteX56" fmla="*/ 1685 w 4353"/>
                  <a:gd name="connsiteY56" fmla="*/ 797 h 1039"/>
                  <a:gd name="connsiteX57" fmla="*/ 1644 w 4353"/>
                  <a:gd name="connsiteY57" fmla="*/ 846 h 1039"/>
                  <a:gd name="connsiteX58" fmla="*/ 1600 w 4353"/>
                  <a:gd name="connsiteY58" fmla="*/ 892 h 1039"/>
                  <a:gd name="connsiteX59" fmla="*/ 1553 w 4353"/>
                  <a:gd name="connsiteY59" fmla="*/ 933 h 1039"/>
                  <a:gd name="connsiteX60" fmla="*/ 1503 w 4353"/>
                  <a:gd name="connsiteY60" fmla="*/ 969 h 1039"/>
                  <a:gd name="connsiteX61" fmla="*/ 1450 w 4353"/>
                  <a:gd name="connsiteY61" fmla="*/ 998 h 1039"/>
                  <a:gd name="connsiteX62" fmla="*/ 1394 w 4353"/>
                  <a:gd name="connsiteY62" fmla="*/ 1021 h 1039"/>
                  <a:gd name="connsiteX63" fmla="*/ 1330 w 4353"/>
                  <a:gd name="connsiteY63" fmla="*/ 1033 h 1039"/>
                  <a:gd name="connsiteX64" fmla="*/ 1264 w 4353"/>
                  <a:gd name="connsiteY64" fmla="*/ 1039 h 1039"/>
                  <a:gd name="connsiteX65" fmla="*/ 1258 w 4353"/>
                  <a:gd name="connsiteY65" fmla="*/ 1039 h 1039"/>
                  <a:gd name="connsiteX66" fmla="*/ 1190 w 4353"/>
                  <a:gd name="connsiteY66" fmla="*/ 1035 h 1039"/>
                  <a:gd name="connsiteX67" fmla="*/ 1128 w 4353"/>
                  <a:gd name="connsiteY67" fmla="*/ 1023 h 1039"/>
                  <a:gd name="connsiteX68" fmla="*/ 1070 w 4353"/>
                  <a:gd name="connsiteY68" fmla="*/ 1004 h 1039"/>
                  <a:gd name="connsiteX69" fmla="*/ 1018 w 4353"/>
                  <a:gd name="connsiteY69" fmla="*/ 979 h 1039"/>
                  <a:gd name="connsiteX70" fmla="*/ 971 w 4353"/>
                  <a:gd name="connsiteY70" fmla="*/ 948 h 1039"/>
                  <a:gd name="connsiteX71" fmla="*/ 925 w 4353"/>
                  <a:gd name="connsiteY71" fmla="*/ 911 h 1039"/>
                  <a:gd name="connsiteX72" fmla="*/ 884 w 4353"/>
                  <a:gd name="connsiteY72" fmla="*/ 869 h 1039"/>
                  <a:gd name="connsiteX73" fmla="*/ 847 w 4353"/>
                  <a:gd name="connsiteY73" fmla="*/ 824 h 1039"/>
                  <a:gd name="connsiteX74" fmla="*/ 810 w 4353"/>
                  <a:gd name="connsiteY74" fmla="*/ 776 h 1039"/>
                  <a:gd name="connsiteX75" fmla="*/ 777 w 4353"/>
                  <a:gd name="connsiteY75" fmla="*/ 724 h 1039"/>
                  <a:gd name="connsiteX76" fmla="*/ 742 w 4353"/>
                  <a:gd name="connsiteY76" fmla="*/ 670 h 1039"/>
                  <a:gd name="connsiteX77" fmla="*/ 711 w 4353"/>
                  <a:gd name="connsiteY77" fmla="*/ 614 h 1039"/>
                  <a:gd name="connsiteX78" fmla="*/ 678 w 4353"/>
                  <a:gd name="connsiteY78" fmla="*/ 556 h 1039"/>
                  <a:gd name="connsiteX79" fmla="*/ 616 w 4353"/>
                  <a:gd name="connsiteY79" fmla="*/ 444 h 1039"/>
                  <a:gd name="connsiteX80" fmla="*/ 547 w 4353"/>
                  <a:gd name="connsiteY80" fmla="*/ 336 h 1039"/>
                  <a:gd name="connsiteX81" fmla="*/ 504 w 4353"/>
                  <a:gd name="connsiteY81" fmla="*/ 280 h 1039"/>
                  <a:gd name="connsiteX82" fmla="*/ 457 w 4353"/>
                  <a:gd name="connsiteY82" fmla="*/ 235 h 1039"/>
                  <a:gd name="connsiteX83" fmla="*/ 409 w 4353"/>
                  <a:gd name="connsiteY83" fmla="*/ 195 h 1039"/>
                  <a:gd name="connsiteX84" fmla="*/ 358 w 4353"/>
                  <a:gd name="connsiteY84" fmla="*/ 164 h 1039"/>
                  <a:gd name="connsiteX85" fmla="*/ 308 w 4353"/>
                  <a:gd name="connsiteY85" fmla="*/ 141 h 1039"/>
                  <a:gd name="connsiteX86" fmla="*/ 256 w 4353"/>
                  <a:gd name="connsiteY86" fmla="*/ 123 h 1039"/>
                  <a:gd name="connsiteX87" fmla="*/ 209 w 4353"/>
                  <a:gd name="connsiteY87" fmla="*/ 108 h 1039"/>
                  <a:gd name="connsiteX88" fmla="*/ 163 w 4353"/>
                  <a:gd name="connsiteY88" fmla="*/ 100 h 1039"/>
                  <a:gd name="connsiteX89" fmla="*/ 122 w 4353"/>
                  <a:gd name="connsiteY89" fmla="*/ 96 h 1039"/>
                  <a:gd name="connsiteX90" fmla="*/ 85 w 4353"/>
                  <a:gd name="connsiteY90" fmla="*/ 91 h 1039"/>
                  <a:gd name="connsiteX91" fmla="*/ 31 w 4353"/>
                  <a:gd name="connsiteY91" fmla="*/ 91 h 1039"/>
                  <a:gd name="connsiteX92" fmla="*/ 17 w 4353"/>
                  <a:gd name="connsiteY92" fmla="*/ 94 h 1039"/>
                  <a:gd name="connsiteX93" fmla="*/ 11 w 4353"/>
                  <a:gd name="connsiteY93" fmla="*/ 94 h 1039"/>
                  <a:gd name="connsiteX94" fmla="*/ 0 w 4353"/>
                  <a:gd name="connsiteY94" fmla="*/ 9 h 1039"/>
                  <a:gd name="connsiteX95" fmla="*/ 9 w 4353"/>
                  <a:gd name="connsiteY95" fmla="*/ 9 h 1039"/>
                  <a:gd name="connsiteX96" fmla="*/ 29 w 4353"/>
                  <a:gd name="connsiteY96" fmla="*/ 6 h 1039"/>
                  <a:gd name="connsiteX97" fmla="*/ 91 w 4353"/>
                  <a:gd name="connsiteY97" fmla="*/ 6 h 1039"/>
                  <a:gd name="connsiteX98" fmla="*/ 135 w 4353"/>
                  <a:gd name="connsiteY98" fmla="*/ 9 h 1039"/>
                  <a:gd name="connsiteX99" fmla="*/ 182 w 4353"/>
                  <a:gd name="connsiteY99" fmla="*/ 15 h 1039"/>
                  <a:gd name="connsiteX100" fmla="*/ 234 w 4353"/>
                  <a:gd name="connsiteY100" fmla="*/ 25 h 1039"/>
                  <a:gd name="connsiteX101" fmla="*/ 287 w 4353"/>
                  <a:gd name="connsiteY101" fmla="*/ 42 h 1039"/>
                  <a:gd name="connsiteX102" fmla="*/ 345 w 4353"/>
                  <a:gd name="connsiteY102" fmla="*/ 62 h 1039"/>
                  <a:gd name="connsiteX103" fmla="*/ 403 w 4353"/>
                  <a:gd name="connsiteY103" fmla="*/ 89 h 1039"/>
                  <a:gd name="connsiteX104" fmla="*/ 459 w 4353"/>
                  <a:gd name="connsiteY104" fmla="*/ 127 h 1039"/>
                  <a:gd name="connsiteX105" fmla="*/ 514 w 4353"/>
                  <a:gd name="connsiteY105" fmla="*/ 170 h 1039"/>
                  <a:gd name="connsiteX106" fmla="*/ 568 w 4353"/>
                  <a:gd name="connsiteY106" fmla="*/ 224 h 1039"/>
                  <a:gd name="connsiteX107" fmla="*/ 618 w 4353"/>
                  <a:gd name="connsiteY107" fmla="*/ 288 h 1039"/>
                  <a:gd name="connsiteX108" fmla="*/ 667 w 4353"/>
                  <a:gd name="connsiteY108" fmla="*/ 363 h 1039"/>
                  <a:gd name="connsiteX109" fmla="*/ 754 w 4353"/>
                  <a:gd name="connsiteY109" fmla="*/ 512 h 1039"/>
                  <a:gd name="connsiteX110" fmla="*/ 787 w 4353"/>
                  <a:gd name="connsiteY110" fmla="*/ 571 h 1039"/>
                  <a:gd name="connsiteX111" fmla="*/ 820 w 4353"/>
                  <a:gd name="connsiteY111" fmla="*/ 627 h 1039"/>
                  <a:gd name="connsiteX112" fmla="*/ 853 w 4353"/>
                  <a:gd name="connsiteY112" fmla="*/ 680 h 1039"/>
                  <a:gd name="connsiteX113" fmla="*/ 886 w 4353"/>
                  <a:gd name="connsiteY113" fmla="*/ 732 h 1039"/>
                  <a:gd name="connsiteX114" fmla="*/ 921 w 4353"/>
                  <a:gd name="connsiteY114" fmla="*/ 778 h 1039"/>
                  <a:gd name="connsiteX115" fmla="*/ 958 w 4353"/>
                  <a:gd name="connsiteY115" fmla="*/ 821 h 1039"/>
                  <a:gd name="connsiteX116" fmla="*/ 1000 w 4353"/>
                  <a:gd name="connsiteY116" fmla="*/ 859 h 1039"/>
                  <a:gd name="connsiteX117" fmla="*/ 1043 w 4353"/>
                  <a:gd name="connsiteY117" fmla="*/ 890 h 1039"/>
                  <a:gd name="connsiteX118" fmla="*/ 1090 w 4353"/>
                  <a:gd name="connsiteY118" fmla="*/ 917 h 1039"/>
                  <a:gd name="connsiteX119" fmla="*/ 1140 w 4353"/>
                  <a:gd name="connsiteY119" fmla="*/ 935 h 1039"/>
                  <a:gd name="connsiteX120" fmla="*/ 1196 w 4353"/>
                  <a:gd name="connsiteY120" fmla="*/ 948 h 1039"/>
                  <a:gd name="connsiteX121" fmla="*/ 1258 w 4353"/>
                  <a:gd name="connsiteY121" fmla="*/ 952 h 1039"/>
                  <a:gd name="connsiteX122" fmla="*/ 1264 w 4353"/>
                  <a:gd name="connsiteY122" fmla="*/ 952 h 1039"/>
                  <a:gd name="connsiteX123" fmla="*/ 1324 w 4353"/>
                  <a:gd name="connsiteY123" fmla="*/ 946 h 1039"/>
                  <a:gd name="connsiteX124" fmla="*/ 1380 w 4353"/>
                  <a:gd name="connsiteY124" fmla="*/ 931 h 1039"/>
                  <a:gd name="connsiteX125" fmla="*/ 1433 w 4353"/>
                  <a:gd name="connsiteY125" fmla="*/ 909 h 1039"/>
                  <a:gd name="connsiteX126" fmla="*/ 1481 w 4353"/>
                  <a:gd name="connsiteY126" fmla="*/ 880 h 1039"/>
                  <a:gd name="connsiteX127" fmla="*/ 1526 w 4353"/>
                  <a:gd name="connsiteY127" fmla="*/ 842 h 1039"/>
                  <a:gd name="connsiteX128" fmla="*/ 1569 w 4353"/>
                  <a:gd name="connsiteY128" fmla="*/ 799 h 1039"/>
                  <a:gd name="connsiteX129" fmla="*/ 1609 w 4353"/>
                  <a:gd name="connsiteY129" fmla="*/ 751 h 1039"/>
                  <a:gd name="connsiteX130" fmla="*/ 1648 w 4353"/>
                  <a:gd name="connsiteY130" fmla="*/ 699 h 1039"/>
                  <a:gd name="connsiteX131" fmla="*/ 1687 w 4353"/>
                  <a:gd name="connsiteY131" fmla="*/ 645 h 1039"/>
                  <a:gd name="connsiteX132" fmla="*/ 1799 w 4353"/>
                  <a:gd name="connsiteY132" fmla="*/ 471 h 1039"/>
                  <a:gd name="connsiteX133" fmla="*/ 1838 w 4353"/>
                  <a:gd name="connsiteY133" fmla="*/ 411 h 1039"/>
                  <a:gd name="connsiteX134" fmla="*/ 1879 w 4353"/>
                  <a:gd name="connsiteY134" fmla="*/ 353 h 1039"/>
                  <a:gd name="connsiteX135" fmla="*/ 1923 w 4353"/>
                  <a:gd name="connsiteY135" fmla="*/ 295 h 1039"/>
                  <a:gd name="connsiteX136" fmla="*/ 1968 w 4353"/>
                  <a:gd name="connsiteY136" fmla="*/ 241 h 1039"/>
                  <a:gd name="connsiteX137" fmla="*/ 2015 w 4353"/>
                  <a:gd name="connsiteY137" fmla="*/ 189 h 1039"/>
                  <a:gd name="connsiteX138" fmla="*/ 2069 w 4353"/>
                  <a:gd name="connsiteY138" fmla="*/ 141 h 1039"/>
                  <a:gd name="connsiteX139" fmla="*/ 2125 w 4353"/>
                  <a:gd name="connsiteY139" fmla="*/ 100 h 1039"/>
                  <a:gd name="connsiteX140" fmla="*/ 2187 w 4353"/>
                  <a:gd name="connsiteY140" fmla="*/ 65 h 1039"/>
                  <a:gd name="connsiteX141" fmla="*/ 2253 w 4353"/>
                  <a:gd name="connsiteY141" fmla="*/ 35 h 1039"/>
                  <a:gd name="connsiteX142" fmla="*/ 2325 w 4353"/>
                  <a:gd name="connsiteY142" fmla="*/ 15 h 1039"/>
                  <a:gd name="connsiteX143" fmla="*/ 2404 w 4353"/>
                  <a:gd name="connsiteY143" fmla="*/ 2 h 1039"/>
                  <a:gd name="connsiteX144" fmla="*/ 2474 w 4353"/>
                  <a:gd name="connsiteY144" fmla="*/ 0 h 1039"/>
                  <a:gd name="connsiteX145" fmla="*/ 2540 w 4353"/>
                  <a:gd name="connsiteY145" fmla="*/ 9 h 1039"/>
                  <a:gd name="connsiteX146" fmla="*/ 2600 w 4353"/>
                  <a:gd name="connsiteY146" fmla="*/ 23 h 1039"/>
                  <a:gd name="connsiteX147" fmla="*/ 2658 w 4353"/>
                  <a:gd name="connsiteY147" fmla="*/ 46 h 1039"/>
                  <a:gd name="connsiteX148" fmla="*/ 2711 w 4353"/>
                  <a:gd name="connsiteY148" fmla="*/ 77 h 1039"/>
                  <a:gd name="connsiteX149" fmla="*/ 2761 w 4353"/>
                  <a:gd name="connsiteY149" fmla="*/ 112 h 1039"/>
                  <a:gd name="connsiteX150" fmla="*/ 2806 w 4353"/>
                  <a:gd name="connsiteY150" fmla="*/ 154 h 1039"/>
                  <a:gd name="connsiteX151" fmla="*/ 2852 w 4353"/>
                  <a:gd name="connsiteY151" fmla="*/ 199 h 1039"/>
                  <a:gd name="connsiteX152" fmla="*/ 2893 w 4353"/>
                  <a:gd name="connsiteY152" fmla="*/ 247 h 1039"/>
                  <a:gd name="connsiteX153" fmla="*/ 2932 w 4353"/>
                  <a:gd name="connsiteY153" fmla="*/ 299 h 1039"/>
                  <a:gd name="connsiteX154" fmla="*/ 2969 w 4353"/>
                  <a:gd name="connsiteY154" fmla="*/ 353 h 1039"/>
                  <a:gd name="connsiteX155" fmla="*/ 3004 w 4353"/>
                  <a:gd name="connsiteY155" fmla="*/ 409 h 1039"/>
                  <a:gd name="connsiteX156" fmla="*/ 3039 w 4353"/>
                  <a:gd name="connsiteY156" fmla="*/ 463 h 1039"/>
                  <a:gd name="connsiteX157" fmla="*/ 3073 w 4353"/>
                  <a:gd name="connsiteY157" fmla="*/ 519 h 1039"/>
                  <a:gd name="connsiteX158" fmla="*/ 3110 w 4353"/>
                  <a:gd name="connsiteY158" fmla="*/ 581 h 1039"/>
                  <a:gd name="connsiteX159" fmla="*/ 3147 w 4353"/>
                  <a:gd name="connsiteY159" fmla="*/ 639 h 1039"/>
                  <a:gd name="connsiteX160" fmla="*/ 3186 w 4353"/>
                  <a:gd name="connsiteY160" fmla="*/ 697 h 1039"/>
                  <a:gd name="connsiteX161" fmla="*/ 3223 w 4353"/>
                  <a:gd name="connsiteY161" fmla="*/ 751 h 1039"/>
                  <a:gd name="connsiteX162" fmla="*/ 3265 w 4353"/>
                  <a:gd name="connsiteY162" fmla="*/ 801 h 1039"/>
                  <a:gd name="connsiteX163" fmla="*/ 3306 w 4353"/>
                  <a:gd name="connsiteY163" fmla="*/ 844 h 1039"/>
                  <a:gd name="connsiteX164" fmla="*/ 3349 w 4353"/>
                  <a:gd name="connsiteY164" fmla="*/ 882 h 1039"/>
                  <a:gd name="connsiteX165" fmla="*/ 3395 w 4353"/>
                  <a:gd name="connsiteY165" fmla="*/ 913 h 1039"/>
                  <a:gd name="connsiteX166" fmla="*/ 3444 w 4353"/>
                  <a:gd name="connsiteY166" fmla="*/ 935 h 1039"/>
                  <a:gd name="connsiteX167" fmla="*/ 3498 w 4353"/>
                  <a:gd name="connsiteY167" fmla="*/ 948 h 1039"/>
                  <a:gd name="connsiteX168" fmla="*/ 3554 w 4353"/>
                  <a:gd name="connsiteY168" fmla="*/ 952 h 1039"/>
                  <a:gd name="connsiteX169" fmla="*/ 3609 w 4353"/>
                  <a:gd name="connsiteY169" fmla="*/ 946 h 1039"/>
                  <a:gd name="connsiteX170" fmla="*/ 3659 w 4353"/>
                  <a:gd name="connsiteY170" fmla="*/ 931 h 1039"/>
                  <a:gd name="connsiteX171" fmla="*/ 3706 w 4353"/>
                  <a:gd name="connsiteY171" fmla="*/ 911 h 1039"/>
                  <a:gd name="connsiteX172" fmla="*/ 3750 w 4353"/>
                  <a:gd name="connsiteY172" fmla="*/ 880 h 1039"/>
                  <a:gd name="connsiteX173" fmla="*/ 3789 w 4353"/>
                  <a:gd name="connsiteY173" fmla="*/ 844 h 1039"/>
                  <a:gd name="connsiteX174" fmla="*/ 3826 w 4353"/>
                  <a:gd name="connsiteY174" fmla="*/ 803 h 1039"/>
                  <a:gd name="connsiteX175" fmla="*/ 3861 w 4353"/>
                  <a:gd name="connsiteY175" fmla="*/ 755 h 1039"/>
                  <a:gd name="connsiteX176" fmla="*/ 3894 w 4353"/>
                  <a:gd name="connsiteY176" fmla="*/ 705 h 1039"/>
                  <a:gd name="connsiteX177" fmla="*/ 3927 w 4353"/>
                  <a:gd name="connsiteY177" fmla="*/ 651 h 1039"/>
                  <a:gd name="connsiteX178" fmla="*/ 3960 w 4353"/>
                  <a:gd name="connsiteY178" fmla="*/ 593 h 1039"/>
                  <a:gd name="connsiteX179" fmla="*/ 3993 w 4353"/>
                  <a:gd name="connsiteY179" fmla="*/ 533 h 1039"/>
                  <a:gd name="connsiteX180" fmla="*/ 4022 w 4353"/>
                  <a:gd name="connsiteY180" fmla="*/ 479 h 1039"/>
                  <a:gd name="connsiteX181" fmla="*/ 4084 w 4353"/>
                  <a:gd name="connsiteY181" fmla="*/ 371 h 1039"/>
                  <a:gd name="connsiteX182" fmla="*/ 4154 w 4353"/>
                  <a:gd name="connsiteY182" fmla="*/ 268 h 1039"/>
                  <a:gd name="connsiteX183" fmla="*/ 4192 w 4353"/>
                  <a:gd name="connsiteY183" fmla="*/ 220 h 1039"/>
                  <a:gd name="connsiteX184" fmla="*/ 4233 w 4353"/>
                  <a:gd name="connsiteY184" fmla="*/ 174 h 1039"/>
                  <a:gd name="connsiteX185" fmla="*/ 4276 w 4353"/>
                  <a:gd name="connsiteY185" fmla="*/ 133 h 1039"/>
                  <a:gd name="connsiteX0" fmla="*/ 4276 w 4310"/>
                  <a:gd name="connsiteY0" fmla="*/ 133 h 1039"/>
                  <a:gd name="connsiteX1" fmla="*/ 4309 w 4310"/>
                  <a:gd name="connsiteY1" fmla="*/ 220 h 1039"/>
                  <a:gd name="connsiteX2" fmla="*/ 4270 w 4310"/>
                  <a:gd name="connsiteY2" fmla="*/ 264 h 1039"/>
                  <a:gd name="connsiteX3" fmla="*/ 4196 w 4310"/>
                  <a:gd name="connsiteY3" fmla="*/ 359 h 1039"/>
                  <a:gd name="connsiteX4" fmla="*/ 4163 w 4310"/>
                  <a:gd name="connsiteY4" fmla="*/ 411 h 1039"/>
                  <a:gd name="connsiteX5" fmla="*/ 4101 w 4310"/>
                  <a:gd name="connsiteY5" fmla="*/ 519 h 1039"/>
                  <a:gd name="connsiteX6" fmla="*/ 4008 w 4310"/>
                  <a:gd name="connsiteY6" fmla="*/ 687 h 1039"/>
                  <a:gd name="connsiteX7" fmla="*/ 3975 w 4310"/>
                  <a:gd name="connsiteY7" fmla="*/ 743 h 1039"/>
                  <a:gd name="connsiteX8" fmla="*/ 3940 w 4310"/>
                  <a:gd name="connsiteY8" fmla="*/ 794 h 1039"/>
                  <a:gd name="connsiteX9" fmla="*/ 3905 w 4310"/>
                  <a:gd name="connsiteY9" fmla="*/ 844 h 1039"/>
                  <a:gd name="connsiteX10" fmla="*/ 3865 w 4310"/>
                  <a:gd name="connsiteY10" fmla="*/ 890 h 1039"/>
                  <a:gd name="connsiteX11" fmla="*/ 3824 w 4310"/>
                  <a:gd name="connsiteY11" fmla="*/ 931 h 1039"/>
                  <a:gd name="connsiteX12" fmla="*/ 3779 w 4310"/>
                  <a:gd name="connsiteY12" fmla="*/ 967 h 1039"/>
                  <a:gd name="connsiteX13" fmla="*/ 3729 w 4310"/>
                  <a:gd name="connsiteY13" fmla="*/ 996 h 1039"/>
                  <a:gd name="connsiteX14" fmla="*/ 3677 w 4310"/>
                  <a:gd name="connsiteY14" fmla="*/ 1018 h 1039"/>
                  <a:gd name="connsiteX15" fmla="*/ 3620 w 4310"/>
                  <a:gd name="connsiteY15" fmla="*/ 1033 h 1039"/>
                  <a:gd name="connsiteX16" fmla="*/ 3556 w 4310"/>
                  <a:gd name="connsiteY16" fmla="*/ 1039 h 1039"/>
                  <a:gd name="connsiteX17" fmla="*/ 3547 w 4310"/>
                  <a:gd name="connsiteY17" fmla="*/ 1039 h 1039"/>
                  <a:gd name="connsiteX18" fmla="*/ 3485 w 4310"/>
                  <a:gd name="connsiteY18" fmla="*/ 1035 h 1039"/>
                  <a:gd name="connsiteX19" fmla="*/ 3426 w 4310"/>
                  <a:gd name="connsiteY19" fmla="*/ 1021 h 1039"/>
                  <a:gd name="connsiteX20" fmla="*/ 3372 w 4310"/>
                  <a:gd name="connsiteY20" fmla="*/ 998 h 1039"/>
                  <a:gd name="connsiteX21" fmla="*/ 3320 w 4310"/>
                  <a:gd name="connsiteY21" fmla="*/ 969 h 1039"/>
                  <a:gd name="connsiteX22" fmla="*/ 3273 w 4310"/>
                  <a:gd name="connsiteY22" fmla="*/ 931 h 1039"/>
                  <a:gd name="connsiteX23" fmla="*/ 3229 w 4310"/>
                  <a:gd name="connsiteY23" fmla="*/ 890 h 1039"/>
                  <a:gd name="connsiteX24" fmla="*/ 3186 w 4310"/>
                  <a:gd name="connsiteY24" fmla="*/ 842 h 1039"/>
                  <a:gd name="connsiteX25" fmla="*/ 3147 w 4310"/>
                  <a:gd name="connsiteY25" fmla="*/ 792 h 1039"/>
                  <a:gd name="connsiteX26" fmla="*/ 3108 w 4310"/>
                  <a:gd name="connsiteY26" fmla="*/ 736 h 1039"/>
                  <a:gd name="connsiteX27" fmla="*/ 3070 w 4310"/>
                  <a:gd name="connsiteY27" fmla="*/ 680 h 1039"/>
                  <a:gd name="connsiteX28" fmla="*/ 2965 w 4310"/>
                  <a:gd name="connsiteY28" fmla="*/ 506 h 1039"/>
                  <a:gd name="connsiteX29" fmla="*/ 2928 w 4310"/>
                  <a:gd name="connsiteY29" fmla="*/ 448 h 1039"/>
                  <a:gd name="connsiteX30" fmla="*/ 2891 w 4310"/>
                  <a:gd name="connsiteY30" fmla="*/ 392 h 1039"/>
                  <a:gd name="connsiteX31" fmla="*/ 2854 w 4310"/>
                  <a:gd name="connsiteY31" fmla="*/ 338 h 1039"/>
                  <a:gd name="connsiteX32" fmla="*/ 2814 w 4310"/>
                  <a:gd name="connsiteY32" fmla="*/ 288 h 1039"/>
                  <a:gd name="connsiteX33" fmla="*/ 2773 w 4310"/>
                  <a:gd name="connsiteY33" fmla="*/ 243 h 1039"/>
                  <a:gd name="connsiteX34" fmla="*/ 2732 w 4310"/>
                  <a:gd name="connsiteY34" fmla="*/ 201 h 1039"/>
                  <a:gd name="connsiteX35" fmla="*/ 2686 w 4310"/>
                  <a:gd name="connsiteY35" fmla="*/ 164 h 1039"/>
                  <a:gd name="connsiteX36" fmla="*/ 2639 w 4310"/>
                  <a:gd name="connsiteY36" fmla="*/ 135 h 1039"/>
                  <a:gd name="connsiteX37" fmla="*/ 2587 w 4310"/>
                  <a:gd name="connsiteY37" fmla="*/ 112 h 1039"/>
                  <a:gd name="connsiteX38" fmla="*/ 2532 w 4310"/>
                  <a:gd name="connsiteY38" fmla="*/ 96 h 1039"/>
                  <a:gd name="connsiteX39" fmla="*/ 2474 w 4310"/>
                  <a:gd name="connsiteY39" fmla="*/ 87 h 1039"/>
                  <a:gd name="connsiteX40" fmla="*/ 2410 w 4310"/>
                  <a:gd name="connsiteY40" fmla="*/ 89 h 1039"/>
                  <a:gd name="connsiteX41" fmla="*/ 2342 w 4310"/>
                  <a:gd name="connsiteY41" fmla="*/ 100 h 1039"/>
                  <a:gd name="connsiteX42" fmla="*/ 2280 w 4310"/>
                  <a:gd name="connsiteY42" fmla="*/ 118 h 1039"/>
                  <a:gd name="connsiteX43" fmla="*/ 2222 w 4310"/>
                  <a:gd name="connsiteY43" fmla="*/ 143 h 1039"/>
                  <a:gd name="connsiteX44" fmla="*/ 2168 w 4310"/>
                  <a:gd name="connsiteY44" fmla="*/ 176 h 1039"/>
                  <a:gd name="connsiteX45" fmla="*/ 2117 w 4310"/>
                  <a:gd name="connsiteY45" fmla="*/ 214 h 1039"/>
                  <a:gd name="connsiteX46" fmla="*/ 2071 w 4310"/>
                  <a:gd name="connsiteY46" fmla="*/ 257 h 1039"/>
                  <a:gd name="connsiteX47" fmla="*/ 2026 w 4310"/>
                  <a:gd name="connsiteY47" fmla="*/ 303 h 1039"/>
                  <a:gd name="connsiteX48" fmla="*/ 1984 w 4310"/>
                  <a:gd name="connsiteY48" fmla="*/ 355 h 1039"/>
                  <a:gd name="connsiteX49" fmla="*/ 1945 w 4310"/>
                  <a:gd name="connsiteY49" fmla="*/ 409 h 1039"/>
                  <a:gd name="connsiteX50" fmla="*/ 1908 w 4310"/>
                  <a:gd name="connsiteY50" fmla="*/ 463 h 1039"/>
                  <a:gd name="connsiteX51" fmla="*/ 1871 w 4310"/>
                  <a:gd name="connsiteY51" fmla="*/ 519 h 1039"/>
                  <a:gd name="connsiteX52" fmla="*/ 1834 w 4310"/>
                  <a:gd name="connsiteY52" fmla="*/ 577 h 1039"/>
                  <a:gd name="connsiteX53" fmla="*/ 1799 w 4310"/>
                  <a:gd name="connsiteY53" fmla="*/ 633 h 1039"/>
                  <a:gd name="connsiteX54" fmla="*/ 1724 w 4310"/>
                  <a:gd name="connsiteY54" fmla="*/ 745 h 1039"/>
                  <a:gd name="connsiteX55" fmla="*/ 1685 w 4310"/>
                  <a:gd name="connsiteY55" fmla="*/ 797 h 1039"/>
                  <a:gd name="connsiteX56" fmla="*/ 1644 w 4310"/>
                  <a:gd name="connsiteY56" fmla="*/ 846 h 1039"/>
                  <a:gd name="connsiteX57" fmla="*/ 1600 w 4310"/>
                  <a:gd name="connsiteY57" fmla="*/ 892 h 1039"/>
                  <a:gd name="connsiteX58" fmla="*/ 1553 w 4310"/>
                  <a:gd name="connsiteY58" fmla="*/ 933 h 1039"/>
                  <a:gd name="connsiteX59" fmla="*/ 1503 w 4310"/>
                  <a:gd name="connsiteY59" fmla="*/ 969 h 1039"/>
                  <a:gd name="connsiteX60" fmla="*/ 1450 w 4310"/>
                  <a:gd name="connsiteY60" fmla="*/ 998 h 1039"/>
                  <a:gd name="connsiteX61" fmla="*/ 1394 w 4310"/>
                  <a:gd name="connsiteY61" fmla="*/ 1021 h 1039"/>
                  <a:gd name="connsiteX62" fmla="*/ 1330 w 4310"/>
                  <a:gd name="connsiteY62" fmla="*/ 1033 h 1039"/>
                  <a:gd name="connsiteX63" fmla="*/ 1264 w 4310"/>
                  <a:gd name="connsiteY63" fmla="*/ 1039 h 1039"/>
                  <a:gd name="connsiteX64" fmla="*/ 1258 w 4310"/>
                  <a:gd name="connsiteY64" fmla="*/ 1039 h 1039"/>
                  <a:gd name="connsiteX65" fmla="*/ 1190 w 4310"/>
                  <a:gd name="connsiteY65" fmla="*/ 1035 h 1039"/>
                  <a:gd name="connsiteX66" fmla="*/ 1128 w 4310"/>
                  <a:gd name="connsiteY66" fmla="*/ 1023 h 1039"/>
                  <a:gd name="connsiteX67" fmla="*/ 1070 w 4310"/>
                  <a:gd name="connsiteY67" fmla="*/ 1004 h 1039"/>
                  <a:gd name="connsiteX68" fmla="*/ 1018 w 4310"/>
                  <a:gd name="connsiteY68" fmla="*/ 979 h 1039"/>
                  <a:gd name="connsiteX69" fmla="*/ 971 w 4310"/>
                  <a:gd name="connsiteY69" fmla="*/ 948 h 1039"/>
                  <a:gd name="connsiteX70" fmla="*/ 925 w 4310"/>
                  <a:gd name="connsiteY70" fmla="*/ 911 h 1039"/>
                  <a:gd name="connsiteX71" fmla="*/ 884 w 4310"/>
                  <a:gd name="connsiteY71" fmla="*/ 869 h 1039"/>
                  <a:gd name="connsiteX72" fmla="*/ 847 w 4310"/>
                  <a:gd name="connsiteY72" fmla="*/ 824 h 1039"/>
                  <a:gd name="connsiteX73" fmla="*/ 810 w 4310"/>
                  <a:gd name="connsiteY73" fmla="*/ 776 h 1039"/>
                  <a:gd name="connsiteX74" fmla="*/ 777 w 4310"/>
                  <a:gd name="connsiteY74" fmla="*/ 724 h 1039"/>
                  <a:gd name="connsiteX75" fmla="*/ 742 w 4310"/>
                  <a:gd name="connsiteY75" fmla="*/ 670 h 1039"/>
                  <a:gd name="connsiteX76" fmla="*/ 711 w 4310"/>
                  <a:gd name="connsiteY76" fmla="*/ 614 h 1039"/>
                  <a:gd name="connsiteX77" fmla="*/ 678 w 4310"/>
                  <a:gd name="connsiteY77" fmla="*/ 556 h 1039"/>
                  <a:gd name="connsiteX78" fmla="*/ 616 w 4310"/>
                  <a:gd name="connsiteY78" fmla="*/ 444 h 1039"/>
                  <a:gd name="connsiteX79" fmla="*/ 547 w 4310"/>
                  <a:gd name="connsiteY79" fmla="*/ 336 h 1039"/>
                  <a:gd name="connsiteX80" fmla="*/ 504 w 4310"/>
                  <a:gd name="connsiteY80" fmla="*/ 280 h 1039"/>
                  <a:gd name="connsiteX81" fmla="*/ 457 w 4310"/>
                  <a:gd name="connsiteY81" fmla="*/ 235 h 1039"/>
                  <a:gd name="connsiteX82" fmla="*/ 409 w 4310"/>
                  <a:gd name="connsiteY82" fmla="*/ 195 h 1039"/>
                  <a:gd name="connsiteX83" fmla="*/ 358 w 4310"/>
                  <a:gd name="connsiteY83" fmla="*/ 164 h 1039"/>
                  <a:gd name="connsiteX84" fmla="*/ 308 w 4310"/>
                  <a:gd name="connsiteY84" fmla="*/ 141 h 1039"/>
                  <a:gd name="connsiteX85" fmla="*/ 256 w 4310"/>
                  <a:gd name="connsiteY85" fmla="*/ 123 h 1039"/>
                  <a:gd name="connsiteX86" fmla="*/ 209 w 4310"/>
                  <a:gd name="connsiteY86" fmla="*/ 108 h 1039"/>
                  <a:gd name="connsiteX87" fmla="*/ 163 w 4310"/>
                  <a:gd name="connsiteY87" fmla="*/ 100 h 1039"/>
                  <a:gd name="connsiteX88" fmla="*/ 122 w 4310"/>
                  <a:gd name="connsiteY88" fmla="*/ 96 h 1039"/>
                  <a:gd name="connsiteX89" fmla="*/ 85 w 4310"/>
                  <a:gd name="connsiteY89" fmla="*/ 91 h 1039"/>
                  <a:gd name="connsiteX90" fmla="*/ 31 w 4310"/>
                  <a:gd name="connsiteY90" fmla="*/ 91 h 1039"/>
                  <a:gd name="connsiteX91" fmla="*/ 17 w 4310"/>
                  <a:gd name="connsiteY91" fmla="*/ 94 h 1039"/>
                  <a:gd name="connsiteX92" fmla="*/ 11 w 4310"/>
                  <a:gd name="connsiteY92" fmla="*/ 94 h 1039"/>
                  <a:gd name="connsiteX93" fmla="*/ 0 w 4310"/>
                  <a:gd name="connsiteY93" fmla="*/ 9 h 1039"/>
                  <a:gd name="connsiteX94" fmla="*/ 9 w 4310"/>
                  <a:gd name="connsiteY94" fmla="*/ 9 h 1039"/>
                  <a:gd name="connsiteX95" fmla="*/ 29 w 4310"/>
                  <a:gd name="connsiteY95" fmla="*/ 6 h 1039"/>
                  <a:gd name="connsiteX96" fmla="*/ 91 w 4310"/>
                  <a:gd name="connsiteY96" fmla="*/ 6 h 1039"/>
                  <a:gd name="connsiteX97" fmla="*/ 135 w 4310"/>
                  <a:gd name="connsiteY97" fmla="*/ 9 h 1039"/>
                  <a:gd name="connsiteX98" fmla="*/ 182 w 4310"/>
                  <a:gd name="connsiteY98" fmla="*/ 15 h 1039"/>
                  <a:gd name="connsiteX99" fmla="*/ 234 w 4310"/>
                  <a:gd name="connsiteY99" fmla="*/ 25 h 1039"/>
                  <a:gd name="connsiteX100" fmla="*/ 287 w 4310"/>
                  <a:gd name="connsiteY100" fmla="*/ 42 h 1039"/>
                  <a:gd name="connsiteX101" fmla="*/ 345 w 4310"/>
                  <a:gd name="connsiteY101" fmla="*/ 62 h 1039"/>
                  <a:gd name="connsiteX102" fmla="*/ 403 w 4310"/>
                  <a:gd name="connsiteY102" fmla="*/ 89 h 1039"/>
                  <a:gd name="connsiteX103" fmla="*/ 459 w 4310"/>
                  <a:gd name="connsiteY103" fmla="*/ 127 h 1039"/>
                  <a:gd name="connsiteX104" fmla="*/ 514 w 4310"/>
                  <a:gd name="connsiteY104" fmla="*/ 170 h 1039"/>
                  <a:gd name="connsiteX105" fmla="*/ 568 w 4310"/>
                  <a:gd name="connsiteY105" fmla="*/ 224 h 1039"/>
                  <a:gd name="connsiteX106" fmla="*/ 618 w 4310"/>
                  <a:gd name="connsiteY106" fmla="*/ 288 h 1039"/>
                  <a:gd name="connsiteX107" fmla="*/ 667 w 4310"/>
                  <a:gd name="connsiteY107" fmla="*/ 363 h 1039"/>
                  <a:gd name="connsiteX108" fmla="*/ 754 w 4310"/>
                  <a:gd name="connsiteY108" fmla="*/ 512 h 1039"/>
                  <a:gd name="connsiteX109" fmla="*/ 787 w 4310"/>
                  <a:gd name="connsiteY109" fmla="*/ 571 h 1039"/>
                  <a:gd name="connsiteX110" fmla="*/ 820 w 4310"/>
                  <a:gd name="connsiteY110" fmla="*/ 627 h 1039"/>
                  <a:gd name="connsiteX111" fmla="*/ 853 w 4310"/>
                  <a:gd name="connsiteY111" fmla="*/ 680 h 1039"/>
                  <a:gd name="connsiteX112" fmla="*/ 886 w 4310"/>
                  <a:gd name="connsiteY112" fmla="*/ 732 h 1039"/>
                  <a:gd name="connsiteX113" fmla="*/ 921 w 4310"/>
                  <a:gd name="connsiteY113" fmla="*/ 778 h 1039"/>
                  <a:gd name="connsiteX114" fmla="*/ 958 w 4310"/>
                  <a:gd name="connsiteY114" fmla="*/ 821 h 1039"/>
                  <a:gd name="connsiteX115" fmla="*/ 1000 w 4310"/>
                  <a:gd name="connsiteY115" fmla="*/ 859 h 1039"/>
                  <a:gd name="connsiteX116" fmla="*/ 1043 w 4310"/>
                  <a:gd name="connsiteY116" fmla="*/ 890 h 1039"/>
                  <a:gd name="connsiteX117" fmla="*/ 1090 w 4310"/>
                  <a:gd name="connsiteY117" fmla="*/ 917 h 1039"/>
                  <a:gd name="connsiteX118" fmla="*/ 1140 w 4310"/>
                  <a:gd name="connsiteY118" fmla="*/ 935 h 1039"/>
                  <a:gd name="connsiteX119" fmla="*/ 1196 w 4310"/>
                  <a:gd name="connsiteY119" fmla="*/ 948 h 1039"/>
                  <a:gd name="connsiteX120" fmla="*/ 1258 w 4310"/>
                  <a:gd name="connsiteY120" fmla="*/ 952 h 1039"/>
                  <a:gd name="connsiteX121" fmla="*/ 1264 w 4310"/>
                  <a:gd name="connsiteY121" fmla="*/ 952 h 1039"/>
                  <a:gd name="connsiteX122" fmla="*/ 1324 w 4310"/>
                  <a:gd name="connsiteY122" fmla="*/ 946 h 1039"/>
                  <a:gd name="connsiteX123" fmla="*/ 1380 w 4310"/>
                  <a:gd name="connsiteY123" fmla="*/ 931 h 1039"/>
                  <a:gd name="connsiteX124" fmla="*/ 1433 w 4310"/>
                  <a:gd name="connsiteY124" fmla="*/ 909 h 1039"/>
                  <a:gd name="connsiteX125" fmla="*/ 1481 w 4310"/>
                  <a:gd name="connsiteY125" fmla="*/ 880 h 1039"/>
                  <a:gd name="connsiteX126" fmla="*/ 1526 w 4310"/>
                  <a:gd name="connsiteY126" fmla="*/ 842 h 1039"/>
                  <a:gd name="connsiteX127" fmla="*/ 1569 w 4310"/>
                  <a:gd name="connsiteY127" fmla="*/ 799 h 1039"/>
                  <a:gd name="connsiteX128" fmla="*/ 1609 w 4310"/>
                  <a:gd name="connsiteY128" fmla="*/ 751 h 1039"/>
                  <a:gd name="connsiteX129" fmla="*/ 1648 w 4310"/>
                  <a:gd name="connsiteY129" fmla="*/ 699 h 1039"/>
                  <a:gd name="connsiteX130" fmla="*/ 1687 w 4310"/>
                  <a:gd name="connsiteY130" fmla="*/ 645 h 1039"/>
                  <a:gd name="connsiteX131" fmla="*/ 1799 w 4310"/>
                  <a:gd name="connsiteY131" fmla="*/ 471 h 1039"/>
                  <a:gd name="connsiteX132" fmla="*/ 1838 w 4310"/>
                  <a:gd name="connsiteY132" fmla="*/ 411 h 1039"/>
                  <a:gd name="connsiteX133" fmla="*/ 1879 w 4310"/>
                  <a:gd name="connsiteY133" fmla="*/ 353 h 1039"/>
                  <a:gd name="connsiteX134" fmla="*/ 1923 w 4310"/>
                  <a:gd name="connsiteY134" fmla="*/ 295 h 1039"/>
                  <a:gd name="connsiteX135" fmla="*/ 1968 w 4310"/>
                  <a:gd name="connsiteY135" fmla="*/ 241 h 1039"/>
                  <a:gd name="connsiteX136" fmla="*/ 2015 w 4310"/>
                  <a:gd name="connsiteY136" fmla="*/ 189 h 1039"/>
                  <a:gd name="connsiteX137" fmla="*/ 2069 w 4310"/>
                  <a:gd name="connsiteY137" fmla="*/ 141 h 1039"/>
                  <a:gd name="connsiteX138" fmla="*/ 2125 w 4310"/>
                  <a:gd name="connsiteY138" fmla="*/ 100 h 1039"/>
                  <a:gd name="connsiteX139" fmla="*/ 2187 w 4310"/>
                  <a:gd name="connsiteY139" fmla="*/ 65 h 1039"/>
                  <a:gd name="connsiteX140" fmla="*/ 2253 w 4310"/>
                  <a:gd name="connsiteY140" fmla="*/ 35 h 1039"/>
                  <a:gd name="connsiteX141" fmla="*/ 2325 w 4310"/>
                  <a:gd name="connsiteY141" fmla="*/ 15 h 1039"/>
                  <a:gd name="connsiteX142" fmla="*/ 2404 w 4310"/>
                  <a:gd name="connsiteY142" fmla="*/ 2 h 1039"/>
                  <a:gd name="connsiteX143" fmla="*/ 2474 w 4310"/>
                  <a:gd name="connsiteY143" fmla="*/ 0 h 1039"/>
                  <a:gd name="connsiteX144" fmla="*/ 2540 w 4310"/>
                  <a:gd name="connsiteY144" fmla="*/ 9 h 1039"/>
                  <a:gd name="connsiteX145" fmla="*/ 2600 w 4310"/>
                  <a:gd name="connsiteY145" fmla="*/ 23 h 1039"/>
                  <a:gd name="connsiteX146" fmla="*/ 2658 w 4310"/>
                  <a:gd name="connsiteY146" fmla="*/ 46 h 1039"/>
                  <a:gd name="connsiteX147" fmla="*/ 2711 w 4310"/>
                  <a:gd name="connsiteY147" fmla="*/ 77 h 1039"/>
                  <a:gd name="connsiteX148" fmla="*/ 2761 w 4310"/>
                  <a:gd name="connsiteY148" fmla="*/ 112 h 1039"/>
                  <a:gd name="connsiteX149" fmla="*/ 2806 w 4310"/>
                  <a:gd name="connsiteY149" fmla="*/ 154 h 1039"/>
                  <a:gd name="connsiteX150" fmla="*/ 2852 w 4310"/>
                  <a:gd name="connsiteY150" fmla="*/ 199 h 1039"/>
                  <a:gd name="connsiteX151" fmla="*/ 2893 w 4310"/>
                  <a:gd name="connsiteY151" fmla="*/ 247 h 1039"/>
                  <a:gd name="connsiteX152" fmla="*/ 2932 w 4310"/>
                  <a:gd name="connsiteY152" fmla="*/ 299 h 1039"/>
                  <a:gd name="connsiteX153" fmla="*/ 2969 w 4310"/>
                  <a:gd name="connsiteY153" fmla="*/ 353 h 1039"/>
                  <a:gd name="connsiteX154" fmla="*/ 3004 w 4310"/>
                  <a:gd name="connsiteY154" fmla="*/ 409 h 1039"/>
                  <a:gd name="connsiteX155" fmla="*/ 3039 w 4310"/>
                  <a:gd name="connsiteY155" fmla="*/ 463 h 1039"/>
                  <a:gd name="connsiteX156" fmla="*/ 3073 w 4310"/>
                  <a:gd name="connsiteY156" fmla="*/ 519 h 1039"/>
                  <a:gd name="connsiteX157" fmla="*/ 3110 w 4310"/>
                  <a:gd name="connsiteY157" fmla="*/ 581 h 1039"/>
                  <a:gd name="connsiteX158" fmla="*/ 3147 w 4310"/>
                  <a:gd name="connsiteY158" fmla="*/ 639 h 1039"/>
                  <a:gd name="connsiteX159" fmla="*/ 3186 w 4310"/>
                  <a:gd name="connsiteY159" fmla="*/ 697 h 1039"/>
                  <a:gd name="connsiteX160" fmla="*/ 3223 w 4310"/>
                  <a:gd name="connsiteY160" fmla="*/ 751 h 1039"/>
                  <a:gd name="connsiteX161" fmla="*/ 3265 w 4310"/>
                  <a:gd name="connsiteY161" fmla="*/ 801 h 1039"/>
                  <a:gd name="connsiteX162" fmla="*/ 3306 w 4310"/>
                  <a:gd name="connsiteY162" fmla="*/ 844 h 1039"/>
                  <a:gd name="connsiteX163" fmla="*/ 3349 w 4310"/>
                  <a:gd name="connsiteY163" fmla="*/ 882 h 1039"/>
                  <a:gd name="connsiteX164" fmla="*/ 3395 w 4310"/>
                  <a:gd name="connsiteY164" fmla="*/ 913 h 1039"/>
                  <a:gd name="connsiteX165" fmla="*/ 3444 w 4310"/>
                  <a:gd name="connsiteY165" fmla="*/ 935 h 1039"/>
                  <a:gd name="connsiteX166" fmla="*/ 3498 w 4310"/>
                  <a:gd name="connsiteY166" fmla="*/ 948 h 1039"/>
                  <a:gd name="connsiteX167" fmla="*/ 3554 w 4310"/>
                  <a:gd name="connsiteY167" fmla="*/ 952 h 1039"/>
                  <a:gd name="connsiteX168" fmla="*/ 3609 w 4310"/>
                  <a:gd name="connsiteY168" fmla="*/ 946 h 1039"/>
                  <a:gd name="connsiteX169" fmla="*/ 3659 w 4310"/>
                  <a:gd name="connsiteY169" fmla="*/ 931 h 1039"/>
                  <a:gd name="connsiteX170" fmla="*/ 3706 w 4310"/>
                  <a:gd name="connsiteY170" fmla="*/ 911 h 1039"/>
                  <a:gd name="connsiteX171" fmla="*/ 3750 w 4310"/>
                  <a:gd name="connsiteY171" fmla="*/ 880 h 1039"/>
                  <a:gd name="connsiteX172" fmla="*/ 3789 w 4310"/>
                  <a:gd name="connsiteY172" fmla="*/ 844 h 1039"/>
                  <a:gd name="connsiteX173" fmla="*/ 3826 w 4310"/>
                  <a:gd name="connsiteY173" fmla="*/ 803 h 1039"/>
                  <a:gd name="connsiteX174" fmla="*/ 3861 w 4310"/>
                  <a:gd name="connsiteY174" fmla="*/ 755 h 1039"/>
                  <a:gd name="connsiteX175" fmla="*/ 3894 w 4310"/>
                  <a:gd name="connsiteY175" fmla="*/ 705 h 1039"/>
                  <a:gd name="connsiteX176" fmla="*/ 3927 w 4310"/>
                  <a:gd name="connsiteY176" fmla="*/ 651 h 1039"/>
                  <a:gd name="connsiteX177" fmla="*/ 3960 w 4310"/>
                  <a:gd name="connsiteY177" fmla="*/ 593 h 1039"/>
                  <a:gd name="connsiteX178" fmla="*/ 3993 w 4310"/>
                  <a:gd name="connsiteY178" fmla="*/ 533 h 1039"/>
                  <a:gd name="connsiteX179" fmla="*/ 4022 w 4310"/>
                  <a:gd name="connsiteY179" fmla="*/ 479 h 1039"/>
                  <a:gd name="connsiteX180" fmla="*/ 4084 w 4310"/>
                  <a:gd name="connsiteY180" fmla="*/ 371 h 1039"/>
                  <a:gd name="connsiteX181" fmla="*/ 4154 w 4310"/>
                  <a:gd name="connsiteY181" fmla="*/ 268 h 1039"/>
                  <a:gd name="connsiteX182" fmla="*/ 4192 w 4310"/>
                  <a:gd name="connsiteY182" fmla="*/ 220 h 1039"/>
                  <a:gd name="connsiteX183" fmla="*/ 4233 w 4310"/>
                  <a:gd name="connsiteY183" fmla="*/ 174 h 1039"/>
                  <a:gd name="connsiteX184" fmla="*/ 4276 w 4310"/>
                  <a:gd name="connsiteY184" fmla="*/ 133 h 1039"/>
                  <a:gd name="connsiteX0" fmla="*/ 4233 w 4309"/>
                  <a:gd name="connsiteY0" fmla="*/ 174 h 1039"/>
                  <a:gd name="connsiteX1" fmla="*/ 4309 w 4309"/>
                  <a:gd name="connsiteY1" fmla="*/ 220 h 1039"/>
                  <a:gd name="connsiteX2" fmla="*/ 4270 w 4309"/>
                  <a:gd name="connsiteY2" fmla="*/ 264 h 1039"/>
                  <a:gd name="connsiteX3" fmla="*/ 4196 w 4309"/>
                  <a:gd name="connsiteY3" fmla="*/ 359 h 1039"/>
                  <a:gd name="connsiteX4" fmla="*/ 4163 w 4309"/>
                  <a:gd name="connsiteY4" fmla="*/ 411 h 1039"/>
                  <a:gd name="connsiteX5" fmla="*/ 4101 w 4309"/>
                  <a:gd name="connsiteY5" fmla="*/ 519 h 1039"/>
                  <a:gd name="connsiteX6" fmla="*/ 4008 w 4309"/>
                  <a:gd name="connsiteY6" fmla="*/ 687 h 1039"/>
                  <a:gd name="connsiteX7" fmla="*/ 3975 w 4309"/>
                  <a:gd name="connsiteY7" fmla="*/ 743 h 1039"/>
                  <a:gd name="connsiteX8" fmla="*/ 3940 w 4309"/>
                  <a:gd name="connsiteY8" fmla="*/ 794 h 1039"/>
                  <a:gd name="connsiteX9" fmla="*/ 3905 w 4309"/>
                  <a:gd name="connsiteY9" fmla="*/ 844 h 1039"/>
                  <a:gd name="connsiteX10" fmla="*/ 3865 w 4309"/>
                  <a:gd name="connsiteY10" fmla="*/ 890 h 1039"/>
                  <a:gd name="connsiteX11" fmla="*/ 3824 w 4309"/>
                  <a:gd name="connsiteY11" fmla="*/ 931 h 1039"/>
                  <a:gd name="connsiteX12" fmla="*/ 3779 w 4309"/>
                  <a:gd name="connsiteY12" fmla="*/ 967 h 1039"/>
                  <a:gd name="connsiteX13" fmla="*/ 3729 w 4309"/>
                  <a:gd name="connsiteY13" fmla="*/ 996 h 1039"/>
                  <a:gd name="connsiteX14" fmla="*/ 3677 w 4309"/>
                  <a:gd name="connsiteY14" fmla="*/ 1018 h 1039"/>
                  <a:gd name="connsiteX15" fmla="*/ 3620 w 4309"/>
                  <a:gd name="connsiteY15" fmla="*/ 1033 h 1039"/>
                  <a:gd name="connsiteX16" fmla="*/ 3556 w 4309"/>
                  <a:gd name="connsiteY16" fmla="*/ 1039 h 1039"/>
                  <a:gd name="connsiteX17" fmla="*/ 3547 w 4309"/>
                  <a:gd name="connsiteY17" fmla="*/ 1039 h 1039"/>
                  <a:gd name="connsiteX18" fmla="*/ 3485 w 4309"/>
                  <a:gd name="connsiteY18" fmla="*/ 1035 h 1039"/>
                  <a:gd name="connsiteX19" fmla="*/ 3426 w 4309"/>
                  <a:gd name="connsiteY19" fmla="*/ 1021 h 1039"/>
                  <a:gd name="connsiteX20" fmla="*/ 3372 w 4309"/>
                  <a:gd name="connsiteY20" fmla="*/ 998 h 1039"/>
                  <a:gd name="connsiteX21" fmla="*/ 3320 w 4309"/>
                  <a:gd name="connsiteY21" fmla="*/ 969 h 1039"/>
                  <a:gd name="connsiteX22" fmla="*/ 3273 w 4309"/>
                  <a:gd name="connsiteY22" fmla="*/ 931 h 1039"/>
                  <a:gd name="connsiteX23" fmla="*/ 3229 w 4309"/>
                  <a:gd name="connsiteY23" fmla="*/ 890 h 1039"/>
                  <a:gd name="connsiteX24" fmla="*/ 3186 w 4309"/>
                  <a:gd name="connsiteY24" fmla="*/ 842 h 1039"/>
                  <a:gd name="connsiteX25" fmla="*/ 3147 w 4309"/>
                  <a:gd name="connsiteY25" fmla="*/ 792 h 1039"/>
                  <a:gd name="connsiteX26" fmla="*/ 3108 w 4309"/>
                  <a:gd name="connsiteY26" fmla="*/ 736 h 1039"/>
                  <a:gd name="connsiteX27" fmla="*/ 3070 w 4309"/>
                  <a:gd name="connsiteY27" fmla="*/ 680 h 1039"/>
                  <a:gd name="connsiteX28" fmla="*/ 2965 w 4309"/>
                  <a:gd name="connsiteY28" fmla="*/ 506 h 1039"/>
                  <a:gd name="connsiteX29" fmla="*/ 2928 w 4309"/>
                  <a:gd name="connsiteY29" fmla="*/ 448 h 1039"/>
                  <a:gd name="connsiteX30" fmla="*/ 2891 w 4309"/>
                  <a:gd name="connsiteY30" fmla="*/ 392 h 1039"/>
                  <a:gd name="connsiteX31" fmla="*/ 2854 w 4309"/>
                  <a:gd name="connsiteY31" fmla="*/ 338 h 1039"/>
                  <a:gd name="connsiteX32" fmla="*/ 2814 w 4309"/>
                  <a:gd name="connsiteY32" fmla="*/ 288 h 1039"/>
                  <a:gd name="connsiteX33" fmla="*/ 2773 w 4309"/>
                  <a:gd name="connsiteY33" fmla="*/ 243 h 1039"/>
                  <a:gd name="connsiteX34" fmla="*/ 2732 w 4309"/>
                  <a:gd name="connsiteY34" fmla="*/ 201 h 1039"/>
                  <a:gd name="connsiteX35" fmla="*/ 2686 w 4309"/>
                  <a:gd name="connsiteY35" fmla="*/ 164 h 1039"/>
                  <a:gd name="connsiteX36" fmla="*/ 2639 w 4309"/>
                  <a:gd name="connsiteY36" fmla="*/ 135 h 1039"/>
                  <a:gd name="connsiteX37" fmla="*/ 2587 w 4309"/>
                  <a:gd name="connsiteY37" fmla="*/ 112 h 1039"/>
                  <a:gd name="connsiteX38" fmla="*/ 2532 w 4309"/>
                  <a:gd name="connsiteY38" fmla="*/ 96 h 1039"/>
                  <a:gd name="connsiteX39" fmla="*/ 2474 w 4309"/>
                  <a:gd name="connsiteY39" fmla="*/ 87 h 1039"/>
                  <a:gd name="connsiteX40" fmla="*/ 2410 w 4309"/>
                  <a:gd name="connsiteY40" fmla="*/ 89 h 1039"/>
                  <a:gd name="connsiteX41" fmla="*/ 2342 w 4309"/>
                  <a:gd name="connsiteY41" fmla="*/ 100 h 1039"/>
                  <a:gd name="connsiteX42" fmla="*/ 2280 w 4309"/>
                  <a:gd name="connsiteY42" fmla="*/ 118 h 1039"/>
                  <a:gd name="connsiteX43" fmla="*/ 2222 w 4309"/>
                  <a:gd name="connsiteY43" fmla="*/ 143 h 1039"/>
                  <a:gd name="connsiteX44" fmla="*/ 2168 w 4309"/>
                  <a:gd name="connsiteY44" fmla="*/ 176 h 1039"/>
                  <a:gd name="connsiteX45" fmla="*/ 2117 w 4309"/>
                  <a:gd name="connsiteY45" fmla="*/ 214 h 1039"/>
                  <a:gd name="connsiteX46" fmla="*/ 2071 w 4309"/>
                  <a:gd name="connsiteY46" fmla="*/ 257 h 1039"/>
                  <a:gd name="connsiteX47" fmla="*/ 2026 w 4309"/>
                  <a:gd name="connsiteY47" fmla="*/ 303 h 1039"/>
                  <a:gd name="connsiteX48" fmla="*/ 1984 w 4309"/>
                  <a:gd name="connsiteY48" fmla="*/ 355 h 1039"/>
                  <a:gd name="connsiteX49" fmla="*/ 1945 w 4309"/>
                  <a:gd name="connsiteY49" fmla="*/ 409 h 1039"/>
                  <a:gd name="connsiteX50" fmla="*/ 1908 w 4309"/>
                  <a:gd name="connsiteY50" fmla="*/ 463 h 1039"/>
                  <a:gd name="connsiteX51" fmla="*/ 1871 w 4309"/>
                  <a:gd name="connsiteY51" fmla="*/ 519 h 1039"/>
                  <a:gd name="connsiteX52" fmla="*/ 1834 w 4309"/>
                  <a:gd name="connsiteY52" fmla="*/ 577 h 1039"/>
                  <a:gd name="connsiteX53" fmla="*/ 1799 w 4309"/>
                  <a:gd name="connsiteY53" fmla="*/ 633 h 1039"/>
                  <a:gd name="connsiteX54" fmla="*/ 1724 w 4309"/>
                  <a:gd name="connsiteY54" fmla="*/ 745 h 1039"/>
                  <a:gd name="connsiteX55" fmla="*/ 1685 w 4309"/>
                  <a:gd name="connsiteY55" fmla="*/ 797 h 1039"/>
                  <a:gd name="connsiteX56" fmla="*/ 1644 w 4309"/>
                  <a:gd name="connsiteY56" fmla="*/ 846 h 1039"/>
                  <a:gd name="connsiteX57" fmla="*/ 1600 w 4309"/>
                  <a:gd name="connsiteY57" fmla="*/ 892 h 1039"/>
                  <a:gd name="connsiteX58" fmla="*/ 1553 w 4309"/>
                  <a:gd name="connsiteY58" fmla="*/ 933 h 1039"/>
                  <a:gd name="connsiteX59" fmla="*/ 1503 w 4309"/>
                  <a:gd name="connsiteY59" fmla="*/ 969 h 1039"/>
                  <a:gd name="connsiteX60" fmla="*/ 1450 w 4309"/>
                  <a:gd name="connsiteY60" fmla="*/ 998 h 1039"/>
                  <a:gd name="connsiteX61" fmla="*/ 1394 w 4309"/>
                  <a:gd name="connsiteY61" fmla="*/ 1021 h 1039"/>
                  <a:gd name="connsiteX62" fmla="*/ 1330 w 4309"/>
                  <a:gd name="connsiteY62" fmla="*/ 1033 h 1039"/>
                  <a:gd name="connsiteX63" fmla="*/ 1264 w 4309"/>
                  <a:gd name="connsiteY63" fmla="*/ 1039 h 1039"/>
                  <a:gd name="connsiteX64" fmla="*/ 1258 w 4309"/>
                  <a:gd name="connsiteY64" fmla="*/ 1039 h 1039"/>
                  <a:gd name="connsiteX65" fmla="*/ 1190 w 4309"/>
                  <a:gd name="connsiteY65" fmla="*/ 1035 h 1039"/>
                  <a:gd name="connsiteX66" fmla="*/ 1128 w 4309"/>
                  <a:gd name="connsiteY66" fmla="*/ 1023 h 1039"/>
                  <a:gd name="connsiteX67" fmla="*/ 1070 w 4309"/>
                  <a:gd name="connsiteY67" fmla="*/ 1004 h 1039"/>
                  <a:gd name="connsiteX68" fmla="*/ 1018 w 4309"/>
                  <a:gd name="connsiteY68" fmla="*/ 979 h 1039"/>
                  <a:gd name="connsiteX69" fmla="*/ 971 w 4309"/>
                  <a:gd name="connsiteY69" fmla="*/ 948 h 1039"/>
                  <a:gd name="connsiteX70" fmla="*/ 925 w 4309"/>
                  <a:gd name="connsiteY70" fmla="*/ 911 h 1039"/>
                  <a:gd name="connsiteX71" fmla="*/ 884 w 4309"/>
                  <a:gd name="connsiteY71" fmla="*/ 869 h 1039"/>
                  <a:gd name="connsiteX72" fmla="*/ 847 w 4309"/>
                  <a:gd name="connsiteY72" fmla="*/ 824 h 1039"/>
                  <a:gd name="connsiteX73" fmla="*/ 810 w 4309"/>
                  <a:gd name="connsiteY73" fmla="*/ 776 h 1039"/>
                  <a:gd name="connsiteX74" fmla="*/ 777 w 4309"/>
                  <a:gd name="connsiteY74" fmla="*/ 724 h 1039"/>
                  <a:gd name="connsiteX75" fmla="*/ 742 w 4309"/>
                  <a:gd name="connsiteY75" fmla="*/ 670 h 1039"/>
                  <a:gd name="connsiteX76" fmla="*/ 711 w 4309"/>
                  <a:gd name="connsiteY76" fmla="*/ 614 h 1039"/>
                  <a:gd name="connsiteX77" fmla="*/ 678 w 4309"/>
                  <a:gd name="connsiteY77" fmla="*/ 556 h 1039"/>
                  <a:gd name="connsiteX78" fmla="*/ 616 w 4309"/>
                  <a:gd name="connsiteY78" fmla="*/ 444 h 1039"/>
                  <a:gd name="connsiteX79" fmla="*/ 547 w 4309"/>
                  <a:gd name="connsiteY79" fmla="*/ 336 h 1039"/>
                  <a:gd name="connsiteX80" fmla="*/ 504 w 4309"/>
                  <a:gd name="connsiteY80" fmla="*/ 280 h 1039"/>
                  <a:gd name="connsiteX81" fmla="*/ 457 w 4309"/>
                  <a:gd name="connsiteY81" fmla="*/ 235 h 1039"/>
                  <a:gd name="connsiteX82" fmla="*/ 409 w 4309"/>
                  <a:gd name="connsiteY82" fmla="*/ 195 h 1039"/>
                  <a:gd name="connsiteX83" fmla="*/ 358 w 4309"/>
                  <a:gd name="connsiteY83" fmla="*/ 164 h 1039"/>
                  <a:gd name="connsiteX84" fmla="*/ 308 w 4309"/>
                  <a:gd name="connsiteY84" fmla="*/ 141 h 1039"/>
                  <a:gd name="connsiteX85" fmla="*/ 256 w 4309"/>
                  <a:gd name="connsiteY85" fmla="*/ 123 h 1039"/>
                  <a:gd name="connsiteX86" fmla="*/ 209 w 4309"/>
                  <a:gd name="connsiteY86" fmla="*/ 108 h 1039"/>
                  <a:gd name="connsiteX87" fmla="*/ 163 w 4309"/>
                  <a:gd name="connsiteY87" fmla="*/ 100 h 1039"/>
                  <a:gd name="connsiteX88" fmla="*/ 122 w 4309"/>
                  <a:gd name="connsiteY88" fmla="*/ 96 h 1039"/>
                  <a:gd name="connsiteX89" fmla="*/ 85 w 4309"/>
                  <a:gd name="connsiteY89" fmla="*/ 91 h 1039"/>
                  <a:gd name="connsiteX90" fmla="*/ 31 w 4309"/>
                  <a:gd name="connsiteY90" fmla="*/ 91 h 1039"/>
                  <a:gd name="connsiteX91" fmla="*/ 17 w 4309"/>
                  <a:gd name="connsiteY91" fmla="*/ 94 h 1039"/>
                  <a:gd name="connsiteX92" fmla="*/ 11 w 4309"/>
                  <a:gd name="connsiteY92" fmla="*/ 94 h 1039"/>
                  <a:gd name="connsiteX93" fmla="*/ 0 w 4309"/>
                  <a:gd name="connsiteY93" fmla="*/ 9 h 1039"/>
                  <a:gd name="connsiteX94" fmla="*/ 9 w 4309"/>
                  <a:gd name="connsiteY94" fmla="*/ 9 h 1039"/>
                  <a:gd name="connsiteX95" fmla="*/ 29 w 4309"/>
                  <a:gd name="connsiteY95" fmla="*/ 6 h 1039"/>
                  <a:gd name="connsiteX96" fmla="*/ 91 w 4309"/>
                  <a:gd name="connsiteY96" fmla="*/ 6 h 1039"/>
                  <a:gd name="connsiteX97" fmla="*/ 135 w 4309"/>
                  <a:gd name="connsiteY97" fmla="*/ 9 h 1039"/>
                  <a:gd name="connsiteX98" fmla="*/ 182 w 4309"/>
                  <a:gd name="connsiteY98" fmla="*/ 15 h 1039"/>
                  <a:gd name="connsiteX99" fmla="*/ 234 w 4309"/>
                  <a:gd name="connsiteY99" fmla="*/ 25 h 1039"/>
                  <a:gd name="connsiteX100" fmla="*/ 287 w 4309"/>
                  <a:gd name="connsiteY100" fmla="*/ 42 h 1039"/>
                  <a:gd name="connsiteX101" fmla="*/ 345 w 4309"/>
                  <a:gd name="connsiteY101" fmla="*/ 62 h 1039"/>
                  <a:gd name="connsiteX102" fmla="*/ 403 w 4309"/>
                  <a:gd name="connsiteY102" fmla="*/ 89 h 1039"/>
                  <a:gd name="connsiteX103" fmla="*/ 459 w 4309"/>
                  <a:gd name="connsiteY103" fmla="*/ 127 h 1039"/>
                  <a:gd name="connsiteX104" fmla="*/ 514 w 4309"/>
                  <a:gd name="connsiteY104" fmla="*/ 170 h 1039"/>
                  <a:gd name="connsiteX105" fmla="*/ 568 w 4309"/>
                  <a:gd name="connsiteY105" fmla="*/ 224 h 1039"/>
                  <a:gd name="connsiteX106" fmla="*/ 618 w 4309"/>
                  <a:gd name="connsiteY106" fmla="*/ 288 h 1039"/>
                  <a:gd name="connsiteX107" fmla="*/ 667 w 4309"/>
                  <a:gd name="connsiteY107" fmla="*/ 363 h 1039"/>
                  <a:gd name="connsiteX108" fmla="*/ 754 w 4309"/>
                  <a:gd name="connsiteY108" fmla="*/ 512 h 1039"/>
                  <a:gd name="connsiteX109" fmla="*/ 787 w 4309"/>
                  <a:gd name="connsiteY109" fmla="*/ 571 h 1039"/>
                  <a:gd name="connsiteX110" fmla="*/ 820 w 4309"/>
                  <a:gd name="connsiteY110" fmla="*/ 627 h 1039"/>
                  <a:gd name="connsiteX111" fmla="*/ 853 w 4309"/>
                  <a:gd name="connsiteY111" fmla="*/ 680 h 1039"/>
                  <a:gd name="connsiteX112" fmla="*/ 886 w 4309"/>
                  <a:gd name="connsiteY112" fmla="*/ 732 h 1039"/>
                  <a:gd name="connsiteX113" fmla="*/ 921 w 4309"/>
                  <a:gd name="connsiteY113" fmla="*/ 778 h 1039"/>
                  <a:gd name="connsiteX114" fmla="*/ 958 w 4309"/>
                  <a:gd name="connsiteY114" fmla="*/ 821 h 1039"/>
                  <a:gd name="connsiteX115" fmla="*/ 1000 w 4309"/>
                  <a:gd name="connsiteY115" fmla="*/ 859 h 1039"/>
                  <a:gd name="connsiteX116" fmla="*/ 1043 w 4309"/>
                  <a:gd name="connsiteY116" fmla="*/ 890 h 1039"/>
                  <a:gd name="connsiteX117" fmla="*/ 1090 w 4309"/>
                  <a:gd name="connsiteY117" fmla="*/ 917 h 1039"/>
                  <a:gd name="connsiteX118" fmla="*/ 1140 w 4309"/>
                  <a:gd name="connsiteY118" fmla="*/ 935 h 1039"/>
                  <a:gd name="connsiteX119" fmla="*/ 1196 w 4309"/>
                  <a:gd name="connsiteY119" fmla="*/ 948 h 1039"/>
                  <a:gd name="connsiteX120" fmla="*/ 1258 w 4309"/>
                  <a:gd name="connsiteY120" fmla="*/ 952 h 1039"/>
                  <a:gd name="connsiteX121" fmla="*/ 1264 w 4309"/>
                  <a:gd name="connsiteY121" fmla="*/ 952 h 1039"/>
                  <a:gd name="connsiteX122" fmla="*/ 1324 w 4309"/>
                  <a:gd name="connsiteY122" fmla="*/ 946 h 1039"/>
                  <a:gd name="connsiteX123" fmla="*/ 1380 w 4309"/>
                  <a:gd name="connsiteY123" fmla="*/ 931 h 1039"/>
                  <a:gd name="connsiteX124" fmla="*/ 1433 w 4309"/>
                  <a:gd name="connsiteY124" fmla="*/ 909 h 1039"/>
                  <a:gd name="connsiteX125" fmla="*/ 1481 w 4309"/>
                  <a:gd name="connsiteY125" fmla="*/ 880 h 1039"/>
                  <a:gd name="connsiteX126" fmla="*/ 1526 w 4309"/>
                  <a:gd name="connsiteY126" fmla="*/ 842 h 1039"/>
                  <a:gd name="connsiteX127" fmla="*/ 1569 w 4309"/>
                  <a:gd name="connsiteY127" fmla="*/ 799 h 1039"/>
                  <a:gd name="connsiteX128" fmla="*/ 1609 w 4309"/>
                  <a:gd name="connsiteY128" fmla="*/ 751 h 1039"/>
                  <a:gd name="connsiteX129" fmla="*/ 1648 w 4309"/>
                  <a:gd name="connsiteY129" fmla="*/ 699 h 1039"/>
                  <a:gd name="connsiteX130" fmla="*/ 1687 w 4309"/>
                  <a:gd name="connsiteY130" fmla="*/ 645 h 1039"/>
                  <a:gd name="connsiteX131" fmla="*/ 1799 w 4309"/>
                  <a:gd name="connsiteY131" fmla="*/ 471 h 1039"/>
                  <a:gd name="connsiteX132" fmla="*/ 1838 w 4309"/>
                  <a:gd name="connsiteY132" fmla="*/ 411 h 1039"/>
                  <a:gd name="connsiteX133" fmla="*/ 1879 w 4309"/>
                  <a:gd name="connsiteY133" fmla="*/ 353 h 1039"/>
                  <a:gd name="connsiteX134" fmla="*/ 1923 w 4309"/>
                  <a:gd name="connsiteY134" fmla="*/ 295 h 1039"/>
                  <a:gd name="connsiteX135" fmla="*/ 1968 w 4309"/>
                  <a:gd name="connsiteY135" fmla="*/ 241 h 1039"/>
                  <a:gd name="connsiteX136" fmla="*/ 2015 w 4309"/>
                  <a:gd name="connsiteY136" fmla="*/ 189 h 1039"/>
                  <a:gd name="connsiteX137" fmla="*/ 2069 w 4309"/>
                  <a:gd name="connsiteY137" fmla="*/ 141 h 1039"/>
                  <a:gd name="connsiteX138" fmla="*/ 2125 w 4309"/>
                  <a:gd name="connsiteY138" fmla="*/ 100 h 1039"/>
                  <a:gd name="connsiteX139" fmla="*/ 2187 w 4309"/>
                  <a:gd name="connsiteY139" fmla="*/ 65 h 1039"/>
                  <a:gd name="connsiteX140" fmla="*/ 2253 w 4309"/>
                  <a:gd name="connsiteY140" fmla="*/ 35 h 1039"/>
                  <a:gd name="connsiteX141" fmla="*/ 2325 w 4309"/>
                  <a:gd name="connsiteY141" fmla="*/ 15 h 1039"/>
                  <a:gd name="connsiteX142" fmla="*/ 2404 w 4309"/>
                  <a:gd name="connsiteY142" fmla="*/ 2 h 1039"/>
                  <a:gd name="connsiteX143" fmla="*/ 2474 w 4309"/>
                  <a:gd name="connsiteY143" fmla="*/ 0 h 1039"/>
                  <a:gd name="connsiteX144" fmla="*/ 2540 w 4309"/>
                  <a:gd name="connsiteY144" fmla="*/ 9 h 1039"/>
                  <a:gd name="connsiteX145" fmla="*/ 2600 w 4309"/>
                  <a:gd name="connsiteY145" fmla="*/ 23 h 1039"/>
                  <a:gd name="connsiteX146" fmla="*/ 2658 w 4309"/>
                  <a:gd name="connsiteY146" fmla="*/ 46 h 1039"/>
                  <a:gd name="connsiteX147" fmla="*/ 2711 w 4309"/>
                  <a:gd name="connsiteY147" fmla="*/ 77 h 1039"/>
                  <a:gd name="connsiteX148" fmla="*/ 2761 w 4309"/>
                  <a:gd name="connsiteY148" fmla="*/ 112 h 1039"/>
                  <a:gd name="connsiteX149" fmla="*/ 2806 w 4309"/>
                  <a:gd name="connsiteY149" fmla="*/ 154 h 1039"/>
                  <a:gd name="connsiteX150" fmla="*/ 2852 w 4309"/>
                  <a:gd name="connsiteY150" fmla="*/ 199 h 1039"/>
                  <a:gd name="connsiteX151" fmla="*/ 2893 w 4309"/>
                  <a:gd name="connsiteY151" fmla="*/ 247 h 1039"/>
                  <a:gd name="connsiteX152" fmla="*/ 2932 w 4309"/>
                  <a:gd name="connsiteY152" fmla="*/ 299 h 1039"/>
                  <a:gd name="connsiteX153" fmla="*/ 2969 w 4309"/>
                  <a:gd name="connsiteY153" fmla="*/ 353 h 1039"/>
                  <a:gd name="connsiteX154" fmla="*/ 3004 w 4309"/>
                  <a:gd name="connsiteY154" fmla="*/ 409 h 1039"/>
                  <a:gd name="connsiteX155" fmla="*/ 3039 w 4309"/>
                  <a:gd name="connsiteY155" fmla="*/ 463 h 1039"/>
                  <a:gd name="connsiteX156" fmla="*/ 3073 w 4309"/>
                  <a:gd name="connsiteY156" fmla="*/ 519 h 1039"/>
                  <a:gd name="connsiteX157" fmla="*/ 3110 w 4309"/>
                  <a:gd name="connsiteY157" fmla="*/ 581 h 1039"/>
                  <a:gd name="connsiteX158" fmla="*/ 3147 w 4309"/>
                  <a:gd name="connsiteY158" fmla="*/ 639 h 1039"/>
                  <a:gd name="connsiteX159" fmla="*/ 3186 w 4309"/>
                  <a:gd name="connsiteY159" fmla="*/ 697 h 1039"/>
                  <a:gd name="connsiteX160" fmla="*/ 3223 w 4309"/>
                  <a:gd name="connsiteY160" fmla="*/ 751 h 1039"/>
                  <a:gd name="connsiteX161" fmla="*/ 3265 w 4309"/>
                  <a:gd name="connsiteY161" fmla="*/ 801 h 1039"/>
                  <a:gd name="connsiteX162" fmla="*/ 3306 w 4309"/>
                  <a:gd name="connsiteY162" fmla="*/ 844 h 1039"/>
                  <a:gd name="connsiteX163" fmla="*/ 3349 w 4309"/>
                  <a:gd name="connsiteY163" fmla="*/ 882 h 1039"/>
                  <a:gd name="connsiteX164" fmla="*/ 3395 w 4309"/>
                  <a:gd name="connsiteY164" fmla="*/ 913 h 1039"/>
                  <a:gd name="connsiteX165" fmla="*/ 3444 w 4309"/>
                  <a:gd name="connsiteY165" fmla="*/ 935 h 1039"/>
                  <a:gd name="connsiteX166" fmla="*/ 3498 w 4309"/>
                  <a:gd name="connsiteY166" fmla="*/ 948 h 1039"/>
                  <a:gd name="connsiteX167" fmla="*/ 3554 w 4309"/>
                  <a:gd name="connsiteY167" fmla="*/ 952 h 1039"/>
                  <a:gd name="connsiteX168" fmla="*/ 3609 w 4309"/>
                  <a:gd name="connsiteY168" fmla="*/ 946 h 1039"/>
                  <a:gd name="connsiteX169" fmla="*/ 3659 w 4309"/>
                  <a:gd name="connsiteY169" fmla="*/ 931 h 1039"/>
                  <a:gd name="connsiteX170" fmla="*/ 3706 w 4309"/>
                  <a:gd name="connsiteY170" fmla="*/ 911 h 1039"/>
                  <a:gd name="connsiteX171" fmla="*/ 3750 w 4309"/>
                  <a:gd name="connsiteY171" fmla="*/ 880 h 1039"/>
                  <a:gd name="connsiteX172" fmla="*/ 3789 w 4309"/>
                  <a:gd name="connsiteY172" fmla="*/ 844 h 1039"/>
                  <a:gd name="connsiteX173" fmla="*/ 3826 w 4309"/>
                  <a:gd name="connsiteY173" fmla="*/ 803 h 1039"/>
                  <a:gd name="connsiteX174" fmla="*/ 3861 w 4309"/>
                  <a:gd name="connsiteY174" fmla="*/ 755 h 1039"/>
                  <a:gd name="connsiteX175" fmla="*/ 3894 w 4309"/>
                  <a:gd name="connsiteY175" fmla="*/ 705 h 1039"/>
                  <a:gd name="connsiteX176" fmla="*/ 3927 w 4309"/>
                  <a:gd name="connsiteY176" fmla="*/ 651 h 1039"/>
                  <a:gd name="connsiteX177" fmla="*/ 3960 w 4309"/>
                  <a:gd name="connsiteY177" fmla="*/ 593 h 1039"/>
                  <a:gd name="connsiteX178" fmla="*/ 3993 w 4309"/>
                  <a:gd name="connsiteY178" fmla="*/ 533 h 1039"/>
                  <a:gd name="connsiteX179" fmla="*/ 4022 w 4309"/>
                  <a:gd name="connsiteY179" fmla="*/ 479 h 1039"/>
                  <a:gd name="connsiteX180" fmla="*/ 4084 w 4309"/>
                  <a:gd name="connsiteY180" fmla="*/ 371 h 1039"/>
                  <a:gd name="connsiteX181" fmla="*/ 4154 w 4309"/>
                  <a:gd name="connsiteY181" fmla="*/ 268 h 1039"/>
                  <a:gd name="connsiteX182" fmla="*/ 4192 w 4309"/>
                  <a:gd name="connsiteY182" fmla="*/ 220 h 1039"/>
                  <a:gd name="connsiteX183" fmla="*/ 4233 w 4309"/>
                  <a:gd name="connsiteY183" fmla="*/ 174 h 1039"/>
                  <a:gd name="connsiteX0" fmla="*/ 4192 w 4309"/>
                  <a:gd name="connsiteY0" fmla="*/ 220 h 1039"/>
                  <a:gd name="connsiteX1" fmla="*/ 4309 w 4309"/>
                  <a:gd name="connsiteY1" fmla="*/ 220 h 1039"/>
                  <a:gd name="connsiteX2" fmla="*/ 4270 w 4309"/>
                  <a:gd name="connsiteY2" fmla="*/ 264 h 1039"/>
                  <a:gd name="connsiteX3" fmla="*/ 4196 w 4309"/>
                  <a:gd name="connsiteY3" fmla="*/ 359 h 1039"/>
                  <a:gd name="connsiteX4" fmla="*/ 4163 w 4309"/>
                  <a:gd name="connsiteY4" fmla="*/ 411 h 1039"/>
                  <a:gd name="connsiteX5" fmla="*/ 4101 w 4309"/>
                  <a:gd name="connsiteY5" fmla="*/ 519 h 1039"/>
                  <a:gd name="connsiteX6" fmla="*/ 4008 w 4309"/>
                  <a:gd name="connsiteY6" fmla="*/ 687 h 1039"/>
                  <a:gd name="connsiteX7" fmla="*/ 3975 w 4309"/>
                  <a:gd name="connsiteY7" fmla="*/ 743 h 1039"/>
                  <a:gd name="connsiteX8" fmla="*/ 3940 w 4309"/>
                  <a:gd name="connsiteY8" fmla="*/ 794 h 1039"/>
                  <a:gd name="connsiteX9" fmla="*/ 3905 w 4309"/>
                  <a:gd name="connsiteY9" fmla="*/ 844 h 1039"/>
                  <a:gd name="connsiteX10" fmla="*/ 3865 w 4309"/>
                  <a:gd name="connsiteY10" fmla="*/ 890 h 1039"/>
                  <a:gd name="connsiteX11" fmla="*/ 3824 w 4309"/>
                  <a:gd name="connsiteY11" fmla="*/ 931 h 1039"/>
                  <a:gd name="connsiteX12" fmla="*/ 3779 w 4309"/>
                  <a:gd name="connsiteY12" fmla="*/ 967 h 1039"/>
                  <a:gd name="connsiteX13" fmla="*/ 3729 w 4309"/>
                  <a:gd name="connsiteY13" fmla="*/ 996 h 1039"/>
                  <a:gd name="connsiteX14" fmla="*/ 3677 w 4309"/>
                  <a:gd name="connsiteY14" fmla="*/ 1018 h 1039"/>
                  <a:gd name="connsiteX15" fmla="*/ 3620 w 4309"/>
                  <a:gd name="connsiteY15" fmla="*/ 1033 h 1039"/>
                  <a:gd name="connsiteX16" fmla="*/ 3556 w 4309"/>
                  <a:gd name="connsiteY16" fmla="*/ 1039 h 1039"/>
                  <a:gd name="connsiteX17" fmla="*/ 3547 w 4309"/>
                  <a:gd name="connsiteY17" fmla="*/ 1039 h 1039"/>
                  <a:gd name="connsiteX18" fmla="*/ 3485 w 4309"/>
                  <a:gd name="connsiteY18" fmla="*/ 1035 h 1039"/>
                  <a:gd name="connsiteX19" fmla="*/ 3426 w 4309"/>
                  <a:gd name="connsiteY19" fmla="*/ 1021 h 1039"/>
                  <a:gd name="connsiteX20" fmla="*/ 3372 w 4309"/>
                  <a:gd name="connsiteY20" fmla="*/ 998 h 1039"/>
                  <a:gd name="connsiteX21" fmla="*/ 3320 w 4309"/>
                  <a:gd name="connsiteY21" fmla="*/ 969 h 1039"/>
                  <a:gd name="connsiteX22" fmla="*/ 3273 w 4309"/>
                  <a:gd name="connsiteY22" fmla="*/ 931 h 1039"/>
                  <a:gd name="connsiteX23" fmla="*/ 3229 w 4309"/>
                  <a:gd name="connsiteY23" fmla="*/ 890 h 1039"/>
                  <a:gd name="connsiteX24" fmla="*/ 3186 w 4309"/>
                  <a:gd name="connsiteY24" fmla="*/ 842 h 1039"/>
                  <a:gd name="connsiteX25" fmla="*/ 3147 w 4309"/>
                  <a:gd name="connsiteY25" fmla="*/ 792 h 1039"/>
                  <a:gd name="connsiteX26" fmla="*/ 3108 w 4309"/>
                  <a:gd name="connsiteY26" fmla="*/ 736 h 1039"/>
                  <a:gd name="connsiteX27" fmla="*/ 3070 w 4309"/>
                  <a:gd name="connsiteY27" fmla="*/ 680 h 1039"/>
                  <a:gd name="connsiteX28" fmla="*/ 2965 w 4309"/>
                  <a:gd name="connsiteY28" fmla="*/ 506 h 1039"/>
                  <a:gd name="connsiteX29" fmla="*/ 2928 w 4309"/>
                  <a:gd name="connsiteY29" fmla="*/ 448 h 1039"/>
                  <a:gd name="connsiteX30" fmla="*/ 2891 w 4309"/>
                  <a:gd name="connsiteY30" fmla="*/ 392 h 1039"/>
                  <a:gd name="connsiteX31" fmla="*/ 2854 w 4309"/>
                  <a:gd name="connsiteY31" fmla="*/ 338 h 1039"/>
                  <a:gd name="connsiteX32" fmla="*/ 2814 w 4309"/>
                  <a:gd name="connsiteY32" fmla="*/ 288 h 1039"/>
                  <a:gd name="connsiteX33" fmla="*/ 2773 w 4309"/>
                  <a:gd name="connsiteY33" fmla="*/ 243 h 1039"/>
                  <a:gd name="connsiteX34" fmla="*/ 2732 w 4309"/>
                  <a:gd name="connsiteY34" fmla="*/ 201 h 1039"/>
                  <a:gd name="connsiteX35" fmla="*/ 2686 w 4309"/>
                  <a:gd name="connsiteY35" fmla="*/ 164 h 1039"/>
                  <a:gd name="connsiteX36" fmla="*/ 2639 w 4309"/>
                  <a:gd name="connsiteY36" fmla="*/ 135 h 1039"/>
                  <a:gd name="connsiteX37" fmla="*/ 2587 w 4309"/>
                  <a:gd name="connsiteY37" fmla="*/ 112 h 1039"/>
                  <a:gd name="connsiteX38" fmla="*/ 2532 w 4309"/>
                  <a:gd name="connsiteY38" fmla="*/ 96 h 1039"/>
                  <a:gd name="connsiteX39" fmla="*/ 2474 w 4309"/>
                  <a:gd name="connsiteY39" fmla="*/ 87 h 1039"/>
                  <a:gd name="connsiteX40" fmla="*/ 2410 w 4309"/>
                  <a:gd name="connsiteY40" fmla="*/ 89 h 1039"/>
                  <a:gd name="connsiteX41" fmla="*/ 2342 w 4309"/>
                  <a:gd name="connsiteY41" fmla="*/ 100 h 1039"/>
                  <a:gd name="connsiteX42" fmla="*/ 2280 w 4309"/>
                  <a:gd name="connsiteY42" fmla="*/ 118 h 1039"/>
                  <a:gd name="connsiteX43" fmla="*/ 2222 w 4309"/>
                  <a:gd name="connsiteY43" fmla="*/ 143 h 1039"/>
                  <a:gd name="connsiteX44" fmla="*/ 2168 w 4309"/>
                  <a:gd name="connsiteY44" fmla="*/ 176 h 1039"/>
                  <a:gd name="connsiteX45" fmla="*/ 2117 w 4309"/>
                  <a:gd name="connsiteY45" fmla="*/ 214 h 1039"/>
                  <a:gd name="connsiteX46" fmla="*/ 2071 w 4309"/>
                  <a:gd name="connsiteY46" fmla="*/ 257 h 1039"/>
                  <a:gd name="connsiteX47" fmla="*/ 2026 w 4309"/>
                  <a:gd name="connsiteY47" fmla="*/ 303 h 1039"/>
                  <a:gd name="connsiteX48" fmla="*/ 1984 w 4309"/>
                  <a:gd name="connsiteY48" fmla="*/ 355 h 1039"/>
                  <a:gd name="connsiteX49" fmla="*/ 1945 w 4309"/>
                  <a:gd name="connsiteY49" fmla="*/ 409 h 1039"/>
                  <a:gd name="connsiteX50" fmla="*/ 1908 w 4309"/>
                  <a:gd name="connsiteY50" fmla="*/ 463 h 1039"/>
                  <a:gd name="connsiteX51" fmla="*/ 1871 w 4309"/>
                  <a:gd name="connsiteY51" fmla="*/ 519 h 1039"/>
                  <a:gd name="connsiteX52" fmla="*/ 1834 w 4309"/>
                  <a:gd name="connsiteY52" fmla="*/ 577 h 1039"/>
                  <a:gd name="connsiteX53" fmla="*/ 1799 w 4309"/>
                  <a:gd name="connsiteY53" fmla="*/ 633 h 1039"/>
                  <a:gd name="connsiteX54" fmla="*/ 1724 w 4309"/>
                  <a:gd name="connsiteY54" fmla="*/ 745 h 1039"/>
                  <a:gd name="connsiteX55" fmla="*/ 1685 w 4309"/>
                  <a:gd name="connsiteY55" fmla="*/ 797 h 1039"/>
                  <a:gd name="connsiteX56" fmla="*/ 1644 w 4309"/>
                  <a:gd name="connsiteY56" fmla="*/ 846 h 1039"/>
                  <a:gd name="connsiteX57" fmla="*/ 1600 w 4309"/>
                  <a:gd name="connsiteY57" fmla="*/ 892 h 1039"/>
                  <a:gd name="connsiteX58" fmla="*/ 1553 w 4309"/>
                  <a:gd name="connsiteY58" fmla="*/ 933 h 1039"/>
                  <a:gd name="connsiteX59" fmla="*/ 1503 w 4309"/>
                  <a:gd name="connsiteY59" fmla="*/ 969 h 1039"/>
                  <a:gd name="connsiteX60" fmla="*/ 1450 w 4309"/>
                  <a:gd name="connsiteY60" fmla="*/ 998 h 1039"/>
                  <a:gd name="connsiteX61" fmla="*/ 1394 w 4309"/>
                  <a:gd name="connsiteY61" fmla="*/ 1021 h 1039"/>
                  <a:gd name="connsiteX62" fmla="*/ 1330 w 4309"/>
                  <a:gd name="connsiteY62" fmla="*/ 1033 h 1039"/>
                  <a:gd name="connsiteX63" fmla="*/ 1264 w 4309"/>
                  <a:gd name="connsiteY63" fmla="*/ 1039 h 1039"/>
                  <a:gd name="connsiteX64" fmla="*/ 1258 w 4309"/>
                  <a:gd name="connsiteY64" fmla="*/ 1039 h 1039"/>
                  <a:gd name="connsiteX65" fmla="*/ 1190 w 4309"/>
                  <a:gd name="connsiteY65" fmla="*/ 1035 h 1039"/>
                  <a:gd name="connsiteX66" fmla="*/ 1128 w 4309"/>
                  <a:gd name="connsiteY66" fmla="*/ 1023 h 1039"/>
                  <a:gd name="connsiteX67" fmla="*/ 1070 w 4309"/>
                  <a:gd name="connsiteY67" fmla="*/ 1004 h 1039"/>
                  <a:gd name="connsiteX68" fmla="*/ 1018 w 4309"/>
                  <a:gd name="connsiteY68" fmla="*/ 979 h 1039"/>
                  <a:gd name="connsiteX69" fmla="*/ 971 w 4309"/>
                  <a:gd name="connsiteY69" fmla="*/ 948 h 1039"/>
                  <a:gd name="connsiteX70" fmla="*/ 925 w 4309"/>
                  <a:gd name="connsiteY70" fmla="*/ 911 h 1039"/>
                  <a:gd name="connsiteX71" fmla="*/ 884 w 4309"/>
                  <a:gd name="connsiteY71" fmla="*/ 869 h 1039"/>
                  <a:gd name="connsiteX72" fmla="*/ 847 w 4309"/>
                  <a:gd name="connsiteY72" fmla="*/ 824 h 1039"/>
                  <a:gd name="connsiteX73" fmla="*/ 810 w 4309"/>
                  <a:gd name="connsiteY73" fmla="*/ 776 h 1039"/>
                  <a:gd name="connsiteX74" fmla="*/ 777 w 4309"/>
                  <a:gd name="connsiteY74" fmla="*/ 724 h 1039"/>
                  <a:gd name="connsiteX75" fmla="*/ 742 w 4309"/>
                  <a:gd name="connsiteY75" fmla="*/ 670 h 1039"/>
                  <a:gd name="connsiteX76" fmla="*/ 711 w 4309"/>
                  <a:gd name="connsiteY76" fmla="*/ 614 h 1039"/>
                  <a:gd name="connsiteX77" fmla="*/ 678 w 4309"/>
                  <a:gd name="connsiteY77" fmla="*/ 556 h 1039"/>
                  <a:gd name="connsiteX78" fmla="*/ 616 w 4309"/>
                  <a:gd name="connsiteY78" fmla="*/ 444 h 1039"/>
                  <a:gd name="connsiteX79" fmla="*/ 547 w 4309"/>
                  <a:gd name="connsiteY79" fmla="*/ 336 h 1039"/>
                  <a:gd name="connsiteX80" fmla="*/ 504 w 4309"/>
                  <a:gd name="connsiteY80" fmla="*/ 280 h 1039"/>
                  <a:gd name="connsiteX81" fmla="*/ 457 w 4309"/>
                  <a:gd name="connsiteY81" fmla="*/ 235 h 1039"/>
                  <a:gd name="connsiteX82" fmla="*/ 409 w 4309"/>
                  <a:gd name="connsiteY82" fmla="*/ 195 h 1039"/>
                  <a:gd name="connsiteX83" fmla="*/ 358 w 4309"/>
                  <a:gd name="connsiteY83" fmla="*/ 164 h 1039"/>
                  <a:gd name="connsiteX84" fmla="*/ 308 w 4309"/>
                  <a:gd name="connsiteY84" fmla="*/ 141 h 1039"/>
                  <a:gd name="connsiteX85" fmla="*/ 256 w 4309"/>
                  <a:gd name="connsiteY85" fmla="*/ 123 h 1039"/>
                  <a:gd name="connsiteX86" fmla="*/ 209 w 4309"/>
                  <a:gd name="connsiteY86" fmla="*/ 108 h 1039"/>
                  <a:gd name="connsiteX87" fmla="*/ 163 w 4309"/>
                  <a:gd name="connsiteY87" fmla="*/ 100 h 1039"/>
                  <a:gd name="connsiteX88" fmla="*/ 122 w 4309"/>
                  <a:gd name="connsiteY88" fmla="*/ 96 h 1039"/>
                  <a:gd name="connsiteX89" fmla="*/ 85 w 4309"/>
                  <a:gd name="connsiteY89" fmla="*/ 91 h 1039"/>
                  <a:gd name="connsiteX90" fmla="*/ 31 w 4309"/>
                  <a:gd name="connsiteY90" fmla="*/ 91 h 1039"/>
                  <a:gd name="connsiteX91" fmla="*/ 17 w 4309"/>
                  <a:gd name="connsiteY91" fmla="*/ 94 h 1039"/>
                  <a:gd name="connsiteX92" fmla="*/ 11 w 4309"/>
                  <a:gd name="connsiteY92" fmla="*/ 94 h 1039"/>
                  <a:gd name="connsiteX93" fmla="*/ 0 w 4309"/>
                  <a:gd name="connsiteY93" fmla="*/ 9 h 1039"/>
                  <a:gd name="connsiteX94" fmla="*/ 9 w 4309"/>
                  <a:gd name="connsiteY94" fmla="*/ 9 h 1039"/>
                  <a:gd name="connsiteX95" fmla="*/ 29 w 4309"/>
                  <a:gd name="connsiteY95" fmla="*/ 6 h 1039"/>
                  <a:gd name="connsiteX96" fmla="*/ 91 w 4309"/>
                  <a:gd name="connsiteY96" fmla="*/ 6 h 1039"/>
                  <a:gd name="connsiteX97" fmla="*/ 135 w 4309"/>
                  <a:gd name="connsiteY97" fmla="*/ 9 h 1039"/>
                  <a:gd name="connsiteX98" fmla="*/ 182 w 4309"/>
                  <a:gd name="connsiteY98" fmla="*/ 15 h 1039"/>
                  <a:gd name="connsiteX99" fmla="*/ 234 w 4309"/>
                  <a:gd name="connsiteY99" fmla="*/ 25 h 1039"/>
                  <a:gd name="connsiteX100" fmla="*/ 287 w 4309"/>
                  <a:gd name="connsiteY100" fmla="*/ 42 h 1039"/>
                  <a:gd name="connsiteX101" fmla="*/ 345 w 4309"/>
                  <a:gd name="connsiteY101" fmla="*/ 62 h 1039"/>
                  <a:gd name="connsiteX102" fmla="*/ 403 w 4309"/>
                  <a:gd name="connsiteY102" fmla="*/ 89 h 1039"/>
                  <a:gd name="connsiteX103" fmla="*/ 459 w 4309"/>
                  <a:gd name="connsiteY103" fmla="*/ 127 h 1039"/>
                  <a:gd name="connsiteX104" fmla="*/ 514 w 4309"/>
                  <a:gd name="connsiteY104" fmla="*/ 170 h 1039"/>
                  <a:gd name="connsiteX105" fmla="*/ 568 w 4309"/>
                  <a:gd name="connsiteY105" fmla="*/ 224 h 1039"/>
                  <a:gd name="connsiteX106" fmla="*/ 618 w 4309"/>
                  <a:gd name="connsiteY106" fmla="*/ 288 h 1039"/>
                  <a:gd name="connsiteX107" fmla="*/ 667 w 4309"/>
                  <a:gd name="connsiteY107" fmla="*/ 363 h 1039"/>
                  <a:gd name="connsiteX108" fmla="*/ 754 w 4309"/>
                  <a:gd name="connsiteY108" fmla="*/ 512 h 1039"/>
                  <a:gd name="connsiteX109" fmla="*/ 787 w 4309"/>
                  <a:gd name="connsiteY109" fmla="*/ 571 h 1039"/>
                  <a:gd name="connsiteX110" fmla="*/ 820 w 4309"/>
                  <a:gd name="connsiteY110" fmla="*/ 627 h 1039"/>
                  <a:gd name="connsiteX111" fmla="*/ 853 w 4309"/>
                  <a:gd name="connsiteY111" fmla="*/ 680 h 1039"/>
                  <a:gd name="connsiteX112" fmla="*/ 886 w 4309"/>
                  <a:gd name="connsiteY112" fmla="*/ 732 h 1039"/>
                  <a:gd name="connsiteX113" fmla="*/ 921 w 4309"/>
                  <a:gd name="connsiteY113" fmla="*/ 778 h 1039"/>
                  <a:gd name="connsiteX114" fmla="*/ 958 w 4309"/>
                  <a:gd name="connsiteY114" fmla="*/ 821 h 1039"/>
                  <a:gd name="connsiteX115" fmla="*/ 1000 w 4309"/>
                  <a:gd name="connsiteY115" fmla="*/ 859 h 1039"/>
                  <a:gd name="connsiteX116" fmla="*/ 1043 w 4309"/>
                  <a:gd name="connsiteY116" fmla="*/ 890 h 1039"/>
                  <a:gd name="connsiteX117" fmla="*/ 1090 w 4309"/>
                  <a:gd name="connsiteY117" fmla="*/ 917 h 1039"/>
                  <a:gd name="connsiteX118" fmla="*/ 1140 w 4309"/>
                  <a:gd name="connsiteY118" fmla="*/ 935 h 1039"/>
                  <a:gd name="connsiteX119" fmla="*/ 1196 w 4309"/>
                  <a:gd name="connsiteY119" fmla="*/ 948 h 1039"/>
                  <a:gd name="connsiteX120" fmla="*/ 1258 w 4309"/>
                  <a:gd name="connsiteY120" fmla="*/ 952 h 1039"/>
                  <a:gd name="connsiteX121" fmla="*/ 1264 w 4309"/>
                  <a:gd name="connsiteY121" fmla="*/ 952 h 1039"/>
                  <a:gd name="connsiteX122" fmla="*/ 1324 w 4309"/>
                  <a:gd name="connsiteY122" fmla="*/ 946 h 1039"/>
                  <a:gd name="connsiteX123" fmla="*/ 1380 w 4309"/>
                  <a:gd name="connsiteY123" fmla="*/ 931 h 1039"/>
                  <a:gd name="connsiteX124" fmla="*/ 1433 w 4309"/>
                  <a:gd name="connsiteY124" fmla="*/ 909 h 1039"/>
                  <a:gd name="connsiteX125" fmla="*/ 1481 w 4309"/>
                  <a:gd name="connsiteY125" fmla="*/ 880 h 1039"/>
                  <a:gd name="connsiteX126" fmla="*/ 1526 w 4309"/>
                  <a:gd name="connsiteY126" fmla="*/ 842 h 1039"/>
                  <a:gd name="connsiteX127" fmla="*/ 1569 w 4309"/>
                  <a:gd name="connsiteY127" fmla="*/ 799 h 1039"/>
                  <a:gd name="connsiteX128" fmla="*/ 1609 w 4309"/>
                  <a:gd name="connsiteY128" fmla="*/ 751 h 1039"/>
                  <a:gd name="connsiteX129" fmla="*/ 1648 w 4309"/>
                  <a:gd name="connsiteY129" fmla="*/ 699 h 1039"/>
                  <a:gd name="connsiteX130" fmla="*/ 1687 w 4309"/>
                  <a:gd name="connsiteY130" fmla="*/ 645 h 1039"/>
                  <a:gd name="connsiteX131" fmla="*/ 1799 w 4309"/>
                  <a:gd name="connsiteY131" fmla="*/ 471 h 1039"/>
                  <a:gd name="connsiteX132" fmla="*/ 1838 w 4309"/>
                  <a:gd name="connsiteY132" fmla="*/ 411 h 1039"/>
                  <a:gd name="connsiteX133" fmla="*/ 1879 w 4309"/>
                  <a:gd name="connsiteY133" fmla="*/ 353 h 1039"/>
                  <a:gd name="connsiteX134" fmla="*/ 1923 w 4309"/>
                  <a:gd name="connsiteY134" fmla="*/ 295 h 1039"/>
                  <a:gd name="connsiteX135" fmla="*/ 1968 w 4309"/>
                  <a:gd name="connsiteY135" fmla="*/ 241 h 1039"/>
                  <a:gd name="connsiteX136" fmla="*/ 2015 w 4309"/>
                  <a:gd name="connsiteY136" fmla="*/ 189 h 1039"/>
                  <a:gd name="connsiteX137" fmla="*/ 2069 w 4309"/>
                  <a:gd name="connsiteY137" fmla="*/ 141 h 1039"/>
                  <a:gd name="connsiteX138" fmla="*/ 2125 w 4309"/>
                  <a:gd name="connsiteY138" fmla="*/ 100 h 1039"/>
                  <a:gd name="connsiteX139" fmla="*/ 2187 w 4309"/>
                  <a:gd name="connsiteY139" fmla="*/ 65 h 1039"/>
                  <a:gd name="connsiteX140" fmla="*/ 2253 w 4309"/>
                  <a:gd name="connsiteY140" fmla="*/ 35 h 1039"/>
                  <a:gd name="connsiteX141" fmla="*/ 2325 w 4309"/>
                  <a:gd name="connsiteY141" fmla="*/ 15 h 1039"/>
                  <a:gd name="connsiteX142" fmla="*/ 2404 w 4309"/>
                  <a:gd name="connsiteY142" fmla="*/ 2 h 1039"/>
                  <a:gd name="connsiteX143" fmla="*/ 2474 w 4309"/>
                  <a:gd name="connsiteY143" fmla="*/ 0 h 1039"/>
                  <a:gd name="connsiteX144" fmla="*/ 2540 w 4309"/>
                  <a:gd name="connsiteY144" fmla="*/ 9 h 1039"/>
                  <a:gd name="connsiteX145" fmla="*/ 2600 w 4309"/>
                  <a:gd name="connsiteY145" fmla="*/ 23 h 1039"/>
                  <a:gd name="connsiteX146" fmla="*/ 2658 w 4309"/>
                  <a:gd name="connsiteY146" fmla="*/ 46 h 1039"/>
                  <a:gd name="connsiteX147" fmla="*/ 2711 w 4309"/>
                  <a:gd name="connsiteY147" fmla="*/ 77 h 1039"/>
                  <a:gd name="connsiteX148" fmla="*/ 2761 w 4309"/>
                  <a:gd name="connsiteY148" fmla="*/ 112 h 1039"/>
                  <a:gd name="connsiteX149" fmla="*/ 2806 w 4309"/>
                  <a:gd name="connsiteY149" fmla="*/ 154 h 1039"/>
                  <a:gd name="connsiteX150" fmla="*/ 2852 w 4309"/>
                  <a:gd name="connsiteY150" fmla="*/ 199 h 1039"/>
                  <a:gd name="connsiteX151" fmla="*/ 2893 w 4309"/>
                  <a:gd name="connsiteY151" fmla="*/ 247 h 1039"/>
                  <a:gd name="connsiteX152" fmla="*/ 2932 w 4309"/>
                  <a:gd name="connsiteY152" fmla="*/ 299 h 1039"/>
                  <a:gd name="connsiteX153" fmla="*/ 2969 w 4309"/>
                  <a:gd name="connsiteY153" fmla="*/ 353 h 1039"/>
                  <a:gd name="connsiteX154" fmla="*/ 3004 w 4309"/>
                  <a:gd name="connsiteY154" fmla="*/ 409 h 1039"/>
                  <a:gd name="connsiteX155" fmla="*/ 3039 w 4309"/>
                  <a:gd name="connsiteY155" fmla="*/ 463 h 1039"/>
                  <a:gd name="connsiteX156" fmla="*/ 3073 w 4309"/>
                  <a:gd name="connsiteY156" fmla="*/ 519 h 1039"/>
                  <a:gd name="connsiteX157" fmla="*/ 3110 w 4309"/>
                  <a:gd name="connsiteY157" fmla="*/ 581 h 1039"/>
                  <a:gd name="connsiteX158" fmla="*/ 3147 w 4309"/>
                  <a:gd name="connsiteY158" fmla="*/ 639 h 1039"/>
                  <a:gd name="connsiteX159" fmla="*/ 3186 w 4309"/>
                  <a:gd name="connsiteY159" fmla="*/ 697 h 1039"/>
                  <a:gd name="connsiteX160" fmla="*/ 3223 w 4309"/>
                  <a:gd name="connsiteY160" fmla="*/ 751 h 1039"/>
                  <a:gd name="connsiteX161" fmla="*/ 3265 w 4309"/>
                  <a:gd name="connsiteY161" fmla="*/ 801 h 1039"/>
                  <a:gd name="connsiteX162" fmla="*/ 3306 w 4309"/>
                  <a:gd name="connsiteY162" fmla="*/ 844 h 1039"/>
                  <a:gd name="connsiteX163" fmla="*/ 3349 w 4309"/>
                  <a:gd name="connsiteY163" fmla="*/ 882 h 1039"/>
                  <a:gd name="connsiteX164" fmla="*/ 3395 w 4309"/>
                  <a:gd name="connsiteY164" fmla="*/ 913 h 1039"/>
                  <a:gd name="connsiteX165" fmla="*/ 3444 w 4309"/>
                  <a:gd name="connsiteY165" fmla="*/ 935 h 1039"/>
                  <a:gd name="connsiteX166" fmla="*/ 3498 w 4309"/>
                  <a:gd name="connsiteY166" fmla="*/ 948 h 1039"/>
                  <a:gd name="connsiteX167" fmla="*/ 3554 w 4309"/>
                  <a:gd name="connsiteY167" fmla="*/ 952 h 1039"/>
                  <a:gd name="connsiteX168" fmla="*/ 3609 w 4309"/>
                  <a:gd name="connsiteY168" fmla="*/ 946 h 1039"/>
                  <a:gd name="connsiteX169" fmla="*/ 3659 w 4309"/>
                  <a:gd name="connsiteY169" fmla="*/ 931 h 1039"/>
                  <a:gd name="connsiteX170" fmla="*/ 3706 w 4309"/>
                  <a:gd name="connsiteY170" fmla="*/ 911 h 1039"/>
                  <a:gd name="connsiteX171" fmla="*/ 3750 w 4309"/>
                  <a:gd name="connsiteY171" fmla="*/ 880 h 1039"/>
                  <a:gd name="connsiteX172" fmla="*/ 3789 w 4309"/>
                  <a:gd name="connsiteY172" fmla="*/ 844 h 1039"/>
                  <a:gd name="connsiteX173" fmla="*/ 3826 w 4309"/>
                  <a:gd name="connsiteY173" fmla="*/ 803 h 1039"/>
                  <a:gd name="connsiteX174" fmla="*/ 3861 w 4309"/>
                  <a:gd name="connsiteY174" fmla="*/ 755 h 1039"/>
                  <a:gd name="connsiteX175" fmla="*/ 3894 w 4309"/>
                  <a:gd name="connsiteY175" fmla="*/ 705 h 1039"/>
                  <a:gd name="connsiteX176" fmla="*/ 3927 w 4309"/>
                  <a:gd name="connsiteY176" fmla="*/ 651 h 1039"/>
                  <a:gd name="connsiteX177" fmla="*/ 3960 w 4309"/>
                  <a:gd name="connsiteY177" fmla="*/ 593 h 1039"/>
                  <a:gd name="connsiteX178" fmla="*/ 3993 w 4309"/>
                  <a:gd name="connsiteY178" fmla="*/ 533 h 1039"/>
                  <a:gd name="connsiteX179" fmla="*/ 4022 w 4309"/>
                  <a:gd name="connsiteY179" fmla="*/ 479 h 1039"/>
                  <a:gd name="connsiteX180" fmla="*/ 4084 w 4309"/>
                  <a:gd name="connsiteY180" fmla="*/ 371 h 1039"/>
                  <a:gd name="connsiteX181" fmla="*/ 4154 w 4309"/>
                  <a:gd name="connsiteY181" fmla="*/ 268 h 1039"/>
                  <a:gd name="connsiteX182" fmla="*/ 4192 w 4309"/>
                  <a:gd name="connsiteY182" fmla="*/ 220 h 1039"/>
                  <a:gd name="connsiteX0" fmla="*/ 4192 w 4270"/>
                  <a:gd name="connsiteY0" fmla="*/ 220 h 1039"/>
                  <a:gd name="connsiteX1" fmla="*/ 4270 w 4270"/>
                  <a:gd name="connsiteY1" fmla="*/ 264 h 1039"/>
                  <a:gd name="connsiteX2" fmla="*/ 4196 w 4270"/>
                  <a:gd name="connsiteY2" fmla="*/ 359 h 1039"/>
                  <a:gd name="connsiteX3" fmla="*/ 4163 w 4270"/>
                  <a:gd name="connsiteY3" fmla="*/ 411 h 1039"/>
                  <a:gd name="connsiteX4" fmla="*/ 4101 w 4270"/>
                  <a:gd name="connsiteY4" fmla="*/ 519 h 1039"/>
                  <a:gd name="connsiteX5" fmla="*/ 4008 w 4270"/>
                  <a:gd name="connsiteY5" fmla="*/ 687 h 1039"/>
                  <a:gd name="connsiteX6" fmla="*/ 3975 w 4270"/>
                  <a:gd name="connsiteY6" fmla="*/ 743 h 1039"/>
                  <a:gd name="connsiteX7" fmla="*/ 3940 w 4270"/>
                  <a:gd name="connsiteY7" fmla="*/ 794 h 1039"/>
                  <a:gd name="connsiteX8" fmla="*/ 3905 w 4270"/>
                  <a:gd name="connsiteY8" fmla="*/ 844 h 1039"/>
                  <a:gd name="connsiteX9" fmla="*/ 3865 w 4270"/>
                  <a:gd name="connsiteY9" fmla="*/ 890 h 1039"/>
                  <a:gd name="connsiteX10" fmla="*/ 3824 w 4270"/>
                  <a:gd name="connsiteY10" fmla="*/ 931 h 1039"/>
                  <a:gd name="connsiteX11" fmla="*/ 3779 w 4270"/>
                  <a:gd name="connsiteY11" fmla="*/ 967 h 1039"/>
                  <a:gd name="connsiteX12" fmla="*/ 3729 w 4270"/>
                  <a:gd name="connsiteY12" fmla="*/ 996 h 1039"/>
                  <a:gd name="connsiteX13" fmla="*/ 3677 w 4270"/>
                  <a:gd name="connsiteY13" fmla="*/ 1018 h 1039"/>
                  <a:gd name="connsiteX14" fmla="*/ 3620 w 4270"/>
                  <a:gd name="connsiteY14" fmla="*/ 1033 h 1039"/>
                  <a:gd name="connsiteX15" fmla="*/ 3556 w 4270"/>
                  <a:gd name="connsiteY15" fmla="*/ 1039 h 1039"/>
                  <a:gd name="connsiteX16" fmla="*/ 3547 w 4270"/>
                  <a:gd name="connsiteY16" fmla="*/ 1039 h 1039"/>
                  <a:gd name="connsiteX17" fmla="*/ 3485 w 4270"/>
                  <a:gd name="connsiteY17" fmla="*/ 1035 h 1039"/>
                  <a:gd name="connsiteX18" fmla="*/ 3426 w 4270"/>
                  <a:gd name="connsiteY18" fmla="*/ 1021 h 1039"/>
                  <a:gd name="connsiteX19" fmla="*/ 3372 w 4270"/>
                  <a:gd name="connsiteY19" fmla="*/ 998 h 1039"/>
                  <a:gd name="connsiteX20" fmla="*/ 3320 w 4270"/>
                  <a:gd name="connsiteY20" fmla="*/ 969 h 1039"/>
                  <a:gd name="connsiteX21" fmla="*/ 3273 w 4270"/>
                  <a:gd name="connsiteY21" fmla="*/ 931 h 1039"/>
                  <a:gd name="connsiteX22" fmla="*/ 3229 w 4270"/>
                  <a:gd name="connsiteY22" fmla="*/ 890 h 1039"/>
                  <a:gd name="connsiteX23" fmla="*/ 3186 w 4270"/>
                  <a:gd name="connsiteY23" fmla="*/ 842 h 1039"/>
                  <a:gd name="connsiteX24" fmla="*/ 3147 w 4270"/>
                  <a:gd name="connsiteY24" fmla="*/ 792 h 1039"/>
                  <a:gd name="connsiteX25" fmla="*/ 3108 w 4270"/>
                  <a:gd name="connsiteY25" fmla="*/ 736 h 1039"/>
                  <a:gd name="connsiteX26" fmla="*/ 3070 w 4270"/>
                  <a:gd name="connsiteY26" fmla="*/ 680 h 1039"/>
                  <a:gd name="connsiteX27" fmla="*/ 2965 w 4270"/>
                  <a:gd name="connsiteY27" fmla="*/ 506 h 1039"/>
                  <a:gd name="connsiteX28" fmla="*/ 2928 w 4270"/>
                  <a:gd name="connsiteY28" fmla="*/ 448 h 1039"/>
                  <a:gd name="connsiteX29" fmla="*/ 2891 w 4270"/>
                  <a:gd name="connsiteY29" fmla="*/ 392 h 1039"/>
                  <a:gd name="connsiteX30" fmla="*/ 2854 w 4270"/>
                  <a:gd name="connsiteY30" fmla="*/ 338 h 1039"/>
                  <a:gd name="connsiteX31" fmla="*/ 2814 w 4270"/>
                  <a:gd name="connsiteY31" fmla="*/ 288 h 1039"/>
                  <a:gd name="connsiteX32" fmla="*/ 2773 w 4270"/>
                  <a:gd name="connsiteY32" fmla="*/ 243 h 1039"/>
                  <a:gd name="connsiteX33" fmla="*/ 2732 w 4270"/>
                  <a:gd name="connsiteY33" fmla="*/ 201 h 1039"/>
                  <a:gd name="connsiteX34" fmla="*/ 2686 w 4270"/>
                  <a:gd name="connsiteY34" fmla="*/ 164 h 1039"/>
                  <a:gd name="connsiteX35" fmla="*/ 2639 w 4270"/>
                  <a:gd name="connsiteY35" fmla="*/ 135 h 1039"/>
                  <a:gd name="connsiteX36" fmla="*/ 2587 w 4270"/>
                  <a:gd name="connsiteY36" fmla="*/ 112 h 1039"/>
                  <a:gd name="connsiteX37" fmla="*/ 2532 w 4270"/>
                  <a:gd name="connsiteY37" fmla="*/ 96 h 1039"/>
                  <a:gd name="connsiteX38" fmla="*/ 2474 w 4270"/>
                  <a:gd name="connsiteY38" fmla="*/ 87 h 1039"/>
                  <a:gd name="connsiteX39" fmla="*/ 2410 w 4270"/>
                  <a:gd name="connsiteY39" fmla="*/ 89 h 1039"/>
                  <a:gd name="connsiteX40" fmla="*/ 2342 w 4270"/>
                  <a:gd name="connsiteY40" fmla="*/ 100 h 1039"/>
                  <a:gd name="connsiteX41" fmla="*/ 2280 w 4270"/>
                  <a:gd name="connsiteY41" fmla="*/ 118 h 1039"/>
                  <a:gd name="connsiteX42" fmla="*/ 2222 w 4270"/>
                  <a:gd name="connsiteY42" fmla="*/ 143 h 1039"/>
                  <a:gd name="connsiteX43" fmla="*/ 2168 w 4270"/>
                  <a:gd name="connsiteY43" fmla="*/ 176 h 1039"/>
                  <a:gd name="connsiteX44" fmla="*/ 2117 w 4270"/>
                  <a:gd name="connsiteY44" fmla="*/ 214 h 1039"/>
                  <a:gd name="connsiteX45" fmla="*/ 2071 w 4270"/>
                  <a:gd name="connsiteY45" fmla="*/ 257 h 1039"/>
                  <a:gd name="connsiteX46" fmla="*/ 2026 w 4270"/>
                  <a:gd name="connsiteY46" fmla="*/ 303 h 1039"/>
                  <a:gd name="connsiteX47" fmla="*/ 1984 w 4270"/>
                  <a:gd name="connsiteY47" fmla="*/ 355 h 1039"/>
                  <a:gd name="connsiteX48" fmla="*/ 1945 w 4270"/>
                  <a:gd name="connsiteY48" fmla="*/ 409 h 1039"/>
                  <a:gd name="connsiteX49" fmla="*/ 1908 w 4270"/>
                  <a:gd name="connsiteY49" fmla="*/ 463 h 1039"/>
                  <a:gd name="connsiteX50" fmla="*/ 1871 w 4270"/>
                  <a:gd name="connsiteY50" fmla="*/ 519 h 1039"/>
                  <a:gd name="connsiteX51" fmla="*/ 1834 w 4270"/>
                  <a:gd name="connsiteY51" fmla="*/ 577 h 1039"/>
                  <a:gd name="connsiteX52" fmla="*/ 1799 w 4270"/>
                  <a:gd name="connsiteY52" fmla="*/ 633 h 1039"/>
                  <a:gd name="connsiteX53" fmla="*/ 1724 w 4270"/>
                  <a:gd name="connsiteY53" fmla="*/ 745 h 1039"/>
                  <a:gd name="connsiteX54" fmla="*/ 1685 w 4270"/>
                  <a:gd name="connsiteY54" fmla="*/ 797 h 1039"/>
                  <a:gd name="connsiteX55" fmla="*/ 1644 w 4270"/>
                  <a:gd name="connsiteY55" fmla="*/ 846 h 1039"/>
                  <a:gd name="connsiteX56" fmla="*/ 1600 w 4270"/>
                  <a:gd name="connsiteY56" fmla="*/ 892 h 1039"/>
                  <a:gd name="connsiteX57" fmla="*/ 1553 w 4270"/>
                  <a:gd name="connsiteY57" fmla="*/ 933 h 1039"/>
                  <a:gd name="connsiteX58" fmla="*/ 1503 w 4270"/>
                  <a:gd name="connsiteY58" fmla="*/ 969 h 1039"/>
                  <a:gd name="connsiteX59" fmla="*/ 1450 w 4270"/>
                  <a:gd name="connsiteY59" fmla="*/ 998 h 1039"/>
                  <a:gd name="connsiteX60" fmla="*/ 1394 w 4270"/>
                  <a:gd name="connsiteY60" fmla="*/ 1021 h 1039"/>
                  <a:gd name="connsiteX61" fmla="*/ 1330 w 4270"/>
                  <a:gd name="connsiteY61" fmla="*/ 1033 h 1039"/>
                  <a:gd name="connsiteX62" fmla="*/ 1264 w 4270"/>
                  <a:gd name="connsiteY62" fmla="*/ 1039 h 1039"/>
                  <a:gd name="connsiteX63" fmla="*/ 1258 w 4270"/>
                  <a:gd name="connsiteY63" fmla="*/ 1039 h 1039"/>
                  <a:gd name="connsiteX64" fmla="*/ 1190 w 4270"/>
                  <a:gd name="connsiteY64" fmla="*/ 1035 h 1039"/>
                  <a:gd name="connsiteX65" fmla="*/ 1128 w 4270"/>
                  <a:gd name="connsiteY65" fmla="*/ 1023 h 1039"/>
                  <a:gd name="connsiteX66" fmla="*/ 1070 w 4270"/>
                  <a:gd name="connsiteY66" fmla="*/ 1004 h 1039"/>
                  <a:gd name="connsiteX67" fmla="*/ 1018 w 4270"/>
                  <a:gd name="connsiteY67" fmla="*/ 979 h 1039"/>
                  <a:gd name="connsiteX68" fmla="*/ 971 w 4270"/>
                  <a:gd name="connsiteY68" fmla="*/ 948 h 1039"/>
                  <a:gd name="connsiteX69" fmla="*/ 925 w 4270"/>
                  <a:gd name="connsiteY69" fmla="*/ 911 h 1039"/>
                  <a:gd name="connsiteX70" fmla="*/ 884 w 4270"/>
                  <a:gd name="connsiteY70" fmla="*/ 869 h 1039"/>
                  <a:gd name="connsiteX71" fmla="*/ 847 w 4270"/>
                  <a:gd name="connsiteY71" fmla="*/ 824 h 1039"/>
                  <a:gd name="connsiteX72" fmla="*/ 810 w 4270"/>
                  <a:gd name="connsiteY72" fmla="*/ 776 h 1039"/>
                  <a:gd name="connsiteX73" fmla="*/ 777 w 4270"/>
                  <a:gd name="connsiteY73" fmla="*/ 724 h 1039"/>
                  <a:gd name="connsiteX74" fmla="*/ 742 w 4270"/>
                  <a:gd name="connsiteY74" fmla="*/ 670 h 1039"/>
                  <a:gd name="connsiteX75" fmla="*/ 711 w 4270"/>
                  <a:gd name="connsiteY75" fmla="*/ 614 h 1039"/>
                  <a:gd name="connsiteX76" fmla="*/ 678 w 4270"/>
                  <a:gd name="connsiteY76" fmla="*/ 556 h 1039"/>
                  <a:gd name="connsiteX77" fmla="*/ 616 w 4270"/>
                  <a:gd name="connsiteY77" fmla="*/ 444 h 1039"/>
                  <a:gd name="connsiteX78" fmla="*/ 547 w 4270"/>
                  <a:gd name="connsiteY78" fmla="*/ 336 h 1039"/>
                  <a:gd name="connsiteX79" fmla="*/ 504 w 4270"/>
                  <a:gd name="connsiteY79" fmla="*/ 280 h 1039"/>
                  <a:gd name="connsiteX80" fmla="*/ 457 w 4270"/>
                  <a:gd name="connsiteY80" fmla="*/ 235 h 1039"/>
                  <a:gd name="connsiteX81" fmla="*/ 409 w 4270"/>
                  <a:gd name="connsiteY81" fmla="*/ 195 h 1039"/>
                  <a:gd name="connsiteX82" fmla="*/ 358 w 4270"/>
                  <a:gd name="connsiteY82" fmla="*/ 164 h 1039"/>
                  <a:gd name="connsiteX83" fmla="*/ 308 w 4270"/>
                  <a:gd name="connsiteY83" fmla="*/ 141 h 1039"/>
                  <a:gd name="connsiteX84" fmla="*/ 256 w 4270"/>
                  <a:gd name="connsiteY84" fmla="*/ 123 h 1039"/>
                  <a:gd name="connsiteX85" fmla="*/ 209 w 4270"/>
                  <a:gd name="connsiteY85" fmla="*/ 108 h 1039"/>
                  <a:gd name="connsiteX86" fmla="*/ 163 w 4270"/>
                  <a:gd name="connsiteY86" fmla="*/ 100 h 1039"/>
                  <a:gd name="connsiteX87" fmla="*/ 122 w 4270"/>
                  <a:gd name="connsiteY87" fmla="*/ 96 h 1039"/>
                  <a:gd name="connsiteX88" fmla="*/ 85 w 4270"/>
                  <a:gd name="connsiteY88" fmla="*/ 91 h 1039"/>
                  <a:gd name="connsiteX89" fmla="*/ 31 w 4270"/>
                  <a:gd name="connsiteY89" fmla="*/ 91 h 1039"/>
                  <a:gd name="connsiteX90" fmla="*/ 17 w 4270"/>
                  <a:gd name="connsiteY90" fmla="*/ 94 h 1039"/>
                  <a:gd name="connsiteX91" fmla="*/ 11 w 4270"/>
                  <a:gd name="connsiteY91" fmla="*/ 94 h 1039"/>
                  <a:gd name="connsiteX92" fmla="*/ 0 w 4270"/>
                  <a:gd name="connsiteY92" fmla="*/ 9 h 1039"/>
                  <a:gd name="connsiteX93" fmla="*/ 9 w 4270"/>
                  <a:gd name="connsiteY93" fmla="*/ 9 h 1039"/>
                  <a:gd name="connsiteX94" fmla="*/ 29 w 4270"/>
                  <a:gd name="connsiteY94" fmla="*/ 6 h 1039"/>
                  <a:gd name="connsiteX95" fmla="*/ 91 w 4270"/>
                  <a:gd name="connsiteY95" fmla="*/ 6 h 1039"/>
                  <a:gd name="connsiteX96" fmla="*/ 135 w 4270"/>
                  <a:gd name="connsiteY96" fmla="*/ 9 h 1039"/>
                  <a:gd name="connsiteX97" fmla="*/ 182 w 4270"/>
                  <a:gd name="connsiteY97" fmla="*/ 15 h 1039"/>
                  <a:gd name="connsiteX98" fmla="*/ 234 w 4270"/>
                  <a:gd name="connsiteY98" fmla="*/ 25 h 1039"/>
                  <a:gd name="connsiteX99" fmla="*/ 287 w 4270"/>
                  <a:gd name="connsiteY99" fmla="*/ 42 h 1039"/>
                  <a:gd name="connsiteX100" fmla="*/ 345 w 4270"/>
                  <a:gd name="connsiteY100" fmla="*/ 62 h 1039"/>
                  <a:gd name="connsiteX101" fmla="*/ 403 w 4270"/>
                  <a:gd name="connsiteY101" fmla="*/ 89 h 1039"/>
                  <a:gd name="connsiteX102" fmla="*/ 459 w 4270"/>
                  <a:gd name="connsiteY102" fmla="*/ 127 h 1039"/>
                  <a:gd name="connsiteX103" fmla="*/ 514 w 4270"/>
                  <a:gd name="connsiteY103" fmla="*/ 170 h 1039"/>
                  <a:gd name="connsiteX104" fmla="*/ 568 w 4270"/>
                  <a:gd name="connsiteY104" fmla="*/ 224 h 1039"/>
                  <a:gd name="connsiteX105" fmla="*/ 618 w 4270"/>
                  <a:gd name="connsiteY105" fmla="*/ 288 h 1039"/>
                  <a:gd name="connsiteX106" fmla="*/ 667 w 4270"/>
                  <a:gd name="connsiteY106" fmla="*/ 363 h 1039"/>
                  <a:gd name="connsiteX107" fmla="*/ 754 w 4270"/>
                  <a:gd name="connsiteY107" fmla="*/ 512 h 1039"/>
                  <a:gd name="connsiteX108" fmla="*/ 787 w 4270"/>
                  <a:gd name="connsiteY108" fmla="*/ 571 h 1039"/>
                  <a:gd name="connsiteX109" fmla="*/ 820 w 4270"/>
                  <a:gd name="connsiteY109" fmla="*/ 627 h 1039"/>
                  <a:gd name="connsiteX110" fmla="*/ 853 w 4270"/>
                  <a:gd name="connsiteY110" fmla="*/ 680 h 1039"/>
                  <a:gd name="connsiteX111" fmla="*/ 886 w 4270"/>
                  <a:gd name="connsiteY111" fmla="*/ 732 h 1039"/>
                  <a:gd name="connsiteX112" fmla="*/ 921 w 4270"/>
                  <a:gd name="connsiteY112" fmla="*/ 778 h 1039"/>
                  <a:gd name="connsiteX113" fmla="*/ 958 w 4270"/>
                  <a:gd name="connsiteY113" fmla="*/ 821 h 1039"/>
                  <a:gd name="connsiteX114" fmla="*/ 1000 w 4270"/>
                  <a:gd name="connsiteY114" fmla="*/ 859 h 1039"/>
                  <a:gd name="connsiteX115" fmla="*/ 1043 w 4270"/>
                  <a:gd name="connsiteY115" fmla="*/ 890 h 1039"/>
                  <a:gd name="connsiteX116" fmla="*/ 1090 w 4270"/>
                  <a:gd name="connsiteY116" fmla="*/ 917 h 1039"/>
                  <a:gd name="connsiteX117" fmla="*/ 1140 w 4270"/>
                  <a:gd name="connsiteY117" fmla="*/ 935 h 1039"/>
                  <a:gd name="connsiteX118" fmla="*/ 1196 w 4270"/>
                  <a:gd name="connsiteY118" fmla="*/ 948 h 1039"/>
                  <a:gd name="connsiteX119" fmla="*/ 1258 w 4270"/>
                  <a:gd name="connsiteY119" fmla="*/ 952 h 1039"/>
                  <a:gd name="connsiteX120" fmla="*/ 1264 w 4270"/>
                  <a:gd name="connsiteY120" fmla="*/ 952 h 1039"/>
                  <a:gd name="connsiteX121" fmla="*/ 1324 w 4270"/>
                  <a:gd name="connsiteY121" fmla="*/ 946 h 1039"/>
                  <a:gd name="connsiteX122" fmla="*/ 1380 w 4270"/>
                  <a:gd name="connsiteY122" fmla="*/ 931 h 1039"/>
                  <a:gd name="connsiteX123" fmla="*/ 1433 w 4270"/>
                  <a:gd name="connsiteY123" fmla="*/ 909 h 1039"/>
                  <a:gd name="connsiteX124" fmla="*/ 1481 w 4270"/>
                  <a:gd name="connsiteY124" fmla="*/ 880 h 1039"/>
                  <a:gd name="connsiteX125" fmla="*/ 1526 w 4270"/>
                  <a:gd name="connsiteY125" fmla="*/ 842 h 1039"/>
                  <a:gd name="connsiteX126" fmla="*/ 1569 w 4270"/>
                  <a:gd name="connsiteY126" fmla="*/ 799 h 1039"/>
                  <a:gd name="connsiteX127" fmla="*/ 1609 w 4270"/>
                  <a:gd name="connsiteY127" fmla="*/ 751 h 1039"/>
                  <a:gd name="connsiteX128" fmla="*/ 1648 w 4270"/>
                  <a:gd name="connsiteY128" fmla="*/ 699 h 1039"/>
                  <a:gd name="connsiteX129" fmla="*/ 1687 w 4270"/>
                  <a:gd name="connsiteY129" fmla="*/ 645 h 1039"/>
                  <a:gd name="connsiteX130" fmla="*/ 1799 w 4270"/>
                  <a:gd name="connsiteY130" fmla="*/ 471 h 1039"/>
                  <a:gd name="connsiteX131" fmla="*/ 1838 w 4270"/>
                  <a:gd name="connsiteY131" fmla="*/ 411 h 1039"/>
                  <a:gd name="connsiteX132" fmla="*/ 1879 w 4270"/>
                  <a:gd name="connsiteY132" fmla="*/ 353 h 1039"/>
                  <a:gd name="connsiteX133" fmla="*/ 1923 w 4270"/>
                  <a:gd name="connsiteY133" fmla="*/ 295 h 1039"/>
                  <a:gd name="connsiteX134" fmla="*/ 1968 w 4270"/>
                  <a:gd name="connsiteY134" fmla="*/ 241 h 1039"/>
                  <a:gd name="connsiteX135" fmla="*/ 2015 w 4270"/>
                  <a:gd name="connsiteY135" fmla="*/ 189 h 1039"/>
                  <a:gd name="connsiteX136" fmla="*/ 2069 w 4270"/>
                  <a:gd name="connsiteY136" fmla="*/ 141 h 1039"/>
                  <a:gd name="connsiteX137" fmla="*/ 2125 w 4270"/>
                  <a:gd name="connsiteY137" fmla="*/ 100 h 1039"/>
                  <a:gd name="connsiteX138" fmla="*/ 2187 w 4270"/>
                  <a:gd name="connsiteY138" fmla="*/ 65 h 1039"/>
                  <a:gd name="connsiteX139" fmla="*/ 2253 w 4270"/>
                  <a:gd name="connsiteY139" fmla="*/ 35 h 1039"/>
                  <a:gd name="connsiteX140" fmla="*/ 2325 w 4270"/>
                  <a:gd name="connsiteY140" fmla="*/ 15 h 1039"/>
                  <a:gd name="connsiteX141" fmla="*/ 2404 w 4270"/>
                  <a:gd name="connsiteY141" fmla="*/ 2 h 1039"/>
                  <a:gd name="connsiteX142" fmla="*/ 2474 w 4270"/>
                  <a:gd name="connsiteY142" fmla="*/ 0 h 1039"/>
                  <a:gd name="connsiteX143" fmla="*/ 2540 w 4270"/>
                  <a:gd name="connsiteY143" fmla="*/ 9 h 1039"/>
                  <a:gd name="connsiteX144" fmla="*/ 2600 w 4270"/>
                  <a:gd name="connsiteY144" fmla="*/ 23 h 1039"/>
                  <a:gd name="connsiteX145" fmla="*/ 2658 w 4270"/>
                  <a:gd name="connsiteY145" fmla="*/ 46 h 1039"/>
                  <a:gd name="connsiteX146" fmla="*/ 2711 w 4270"/>
                  <a:gd name="connsiteY146" fmla="*/ 77 h 1039"/>
                  <a:gd name="connsiteX147" fmla="*/ 2761 w 4270"/>
                  <a:gd name="connsiteY147" fmla="*/ 112 h 1039"/>
                  <a:gd name="connsiteX148" fmla="*/ 2806 w 4270"/>
                  <a:gd name="connsiteY148" fmla="*/ 154 h 1039"/>
                  <a:gd name="connsiteX149" fmla="*/ 2852 w 4270"/>
                  <a:gd name="connsiteY149" fmla="*/ 199 h 1039"/>
                  <a:gd name="connsiteX150" fmla="*/ 2893 w 4270"/>
                  <a:gd name="connsiteY150" fmla="*/ 247 h 1039"/>
                  <a:gd name="connsiteX151" fmla="*/ 2932 w 4270"/>
                  <a:gd name="connsiteY151" fmla="*/ 299 h 1039"/>
                  <a:gd name="connsiteX152" fmla="*/ 2969 w 4270"/>
                  <a:gd name="connsiteY152" fmla="*/ 353 h 1039"/>
                  <a:gd name="connsiteX153" fmla="*/ 3004 w 4270"/>
                  <a:gd name="connsiteY153" fmla="*/ 409 h 1039"/>
                  <a:gd name="connsiteX154" fmla="*/ 3039 w 4270"/>
                  <a:gd name="connsiteY154" fmla="*/ 463 h 1039"/>
                  <a:gd name="connsiteX155" fmla="*/ 3073 w 4270"/>
                  <a:gd name="connsiteY155" fmla="*/ 519 h 1039"/>
                  <a:gd name="connsiteX156" fmla="*/ 3110 w 4270"/>
                  <a:gd name="connsiteY156" fmla="*/ 581 h 1039"/>
                  <a:gd name="connsiteX157" fmla="*/ 3147 w 4270"/>
                  <a:gd name="connsiteY157" fmla="*/ 639 h 1039"/>
                  <a:gd name="connsiteX158" fmla="*/ 3186 w 4270"/>
                  <a:gd name="connsiteY158" fmla="*/ 697 h 1039"/>
                  <a:gd name="connsiteX159" fmla="*/ 3223 w 4270"/>
                  <a:gd name="connsiteY159" fmla="*/ 751 h 1039"/>
                  <a:gd name="connsiteX160" fmla="*/ 3265 w 4270"/>
                  <a:gd name="connsiteY160" fmla="*/ 801 h 1039"/>
                  <a:gd name="connsiteX161" fmla="*/ 3306 w 4270"/>
                  <a:gd name="connsiteY161" fmla="*/ 844 h 1039"/>
                  <a:gd name="connsiteX162" fmla="*/ 3349 w 4270"/>
                  <a:gd name="connsiteY162" fmla="*/ 882 h 1039"/>
                  <a:gd name="connsiteX163" fmla="*/ 3395 w 4270"/>
                  <a:gd name="connsiteY163" fmla="*/ 913 h 1039"/>
                  <a:gd name="connsiteX164" fmla="*/ 3444 w 4270"/>
                  <a:gd name="connsiteY164" fmla="*/ 935 h 1039"/>
                  <a:gd name="connsiteX165" fmla="*/ 3498 w 4270"/>
                  <a:gd name="connsiteY165" fmla="*/ 948 h 1039"/>
                  <a:gd name="connsiteX166" fmla="*/ 3554 w 4270"/>
                  <a:gd name="connsiteY166" fmla="*/ 952 h 1039"/>
                  <a:gd name="connsiteX167" fmla="*/ 3609 w 4270"/>
                  <a:gd name="connsiteY167" fmla="*/ 946 h 1039"/>
                  <a:gd name="connsiteX168" fmla="*/ 3659 w 4270"/>
                  <a:gd name="connsiteY168" fmla="*/ 931 h 1039"/>
                  <a:gd name="connsiteX169" fmla="*/ 3706 w 4270"/>
                  <a:gd name="connsiteY169" fmla="*/ 911 h 1039"/>
                  <a:gd name="connsiteX170" fmla="*/ 3750 w 4270"/>
                  <a:gd name="connsiteY170" fmla="*/ 880 h 1039"/>
                  <a:gd name="connsiteX171" fmla="*/ 3789 w 4270"/>
                  <a:gd name="connsiteY171" fmla="*/ 844 h 1039"/>
                  <a:gd name="connsiteX172" fmla="*/ 3826 w 4270"/>
                  <a:gd name="connsiteY172" fmla="*/ 803 h 1039"/>
                  <a:gd name="connsiteX173" fmla="*/ 3861 w 4270"/>
                  <a:gd name="connsiteY173" fmla="*/ 755 h 1039"/>
                  <a:gd name="connsiteX174" fmla="*/ 3894 w 4270"/>
                  <a:gd name="connsiteY174" fmla="*/ 705 h 1039"/>
                  <a:gd name="connsiteX175" fmla="*/ 3927 w 4270"/>
                  <a:gd name="connsiteY175" fmla="*/ 651 h 1039"/>
                  <a:gd name="connsiteX176" fmla="*/ 3960 w 4270"/>
                  <a:gd name="connsiteY176" fmla="*/ 593 h 1039"/>
                  <a:gd name="connsiteX177" fmla="*/ 3993 w 4270"/>
                  <a:gd name="connsiteY177" fmla="*/ 533 h 1039"/>
                  <a:gd name="connsiteX178" fmla="*/ 4022 w 4270"/>
                  <a:gd name="connsiteY178" fmla="*/ 479 h 1039"/>
                  <a:gd name="connsiteX179" fmla="*/ 4084 w 4270"/>
                  <a:gd name="connsiteY179" fmla="*/ 371 h 1039"/>
                  <a:gd name="connsiteX180" fmla="*/ 4154 w 4270"/>
                  <a:gd name="connsiteY180" fmla="*/ 268 h 1039"/>
                  <a:gd name="connsiteX181" fmla="*/ 4192 w 4270"/>
                  <a:gd name="connsiteY181" fmla="*/ 220 h 1039"/>
                  <a:gd name="connsiteX0" fmla="*/ 4192 w 4201"/>
                  <a:gd name="connsiteY0" fmla="*/ 220 h 1039"/>
                  <a:gd name="connsiteX1" fmla="*/ 4196 w 4201"/>
                  <a:gd name="connsiteY1" fmla="*/ 359 h 1039"/>
                  <a:gd name="connsiteX2" fmla="*/ 4163 w 4201"/>
                  <a:gd name="connsiteY2" fmla="*/ 411 h 1039"/>
                  <a:gd name="connsiteX3" fmla="*/ 4101 w 4201"/>
                  <a:gd name="connsiteY3" fmla="*/ 519 h 1039"/>
                  <a:gd name="connsiteX4" fmla="*/ 4008 w 4201"/>
                  <a:gd name="connsiteY4" fmla="*/ 687 h 1039"/>
                  <a:gd name="connsiteX5" fmla="*/ 3975 w 4201"/>
                  <a:gd name="connsiteY5" fmla="*/ 743 h 1039"/>
                  <a:gd name="connsiteX6" fmla="*/ 3940 w 4201"/>
                  <a:gd name="connsiteY6" fmla="*/ 794 h 1039"/>
                  <a:gd name="connsiteX7" fmla="*/ 3905 w 4201"/>
                  <a:gd name="connsiteY7" fmla="*/ 844 h 1039"/>
                  <a:gd name="connsiteX8" fmla="*/ 3865 w 4201"/>
                  <a:gd name="connsiteY8" fmla="*/ 890 h 1039"/>
                  <a:gd name="connsiteX9" fmla="*/ 3824 w 4201"/>
                  <a:gd name="connsiteY9" fmla="*/ 931 h 1039"/>
                  <a:gd name="connsiteX10" fmla="*/ 3779 w 4201"/>
                  <a:gd name="connsiteY10" fmla="*/ 967 h 1039"/>
                  <a:gd name="connsiteX11" fmla="*/ 3729 w 4201"/>
                  <a:gd name="connsiteY11" fmla="*/ 996 h 1039"/>
                  <a:gd name="connsiteX12" fmla="*/ 3677 w 4201"/>
                  <a:gd name="connsiteY12" fmla="*/ 1018 h 1039"/>
                  <a:gd name="connsiteX13" fmla="*/ 3620 w 4201"/>
                  <a:gd name="connsiteY13" fmla="*/ 1033 h 1039"/>
                  <a:gd name="connsiteX14" fmla="*/ 3556 w 4201"/>
                  <a:gd name="connsiteY14" fmla="*/ 1039 h 1039"/>
                  <a:gd name="connsiteX15" fmla="*/ 3547 w 4201"/>
                  <a:gd name="connsiteY15" fmla="*/ 1039 h 1039"/>
                  <a:gd name="connsiteX16" fmla="*/ 3485 w 4201"/>
                  <a:gd name="connsiteY16" fmla="*/ 1035 h 1039"/>
                  <a:gd name="connsiteX17" fmla="*/ 3426 w 4201"/>
                  <a:gd name="connsiteY17" fmla="*/ 1021 h 1039"/>
                  <a:gd name="connsiteX18" fmla="*/ 3372 w 4201"/>
                  <a:gd name="connsiteY18" fmla="*/ 998 h 1039"/>
                  <a:gd name="connsiteX19" fmla="*/ 3320 w 4201"/>
                  <a:gd name="connsiteY19" fmla="*/ 969 h 1039"/>
                  <a:gd name="connsiteX20" fmla="*/ 3273 w 4201"/>
                  <a:gd name="connsiteY20" fmla="*/ 931 h 1039"/>
                  <a:gd name="connsiteX21" fmla="*/ 3229 w 4201"/>
                  <a:gd name="connsiteY21" fmla="*/ 890 h 1039"/>
                  <a:gd name="connsiteX22" fmla="*/ 3186 w 4201"/>
                  <a:gd name="connsiteY22" fmla="*/ 842 h 1039"/>
                  <a:gd name="connsiteX23" fmla="*/ 3147 w 4201"/>
                  <a:gd name="connsiteY23" fmla="*/ 792 h 1039"/>
                  <a:gd name="connsiteX24" fmla="*/ 3108 w 4201"/>
                  <a:gd name="connsiteY24" fmla="*/ 736 h 1039"/>
                  <a:gd name="connsiteX25" fmla="*/ 3070 w 4201"/>
                  <a:gd name="connsiteY25" fmla="*/ 680 h 1039"/>
                  <a:gd name="connsiteX26" fmla="*/ 2965 w 4201"/>
                  <a:gd name="connsiteY26" fmla="*/ 506 h 1039"/>
                  <a:gd name="connsiteX27" fmla="*/ 2928 w 4201"/>
                  <a:gd name="connsiteY27" fmla="*/ 448 h 1039"/>
                  <a:gd name="connsiteX28" fmla="*/ 2891 w 4201"/>
                  <a:gd name="connsiteY28" fmla="*/ 392 h 1039"/>
                  <a:gd name="connsiteX29" fmla="*/ 2854 w 4201"/>
                  <a:gd name="connsiteY29" fmla="*/ 338 h 1039"/>
                  <a:gd name="connsiteX30" fmla="*/ 2814 w 4201"/>
                  <a:gd name="connsiteY30" fmla="*/ 288 h 1039"/>
                  <a:gd name="connsiteX31" fmla="*/ 2773 w 4201"/>
                  <a:gd name="connsiteY31" fmla="*/ 243 h 1039"/>
                  <a:gd name="connsiteX32" fmla="*/ 2732 w 4201"/>
                  <a:gd name="connsiteY32" fmla="*/ 201 h 1039"/>
                  <a:gd name="connsiteX33" fmla="*/ 2686 w 4201"/>
                  <a:gd name="connsiteY33" fmla="*/ 164 h 1039"/>
                  <a:gd name="connsiteX34" fmla="*/ 2639 w 4201"/>
                  <a:gd name="connsiteY34" fmla="*/ 135 h 1039"/>
                  <a:gd name="connsiteX35" fmla="*/ 2587 w 4201"/>
                  <a:gd name="connsiteY35" fmla="*/ 112 h 1039"/>
                  <a:gd name="connsiteX36" fmla="*/ 2532 w 4201"/>
                  <a:gd name="connsiteY36" fmla="*/ 96 h 1039"/>
                  <a:gd name="connsiteX37" fmla="*/ 2474 w 4201"/>
                  <a:gd name="connsiteY37" fmla="*/ 87 h 1039"/>
                  <a:gd name="connsiteX38" fmla="*/ 2410 w 4201"/>
                  <a:gd name="connsiteY38" fmla="*/ 89 h 1039"/>
                  <a:gd name="connsiteX39" fmla="*/ 2342 w 4201"/>
                  <a:gd name="connsiteY39" fmla="*/ 100 h 1039"/>
                  <a:gd name="connsiteX40" fmla="*/ 2280 w 4201"/>
                  <a:gd name="connsiteY40" fmla="*/ 118 h 1039"/>
                  <a:gd name="connsiteX41" fmla="*/ 2222 w 4201"/>
                  <a:gd name="connsiteY41" fmla="*/ 143 h 1039"/>
                  <a:gd name="connsiteX42" fmla="*/ 2168 w 4201"/>
                  <a:gd name="connsiteY42" fmla="*/ 176 h 1039"/>
                  <a:gd name="connsiteX43" fmla="*/ 2117 w 4201"/>
                  <a:gd name="connsiteY43" fmla="*/ 214 h 1039"/>
                  <a:gd name="connsiteX44" fmla="*/ 2071 w 4201"/>
                  <a:gd name="connsiteY44" fmla="*/ 257 h 1039"/>
                  <a:gd name="connsiteX45" fmla="*/ 2026 w 4201"/>
                  <a:gd name="connsiteY45" fmla="*/ 303 h 1039"/>
                  <a:gd name="connsiteX46" fmla="*/ 1984 w 4201"/>
                  <a:gd name="connsiteY46" fmla="*/ 355 h 1039"/>
                  <a:gd name="connsiteX47" fmla="*/ 1945 w 4201"/>
                  <a:gd name="connsiteY47" fmla="*/ 409 h 1039"/>
                  <a:gd name="connsiteX48" fmla="*/ 1908 w 4201"/>
                  <a:gd name="connsiteY48" fmla="*/ 463 h 1039"/>
                  <a:gd name="connsiteX49" fmla="*/ 1871 w 4201"/>
                  <a:gd name="connsiteY49" fmla="*/ 519 h 1039"/>
                  <a:gd name="connsiteX50" fmla="*/ 1834 w 4201"/>
                  <a:gd name="connsiteY50" fmla="*/ 577 h 1039"/>
                  <a:gd name="connsiteX51" fmla="*/ 1799 w 4201"/>
                  <a:gd name="connsiteY51" fmla="*/ 633 h 1039"/>
                  <a:gd name="connsiteX52" fmla="*/ 1724 w 4201"/>
                  <a:gd name="connsiteY52" fmla="*/ 745 h 1039"/>
                  <a:gd name="connsiteX53" fmla="*/ 1685 w 4201"/>
                  <a:gd name="connsiteY53" fmla="*/ 797 h 1039"/>
                  <a:gd name="connsiteX54" fmla="*/ 1644 w 4201"/>
                  <a:gd name="connsiteY54" fmla="*/ 846 h 1039"/>
                  <a:gd name="connsiteX55" fmla="*/ 1600 w 4201"/>
                  <a:gd name="connsiteY55" fmla="*/ 892 h 1039"/>
                  <a:gd name="connsiteX56" fmla="*/ 1553 w 4201"/>
                  <a:gd name="connsiteY56" fmla="*/ 933 h 1039"/>
                  <a:gd name="connsiteX57" fmla="*/ 1503 w 4201"/>
                  <a:gd name="connsiteY57" fmla="*/ 969 h 1039"/>
                  <a:gd name="connsiteX58" fmla="*/ 1450 w 4201"/>
                  <a:gd name="connsiteY58" fmla="*/ 998 h 1039"/>
                  <a:gd name="connsiteX59" fmla="*/ 1394 w 4201"/>
                  <a:gd name="connsiteY59" fmla="*/ 1021 h 1039"/>
                  <a:gd name="connsiteX60" fmla="*/ 1330 w 4201"/>
                  <a:gd name="connsiteY60" fmla="*/ 1033 h 1039"/>
                  <a:gd name="connsiteX61" fmla="*/ 1264 w 4201"/>
                  <a:gd name="connsiteY61" fmla="*/ 1039 h 1039"/>
                  <a:gd name="connsiteX62" fmla="*/ 1258 w 4201"/>
                  <a:gd name="connsiteY62" fmla="*/ 1039 h 1039"/>
                  <a:gd name="connsiteX63" fmla="*/ 1190 w 4201"/>
                  <a:gd name="connsiteY63" fmla="*/ 1035 h 1039"/>
                  <a:gd name="connsiteX64" fmla="*/ 1128 w 4201"/>
                  <a:gd name="connsiteY64" fmla="*/ 1023 h 1039"/>
                  <a:gd name="connsiteX65" fmla="*/ 1070 w 4201"/>
                  <a:gd name="connsiteY65" fmla="*/ 1004 h 1039"/>
                  <a:gd name="connsiteX66" fmla="*/ 1018 w 4201"/>
                  <a:gd name="connsiteY66" fmla="*/ 979 h 1039"/>
                  <a:gd name="connsiteX67" fmla="*/ 971 w 4201"/>
                  <a:gd name="connsiteY67" fmla="*/ 948 h 1039"/>
                  <a:gd name="connsiteX68" fmla="*/ 925 w 4201"/>
                  <a:gd name="connsiteY68" fmla="*/ 911 h 1039"/>
                  <a:gd name="connsiteX69" fmla="*/ 884 w 4201"/>
                  <a:gd name="connsiteY69" fmla="*/ 869 h 1039"/>
                  <a:gd name="connsiteX70" fmla="*/ 847 w 4201"/>
                  <a:gd name="connsiteY70" fmla="*/ 824 h 1039"/>
                  <a:gd name="connsiteX71" fmla="*/ 810 w 4201"/>
                  <a:gd name="connsiteY71" fmla="*/ 776 h 1039"/>
                  <a:gd name="connsiteX72" fmla="*/ 777 w 4201"/>
                  <a:gd name="connsiteY72" fmla="*/ 724 h 1039"/>
                  <a:gd name="connsiteX73" fmla="*/ 742 w 4201"/>
                  <a:gd name="connsiteY73" fmla="*/ 670 h 1039"/>
                  <a:gd name="connsiteX74" fmla="*/ 711 w 4201"/>
                  <a:gd name="connsiteY74" fmla="*/ 614 h 1039"/>
                  <a:gd name="connsiteX75" fmla="*/ 678 w 4201"/>
                  <a:gd name="connsiteY75" fmla="*/ 556 h 1039"/>
                  <a:gd name="connsiteX76" fmla="*/ 616 w 4201"/>
                  <a:gd name="connsiteY76" fmla="*/ 444 h 1039"/>
                  <a:gd name="connsiteX77" fmla="*/ 547 w 4201"/>
                  <a:gd name="connsiteY77" fmla="*/ 336 h 1039"/>
                  <a:gd name="connsiteX78" fmla="*/ 504 w 4201"/>
                  <a:gd name="connsiteY78" fmla="*/ 280 h 1039"/>
                  <a:gd name="connsiteX79" fmla="*/ 457 w 4201"/>
                  <a:gd name="connsiteY79" fmla="*/ 235 h 1039"/>
                  <a:gd name="connsiteX80" fmla="*/ 409 w 4201"/>
                  <a:gd name="connsiteY80" fmla="*/ 195 h 1039"/>
                  <a:gd name="connsiteX81" fmla="*/ 358 w 4201"/>
                  <a:gd name="connsiteY81" fmla="*/ 164 h 1039"/>
                  <a:gd name="connsiteX82" fmla="*/ 308 w 4201"/>
                  <a:gd name="connsiteY82" fmla="*/ 141 h 1039"/>
                  <a:gd name="connsiteX83" fmla="*/ 256 w 4201"/>
                  <a:gd name="connsiteY83" fmla="*/ 123 h 1039"/>
                  <a:gd name="connsiteX84" fmla="*/ 209 w 4201"/>
                  <a:gd name="connsiteY84" fmla="*/ 108 h 1039"/>
                  <a:gd name="connsiteX85" fmla="*/ 163 w 4201"/>
                  <a:gd name="connsiteY85" fmla="*/ 100 h 1039"/>
                  <a:gd name="connsiteX86" fmla="*/ 122 w 4201"/>
                  <a:gd name="connsiteY86" fmla="*/ 96 h 1039"/>
                  <a:gd name="connsiteX87" fmla="*/ 85 w 4201"/>
                  <a:gd name="connsiteY87" fmla="*/ 91 h 1039"/>
                  <a:gd name="connsiteX88" fmla="*/ 31 w 4201"/>
                  <a:gd name="connsiteY88" fmla="*/ 91 h 1039"/>
                  <a:gd name="connsiteX89" fmla="*/ 17 w 4201"/>
                  <a:gd name="connsiteY89" fmla="*/ 94 h 1039"/>
                  <a:gd name="connsiteX90" fmla="*/ 11 w 4201"/>
                  <a:gd name="connsiteY90" fmla="*/ 94 h 1039"/>
                  <a:gd name="connsiteX91" fmla="*/ 0 w 4201"/>
                  <a:gd name="connsiteY91" fmla="*/ 9 h 1039"/>
                  <a:gd name="connsiteX92" fmla="*/ 9 w 4201"/>
                  <a:gd name="connsiteY92" fmla="*/ 9 h 1039"/>
                  <a:gd name="connsiteX93" fmla="*/ 29 w 4201"/>
                  <a:gd name="connsiteY93" fmla="*/ 6 h 1039"/>
                  <a:gd name="connsiteX94" fmla="*/ 91 w 4201"/>
                  <a:gd name="connsiteY94" fmla="*/ 6 h 1039"/>
                  <a:gd name="connsiteX95" fmla="*/ 135 w 4201"/>
                  <a:gd name="connsiteY95" fmla="*/ 9 h 1039"/>
                  <a:gd name="connsiteX96" fmla="*/ 182 w 4201"/>
                  <a:gd name="connsiteY96" fmla="*/ 15 h 1039"/>
                  <a:gd name="connsiteX97" fmla="*/ 234 w 4201"/>
                  <a:gd name="connsiteY97" fmla="*/ 25 h 1039"/>
                  <a:gd name="connsiteX98" fmla="*/ 287 w 4201"/>
                  <a:gd name="connsiteY98" fmla="*/ 42 h 1039"/>
                  <a:gd name="connsiteX99" fmla="*/ 345 w 4201"/>
                  <a:gd name="connsiteY99" fmla="*/ 62 h 1039"/>
                  <a:gd name="connsiteX100" fmla="*/ 403 w 4201"/>
                  <a:gd name="connsiteY100" fmla="*/ 89 h 1039"/>
                  <a:gd name="connsiteX101" fmla="*/ 459 w 4201"/>
                  <a:gd name="connsiteY101" fmla="*/ 127 h 1039"/>
                  <a:gd name="connsiteX102" fmla="*/ 514 w 4201"/>
                  <a:gd name="connsiteY102" fmla="*/ 170 h 1039"/>
                  <a:gd name="connsiteX103" fmla="*/ 568 w 4201"/>
                  <a:gd name="connsiteY103" fmla="*/ 224 h 1039"/>
                  <a:gd name="connsiteX104" fmla="*/ 618 w 4201"/>
                  <a:gd name="connsiteY104" fmla="*/ 288 h 1039"/>
                  <a:gd name="connsiteX105" fmla="*/ 667 w 4201"/>
                  <a:gd name="connsiteY105" fmla="*/ 363 h 1039"/>
                  <a:gd name="connsiteX106" fmla="*/ 754 w 4201"/>
                  <a:gd name="connsiteY106" fmla="*/ 512 h 1039"/>
                  <a:gd name="connsiteX107" fmla="*/ 787 w 4201"/>
                  <a:gd name="connsiteY107" fmla="*/ 571 h 1039"/>
                  <a:gd name="connsiteX108" fmla="*/ 820 w 4201"/>
                  <a:gd name="connsiteY108" fmla="*/ 627 h 1039"/>
                  <a:gd name="connsiteX109" fmla="*/ 853 w 4201"/>
                  <a:gd name="connsiteY109" fmla="*/ 680 h 1039"/>
                  <a:gd name="connsiteX110" fmla="*/ 886 w 4201"/>
                  <a:gd name="connsiteY110" fmla="*/ 732 h 1039"/>
                  <a:gd name="connsiteX111" fmla="*/ 921 w 4201"/>
                  <a:gd name="connsiteY111" fmla="*/ 778 h 1039"/>
                  <a:gd name="connsiteX112" fmla="*/ 958 w 4201"/>
                  <a:gd name="connsiteY112" fmla="*/ 821 h 1039"/>
                  <a:gd name="connsiteX113" fmla="*/ 1000 w 4201"/>
                  <a:gd name="connsiteY113" fmla="*/ 859 h 1039"/>
                  <a:gd name="connsiteX114" fmla="*/ 1043 w 4201"/>
                  <a:gd name="connsiteY114" fmla="*/ 890 h 1039"/>
                  <a:gd name="connsiteX115" fmla="*/ 1090 w 4201"/>
                  <a:gd name="connsiteY115" fmla="*/ 917 h 1039"/>
                  <a:gd name="connsiteX116" fmla="*/ 1140 w 4201"/>
                  <a:gd name="connsiteY116" fmla="*/ 935 h 1039"/>
                  <a:gd name="connsiteX117" fmla="*/ 1196 w 4201"/>
                  <a:gd name="connsiteY117" fmla="*/ 948 h 1039"/>
                  <a:gd name="connsiteX118" fmla="*/ 1258 w 4201"/>
                  <a:gd name="connsiteY118" fmla="*/ 952 h 1039"/>
                  <a:gd name="connsiteX119" fmla="*/ 1264 w 4201"/>
                  <a:gd name="connsiteY119" fmla="*/ 952 h 1039"/>
                  <a:gd name="connsiteX120" fmla="*/ 1324 w 4201"/>
                  <a:gd name="connsiteY120" fmla="*/ 946 h 1039"/>
                  <a:gd name="connsiteX121" fmla="*/ 1380 w 4201"/>
                  <a:gd name="connsiteY121" fmla="*/ 931 h 1039"/>
                  <a:gd name="connsiteX122" fmla="*/ 1433 w 4201"/>
                  <a:gd name="connsiteY122" fmla="*/ 909 h 1039"/>
                  <a:gd name="connsiteX123" fmla="*/ 1481 w 4201"/>
                  <a:gd name="connsiteY123" fmla="*/ 880 h 1039"/>
                  <a:gd name="connsiteX124" fmla="*/ 1526 w 4201"/>
                  <a:gd name="connsiteY124" fmla="*/ 842 h 1039"/>
                  <a:gd name="connsiteX125" fmla="*/ 1569 w 4201"/>
                  <a:gd name="connsiteY125" fmla="*/ 799 h 1039"/>
                  <a:gd name="connsiteX126" fmla="*/ 1609 w 4201"/>
                  <a:gd name="connsiteY126" fmla="*/ 751 h 1039"/>
                  <a:gd name="connsiteX127" fmla="*/ 1648 w 4201"/>
                  <a:gd name="connsiteY127" fmla="*/ 699 h 1039"/>
                  <a:gd name="connsiteX128" fmla="*/ 1687 w 4201"/>
                  <a:gd name="connsiteY128" fmla="*/ 645 h 1039"/>
                  <a:gd name="connsiteX129" fmla="*/ 1799 w 4201"/>
                  <a:gd name="connsiteY129" fmla="*/ 471 h 1039"/>
                  <a:gd name="connsiteX130" fmla="*/ 1838 w 4201"/>
                  <a:gd name="connsiteY130" fmla="*/ 411 h 1039"/>
                  <a:gd name="connsiteX131" fmla="*/ 1879 w 4201"/>
                  <a:gd name="connsiteY131" fmla="*/ 353 h 1039"/>
                  <a:gd name="connsiteX132" fmla="*/ 1923 w 4201"/>
                  <a:gd name="connsiteY132" fmla="*/ 295 h 1039"/>
                  <a:gd name="connsiteX133" fmla="*/ 1968 w 4201"/>
                  <a:gd name="connsiteY133" fmla="*/ 241 h 1039"/>
                  <a:gd name="connsiteX134" fmla="*/ 2015 w 4201"/>
                  <a:gd name="connsiteY134" fmla="*/ 189 h 1039"/>
                  <a:gd name="connsiteX135" fmla="*/ 2069 w 4201"/>
                  <a:gd name="connsiteY135" fmla="*/ 141 h 1039"/>
                  <a:gd name="connsiteX136" fmla="*/ 2125 w 4201"/>
                  <a:gd name="connsiteY136" fmla="*/ 100 h 1039"/>
                  <a:gd name="connsiteX137" fmla="*/ 2187 w 4201"/>
                  <a:gd name="connsiteY137" fmla="*/ 65 h 1039"/>
                  <a:gd name="connsiteX138" fmla="*/ 2253 w 4201"/>
                  <a:gd name="connsiteY138" fmla="*/ 35 h 1039"/>
                  <a:gd name="connsiteX139" fmla="*/ 2325 w 4201"/>
                  <a:gd name="connsiteY139" fmla="*/ 15 h 1039"/>
                  <a:gd name="connsiteX140" fmla="*/ 2404 w 4201"/>
                  <a:gd name="connsiteY140" fmla="*/ 2 h 1039"/>
                  <a:gd name="connsiteX141" fmla="*/ 2474 w 4201"/>
                  <a:gd name="connsiteY141" fmla="*/ 0 h 1039"/>
                  <a:gd name="connsiteX142" fmla="*/ 2540 w 4201"/>
                  <a:gd name="connsiteY142" fmla="*/ 9 h 1039"/>
                  <a:gd name="connsiteX143" fmla="*/ 2600 w 4201"/>
                  <a:gd name="connsiteY143" fmla="*/ 23 h 1039"/>
                  <a:gd name="connsiteX144" fmla="*/ 2658 w 4201"/>
                  <a:gd name="connsiteY144" fmla="*/ 46 h 1039"/>
                  <a:gd name="connsiteX145" fmla="*/ 2711 w 4201"/>
                  <a:gd name="connsiteY145" fmla="*/ 77 h 1039"/>
                  <a:gd name="connsiteX146" fmla="*/ 2761 w 4201"/>
                  <a:gd name="connsiteY146" fmla="*/ 112 h 1039"/>
                  <a:gd name="connsiteX147" fmla="*/ 2806 w 4201"/>
                  <a:gd name="connsiteY147" fmla="*/ 154 h 1039"/>
                  <a:gd name="connsiteX148" fmla="*/ 2852 w 4201"/>
                  <a:gd name="connsiteY148" fmla="*/ 199 h 1039"/>
                  <a:gd name="connsiteX149" fmla="*/ 2893 w 4201"/>
                  <a:gd name="connsiteY149" fmla="*/ 247 h 1039"/>
                  <a:gd name="connsiteX150" fmla="*/ 2932 w 4201"/>
                  <a:gd name="connsiteY150" fmla="*/ 299 h 1039"/>
                  <a:gd name="connsiteX151" fmla="*/ 2969 w 4201"/>
                  <a:gd name="connsiteY151" fmla="*/ 353 h 1039"/>
                  <a:gd name="connsiteX152" fmla="*/ 3004 w 4201"/>
                  <a:gd name="connsiteY152" fmla="*/ 409 h 1039"/>
                  <a:gd name="connsiteX153" fmla="*/ 3039 w 4201"/>
                  <a:gd name="connsiteY153" fmla="*/ 463 h 1039"/>
                  <a:gd name="connsiteX154" fmla="*/ 3073 w 4201"/>
                  <a:gd name="connsiteY154" fmla="*/ 519 h 1039"/>
                  <a:gd name="connsiteX155" fmla="*/ 3110 w 4201"/>
                  <a:gd name="connsiteY155" fmla="*/ 581 h 1039"/>
                  <a:gd name="connsiteX156" fmla="*/ 3147 w 4201"/>
                  <a:gd name="connsiteY156" fmla="*/ 639 h 1039"/>
                  <a:gd name="connsiteX157" fmla="*/ 3186 w 4201"/>
                  <a:gd name="connsiteY157" fmla="*/ 697 h 1039"/>
                  <a:gd name="connsiteX158" fmla="*/ 3223 w 4201"/>
                  <a:gd name="connsiteY158" fmla="*/ 751 h 1039"/>
                  <a:gd name="connsiteX159" fmla="*/ 3265 w 4201"/>
                  <a:gd name="connsiteY159" fmla="*/ 801 h 1039"/>
                  <a:gd name="connsiteX160" fmla="*/ 3306 w 4201"/>
                  <a:gd name="connsiteY160" fmla="*/ 844 h 1039"/>
                  <a:gd name="connsiteX161" fmla="*/ 3349 w 4201"/>
                  <a:gd name="connsiteY161" fmla="*/ 882 h 1039"/>
                  <a:gd name="connsiteX162" fmla="*/ 3395 w 4201"/>
                  <a:gd name="connsiteY162" fmla="*/ 913 h 1039"/>
                  <a:gd name="connsiteX163" fmla="*/ 3444 w 4201"/>
                  <a:gd name="connsiteY163" fmla="*/ 935 h 1039"/>
                  <a:gd name="connsiteX164" fmla="*/ 3498 w 4201"/>
                  <a:gd name="connsiteY164" fmla="*/ 948 h 1039"/>
                  <a:gd name="connsiteX165" fmla="*/ 3554 w 4201"/>
                  <a:gd name="connsiteY165" fmla="*/ 952 h 1039"/>
                  <a:gd name="connsiteX166" fmla="*/ 3609 w 4201"/>
                  <a:gd name="connsiteY166" fmla="*/ 946 h 1039"/>
                  <a:gd name="connsiteX167" fmla="*/ 3659 w 4201"/>
                  <a:gd name="connsiteY167" fmla="*/ 931 h 1039"/>
                  <a:gd name="connsiteX168" fmla="*/ 3706 w 4201"/>
                  <a:gd name="connsiteY168" fmla="*/ 911 h 1039"/>
                  <a:gd name="connsiteX169" fmla="*/ 3750 w 4201"/>
                  <a:gd name="connsiteY169" fmla="*/ 880 h 1039"/>
                  <a:gd name="connsiteX170" fmla="*/ 3789 w 4201"/>
                  <a:gd name="connsiteY170" fmla="*/ 844 h 1039"/>
                  <a:gd name="connsiteX171" fmla="*/ 3826 w 4201"/>
                  <a:gd name="connsiteY171" fmla="*/ 803 h 1039"/>
                  <a:gd name="connsiteX172" fmla="*/ 3861 w 4201"/>
                  <a:gd name="connsiteY172" fmla="*/ 755 h 1039"/>
                  <a:gd name="connsiteX173" fmla="*/ 3894 w 4201"/>
                  <a:gd name="connsiteY173" fmla="*/ 705 h 1039"/>
                  <a:gd name="connsiteX174" fmla="*/ 3927 w 4201"/>
                  <a:gd name="connsiteY174" fmla="*/ 651 h 1039"/>
                  <a:gd name="connsiteX175" fmla="*/ 3960 w 4201"/>
                  <a:gd name="connsiteY175" fmla="*/ 593 h 1039"/>
                  <a:gd name="connsiteX176" fmla="*/ 3993 w 4201"/>
                  <a:gd name="connsiteY176" fmla="*/ 533 h 1039"/>
                  <a:gd name="connsiteX177" fmla="*/ 4022 w 4201"/>
                  <a:gd name="connsiteY177" fmla="*/ 479 h 1039"/>
                  <a:gd name="connsiteX178" fmla="*/ 4084 w 4201"/>
                  <a:gd name="connsiteY178" fmla="*/ 371 h 1039"/>
                  <a:gd name="connsiteX179" fmla="*/ 4154 w 4201"/>
                  <a:gd name="connsiteY179" fmla="*/ 268 h 1039"/>
                  <a:gd name="connsiteX180" fmla="*/ 4192 w 4201"/>
                  <a:gd name="connsiteY180" fmla="*/ 220 h 1039"/>
                  <a:gd name="connsiteX0" fmla="*/ 4154 w 4196"/>
                  <a:gd name="connsiteY0" fmla="*/ 268 h 1039"/>
                  <a:gd name="connsiteX1" fmla="*/ 4196 w 4196"/>
                  <a:gd name="connsiteY1" fmla="*/ 359 h 1039"/>
                  <a:gd name="connsiteX2" fmla="*/ 4163 w 4196"/>
                  <a:gd name="connsiteY2" fmla="*/ 411 h 1039"/>
                  <a:gd name="connsiteX3" fmla="*/ 4101 w 4196"/>
                  <a:gd name="connsiteY3" fmla="*/ 519 h 1039"/>
                  <a:gd name="connsiteX4" fmla="*/ 4008 w 4196"/>
                  <a:gd name="connsiteY4" fmla="*/ 687 h 1039"/>
                  <a:gd name="connsiteX5" fmla="*/ 3975 w 4196"/>
                  <a:gd name="connsiteY5" fmla="*/ 743 h 1039"/>
                  <a:gd name="connsiteX6" fmla="*/ 3940 w 4196"/>
                  <a:gd name="connsiteY6" fmla="*/ 794 h 1039"/>
                  <a:gd name="connsiteX7" fmla="*/ 3905 w 4196"/>
                  <a:gd name="connsiteY7" fmla="*/ 844 h 1039"/>
                  <a:gd name="connsiteX8" fmla="*/ 3865 w 4196"/>
                  <a:gd name="connsiteY8" fmla="*/ 890 h 1039"/>
                  <a:gd name="connsiteX9" fmla="*/ 3824 w 4196"/>
                  <a:gd name="connsiteY9" fmla="*/ 931 h 1039"/>
                  <a:gd name="connsiteX10" fmla="*/ 3779 w 4196"/>
                  <a:gd name="connsiteY10" fmla="*/ 967 h 1039"/>
                  <a:gd name="connsiteX11" fmla="*/ 3729 w 4196"/>
                  <a:gd name="connsiteY11" fmla="*/ 996 h 1039"/>
                  <a:gd name="connsiteX12" fmla="*/ 3677 w 4196"/>
                  <a:gd name="connsiteY12" fmla="*/ 1018 h 1039"/>
                  <a:gd name="connsiteX13" fmla="*/ 3620 w 4196"/>
                  <a:gd name="connsiteY13" fmla="*/ 1033 h 1039"/>
                  <a:gd name="connsiteX14" fmla="*/ 3556 w 4196"/>
                  <a:gd name="connsiteY14" fmla="*/ 1039 h 1039"/>
                  <a:gd name="connsiteX15" fmla="*/ 3547 w 4196"/>
                  <a:gd name="connsiteY15" fmla="*/ 1039 h 1039"/>
                  <a:gd name="connsiteX16" fmla="*/ 3485 w 4196"/>
                  <a:gd name="connsiteY16" fmla="*/ 1035 h 1039"/>
                  <a:gd name="connsiteX17" fmla="*/ 3426 w 4196"/>
                  <a:gd name="connsiteY17" fmla="*/ 1021 h 1039"/>
                  <a:gd name="connsiteX18" fmla="*/ 3372 w 4196"/>
                  <a:gd name="connsiteY18" fmla="*/ 998 h 1039"/>
                  <a:gd name="connsiteX19" fmla="*/ 3320 w 4196"/>
                  <a:gd name="connsiteY19" fmla="*/ 969 h 1039"/>
                  <a:gd name="connsiteX20" fmla="*/ 3273 w 4196"/>
                  <a:gd name="connsiteY20" fmla="*/ 931 h 1039"/>
                  <a:gd name="connsiteX21" fmla="*/ 3229 w 4196"/>
                  <a:gd name="connsiteY21" fmla="*/ 890 h 1039"/>
                  <a:gd name="connsiteX22" fmla="*/ 3186 w 4196"/>
                  <a:gd name="connsiteY22" fmla="*/ 842 h 1039"/>
                  <a:gd name="connsiteX23" fmla="*/ 3147 w 4196"/>
                  <a:gd name="connsiteY23" fmla="*/ 792 h 1039"/>
                  <a:gd name="connsiteX24" fmla="*/ 3108 w 4196"/>
                  <a:gd name="connsiteY24" fmla="*/ 736 h 1039"/>
                  <a:gd name="connsiteX25" fmla="*/ 3070 w 4196"/>
                  <a:gd name="connsiteY25" fmla="*/ 680 h 1039"/>
                  <a:gd name="connsiteX26" fmla="*/ 2965 w 4196"/>
                  <a:gd name="connsiteY26" fmla="*/ 506 h 1039"/>
                  <a:gd name="connsiteX27" fmla="*/ 2928 w 4196"/>
                  <a:gd name="connsiteY27" fmla="*/ 448 h 1039"/>
                  <a:gd name="connsiteX28" fmla="*/ 2891 w 4196"/>
                  <a:gd name="connsiteY28" fmla="*/ 392 h 1039"/>
                  <a:gd name="connsiteX29" fmla="*/ 2854 w 4196"/>
                  <a:gd name="connsiteY29" fmla="*/ 338 h 1039"/>
                  <a:gd name="connsiteX30" fmla="*/ 2814 w 4196"/>
                  <a:gd name="connsiteY30" fmla="*/ 288 h 1039"/>
                  <a:gd name="connsiteX31" fmla="*/ 2773 w 4196"/>
                  <a:gd name="connsiteY31" fmla="*/ 243 h 1039"/>
                  <a:gd name="connsiteX32" fmla="*/ 2732 w 4196"/>
                  <a:gd name="connsiteY32" fmla="*/ 201 h 1039"/>
                  <a:gd name="connsiteX33" fmla="*/ 2686 w 4196"/>
                  <a:gd name="connsiteY33" fmla="*/ 164 h 1039"/>
                  <a:gd name="connsiteX34" fmla="*/ 2639 w 4196"/>
                  <a:gd name="connsiteY34" fmla="*/ 135 h 1039"/>
                  <a:gd name="connsiteX35" fmla="*/ 2587 w 4196"/>
                  <a:gd name="connsiteY35" fmla="*/ 112 h 1039"/>
                  <a:gd name="connsiteX36" fmla="*/ 2532 w 4196"/>
                  <a:gd name="connsiteY36" fmla="*/ 96 h 1039"/>
                  <a:gd name="connsiteX37" fmla="*/ 2474 w 4196"/>
                  <a:gd name="connsiteY37" fmla="*/ 87 h 1039"/>
                  <a:gd name="connsiteX38" fmla="*/ 2410 w 4196"/>
                  <a:gd name="connsiteY38" fmla="*/ 89 h 1039"/>
                  <a:gd name="connsiteX39" fmla="*/ 2342 w 4196"/>
                  <a:gd name="connsiteY39" fmla="*/ 100 h 1039"/>
                  <a:gd name="connsiteX40" fmla="*/ 2280 w 4196"/>
                  <a:gd name="connsiteY40" fmla="*/ 118 h 1039"/>
                  <a:gd name="connsiteX41" fmla="*/ 2222 w 4196"/>
                  <a:gd name="connsiteY41" fmla="*/ 143 h 1039"/>
                  <a:gd name="connsiteX42" fmla="*/ 2168 w 4196"/>
                  <a:gd name="connsiteY42" fmla="*/ 176 h 1039"/>
                  <a:gd name="connsiteX43" fmla="*/ 2117 w 4196"/>
                  <a:gd name="connsiteY43" fmla="*/ 214 h 1039"/>
                  <a:gd name="connsiteX44" fmla="*/ 2071 w 4196"/>
                  <a:gd name="connsiteY44" fmla="*/ 257 h 1039"/>
                  <a:gd name="connsiteX45" fmla="*/ 2026 w 4196"/>
                  <a:gd name="connsiteY45" fmla="*/ 303 h 1039"/>
                  <a:gd name="connsiteX46" fmla="*/ 1984 w 4196"/>
                  <a:gd name="connsiteY46" fmla="*/ 355 h 1039"/>
                  <a:gd name="connsiteX47" fmla="*/ 1945 w 4196"/>
                  <a:gd name="connsiteY47" fmla="*/ 409 h 1039"/>
                  <a:gd name="connsiteX48" fmla="*/ 1908 w 4196"/>
                  <a:gd name="connsiteY48" fmla="*/ 463 h 1039"/>
                  <a:gd name="connsiteX49" fmla="*/ 1871 w 4196"/>
                  <a:gd name="connsiteY49" fmla="*/ 519 h 1039"/>
                  <a:gd name="connsiteX50" fmla="*/ 1834 w 4196"/>
                  <a:gd name="connsiteY50" fmla="*/ 577 h 1039"/>
                  <a:gd name="connsiteX51" fmla="*/ 1799 w 4196"/>
                  <a:gd name="connsiteY51" fmla="*/ 633 h 1039"/>
                  <a:gd name="connsiteX52" fmla="*/ 1724 w 4196"/>
                  <a:gd name="connsiteY52" fmla="*/ 745 h 1039"/>
                  <a:gd name="connsiteX53" fmla="*/ 1685 w 4196"/>
                  <a:gd name="connsiteY53" fmla="*/ 797 h 1039"/>
                  <a:gd name="connsiteX54" fmla="*/ 1644 w 4196"/>
                  <a:gd name="connsiteY54" fmla="*/ 846 h 1039"/>
                  <a:gd name="connsiteX55" fmla="*/ 1600 w 4196"/>
                  <a:gd name="connsiteY55" fmla="*/ 892 h 1039"/>
                  <a:gd name="connsiteX56" fmla="*/ 1553 w 4196"/>
                  <a:gd name="connsiteY56" fmla="*/ 933 h 1039"/>
                  <a:gd name="connsiteX57" fmla="*/ 1503 w 4196"/>
                  <a:gd name="connsiteY57" fmla="*/ 969 h 1039"/>
                  <a:gd name="connsiteX58" fmla="*/ 1450 w 4196"/>
                  <a:gd name="connsiteY58" fmla="*/ 998 h 1039"/>
                  <a:gd name="connsiteX59" fmla="*/ 1394 w 4196"/>
                  <a:gd name="connsiteY59" fmla="*/ 1021 h 1039"/>
                  <a:gd name="connsiteX60" fmla="*/ 1330 w 4196"/>
                  <a:gd name="connsiteY60" fmla="*/ 1033 h 1039"/>
                  <a:gd name="connsiteX61" fmla="*/ 1264 w 4196"/>
                  <a:gd name="connsiteY61" fmla="*/ 1039 h 1039"/>
                  <a:gd name="connsiteX62" fmla="*/ 1258 w 4196"/>
                  <a:gd name="connsiteY62" fmla="*/ 1039 h 1039"/>
                  <a:gd name="connsiteX63" fmla="*/ 1190 w 4196"/>
                  <a:gd name="connsiteY63" fmla="*/ 1035 h 1039"/>
                  <a:gd name="connsiteX64" fmla="*/ 1128 w 4196"/>
                  <a:gd name="connsiteY64" fmla="*/ 1023 h 1039"/>
                  <a:gd name="connsiteX65" fmla="*/ 1070 w 4196"/>
                  <a:gd name="connsiteY65" fmla="*/ 1004 h 1039"/>
                  <a:gd name="connsiteX66" fmla="*/ 1018 w 4196"/>
                  <a:gd name="connsiteY66" fmla="*/ 979 h 1039"/>
                  <a:gd name="connsiteX67" fmla="*/ 971 w 4196"/>
                  <a:gd name="connsiteY67" fmla="*/ 948 h 1039"/>
                  <a:gd name="connsiteX68" fmla="*/ 925 w 4196"/>
                  <a:gd name="connsiteY68" fmla="*/ 911 h 1039"/>
                  <a:gd name="connsiteX69" fmla="*/ 884 w 4196"/>
                  <a:gd name="connsiteY69" fmla="*/ 869 h 1039"/>
                  <a:gd name="connsiteX70" fmla="*/ 847 w 4196"/>
                  <a:gd name="connsiteY70" fmla="*/ 824 h 1039"/>
                  <a:gd name="connsiteX71" fmla="*/ 810 w 4196"/>
                  <a:gd name="connsiteY71" fmla="*/ 776 h 1039"/>
                  <a:gd name="connsiteX72" fmla="*/ 777 w 4196"/>
                  <a:gd name="connsiteY72" fmla="*/ 724 h 1039"/>
                  <a:gd name="connsiteX73" fmla="*/ 742 w 4196"/>
                  <a:gd name="connsiteY73" fmla="*/ 670 h 1039"/>
                  <a:gd name="connsiteX74" fmla="*/ 711 w 4196"/>
                  <a:gd name="connsiteY74" fmla="*/ 614 h 1039"/>
                  <a:gd name="connsiteX75" fmla="*/ 678 w 4196"/>
                  <a:gd name="connsiteY75" fmla="*/ 556 h 1039"/>
                  <a:gd name="connsiteX76" fmla="*/ 616 w 4196"/>
                  <a:gd name="connsiteY76" fmla="*/ 444 h 1039"/>
                  <a:gd name="connsiteX77" fmla="*/ 547 w 4196"/>
                  <a:gd name="connsiteY77" fmla="*/ 336 h 1039"/>
                  <a:gd name="connsiteX78" fmla="*/ 504 w 4196"/>
                  <a:gd name="connsiteY78" fmla="*/ 280 h 1039"/>
                  <a:gd name="connsiteX79" fmla="*/ 457 w 4196"/>
                  <a:gd name="connsiteY79" fmla="*/ 235 h 1039"/>
                  <a:gd name="connsiteX80" fmla="*/ 409 w 4196"/>
                  <a:gd name="connsiteY80" fmla="*/ 195 h 1039"/>
                  <a:gd name="connsiteX81" fmla="*/ 358 w 4196"/>
                  <a:gd name="connsiteY81" fmla="*/ 164 h 1039"/>
                  <a:gd name="connsiteX82" fmla="*/ 308 w 4196"/>
                  <a:gd name="connsiteY82" fmla="*/ 141 h 1039"/>
                  <a:gd name="connsiteX83" fmla="*/ 256 w 4196"/>
                  <a:gd name="connsiteY83" fmla="*/ 123 h 1039"/>
                  <a:gd name="connsiteX84" fmla="*/ 209 w 4196"/>
                  <a:gd name="connsiteY84" fmla="*/ 108 h 1039"/>
                  <a:gd name="connsiteX85" fmla="*/ 163 w 4196"/>
                  <a:gd name="connsiteY85" fmla="*/ 100 h 1039"/>
                  <a:gd name="connsiteX86" fmla="*/ 122 w 4196"/>
                  <a:gd name="connsiteY86" fmla="*/ 96 h 1039"/>
                  <a:gd name="connsiteX87" fmla="*/ 85 w 4196"/>
                  <a:gd name="connsiteY87" fmla="*/ 91 h 1039"/>
                  <a:gd name="connsiteX88" fmla="*/ 31 w 4196"/>
                  <a:gd name="connsiteY88" fmla="*/ 91 h 1039"/>
                  <a:gd name="connsiteX89" fmla="*/ 17 w 4196"/>
                  <a:gd name="connsiteY89" fmla="*/ 94 h 1039"/>
                  <a:gd name="connsiteX90" fmla="*/ 11 w 4196"/>
                  <a:gd name="connsiteY90" fmla="*/ 94 h 1039"/>
                  <a:gd name="connsiteX91" fmla="*/ 0 w 4196"/>
                  <a:gd name="connsiteY91" fmla="*/ 9 h 1039"/>
                  <a:gd name="connsiteX92" fmla="*/ 9 w 4196"/>
                  <a:gd name="connsiteY92" fmla="*/ 9 h 1039"/>
                  <a:gd name="connsiteX93" fmla="*/ 29 w 4196"/>
                  <a:gd name="connsiteY93" fmla="*/ 6 h 1039"/>
                  <a:gd name="connsiteX94" fmla="*/ 91 w 4196"/>
                  <a:gd name="connsiteY94" fmla="*/ 6 h 1039"/>
                  <a:gd name="connsiteX95" fmla="*/ 135 w 4196"/>
                  <a:gd name="connsiteY95" fmla="*/ 9 h 1039"/>
                  <a:gd name="connsiteX96" fmla="*/ 182 w 4196"/>
                  <a:gd name="connsiteY96" fmla="*/ 15 h 1039"/>
                  <a:gd name="connsiteX97" fmla="*/ 234 w 4196"/>
                  <a:gd name="connsiteY97" fmla="*/ 25 h 1039"/>
                  <a:gd name="connsiteX98" fmla="*/ 287 w 4196"/>
                  <a:gd name="connsiteY98" fmla="*/ 42 h 1039"/>
                  <a:gd name="connsiteX99" fmla="*/ 345 w 4196"/>
                  <a:gd name="connsiteY99" fmla="*/ 62 h 1039"/>
                  <a:gd name="connsiteX100" fmla="*/ 403 w 4196"/>
                  <a:gd name="connsiteY100" fmla="*/ 89 h 1039"/>
                  <a:gd name="connsiteX101" fmla="*/ 459 w 4196"/>
                  <a:gd name="connsiteY101" fmla="*/ 127 h 1039"/>
                  <a:gd name="connsiteX102" fmla="*/ 514 w 4196"/>
                  <a:gd name="connsiteY102" fmla="*/ 170 h 1039"/>
                  <a:gd name="connsiteX103" fmla="*/ 568 w 4196"/>
                  <a:gd name="connsiteY103" fmla="*/ 224 h 1039"/>
                  <a:gd name="connsiteX104" fmla="*/ 618 w 4196"/>
                  <a:gd name="connsiteY104" fmla="*/ 288 h 1039"/>
                  <a:gd name="connsiteX105" fmla="*/ 667 w 4196"/>
                  <a:gd name="connsiteY105" fmla="*/ 363 h 1039"/>
                  <a:gd name="connsiteX106" fmla="*/ 754 w 4196"/>
                  <a:gd name="connsiteY106" fmla="*/ 512 h 1039"/>
                  <a:gd name="connsiteX107" fmla="*/ 787 w 4196"/>
                  <a:gd name="connsiteY107" fmla="*/ 571 h 1039"/>
                  <a:gd name="connsiteX108" fmla="*/ 820 w 4196"/>
                  <a:gd name="connsiteY108" fmla="*/ 627 h 1039"/>
                  <a:gd name="connsiteX109" fmla="*/ 853 w 4196"/>
                  <a:gd name="connsiteY109" fmla="*/ 680 h 1039"/>
                  <a:gd name="connsiteX110" fmla="*/ 886 w 4196"/>
                  <a:gd name="connsiteY110" fmla="*/ 732 h 1039"/>
                  <a:gd name="connsiteX111" fmla="*/ 921 w 4196"/>
                  <a:gd name="connsiteY111" fmla="*/ 778 h 1039"/>
                  <a:gd name="connsiteX112" fmla="*/ 958 w 4196"/>
                  <a:gd name="connsiteY112" fmla="*/ 821 h 1039"/>
                  <a:gd name="connsiteX113" fmla="*/ 1000 w 4196"/>
                  <a:gd name="connsiteY113" fmla="*/ 859 h 1039"/>
                  <a:gd name="connsiteX114" fmla="*/ 1043 w 4196"/>
                  <a:gd name="connsiteY114" fmla="*/ 890 h 1039"/>
                  <a:gd name="connsiteX115" fmla="*/ 1090 w 4196"/>
                  <a:gd name="connsiteY115" fmla="*/ 917 h 1039"/>
                  <a:gd name="connsiteX116" fmla="*/ 1140 w 4196"/>
                  <a:gd name="connsiteY116" fmla="*/ 935 h 1039"/>
                  <a:gd name="connsiteX117" fmla="*/ 1196 w 4196"/>
                  <a:gd name="connsiteY117" fmla="*/ 948 h 1039"/>
                  <a:gd name="connsiteX118" fmla="*/ 1258 w 4196"/>
                  <a:gd name="connsiteY118" fmla="*/ 952 h 1039"/>
                  <a:gd name="connsiteX119" fmla="*/ 1264 w 4196"/>
                  <a:gd name="connsiteY119" fmla="*/ 952 h 1039"/>
                  <a:gd name="connsiteX120" fmla="*/ 1324 w 4196"/>
                  <a:gd name="connsiteY120" fmla="*/ 946 h 1039"/>
                  <a:gd name="connsiteX121" fmla="*/ 1380 w 4196"/>
                  <a:gd name="connsiteY121" fmla="*/ 931 h 1039"/>
                  <a:gd name="connsiteX122" fmla="*/ 1433 w 4196"/>
                  <a:gd name="connsiteY122" fmla="*/ 909 h 1039"/>
                  <a:gd name="connsiteX123" fmla="*/ 1481 w 4196"/>
                  <a:gd name="connsiteY123" fmla="*/ 880 h 1039"/>
                  <a:gd name="connsiteX124" fmla="*/ 1526 w 4196"/>
                  <a:gd name="connsiteY124" fmla="*/ 842 h 1039"/>
                  <a:gd name="connsiteX125" fmla="*/ 1569 w 4196"/>
                  <a:gd name="connsiteY125" fmla="*/ 799 h 1039"/>
                  <a:gd name="connsiteX126" fmla="*/ 1609 w 4196"/>
                  <a:gd name="connsiteY126" fmla="*/ 751 h 1039"/>
                  <a:gd name="connsiteX127" fmla="*/ 1648 w 4196"/>
                  <a:gd name="connsiteY127" fmla="*/ 699 h 1039"/>
                  <a:gd name="connsiteX128" fmla="*/ 1687 w 4196"/>
                  <a:gd name="connsiteY128" fmla="*/ 645 h 1039"/>
                  <a:gd name="connsiteX129" fmla="*/ 1799 w 4196"/>
                  <a:gd name="connsiteY129" fmla="*/ 471 h 1039"/>
                  <a:gd name="connsiteX130" fmla="*/ 1838 w 4196"/>
                  <a:gd name="connsiteY130" fmla="*/ 411 h 1039"/>
                  <a:gd name="connsiteX131" fmla="*/ 1879 w 4196"/>
                  <a:gd name="connsiteY131" fmla="*/ 353 h 1039"/>
                  <a:gd name="connsiteX132" fmla="*/ 1923 w 4196"/>
                  <a:gd name="connsiteY132" fmla="*/ 295 h 1039"/>
                  <a:gd name="connsiteX133" fmla="*/ 1968 w 4196"/>
                  <a:gd name="connsiteY133" fmla="*/ 241 h 1039"/>
                  <a:gd name="connsiteX134" fmla="*/ 2015 w 4196"/>
                  <a:gd name="connsiteY134" fmla="*/ 189 h 1039"/>
                  <a:gd name="connsiteX135" fmla="*/ 2069 w 4196"/>
                  <a:gd name="connsiteY135" fmla="*/ 141 h 1039"/>
                  <a:gd name="connsiteX136" fmla="*/ 2125 w 4196"/>
                  <a:gd name="connsiteY136" fmla="*/ 100 h 1039"/>
                  <a:gd name="connsiteX137" fmla="*/ 2187 w 4196"/>
                  <a:gd name="connsiteY137" fmla="*/ 65 h 1039"/>
                  <a:gd name="connsiteX138" fmla="*/ 2253 w 4196"/>
                  <a:gd name="connsiteY138" fmla="*/ 35 h 1039"/>
                  <a:gd name="connsiteX139" fmla="*/ 2325 w 4196"/>
                  <a:gd name="connsiteY139" fmla="*/ 15 h 1039"/>
                  <a:gd name="connsiteX140" fmla="*/ 2404 w 4196"/>
                  <a:gd name="connsiteY140" fmla="*/ 2 h 1039"/>
                  <a:gd name="connsiteX141" fmla="*/ 2474 w 4196"/>
                  <a:gd name="connsiteY141" fmla="*/ 0 h 1039"/>
                  <a:gd name="connsiteX142" fmla="*/ 2540 w 4196"/>
                  <a:gd name="connsiteY142" fmla="*/ 9 h 1039"/>
                  <a:gd name="connsiteX143" fmla="*/ 2600 w 4196"/>
                  <a:gd name="connsiteY143" fmla="*/ 23 h 1039"/>
                  <a:gd name="connsiteX144" fmla="*/ 2658 w 4196"/>
                  <a:gd name="connsiteY144" fmla="*/ 46 h 1039"/>
                  <a:gd name="connsiteX145" fmla="*/ 2711 w 4196"/>
                  <a:gd name="connsiteY145" fmla="*/ 77 h 1039"/>
                  <a:gd name="connsiteX146" fmla="*/ 2761 w 4196"/>
                  <a:gd name="connsiteY146" fmla="*/ 112 h 1039"/>
                  <a:gd name="connsiteX147" fmla="*/ 2806 w 4196"/>
                  <a:gd name="connsiteY147" fmla="*/ 154 h 1039"/>
                  <a:gd name="connsiteX148" fmla="*/ 2852 w 4196"/>
                  <a:gd name="connsiteY148" fmla="*/ 199 h 1039"/>
                  <a:gd name="connsiteX149" fmla="*/ 2893 w 4196"/>
                  <a:gd name="connsiteY149" fmla="*/ 247 h 1039"/>
                  <a:gd name="connsiteX150" fmla="*/ 2932 w 4196"/>
                  <a:gd name="connsiteY150" fmla="*/ 299 h 1039"/>
                  <a:gd name="connsiteX151" fmla="*/ 2969 w 4196"/>
                  <a:gd name="connsiteY151" fmla="*/ 353 h 1039"/>
                  <a:gd name="connsiteX152" fmla="*/ 3004 w 4196"/>
                  <a:gd name="connsiteY152" fmla="*/ 409 h 1039"/>
                  <a:gd name="connsiteX153" fmla="*/ 3039 w 4196"/>
                  <a:gd name="connsiteY153" fmla="*/ 463 h 1039"/>
                  <a:gd name="connsiteX154" fmla="*/ 3073 w 4196"/>
                  <a:gd name="connsiteY154" fmla="*/ 519 h 1039"/>
                  <a:gd name="connsiteX155" fmla="*/ 3110 w 4196"/>
                  <a:gd name="connsiteY155" fmla="*/ 581 h 1039"/>
                  <a:gd name="connsiteX156" fmla="*/ 3147 w 4196"/>
                  <a:gd name="connsiteY156" fmla="*/ 639 h 1039"/>
                  <a:gd name="connsiteX157" fmla="*/ 3186 w 4196"/>
                  <a:gd name="connsiteY157" fmla="*/ 697 h 1039"/>
                  <a:gd name="connsiteX158" fmla="*/ 3223 w 4196"/>
                  <a:gd name="connsiteY158" fmla="*/ 751 h 1039"/>
                  <a:gd name="connsiteX159" fmla="*/ 3265 w 4196"/>
                  <a:gd name="connsiteY159" fmla="*/ 801 h 1039"/>
                  <a:gd name="connsiteX160" fmla="*/ 3306 w 4196"/>
                  <a:gd name="connsiteY160" fmla="*/ 844 h 1039"/>
                  <a:gd name="connsiteX161" fmla="*/ 3349 w 4196"/>
                  <a:gd name="connsiteY161" fmla="*/ 882 h 1039"/>
                  <a:gd name="connsiteX162" fmla="*/ 3395 w 4196"/>
                  <a:gd name="connsiteY162" fmla="*/ 913 h 1039"/>
                  <a:gd name="connsiteX163" fmla="*/ 3444 w 4196"/>
                  <a:gd name="connsiteY163" fmla="*/ 935 h 1039"/>
                  <a:gd name="connsiteX164" fmla="*/ 3498 w 4196"/>
                  <a:gd name="connsiteY164" fmla="*/ 948 h 1039"/>
                  <a:gd name="connsiteX165" fmla="*/ 3554 w 4196"/>
                  <a:gd name="connsiteY165" fmla="*/ 952 h 1039"/>
                  <a:gd name="connsiteX166" fmla="*/ 3609 w 4196"/>
                  <a:gd name="connsiteY166" fmla="*/ 946 h 1039"/>
                  <a:gd name="connsiteX167" fmla="*/ 3659 w 4196"/>
                  <a:gd name="connsiteY167" fmla="*/ 931 h 1039"/>
                  <a:gd name="connsiteX168" fmla="*/ 3706 w 4196"/>
                  <a:gd name="connsiteY168" fmla="*/ 911 h 1039"/>
                  <a:gd name="connsiteX169" fmla="*/ 3750 w 4196"/>
                  <a:gd name="connsiteY169" fmla="*/ 880 h 1039"/>
                  <a:gd name="connsiteX170" fmla="*/ 3789 w 4196"/>
                  <a:gd name="connsiteY170" fmla="*/ 844 h 1039"/>
                  <a:gd name="connsiteX171" fmla="*/ 3826 w 4196"/>
                  <a:gd name="connsiteY171" fmla="*/ 803 h 1039"/>
                  <a:gd name="connsiteX172" fmla="*/ 3861 w 4196"/>
                  <a:gd name="connsiteY172" fmla="*/ 755 h 1039"/>
                  <a:gd name="connsiteX173" fmla="*/ 3894 w 4196"/>
                  <a:gd name="connsiteY173" fmla="*/ 705 h 1039"/>
                  <a:gd name="connsiteX174" fmla="*/ 3927 w 4196"/>
                  <a:gd name="connsiteY174" fmla="*/ 651 h 1039"/>
                  <a:gd name="connsiteX175" fmla="*/ 3960 w 4196"/>
                  <a:gd name="connsiteY175" fmla="*/ 593 h 1039"/>
                  <a:gd name="connsiteX176" fmla="*/ 3993 w 4196"/>
                  <a:gd name="connsiteY176" fmla="*/ 533 h 1039"/>
                  <a:gd name="connsiteX177" fmla="*/ 4022 w 4196"/>
                  <a:gd name="connsiteY177" fmla="*/ 479 h 1039"/>
                  <a:gd name="connsiteX178" fmla="*/ 4084 w 4196"/>
                  <a:gd name="connsiteY178" fmla="*/ 371 h 1039"/>
                  <a:gd name="connsiteX179" fmla="*/ 4154 w 4196"/>
                  <a:gd name="connsiteY179" fmla="*/ 268 h 1039"/>
                  <a:gd name="connsiteX0" fmla="*/ 4084 w 4196"/>
                  <a:gd name="connsiteY0" fmla="*/ 371 h 1039"/>
                  <a:gd name="connsiteX1" fmla="*/ 4196 w 4196"/>
                  <a:gd name="connsiteY1" fmla="*/ 359 h 1039"/>
                  <a:gd name="connsiteX2" fmla="*/ 4163 w 4196"/>
                  <a:gd name="connsiteY2" fmla="*/ 411 h 1039"/>
                  <a:gd name="connsiteX3" fmla="*/ 4101 w 4196"/>
                  <a:gd name="connsiteY3" fmla="*/ 519 h 1039"/>
                  <a:gd name="connsiteX4" fmla="*/ 4008 w 4196"/>
                  <a:gd name="connsiteY4" fmla="*/ 687 h 1039"/>
                  <a:gd name="connsiteX5" fmla="*/ 3975 w 4196"/>
                  <a:gd name="connsiteY5" fmla="*/ 743 h 1039"/>
                  <a:gd name="connsiteX6" fmla="*/ 3940 w 4196"/>
                  <a:gd name="connsiteY6" fmla="*/ 794 h 1039"/>
                  <a:gd name="connsiteX7" fmla="*/ 3905 w 4196"/>
                  <a:gd name="connsiteY7" fmla="*/ 844 h 1039"/>
                  <a:gd name="connsiteX8" fmla="*/ 3865 w 4196"/>
                  <a:gd name="connsiteY8" fmla="*/ 890 h 1039"/>
                  <a:gd name="connsiteX9" fmla="*/ 3824 w 4196"/>
                  <a:gd name="connsiteY9" fmla="*/ 931 h 1039"/>
                  <a:gd name="connsiteX10" fmla="*/ 3779 w 4196"/>
                  <a:gd name="connsiteY10" fmla="*/ 967 h 1039"/>
                  <a:gd name="connsiteX11" fmla="*/ 3729 w 4196"/>
                  <a:gd name="connsiteY11" fmla="*/ 996 h 1039"/>
                  <a:gd name="connsiteX12" fmla="*/ 3677 w 4196"/>
                  <a:gd name="connsiteY12" fmla="*/ 1018 h 1039"/>
                  <a:gd name="connsiteX13" fmla="*/ 3620 w 4196"/>
                  <a:gd name="connsiteY13" fmla="*/ 1033 h 1039"/>
                  <a:gd name="connsiteX14" fmla="*/ 3556 w 4196"/>
                  <a:gd name="connsiteY14" fmla="*/ 1039 h 1039"/>
                  <a:gd name="connsiteX15" fmla="*/ 3547 w 4196"/>
                  <a:gd name="connsiteY15" fmla="*/ 1039 h 1039"/>
                  <a:gd name="connsiteX16" fmla="*/ 3485 w 4196"/>
                  <a:gd name="connsiteY16" fmla="*/ 1035 h 1039"/>
                  <a:gd name="connsiteX17" fmla="*/ 3426 w 4196"/>
                  <a:gd name="connsiteY17" fmla="*/ 1021 h 1039"/>
                  <a:gd name="connsiteX18" fmla="*/ 3372 w 4196"/>
                  <a:gd name="connsiteY18" fmla="*/ 998 h 1039"/>
                  <a:gd name="connsiteX19" fmla="*/ 3320 w 4196"/>
                  <a:gd name="connsiteY19" fmla="*/ 969 h 1039"/>
                  <a:gd name="connsiteX20" fmla="*/ 3273 w 4196"/>
                  <a:gd name="connsiteY20" fmla="*/ 931 h 1039"/>
                  <a:gd name="connsiteX21" fmla="*/ 3229 w 4196"/>
                  <a:gd name="connsiteY21" fmla="*/ 890 h 1039"/>
                  <a:gd name="connsiteX22" fmla="*/ 3186 w 4196"/>
                  <a:gd name="connsiteY22" fmla="*/ 842 h 1039"/>
                  <a:gd name="connsiteX23" fmla="*/ 3147 w 4196"/>
                  <a:gd name="connsiteY23" fmla="*/ 792 h 1039"/>
                  <a:gd name="connsiteX24" fmla="*/ 3108 w 4196"/>
                  <a:gd name="connsiteY24" fmla="*/ 736 h 1039"/>
                  <a:gd name="connsiteX25" fmla="*/ 3070 w 4196"/>
                  <a:gd name="connsiteY25" fmla="*/ 680 h 1039"/>
                  <a:gd name="connsiteX26" fmla="*/ 2965 w 4196"/>
                  <a:gd name="connsiteY26" fmla="*/ 506 h 1039"/>
                  <a:gd name="connsiteX27" fmla="*/ 2928 w 4196"/>
                  <a:gd name="connsiteY27" fmla="*/ 448 h 1039"/>
                  <a:gd name="connsiteX28" fmla="*/ 2891 w 4196"/>
                  <a:gd name="connsiteY28" fmla="*/ 392 h 1039"/>
                  <a:gd name="connsiteX29" fmla="*/ 2854 w 4196"/>
                  <a:gd name="connsiteY29" fmla="*/ 338 h 1039"/>
                  <a:gd name="connsiteX30" fmla="*/ 2814 w 4196"/>
                  <a:gd name="connsiteY30" fmla="*/ 288 h 1039"/>
                  <a:gd name="connsiteX31" fmla="*/ 2773 w 4196"/>
                  <a:gd name="connsiteY31" fmla="*/ 243 h 1039"/>
                  <a:gd name="connsiteX32" fmla="*/ 2732 w 4196"/>
                  <a:gd name="connsiteY32" fmla="*/ 201 h 1039"/>
                  <a:gd name="connsiteX33" fmla="*/ 2686 w 4196"/>
                  <a:gd name="connsiteY33" fmla="*/ 164 h 1039"/>
                  <a:gd name="connsiteX34" fmla="*/ 2639 w 4196"/>
                  <a:gd name="connsiteY34" fmla="*/ 135 h 1039"/>
                  <a:gd name="connsiteX35" fmla="*/ 2587 w 4196"/>
                  <a:gd name="connsiteY35" fmla="*/ 112 h 1039"/>
                  <a:gd name="connsiteX36" fmla="*/ 2532 w 4196"/>
                  <a:gd name="connsiteY36" fmla="*/ 96 h 1039"/>
                  <a:gd name="connsiteX37" fmla="*/ 2474 w 4196"/>
                  <a:gd name="connsiteY37" fmla="*/ 87 h 1039"/>
                  <a:gd name="connsiteX38" fmla="*/ 2410 w 4196"/>
                  <a:gd name="connsiteY38" fmla="*/ 89 h 1039"/>
                  <a:gd name="connsiteX39" fmla="*/ 2342 w 4196"/>
                  <a:gd name="connsiteY39" fmla="*/ 100 h 1039"/>
                  <a:gd name="connsiteX40" fmla="*/ 2280 w 4196"/>
                  <a:gd name="connsiteY40" fmla="*/ 118 h 1039"/>
                  <a:gd name="connsiteX41" fmla="*/ 2222 w 4196"/>
                  <a:gd name="connsiteY41" fmla="*/ 143 h 1039"/>
                  <a:gd name="connsiteX42" fmla="*/ 2168 w 4196"/>
                  <a:gd name="connsiteY42" fmla="*/ 176 h 1039"/>
                  <a:gd name="connsiteX43" fmla="*/ 2117 w 4196"/>
                  <a:gd name="connsiteY43" fmla="*/ 214 h 1039"/>
                  <a:gd name="connsiteX44" fmla="*/ 2071 w 4196"/>
                  <a:gd name="connsiteY44" fmla="*/ 257 h 1039"/>
                  <a:gd name="connsiteX45" fmla="*/ 2026 w 4196"/>
                  <a:gd name="connsiteY45" fmla="*/ 303 h 1039"/>
                  <a:gd name="connsiteX46" fmla="*/ 1984 w 4196"/>
                  <a:gd name="connsiteY46" fmla="*/ 355 h 1039"/>
                  <a:gd name="connsiteX47" fmla="*/ 1945 w 4196"/>
                  <a:gd name="connsiteY47" fmla="*/ 409 h 1039"/>
                  <a:gd name="connsiteX48" fmla="*/ 1908 w 4196"/>
                  <a:gd name="connsiteY48" fmla="*/ 463 h 1039"/>
                  <a:gd name="connsiteX49" fmla="*/ 1871 w 4196"/>
                  <a:gd name="connsiteY49" fmla="*/ 519 h 1039"/>
                  <a:gd name="connsiteX50" fmla="*/ 1834 w 4196"/>
                  <a:gd name="connsiteY50" fmla="*/ 577 h 1039"/>
                  <a:gd name="connsiteX51" fmla="*/ 1799 w 4196"/>
                  <a:gd name="connsiteY51" fmla="*/ 633 h 1039"/>
                  <a:gd name="connsiteX52" fmla="*/ 1724 w 4196"/>
                  <a:gd name="connsiteY52" fmla="*/ 745 h 1039"/>
                  <a:gd name="connsiteX53" fmla="*/ 1685 w 4196"/>
                  <a:gd name="connsiteY53" fmla="*/ 797 h 1039"/>
                  <a:gd name="connsiteX54" fmla="*/ 1644 w 4196"/>
                  <a:gd name="connsiteY54" fmla="*/ 846 h 1039"/>
                  <a:gd name="connsiteX55" fmla="*/ 1600 w 4196"/>
                  <a:gd name="connsiteY55" fmla="*/ 892 h 1039"/>
                  <a:gd name="connsiteX56" fmla="*/ 1553 w 4196"/>
                  <a:gd name="connsiteY56" fmla="*/ 933 h 1039"/>
                  <a:gd name="connsiteX57" fmla="*/ 1503 w 4196"/>
                  <a:gd name="connsiteY57" fmla="*/ 969 h 1039"/>
                  <a:gd name="connsiteX58" fmla="*/ 1450 w 4196"/>
                  <a:gd name="connsiteY58" fmla="*/ 998 h 1039"/>
                  <a:gd name="connsiteX59" fmla="*/ 1394 w 4196"/>
                  <a:gd name="connsiteY59" fmla="*/ 1021 h 1039"/>
                  <a:gd name="connsiteX60" fmla="*/ 1330 w 4196"/>
                  <a:gd name="connsiteY60" fmla="*/ 1033 h 1039"/>
                  <a:gd name="connsiteX61" fmla="*/ 1264 w 4196"/>
                  <a:gd name="connsiteY61" fmla="*/ 1039 h 1039"/>
                  <a:gd name="connsiteX62" fmla="*/ 1258 w 4196"/>
                  <a:gd name="connsiteY62" fmla="*/ 1039 h 1039"/>
                  <a:gd name="connsiteX63" fmla="*/ 1190 w 4196"/>
                  <a:gd name="connsiteY63" fmla="*/ 1035 h 1039"/>
                  <a:gd name="connsiteX64" fmla="*/ 1128 w 4196"/>
                  <a:gd name="connsiteY64" fmla="*/ 1023 h 1039"/>
                  <a:gd name="connsiteX65" fmla="*/ 1070 w 4196"/>
                  <a:gd name="connsiteY65" fmla="*/ 1004 h 1039"/>
                  <a:gd name="connsiteX66" fmla="*/ 1018 w 4196"/>
                  <a:gd name="connsiteY66" fmla="*/ 979 h 1039"/>
                  <a:gd name="connsiteX67" fmla="*/ 971 w 4196"/>
                  <a:gd name="connsiteY67" fmla="*/ 948 h 1039"/>
                  <a:gd name="connsiteX68" fmla="*/ 925 w 4196"/>
                  <a:gd name="connsiteY68" fmla="*/ 911 h 1039"/>
                  <a:gd name="connsiteX69" fmla="*/ 884 w 4196"/>
                  <a:gd name="connsiteY69" fmla="*/ 869 h 1039"/>
                  <a:gd name="connsiteX70" fmla="*/ 847 w 4196"/>
                  <a:gd name="connsiteY70" fmla="*/ 824 h 1039"/>
                  <a:gd name="connsiteX71" fmla="*/ 810 w 4196"/>
                  <a:gd name="connsiteY71" fmla="*/ 776 h 1039"/>
                  <a:gd name="connsiteX72" fmla="*/ 777 w 4196"/>
                  <a:gd name="connsiteY72" fmla="*/ 724 h 1039"/>
                  <a:gd name="connsiteX73" fmla="*/ 742 w 4196"/>
                  <a:gd name="connsiteY73" fmla="*/ 670 h 1039"/>
                  <a:gd name="connsiteX74" fmla="*/ 711 w 4196"/>
                  <a:gd name="connsiteY74" fmla="*/ 614 h 1039"/>
                  <a:gd name="connsiteX75" fmla="*/ 678 w 4196"/>
                  <a:gd name="connsiteY75" fmla="*/ 556 h 1039"/>
                  <a:gd name="connsiteX76" fmla="*/ 616 w 4196"/>
                  <a:gd name="connsiteY76" fmla="*/ 444 h 1039"/>
                  <a:gd name="connsiteX77" fmla="*/ 547 w 4196"/>
                  <a:gd name="connsiteY77" fmla="*/ 336 h 1039"/>
                  <a:gd name="connsiteX78" fmla="*/ 504 w 4196"/>
                  <a:gd name="connsiteY78" fmla="*/ 280 h 1039"/>
                  <a:gd name="connsiteX79" fmla="*/ 457 w 4196"/>
                  <a:gd name="connsiteY79" fmla="*/ 235 h 1039"/>
                  <a:gd name="connsiteX80" fmla="*/ 409 w 4196"/>
                  <a:gd name="connsiteY80" fmla="*/ 195 h 1039"/>
                  <a:gd name="connsiteX81" fmla="*/ 358 w 4196"/>
                  <a:gd name="connsiteY81" fmla="*/ 164 h 1039"/>
                  <a:gd name="connsiteX82" fmla="*/ 308 w 4196"/>
                  <a:gd name="connsiteY82" fmla="*/ 141 h 1039"/>
                  <a:gd name="connsiteX83" fmla="*/ 256 w 4196"/>
                  <a:gd name="connsiteY83" fmla="*/ 123 h 1039"/>
                  <a:gd name="connsiteX84" fmla="*/ 209 w 4196"/>
                  <a:gd name="connsiteY84" fmla="*/ 108 h 1039"/>
                  <a:gd name="connsiteX85" fmla="*/ 163 w 4196"/>
                  <a:gd name="connsiteY85" fmla="*/ 100 h 1039"/>
                  <a:gd name="connsiteX86" fmla="*/ 122 w 4196"/>
                  <a:gd name="connsiteY86" fmla="*/ 96 h 1039"/>
                  <a:gd name="connsiteX87" fmla="*/ 85 w 4196"/>
                  <a:gd name="connsiteY87" fmla="*/ 91 h 1039"/>
                  <a:gd name="connsiteX88" fmla="*/ 31 w 4196"/>
                  <a:gd name="connsiteY88" fmla="*/ 91 h 1039"/>
                  <a:gd name="connsiteX89" fmla="*/ 17 w 4196"/>
                  <a:gd name="connsiteY89" fmla="*/ 94 h 1039"/>
                  <a:gd name="connsiteX90" fmla="*/ 11 w 4196"/>
                  <a:gd name="connsiteY90" fmla="*/ 94 h 1039"/>
                  <a:gd name="connsiteX91" fmla="*/ 0 w 4196"/>
                  <a:gd name="connsiteY91" fmla="*/ 9 h 1039"/>
                  <a:gd name="connsiteX92" fmla="*/ 9 w 4196"/>
                  <a:gd name="connsiteY92" fmla="*/ 9 h 1039"/>
                  <a:gd name="connsiteX93" fmla="*/ 29 w 4196"/>
                  <a:gd name="connsiteY93" fmla="*/ 6 h 1039"/>
                  <a:gd name="connsiteX94" fmla="*/ 91 w 4196"/>
                  <a:gd name="connsiteY94" fmla="*/ 6 h 1039"/>
                  <a:gd name="connsiteX95" fmla="*/ 135 w 4196"/>
                  <a:gd name="connsiteY95" fmla="*/ 9 h 1039"/>
                  <a:gd name="connsiteX96" fmla="*/ 182 w 4196"/>
                  <a:gd name="connsiteY96" fmla="*/ 15 h 1039"/>
                  <a:gd name="connsiteX97" fmla="*/ 234 w 4196"/>
                  <a:gd name="connsiteY97" fmla="*/ 25 h 1039"/>
                  <a:gd name="connsiteX98" fmla="*/ 287 w 4196"/>
                  <a:gd name="connsiteY98" fmla="*/ 42 h 1039"/>
                  <a:gd name="connsiteX99" fmla="*/ 345 w 4196"/>
                  <a:gd name="connsiteY99" fmla="*/ 62 h 1039"/>
                  <a:gd name="connsiteX100" fmla="*/ 403 w 4196"/>
                  <a:gd name="connsiteY100" fmla="*/ 89 h 1039"/>
                  <a:gd name="connsiteX101" fmla="*/ 459 w 4196"/>
                  <a:gd name="connsiteY101" fmla="*/ 127 h 1039"/>
                  <a:gd name="connsiteX102" fmla="*/ 514 w 4196"/>
                  <a:gd name="connsiteY102" fmla="*/ 170 h 1039"/>
                  <a:gd name="connsiteX103" fmla="*/ 568 w 4196"/>
                  <a:gd name="connsiteY103" fmla="*/ 224 h 1039"/>
                  <a:gd name="connsiteX104" fmla="*/ 618 w 4196"/>
                  <a:gd name="connsiteY104" fmla="*/ 288 h 1039"/>
                  <a:gd name="connsiteX105" fmla="*/ 667 w 4196"/>
                  <a:gd name="connsiteY105" fmla="*/ 363 h 1039"/>
                  <a:gd name="connsiteX106" fmla="*/ 754 w 4196"/>
                  <a:gd name="connsiteY106" fmla="*/ 512 h 1039"/>
                  <a:gd name="connsiteX107" fmla="*/ 787 w 4196"/>
                  <a:gd name="connsiteY107" fmla="*/ 571 h 1039"/>
                  <a:gd name="connsiteX108" fmla="*/ 820 w 4196"/>
                  <a:gd name="connsiteY108" fmla="*/ 627 h 1039"/>
                  <a:gd name="connsiteX109" fmla="*/ 853 w 4196"/>
                  <a:gd name="connsiteY109" fmla="*/ 680 h 1039"/>
                  <a:gd name="connsiteX110" fmla="*/ 886 w 4196"/>
                  <a:gd name="connsiteY110" fmla="*/ 732 h 1039"/>
                  <a:gd name="connsiteX111" fmla="*/ 921 w 4196"/>
                  <a:gd name="connsiteY111" fmla="*/ 778 h 1039"/>
                  <a:gd name="connsiteX112" fmla="*/ 958 w 4196"/>
                  <a:gd name="connsiteY112" fmla="*/ 821 h 1039"/>
                  <a:gd name="connsiteX113" fmla="*/ 1000 w 4196"/>
                  <a:gd name="connsiteY113" fmla="*/ 859 h 1039"/>
                  <a:gd name="connsiteX114" fmla="*/ 1043 w 4196"/>
                  <a:gd name="connsiteY114" fmla="*/ 890 h 1039"/>
                  <a:gd name="connsiteX115" fmla="*/ 1090 w 4196"/>
                  <a:gd name="connsiteY115" fmla="*/ 917 h 1039"/>
                  <a:gd name="connsiteX116" fmla="*/ 1140 w 4196"/>
                  <a:gd name="connsiteY116" fmla="*/ 935 h 1039"/>
                  <a:gd name="connsiteX117" fmla="*/ 1196 w 4196"/>
                  <a:gd name="connsiteY117" fmla="*/ 948 h 1039"/>
                  <a:gd name="connsiteX118" fmla="*/ 1258 w 4196"/>
                  <a:gd name="connsiteY118" fmla="*/ 952 h 1039"/>
                  <a:gd name="connsiteX119" fmla="*/ 1264 w 4196"/>
                  <a:gd name="connsiteY119" fmla="*/ 952 h 1039"/>
                  <a:gd name="connsiteX120" fmla="*/ 1324 w 4196"/>
                  <a:gd name="connsiteY120" fmla="*/ 946 h 1039"/>
                  <a:gd name="connsiteX121" fmla="*/ 1380 w 4196"/>
                  <a:gd name="connsiteY121" fmla="*/ 931 h 1039"/>
                  <a:gd name="connsiteX122" fmla="*/ 1433 w 4196"/>
                  <a:gd name="connsiteY122" fmla="*/ 909 h 1039"/>
                  <a:gd name="connsiteX123" fmla="*/ 1481 w 4196"/>
                  <a:gd name="connsiteY123" fmla="*/ 880 h 1039"/>
                  <a:gd name="connsiteX124" fmla="*/ 1526 w 4196"/>
                  <a:gd name="connsiteY124" fmla="*/ 842 h 1039"/>
                  <a:gd name="connsiteX125" fmla="*/ 1569 w 4196"/>
                  <a:gd name="connsiteY125" fmla="*/ 799 h 1039"/>
                  <a:gd name="connsiteX126" fmla="*/ 1609 w 4196"/>
                  <a:gd name="connsiteY126" fmla="*/ 751 h 1039"/>
                  <a:gd name="connsiteX127" fmla="*/ 1648 w 4196"/>
                  <a:gd name="connsiteY127" fmla="*/ 699 h 1039"/>
                  <a:gd name="connsiteX128" fmla="*/ 1687 w 4196"/>
                  <a:gd name="connsiteY128" fmla="*/ 645 h 1039"/>
                  <a:gd name="connsiteX129" fmla="*/ 1799 w 4196"/>
                  <a:gd name="connsiteY129" fmla="*/ 471 h 1039"/>
                  <a:gd name="connsiteX130" fmla="*/ 1838 w 4196"/>
                  <a:gd name="connsiteY130" fmla="*/ 411 h 1039"/>
                  <a:gd name="connsiteX131" fmla="*/ 1879 w 4196"/>
                  <a:gd name="connsiteY131" fmla="*/ 353 h 1039"/>
                  <a:gd name="connsiteX132" fmla="*/ 1923 w 4196"/>
                  <a:gd name="connsiteY132" fmla="*/ 295 h 1039"/>
                  <a:gd name="connsiteX133" fmla="*/ 1968 w 4196"/>
                  <a:gd name="connsiteY133" fmla="*/ 241 h 1039"/>
                  <a:gd name="connsiteX134" fmla="*/ 2015 w 4196"/>
                  <a:gd name="connsiteY134" fmla="*/ 189 h 1039"/>
                  <a:gd name="connsiteX135" fmla="*/ 2069 w 4196"/>
                  <a:gd name="connsiteY135" fmla="*/ 141 h 1039"/>
                  <a:gd name="connsiteX136" fmla="*/ 2125 w 4196"/>
                  <a:gd name="connsiteY136" fmla="*/ 100 h 1039"/>
                  <a:gd name="connsiteX137" fmla="*/ 2187 w 4196"/>
                  <a:gd name="connsiteY137" fmla="*/ 65 h 1039"/>
                  <a:gd name="connsiteX138" fmla="*/ 2253 w 4196"/>
                  <a:gd name="connsiteY138" fmla="*/ 35 h 1039"/>
                  <a:gd name="connsiteX139" fmla="*/ 2325 w 4196"/>
                  <a:gd name="connsiteY139" fmla="*/ 15 h 1039"/>
                  <a:gd name="connsiteX140" fmla="*/ 2404 w 4196"/>
                  <a:gd name="connsiteY140" fmla="*/ 2 h 1039"/>
                  <a:gd name="connsiteX141" fmla="*/ 2474 w 4196"/>
                  <a:gd name="connsiteY141" fmla="*/ 0 h 1039"/>
                  <a:gd name="connsiteX142" fmla="*/ 2540 w 4196"/>
                  <a:gd name="connsiteY142" fmla="*/ 9 h 1039"/>
                  <a:gd name="connsiteX143" fmla="*/ 2600 w 4196"/>
                  <a:gd name="connsiteY143" fmla="*/ 23 h 1039"/>
                  <a:gd name="connsiteX144" fmla="*/ 2658 w 4196"/>
                  <a:gd name="connsiteY144" fmla="*/ 46 h 1039"/>
                  <a:gd name="connsiteX145" fmla="*/ 2711 w 4196"/>
                  <a:gd name="connsiteY145" fmla="*/ 77 h 1039"/>
                  <a:gd name="connsiteX146" fmla="*/ 2761 w 4196"/>
                  <a:gd name="connsiteY146" fmla="*/ 112 h 1039"/>
                  <a:gd name="connsiteX147" fmla="*/ 2806 w 4196"/>
                  <a:gd name="connsiteY147" fmla="*/ 154 h 1039"/>
                  <a:gd name="connsiteX148" fmla="*/ 2852 w 4196"/>
                  <a:gd name="connsiteY148" fmla="*/ 199 h 1039"/>
                  <a:gd name="connsiteX149" fmla="*/ 2893 w 4196"/>
                  <a:gd name="connsiteY149" fmla="*/ 247 h 1039"/>
                  <a:gd name="connsiteX150" fmla="*/ 2932 w 4196"/>
                  <a:gd name="connsiteY150" fmla="*/ 299 h 1039"/>
                  <a:gd name="connsiteX151" fmla="*/ 2969 w 4196"/>
                  <a:gd name="connsiteY151" fmla="*/ 353 h 1039"/>
                  <a:gd name="connsiteX152" fmla="*/ 3004 w 4196"/>
                  <a:gd name="connsiteY152" fmla="*/ 409 h 1039"/>
                  <a:gd name="connsiteX153" fmla="*/ 3039 w 4196"/>
                  <a:gd name="connsiteY153" fmla="*/ 463 h 1039"/>
                  <a:gd name="connsiteX154" fmla="*/ 3073 w 4196"/>
                  <a:gd name="connsiteY154" fmla="*/ 519 h 1039"/>
                  <a:gd name="connsiteX155" fmla="*/ 3110 w 4196"/>
                  <a:gd name="connsiteY155" fmla="*/ 581 h 1039"/>
                  <a:gd name="connsiteX156" fmla="*/ 3147 w 4196"/>
                  <a:gd name="connsiteY156" fmla="*/ 639 h 1039"/>
                  <a:gd name="connsiteX157" fmla="*/ 3186 w 4196"/>
                  <a:gd name="connsiteY157" fmla="*/ 697 h 1039"/>
                  <a:gd name="connsiteX158" fmla="*/ 3223 w 4196"/>
                  <a:gd name="connsiteY158" fmla="*/ 751 h 1039"/>
                  <a:gd name="connsiteX159" fmla="*/ 3265 w 4196"/>
                  <a:gd name="connsiteY159" fmla="*/ 801 h 1039"/>
                  <a:gd name="connsiteX160" fmla="*/ 3306 w 4196"/>
                  <a:gd name="connsiteY160" fmla="*/ 844 h 1039"/>
                  <a:gd name="connsiteX161" fmla="*/ 3349 w 4196"/>
                  <a:gd name="connsiteY161" fmla="*/ 882 h 1039"/>
                  <a:gd name="connsiteX162" fmla="*/ 3395 w 4196"/>
                  <a:gd name="connsiteY162" fmla="*/ 913 h 1039"/>
                  <a:gd name="connsiteX163" fmla="*/ 3444 w 4196"/>
                  <a:gd name="connsiteY163" fmla="*/ 935 h 1039"/>
                  <a:gd name="connsiteX164" fmla="*/ 3498 w 4196"/>
                  <a:gd name="connsiteY164" fmla="*/ 948 h 1039"/>
                  <a:gd name="connsiteX165" fmla="*/ 3554 w 4196"/>
                  <a:gd name="connsiteY165" fmla="*/ 952 h 1039"/>
                  <a:gd name="connsiteX166" fmla="*/ 3609 w 4196"/>
                  <a:gd name="connsiteY166" fmla="*/ 946 h 1039"/>
                  <a:gd name="connsiteX167" fmla="*/ 3659 w 4196"/>
                  <a:gd name="connsiteY167" fmla="*/ 931 h 1039"/>
                  <a:gd name="connsiteX168" fmla="*/ 3706 w 4196"/>
                  <a:gd name="connsiteY168" fmla="*/ 911 h 1039"/>
                  <a:gd name="connsiteX169" fmla="*/ 3750 w 4196"/>
                  <a:gd name="connsiteY169" fmla="*/ 880 h 1039"/>
                  <a:gd name="connsiteX170" fmla="*/ 3789 w 4196"/>
                  <a:gd name="connsiteY170" fmla="*/ 844 h 1039"/>
                  <a:gd name="connsiteX171" fmla="*/ 3826 w 4196"/>
                  <a:gd name="connsiteY171" fmla="*/ 803 h 1039"/>
                  <a:gd name="connsiteX172" fmla="*/ 3861 w 4196"/>
                  <a:gd name="connsiteY172" fmla="*/ 755 h 1039"/>
                  <a:gd name="connsiteX173" fmla="*/ 3894 w 4196"/>
                  <a:gd name="connsiteY173" fmla="*/ 705 h 1039"/>
                  <a:gd name="connsiteX174" fmla="*/ 3927 w 4196"/>
                  <a:gd name="connsiteY174" fmla="*/ 651 h 1039"/>
                  <a:gd name="connsiteX175" fmla="*/ 3960 w 4196"/>
                  <a:gd name="connsiteY175" fmla="*/ 593 h 1039"/>
                  <a:gd name="connsiteX176" fmla="*/ 3993 w 4196"/>
                  <a:gd name="connsiteY176" fmla="*/ 533 h 1039"/>
                  <a:gd name="connsiteX177" fmla="*/ 4022 w 4196"/>
                  <a:gd name="connsiteY177" fmla="*/ 479 h 1039"/>
                  <a:gd name="connsiteX178" fmla="*/ 4084 w 4196"/>
                  <a:gd name="connsiteY178" fmla="*/ 371 h 1039"/>
                  <a:gd name="connsiteX0" fmla="*/ 4084 w 4199"/>
                  <a:gd name="connsiteY0" fmla="*/ 371 h 1039"/>
                  <a:gd name="connsiteX1" fmla="*/ 4196 w 4199"/>
                  <a:gd name="connsiteY1" fmla="*/ 359 h 1039"/>
                  <a:gd name="connsiteX2" fmla="*/ 4101 w 4199"/>
                  <a:gd name="connsiteY2" fmla="*/ 519 h 1039"/>
                  <a:gd name="connsiteX3" fmla="*/ 4008 w 4199"/>
                  <a:gd name="connsiteY3" fmla="*/ 687 h 1039"/>
                  <a:gd name="connsiteX4" fmla="*/ 3975 w 4199"/>
                  <a:gd name="connsiteY4" fmla="*/ 743 h 1039"/>
                  <a:gd name="connsiteX5" fmla="*/ 3940 w 4199"/>
                  <a:gd name="connsiteY5" fmla="*/ 794 h 1039"/>
                  <a:gd name="connsiteX6" fmla="*/ 3905 w 4199"/>
                  <a:gd name="connsiteY6" fmla="*/ 844 h 1039"/>
                  <a:gd name="connsiteX7" fmla="*/ 3865 w 4199"/>
                  <a:gd name="connsiteY7" fmla="*/ 890 h 1039"/>
                  <a:gd name="connsiteX8" fmla="*/ 3824 w 4199"/>
                  <a:gd name="connsiteY8" fmla="*/ 931 h 1039"/>
                  <a:gd name="connsiteX9" fmla="*/ 3779 w 4199"/>
                  <a:gd name="connsiteY9" fmla="*/ 967 h 1039"/>
                  <a:gd name="connsiteX10" fmla="*/ 3729 w 4199"/>
                  <a:gd name="connsiteY10" fmla="*/ 996 h 1039"/>
                  <a:gd name="connsiteX11" fmla="*/ 3677 w 4199"/>
                  <a:gd name="connsiteY11" fmla="*/ 1018 h 1039"/>
                  <a:gd name="connsiteX12" fmla="*/ 3620 w 4199"/>
                  <a:gd name="connsiteY12" fmla="*/ 1033 h 1039"/>
                  <a:gd name="connsiteX13" fmla="*/ 3556 w 4199"/>
                  <a:gd name="connsiteY13" fmla="*/ 1039 h 1039"/>
                  <a:gd name="connsiteX14" fmla="*/ 3547 w 4199"/>
                  <a:gd name="connsiteY14" fmla="*/ 1039 h 1039"/>
                  <a:gd name="connsiteX15" fmla="*/ 3485 w 4199"/>
                  <a:gd name="connsiteY15" fmla="*/ 1035 h 1039"/>
                  <a:gd name="connsiteX16" fmla="*/ 3426 w 4199"/>
                  <a:gd name="connsiteY16" fmla="*/ 1021 h 1039"/>
                  <a:gd name="connsiteX17" fmla="*/ 3372 w 4199"/>
                  <a:gd name="connsiteY17" fmla="*/ 998 h 1039"/>
                  <a:gd name="connsiteX18" fmla="*/ 3320 w 4199"/>
                  <a:gd name="connsiteY18" fmla="*/ 969 h 1039"/>
                  <a:gd name="connsiteX19" fmla="*/ 3273 w 4199"/>
                  <a:gd name="connsiteY19" fmla="*/ 931 h 1039"/>
                  <a:gd name="connsiteX20" fmla="*/ 3229 w 4199"/>
                  <a:gd name="connsiteY20" fmla="*/ 890 h 1039"/>
                  <a:gd name="connsiteX21" fmla="*/ 3186 w 4199"/>
                  <a:gd name="connsiteY21" fmla="*/ 842 h 1039"/>
                  <a:gd name="connsiteX22" fmla="*/ 3147 w 4199"/>
                  <a:gd name="connsiteY22" fmla="*/ 792 h 1039"/>
                  <a:gd name="connsiteX23" fmla="*/ 3108 w 4199"/>
                  <a:gd name="connsiteY23" fmla="*/ 736 h 1039"/>
                  <a:gd name="connsiteX24" fmla="*/ 3070 w 4199"/>
                  <a:gd name="connsiteY24" fmla="*/ 680 h 1039"/>
                  <a:gd name="connsiteX25" fmla="*/ 2965 w 4199"/>
                  <a:gd name="connsiteY25" fmla="*/ 506 h 1039"/>
                  <a:gd name="connsiteX26" fmla="*/ 2928 w 4199"/>
                  <a:gd name="connsiteY26" fmla="*/ 448 h 1039"/>
                  <a:gd name="connsiteX27" fmla="*/ 2891 w 4199"/>
                  <a:gd name="connsiteY27" fmla="*/ 392 h 1039"/>
                  <a:gd name="connsiteX28" fmla="*/ 2854 w 4199"/>
                  <a:gd name="connsiteY28" fmla="*/ 338 h 1039"/>
                  <a:gd name="connsiteX29" fmla="*/ 2814 w 4199"/>
                  <a:gd name="connsiteY29" fmla="*/ 288 h 1039"/>
                  <a:gd name="connsiteX30" fmla="*/ 2773 w 4199"/>
                  <a:gd name="connsiteY30" fmla="*/ 243 h 1039"/>
                  <a:gd name="connsiteX31" fmla="*/ 2732 w 4199"/>
                  <a:gd name="connsiteY31" fmla="*/ 201 h 1039"/>
                  <a:gd name="connsiteX32" fmla="*/ 2686 w 4199"/>
                  <a:gd name="connsiteY32" fmla="*/ 164 h 1039"/>
                  <a:gd name="connsiteX33" fmla="*/ 2639 w 4199"/>
                  <a:gd name="connsiteY33" fmla="*/ 135 h 1039"/>
                  <a:gd name="connsiteX34" fmla="*/ 2587 w 4199"/>
                  <a:gd name="connsiteY34" fmla="*/ 112 h 1039"/>
                  <a:gd name="connsiteX35" fmla="*/ 2532 w 4199"/>
                  <a:gd name="connsiteY35" fmla="*/ 96 h 1039"/>
                  <a:gd name="connsiteX36" fmla="*/ 2474 w 4199"/>
                  <a:gd name="connsiteY36" fmla="*/ 87 h 1039"/>
                  <a:gd name="connsiteX37" fmla="*/ 2410 w 4199"/>
                  <a:gd name="connsiteY37" fmla="*/ 89 h 1039"/>
                  <a:gd name="connsiteX38" fmla="*/ 2342 w 4199"/>
                  <a:gd name="connsiteY38" fmla="*/ 100 h 1039"/>
                  <a:gd name="connsiteX39" fmla="*/ 2280 w 4199"/>
                  <a:gd name="connsiteY39" fmla="*/ 118 h 1039"/>
                  <a:gd name="connsiteX40" fmla="*/ 2222 w 4199"/>
                  <a:gd name="connsiteY40" fmla="*/ 143 h 1039"/>
                  <a:gd name="connsiteX41" fmla="*/ 2168 w 4199"/>
                  <a:gd name="connsiteY41" fmla="*/ 176 h 1039"/>
                  <a:gd name="connsiteX42" fmla="*/ 2117 w 4199"/>
                  <a:gd name="connsiteY42" fmla="*/ 214 h 1039"/>
                  <a:gd name="connsiteX43" fmla="*/ 2071 w 4199"/>
                  <a:gd name="connsiteY43" fmla="*/ 257 h 1039"/>
                  <a:gd name="connsiteX44" fmla="*/ 2026 w 4199"/>
                  <a:gd name="connsiteY44" fmla="*/ 303 h 1039"/>
                  <a:gd name="connsiteX45" fmla="*/ 1984 w 4199"/>
                  <a:gd name="connsiteY45" fmla="*/ 355 h 1039"/>
                  <a:gd name="connsiteX46" fmla="*/ 1945 w 4199"/>
                  <a:gd name="connsiteY46" fmla="*/ 409 h 1039"/>
                  <a:gd name="connsiteX47" fmla="*/ 1908 w 4199"/>
                  <a:gd name="connsiteY47" fmla="*/ 463 h 1039"/>
                  <a:gd name="connsiteX48" fmla="*/ 1871 w 4199"/>
                  <a:gd name="connsiteY48" fmla="*/ 519 h 1039"/>
                  <a:gd name="connsiteX49" fmla="*/ 1834 w 4199"/>
                  <a:gd name="connsiteY49" fmla="*/ 577 h 1039"/>
                  <a:gd name="connsiteX50" fmla="*/ 1799 w 4199"/>
                  <a:gd name="connsiteY50" fmla="*/ 633 h 1039"/>
                  <a:gd name="connsiteX51" fmla="*/ 1724 w 4199"/>
                  <a:gd name="connsiteY51" fmla="*/ 745 h 1039"/>
                  <a:gd name="connsiteX52" fmla="*/ 1685 w 4199"/>
                  <a:gd name="connsiteY52" fmla="*/ 797 h 1039"/>
                  <a:gd name="connsiteX53" fmla="*/ 1644 w 4199"/>
                  <a:gd name="connsiteY53" fmla="*/ 846 h 1039"/>
                  <a:gd name="connsiteX54" fmla="*/ 1600 w 4199"/>
                  <a:gd name="connsiteY54" fmla="*/ 892 h 1039"/>
                  <a:gd name="connsiteX55" fmla="*/ 1553 w 4199"/>
                  <a:gd name="connsiteY55" fmla="*/ 933 h 1039"/>
                  <a:gd name="connsiteX56" fmla="*/ 1503 w 4199"/>
                  <a:gd name="connsiteY56" fmla="*/ 969 h 1039"/>
                  <a:gd name="connsiteX57" fmla="*/ 1450 w 4199"/>
                  <a:gd name="connsiteY57" fmla="*/ 998 h 1039"/>
                  <a:gd name="connsiteX58" fmla="*/ 1394 w 4199"/>
                  <a:gd name="connsiteY58" fmla="*/ 1021 h 1039"/>
                  <a:gd name="connsiteX59" fmla="*/ 1330 w 4199"/>
                  <a:gd name="connsiteY59" fmla="*/ 1033 h 1039"/>
                  <a:gd name="connsiteX60" fmla="*/ 1264 w 4199"/>
                  <a:gd name="connsiteY60" fmla="*/ 1039 h 1039"/>
                  <a:gd name="connsiteX61" fmla="*/ 1258 w 4199"/>
                  <a:gd name="connsiteY61" fmla="*/ 1039 h 1039"/>
                  <a:gd name="connsiteX62" fmla="*/ 1190 w 4199"/>
                  <a:gd name="connsiteY62" fmla="*/ 1035 h 1039"/>
                  <a:gd name="connsiteX63" fmla="*/ 1128 w 4199"/>
                  <a:gd name="connsiteY63" fmla="*/ 1023 h 1039"/>
                  <a:gd name="connsiteX64" fmla="*/ 1070 w 4199"/>
                  <a:gd name="connsiteY64" fmla="*/ 1004 h 1039"/>
                  <a:gd name="connsiteX65" fmla="*/ 1018 w 4199"/>
                  <a:gd name="connsiteY65" fmla="*/ 979 h 1039"/>
                  <a:gd name="connsiteX66" fmla="*/ 971 w 4199"/>
                  <a:gd name="connsiteY66" fmla="*/ 948 h 1039"/>
                  <a:gd name="connsiteX67" fmla="*/ 925 w 4199"/>
                  <a:gd name="connsiteY67" fmla="*/ 911 h 1039"/>
                  <a:gd name="connsiteX68" fmla="*/ 884 w 4199"/>
                  <a:gd name="connsiteY68" fmla="*/ 869 h 1039"/>
                  <a:gd name="connsiteX69" fmla="*/ 847 w 4199"/>
                  <a:gd name="connsiteY69" fmla="*/ 824 h 1039"/>
                  <a:gd name="connsiteX70" fmla="*/ 810 w 4199"/>
                  <a:gd name="connsiteY70" fmla="*/ 776 h 1039"/>
                  <a:gd name="connsiteX71" fmla="*/ 777 w 4199"/>
                  <a:gd name="connsiteY71" fmla="*/ 724 h 1039"/>
                  <a:gd name="connsiteX72" fmla="*/ 742 w 4199"/>
                  <a:gd name="connsiteY72" fmla="*/ 670 h 1039"/>
                  <a:gd name="connsiteX73" fmla="*/ 711 w 4199"/>
                  <a:gd name="connsiteY73" fmla="*/ 614 h 1039"/>
                  <a:gd name="connsiteX74" fmla="*/ 678 w 4199"/>
                  <a:gd name="connsiteY74" fmla="*/ 556 h 1039"/>
                  <a:gd name="connsiteX75" fmla="*/ 616 w 4199"/>
                  <a:gd name="connsiteY75" fmla="*/ 444 h 1039"/>
                  <a:gd name="connsiteX76" fmla="*/ 547 w 4199"/>
                  <a:gd name="connsiteY76" fmla="*/ 336 h 1039"/>
                  <a:gd name="connsiteX77" fmla="*/ 504 w 4199"/>
                  <a:gd name="connsiteY77" fmla="*/ 280 h 1039"/>
                  <a:gd name="connsiteX78" fmla="*/ 457 w 4199"/>
                  <a:gd name="connsiteY78" fmla="*/ 235 h 1039"/>
                  <a:gd name="connsiteX79" fmla="*/ 409 w 4199"/>
                  <a:gd name="connsiteY79" fmla="*/ 195 h 1039"/>
                  <a:gd name="connsiteX80" fmla="*/ 358 w 4199"/>
                  <a:gd name="connsiteY80" fmla="*/ 164 h 1039"/>
                  <a:gd name="connsiteX81" fmla="*/ 308 w 4199"/>
                  <a:gd name="connsiteY81" fmla="*/ 141 h 1039"/>
                  <a:gd name="connsiteX82" fmla="*/ 256 w 4199"/>
                  <a:gd name="connsiteY82" fmla="*/ 123 h 1039"/>
                  <a:gd name="connsiteX83" fmla="*/ 209 w 4199"/>
                  <a:gd name="connsiteY83" fmla="*/ 108 h 1039"/>
                  <a:gd name="connsiteX84" fmla="*/ 163 w 4199"/>
                  <a:gd name="connsiteY84" fmla="*/ 100 h 1039"/>
                  <a:gd name="connsiteX85" fmla="*/ 122 w 4199"/>
                  <a:gd name="connsiteY85" fmla="*/ 96 h 1039"/>
                  <a:gd name="connsiteX86" fmla="*/ 85 w 4199"/>
                  <a:gd name="connsiteY86" fmla="*/ 91 h 1039"/>
                  <a:gd name="connsiteX87" fmla="*/ 31 w 4199"/>
                  <a:gd name="connsiteY87" fmla="*/ 91 h 1039"/>
                  <a:gd name="connsiteX88" fmla="*/ 17 w 4199"/>
                  <a:gd name="connsiteY88" fmla="*/ 94 h 1039"/>
                  <a:gd name="connsiteX89" fmla="*/ 11 w 4199"/>
                  <a:gd name="connsiteY89" fmla="*/ 94 h 1039"/>
                  <a:gd name="connsiteX90" fmla="*/ 0 w 4199"/>
                  <a:gd name="connsiteY90" fmla="*/ 9 h 1039"/>
                  <a:gd name="connsiteX91" fmla="*/ 9 w 4199"/>
                  <a:gd name="connsiteY91" fmla="*/ 9 h 1039"/>
                  <a:gd name="connsiteX92" fmla="*/ 29 w 4199"/>
                  <a:gd name="connsiteY92" fmla="*/ 6 h 1039"/>
                  <a:gd name="connsiteX93" fmla="*/ 91 w 4199"/>
                  <a:gd name="connsiteY93" fmla="*/ 6 h 1039"/>
                  <a:gd name="connsiteX94" fmla="*/ 135 w 4199"/>
                  <a:gd name="connsiteY94" fmla="*/ 9 h 1039"/>
                  <a:gd name="connsiteX95" fmla="*/ 182 w 4199"/>
                  <a:gd name="connsiteY95" fmla="*/ 15 h 1039"/>
                  <a:gd name="connsiteX96" fmla="*/ 234 w 4199"/>
                  <a:gd name="connsiteY96" fmla="*/ 25 h 1039"/>
                  <a:gd name="connsiteX97" fmla="*/ 287 w 4199"/>
                  <a:gd name="connsiteY97" fmla="*/ 42 h 1039"/>
                  <a:gd name="connsiteX98" fmla="*/ 345 w 4199"/>
                  <a:gd name="connsiteY98" fmla="*/ 62 h 1039"/>
                  <a:gd name="connsiteX99" fmla="*/ 403 w 4199"/>
                  <a:gd name="connsiteY99" fmla="*/ 89 h 1039"/>
                  <a:gd name="connsiteX100" fmla="*/ 459 w 4199"/>
                  <a:gd name="connsiteY100" fmla="*/ 127 h 1039"/>
                  <a:gd name="connsiteX101" fmla="*/ 514 w 4199"/>
                  <a:gd name="connsiteY101" fmla="*/ 170 h 1039"/>
                  <a:gd name="connsiteX102" fmla="*/ 568 w 4199"/>
                  <a:gd name="connsiteY102" fmla="*/ 224 h 1039"/>
                  <a:gd name="connsiteX103" fmla="*/ 618 w 4199"/>
                  <a:gd name="connsiteY103" fmla="*/ 288 h 1039"/>
                  <a:gd name="connsiteX104" fmla="*/ 667 w 4199"/>
                  <a:gd name="connsiteY104" fmla="*/ 363 h 1039"/>
                  <a:gd name="connsiteX105" fmla="*/ 754 w 4199"/>
                  <a:gd name="connsiteY105" fmla="*/ 512 h 1039"/>
                  <a:gd name="connsiteX106" fmla="*/ 787 w 4199"/>
                  <a:gd name="connsiteY106" fmla="*/ 571 h 1039"/>
                  <a:gd name="connsiteX107" fmla="*/ 820 w 4199"/>
                  <a:gd name="connsiteY107" fmla="*/ 627 h 1039"/>
                  <a:gd name="connsiteX108" fmla="*/ 853 w 4199"/>
                  <a:gd name="connsiteY108" fmla="*/ 680 h 1039"/>
                  <a:gd name="connsiteX109" fmla="*/ 886 w 4199"/>
                  <a:gd name="connsiteY109" fmla="*/ 732 h 1039"/>
                  <a:gd name="connsiteX110" fmla="*/ 921 w 4199"/>
                  <a:gd name="connsiteY110" fmla="*/ 778 h 1039"/>
                  <a:gd name="connsiteX111" fmla="*/ 958 w 4199"/>
                  <a:gd name="connsiteY111" fmla="*/ 821 h 1039"/>
                  <a:gd name="connsiteX112" fmla="*/ 1000 w 4199"/>
                  <a:gd name="connsiteY112" fmla="*/ 859 h 1039"/>
                  <a:gd name="connsiteX113" fmla="*/ 1043 w 4199"/>
                  <a:gd name="connsiteY113" fmla="*/ 890 h 1039"/>
                  <a:gd name="connsiteX114" fmla="*/ 1090 w 4199"/>
                  <a:gd name="connsiteY114" fmla="*/ 917 h 1039"/>
                  <a:gd name="connsiteX115" fmla="*/ 1140 w 4199"/>
                  <a:gd name="connsiteY115" fmla="*/ 935 h 1039"/>
                  <a:gd name="connsiteX116" fmla="*/ 1196 w 4199"/>
                  <a:gd name="connsiteY116" fmla="*/ 948 h 1039"/>
                  <a:gd name="connsiteX117" fmla="*/ 1258 w 4199"/>
                  <a:gd name="connsiteY117" fmla="*/ 952 h 1039"/>
                  <a:gd name="connsiteX118" fmla="*/ 1264 w 4199"/>
                  <a:gd name="connsiteY118" fmla="*/ 952 h 1039"/>
                  <a:gd name="connsiteX119" fmla="*/ 1324 w 4199"/>
                  <a:gd name="connsiteY119" fmla="*/ 946 h 1039"/>
                  <a:gd name="connsiteX120" fmla="*/ 1380 w 4199"/>
                  <a:gd name="connsiteY120" fmla="*/ 931 h 1039"/>
                  <a:gd name="connsiteX121" fmla="*/ 1433 w 4199"/>
                  <a:gd name="connsiteY121" fmla="*/ 909 h 1039"/>
                  <a:gd name="connsiteX122" fmla="*/ 1481 w 4199"/>
                  <a:gd name="connsiteY122" fmla="*/ 880 h 1039"/>
                  <a:gd name="connsiteX123" fmla="*/ 1526 w 4199"/>
                  <a:gd name="connsiteY123" fmla="*/ 842 h 1039"/>
                  <a:gd name="connsiteX124" fmla="*/ 1569 w 4199"/>
                  <a:gd name="connsiteY124" fmla="*/ 799 h 1039"/>
                  <a:gd name="connsiteX125" fmla="*/ 1609 w 4199"/>
                  <a:gd name="connsiteY125" fmla="*/ 751 h 1039"/>
                  <a:gd name="connsiteX126" fmla="*/ 1648 w 4199"/>
                  <a:gd name="connsiteY126" fmla="*/ 699 h 1039"/>
                  <a:gd name="connsiteX127" fmla="*/ 1687 w 4199"/>
                  <a:gd name="connsiteY127" fmla="*/ 645 h 1039"/>
                  <a:gd name="connsiteX128" fmla="*/ 1799 w 4199"/>
                  <a:gd name="connsiteY128" fmla="*/ 471 h 1039"/>
                  <a:gd name="connsiteX129" fmla="*/ 1838 w 4199"/>
                  <a:gd name="connsiteY129" fmla="*/ 411 h 1039"/>
                  <a:gd name="connsiteX130" fmla="*/ 1879 w 4199"/>
                  <a:gd name="connsiteY130" fmla="*/ 353 h 1039"/>
                  <a:gd name="connsiteX131" fmla="*/ 1923 w 4199"/>
                  <a:gd name="connsiteY131" fmla="*/ 295 h 1039"/>
                  <a:gd name="connsiteX132" fmla="*/ 1968 w 4199"/>
                  <a:gd name="connsiteY132" fmla="*/ 241 h 1039"/>
                  <a:gd name="connsiteX133" fmla="*/ 2015 w 4199"/>
                  <a:gd name="connsiteY133" fmla="*/ 189 h 1039"/>
                  <a:gd name="connsiteX134" fmla="*/ 2069 w 4199"/>
                  <a:gd name="connsiteY134" fmla="*/ 141 h 1039"/>
                  <a:gd name="connsiteX135" fmla="*/ 2125 w 4199"/>
                  <a:gd name="connsiteY135" fmla="*/ 100 h 1039"/>
                  <a:gd name="connsiteX136" fmla="*/ 2187 w 4199"/>
                  <a:gd name="connsiteY136" fmla="*/ 65 h 1039"/>
                  <a:gd name="connsiteX137" fmla="*/ 2253 w 4199"/>
                  <a:gd name="connsiteY137" fmla="*/ 35 h 1039"/>
                  <a:gd name="connsiteX138" fmla="*/ 2325 w 4199"/>
                  <a:gd name="connsiteY138" fmla="*/ 15 h 1039"/>
                  <a:gd name="connsiteX139" fmla="*/ 2404 w 4199"/>
                  <a:gd name="connsiteY139" fmla="*/ 2 h 1039"/>
                  <a:gd name="connsiteX140" fmla="*/ 2474 w 4199"/>
                  <a:gd name="connsiteY140" fmla="*/ 0 h 1039"/>
                  <a:gd name="connsiteX141" fmla="*/ 2540 w 4199"/>
                  <a:gd name="connsiteY141" fmla="*/ 9 h 1039"/>
                  <a:gd name="connsiteX142" fmla="*/ 2600 w 4199"/>
                  <a:gd name="connsiteY142" fmla="*/ 23 h 1039"/>
                  <a:gd name="connsiteX143" fmla="*/ 2658 w 4199"/>
                  <a:gd name="connsiteY143" fmla="*/ 46 h 1039"/>
                  <a:gd name="connsiteX144" fmla="*/ 2711 w 4199"/>
                  <a:gd name="connsiteY144" fmla="*/ 77 h 1039"/>
                  <a:gd name="connsiteX145" fmla="*/ 2761 w 4199"/>
                  <a:gd name="connsiteY145" fmla="*/ 112 h 1039"/>
                  <a:gd name="connsiteX146" fmla="*/ 2806 w 4199"/>
                  <a:gd name="connsiteY146" fmla="*/ 154 h 1039"/>
                  <a:gd name="connsiteX147" fmla="*/ 2852 w 4199"/>
                  <a:gd name="connsiteY147" fmla="*/ 199 h 1039"/>
                  <a:gd name="connsiteX148" fmla="*/ 2893 w 4199"/>
                  <a:gd name="connsiteY148" fmla="*/ 247 h 1039"/>
                  <a:gd name="connsiteX149" fmla="*/ 2932 w 4199"/>
                  <a:gd name="connsiteY149" fmla="*/ 299 h 1039"/>
                  <a:gd name="connsiteX150" fmla="*/ 2969 w 4199"/>
                  <a:gd name="connsiteY150" fmla="*/ 353 h 1039"/>
                  <a:gd name="connsiteX151" fmla="*/ 3004 w 4199"/>
                  <a:gd name="connsiteY151" fmla="*/ 409 h 1039"/>
                  <a:gd name="connsiteX152" fmla="*/ 3039 w 4199"/>
                  <a:gd name="connsiteY152" fmla="*/ 463 h 1039"/>
                  <a:gd name="connsiteX153" fmla="*/ 3073 w 4199"/>
                  <a:gd name="connsiteY153" fmla="*/ 519 h 1039"/>
                  <a:gd name="connsiteX154" fmla="*/ 3110 w 4199"/>
                  <a:gd name="connsiteY154" fmla="*/ 581 h 1039"/>
                  <a:gd name="connsiteX155" fmla="*/ 3147 w 4199"/>
                  <a:gd name="connsiteY155" fmla="*/ 639 h 1039"/>
                  <a:gd name="connsiteX156" fmla="*/ 3186 w 4199"/>
                  <a:gd name="connsiteY156" fmla="*/ 697 h 1039"/>
                  <a:gd name="connsiteX157" fmla="*/ 3223 w 4199"/>
                  <a:gd name="connsiteY157" fmla="*/ 751 h 1039"/>
                  <a:gd name="connsiteX158" fmla="*/ 3265 w 4199"/>
                  <a:gd name="connsiteY158" fmla="*/ 801 h 1039"/>
                  <a:gd name="connsiteX159" fmla="*/ 3306 w 4199"/>
                  <a:gd name="connsiteY159" fmla="*/ 844 h 1039"/>
                  <a:gd name="connsiteX160" fmla="*/ 3349 w 4199"/>
                  <a:gd name="connsiteY160" fmla="*/ 882 h 1039"/>
                  <a:gd name="connsiteX161" fmla="*/ 3395 w 4199"/>
                  <a:gd name="connsiteY161" fmla="*/ 913 h 1039"/>
                  <a:gd name="connsiteX162" fmla="*/ 3444 w 4199"/>
                  <a:gd name="connsiteY162" fmla="*/ 935 h 1039"/>
                  <a:gd name="connsiteX163" fmla="*/ 3498 w 4199"/>
                  <a:gd name="connsiteY163" fmla="*/ 948 h 1039"/>
                  <a:gd name="connsiteX164" fmla="*/ 3554 w 4199"/>
                  <a:gd name="connsiteY164" fmla="*/ 952 h 1039"/>
                  <a:gd name="connsiteX165" fmla="*/ 3609 w 4199"/>
                  <a:gd name="connsiteY165" fmla="*/ 946 h 1039"/>
                  <a:gd name="connsiteX166" fmla="*/ 3659 w 4199"/>
                  <a:gd name="connsiteY166" fmla="*/ 931 h 1039"/>
                  <a:gd name="connsiteX167" fmla="*/ 3706 w 4199"/>
                  <a:gd name="connsiteY167" fmla="*/ 911 h 1039"/>
                  <a:gd name="connsiteX168" fmla="*/ 3750 w 4199"/>
                  <a:gd name="connsiteY168" fmla="*/ 880 h 1039"/>
                  <a:gd name="connsiteX169" fmla="*/ 3789 w 4199"/>
                  <a:gd name="connsiteY169" fmla="*/ 844 h 1039"/>
                  <a:gd name="connsiteX170" fmla="*/ 3826 w 4199"/>
                  <a:gd name="connsiteY170" fmla="*/ 803 h 1039"/>
                  <a:gd name="connsiteX171" fmla="*/ 3861 w 4199"/>
                  <a:gd name="connsiteY171" fmla="*/ 755 h 1039"/>
                  <a:gd name="connsiteX172" fmla="*/ 3894 w 4199"/>
                  <a:gd name="connsiteY172" fmla="*/ 705 h 1039"/>
                  <a:gd name="connsiteX173" fmla="*/ 3927 w 4199"/>
                  <a:gd name="connsiteY173" fmla="*/ 651 h 1039"/>
                  <a:gd name="connsiteX174" fmla="*/ 3960 w 4199"/>
                  <a:gd name="connsiteY174" fmla="*/ 593 h 1039"/>
                  <a:gd name="connsiteX175" fmla="*/ 3993 w 4199"/>
                  <a:gd name="connsiteY175" fmla="*/ 533 h 1039"/>
                  <a:gd name="connsiteX176" fmla="*/ 4022 w 4199"/>
                  <a:gd name="connsiteY176" fmla="*/ 479 h 1039"/>
                  <a:gd name="connsiteX177" fmla="*/ 4084 w 4199"/>
                  <a:gd name="connsiteY177" fmla="*/ 371 h 1039"/>
                  <a:gd name="connsiteX0" fmla="*/ 4084 w 4101"/>
                  <a:gd name="connsiteY0" fmla="*/ 371 h 1039"/>
                  <a:gd name="connsiteX1" fmla="*/ 4101 w 4101"/>
                  <a:gd name="connsiteY1" fmla="*/ 519 h 1039"/>
                  <a:gd name="connsiteX2" fmla="*/ 4008 w 4101"/>
                  <a:gd name="connsiteY2" fmla="*/ 687 h 1039"/>
                  <a:gd name="connsiteX3" fmla="*/ 3975 w 4101"/>
                  <a:gd name="connsiteY3" fmla="*/ 743 h 1039"/>
                  <a:gd name="connsiteX4" fmla="*/ 3940 w 4101"/>
                  <a:gd name="connsiteY4" fmla="*/ 794 h 1039"/>
                  <a:gd name="connsiteX5" fmla="*/ 3905 w 4101"/>
                  <a:gd name="connsiteY5" fmla="*/ 844 h 1039"/>
                  <a:gd name="connsiteX6" fmla="*/ 3865 w 4101"/>
                  <a:gd name="connsiteY6" fmla="*/ 890 h 1039"/>
                  <a:gd name="connsiteX7" fmla="*/ 3824 w 4101"/>
                  <a:gd name="connsiteY7" fmla="*/ 931 h 1039"/>
                  <a:gd name="connsiteX8" fmla="*/ 3779 w 4101"/>
                  <a:gd name="connsiteY8" fmla="*/ 967 h 1039"/>
                  <a:gd name="connsiteX9" fmla="*/ 3729 w 4101"/>
                  <a:gd name="connsiteY9" fmla="*/ 996 h 1039"/>
                  <a:gd name="connsiteX10" fmla="*/ 3677 w 4101"/>
                  <a:gd name="connsiteY10" fmla="*/ 1018 h 1039"/>
                  <a:gd name="connsiteX11" fmla="*/ 3620 w 4101"/>
                  <a:gd name="connsiteY11" fmla="*/ 1033 h 1039"/>
                  <a:gd name="connsiteX12" fmla="*/ 3556 w 4101"/>
                  <a:gd name="connsiteY12" fmla="*/ 1039 h 1039"/>
                  <a:gd name="connsiteX13" fmla="*/ 3547 w 4101"/>
                  <a:gd name="connsiteY13" fmla="*/ 1039 h 1039"/>
                  <a:gd name="connsiteX14" fmla="*/ 3485 w 4101"/>
                  <a:gd name="connsiteY14" fmla="*/ 1035 h 1039"/>
                  <a:gd name="connsiteX15" fmla="*/ 3426 w 4101"/>
                  <a:gd name="connsiteY15" fmla="*/ 1021 h 1039"/>
                  <a:gd name="connsiteX16" fmla="*/ 3372 w 4101"/>
                  <a:gd name="connsiteY16" fmla="*/ 998 h 1039"/>
                  <a:gd name="connsiteX17" fmla="*/ 3320 w 4101"/>
                  <a:gd name="connsiteY17" fmla="*/ 969 h 1039"/>
                  <a:gd name="connsiteX18" fmla="*/ 3273 w 4101"/>
                  <a:gd name="connsiteY18" fmla="*/ 931 h 1039"/>
                  <a:gd name="connsiteX19" fmla="*/ 3229 w 4101"/>
                  <a:gd name="connsiteY19" fmla="*/ 890 h 1039"/>
                  <a:gd name="connsiteX20" fmla="*/ 3186 w 4101"/>
                  <a:gd name="connsiteY20" fmla="*/ 842 h 1039"/>
                  <a:gd name="connsiteX21" fmla="*/ 3147 w 4101"/>
                  <a:gd name="connsiteY21" fmla="*/ 792 h 1039"/>
                  <a:gd name="connsiteX22" fmla="*/ 3108 w 4101"/>
                  <a:gd name="connsiteY22" fmla="*/ 736 h 1039"/>
                  <a:gd name="connsiteX23" fmla="*/ 3070 w 4101"/>
                  <a:gd name="connsiteY23" fmla="*/ 680 h 1039"/>
                  <a:gd name="connsiteX24" fmla="*/ 2965 w 4101"/>
                  <a:gd name="connsiteY24" fmla="*/ 506 h 1039"/>
                  <a:gd name="connsiteX25" fmla="*/ 2928 w 4101"/>
                  <a:gd name="connsiteY25" fmla="*/ 448 h 1039"/>
                  <a:gd name="connsiteX26" fmla="*/ 2891 w 4101"/>
                  <a:gd name="connsiteY26" fmla="*/ 392 h 1039"/>
                  <a:gd name="connsiteX27" fmla="*/ 2854 w 4101"/>
                  <a:gd name="connsiteY27" fmla="*/ 338 h 1039"/>
                  <a:gd name="connsiteX28" fmla="*/ 2814 w 4101"/>
                  <a:gd name="connsiteY28" fmla="*/ 288 h 1039"/>
                  <a:gd name="connsiteX29" fmla="*/ 2773 w 4101"/>
                  <a:gd name="connsiteY29" fmla="*/ 243 h 1039"/>
                  <a:gd name="connsiteX30" fmla="*/ 2732 w 4101"/>
                  <a:gd name="connsiteY30" fmla="*/ 201 h 1039"/>
                  <a:gd name="connsiteX31" fmla="*/ 2686 w 4101"/>
                  <a:gd name="connsiteY31" fmla="*/ 164 h 1039"/>
                  <a:gd name="connsiteX32" fmla="*/ 2639 w 4101"/>
                  <a:gd name="connsiteY32" fmla="*/ 135 h 1039"/>
                  <a:gd name="connsiteX33" fmla="*/ 2587 w 4101"/>
                  <a:gd name="connsiteY33" fmla="*/ 112 h 1039"/>
                  <a:gd name="connsiteX34" fmla="*/ 2532 w 4101"/>
                  <a:gd name="connsiteY34" fmla="*/ 96 h 1039"/>
                  <a:gd name="connsiteX35" fmla="*/ 2474 w 4101"/>
                  <a:gd name="connsiteY35" fmla="*/ 87 h 1039"/>
                  <a:gd name="connsiteX36" fmla="*/ 2410 w 4101"/>
                  <a:gd name="connsiteY36" fmla="*/ 89 h 1039"/>
                  <a:gd name="connsiteX37" fmla="*/ 2342 w 4101"/>
                  <a:gd name="connsiteY37" fmla="*/ 100 h 1039"/>
                  <a:gd name="connsiteX38" fmla="*/ 2280 w 4101"/>
                  <a:gd name="connsiteY38" fmla="*/ 118 h 1039"/>
                  <a:gd name="connsiteX39" fmla="*/ 2222 w 4101"/>
                  <a:gd name="connsiteY39" fmla="*/ 143 h 1039"/>
                  <a:gd name="connsiteX40" fmla="*/ 2168 w 4101"/>
                  <a:gd name="connsiteY40" fmla="*/ 176 h 1039"/>
                  <a:gd name="connsiteX41" fmla="*/ 2117 w 4101"/>
                  <a:gd name="connsiteY41" fmla="*/ 214 h 1039"/>
                  <a:gd name="connsiteX42" fmla="*/ 2071 w 4101"/>
                  <a:gd name="connsiteY42" fmla="*/ 257 h 1039"/>
                  <a:gd name="connsiteX43" fmla="*/ 2026 w 4101"/>
                  <a:gd name="connsiteY43" fmla="*/ 303 h 1039"/>
                  <a:gd name="connsiteX44" fmla="*/ 1984 w 4101"/>
                  <a:gd name="connsiteY44" fmla="*/ 355 h 1039"/>
                  <a:gd name="connsiteX45" fmla="*/ 1945 w 4101"/>
                  <a:gd name="connsiteY45" fmla="*/ 409 h 1039"/>
                  <a:gd name="connsiteX46" fmla="*/ 1908 w 4101"/>
                  <a:gd name="connsiteY46" fmla="*/ 463 h 1039"/>
                  <a:gd name="connsiteX47" fmla="*/ 1871 w 4101"/>
                  <a:gd name="connsiteY47" fmla="*/ 519 h 1039"/>
                  <a:gd name="connsiteX48" fmla="*/ 1834 w 4101"/>
                  <a:gd name="connsiteY48" fmla="*/ 577 h 1039"/>
                  <a:gd name="connsiteX49" fmla="*/ 1799 w 4101"/>
                  <a:gd name="connsiteY49" fmla="*/ 633 h 1039"/>
                  <a:gd name="connsiteX50" fmla="*/ 1724 w 4101"/>
                  <a:gd name="connsiteY50" fmla="*/ 745 h 1039"/>
                  <a:gd name="connsiteX51" fmla="*/ 1685 w 4101"/>
                  <a:gd name="connsiteY51" fmla="*/ 797 h 1039"/>
                  <a:gd name="connsiteX52" fmla="*/ 1644 w 4101"/>
                  <a:gd name="connsiteY52" fmla="*/ 846 h 1039"/>
                  <a:gd name="connsiteX53" fmla="*/ 1600 w 4101"/>
                  <a:gd name="connsiteY53" fmla="*/ 892 h 1039"/>
                  <a:gd name="connsiteX54" fmla="*/ 1553 w 4101"/>
                  <a:gd name="connsiteY54" fmla="*/ 933 h 1039"/>
                  <a:gd name="connsiteX55" fmla="*/ 1503 w 4101"/>
                  <a:gd name="connsiteY55" fmla="*/ 969 h 1039"/>
                  <a:gd name="connsiteX56" fmla="*/ 1450 w 4101"/>
                  <a:gd name="connsiteY56" fmla="*/ 998 h 1039"/>
                  <a:gd name="connsiteX57" fmla="*/ 1394 w 4101"/>
                  <a:gd name="connsiteY57" fmla="*/ 1021 h 1039"/>
                  <a:gd name="connsiteX58" fmla="*/ 1330 w 4101"/>
                  <a:gd name="connsiteY58" fmla="*/ 1033 h 1039"/>
                  <a:gd name="connsiteX59" fmla="*/ 1264 w 4101"/>
                  <a:gd name="connsiteY59" fmla="*/ 1039 h 1039"/>
                  <a:gd name="connsiteX60" fmla="*/ 1258 w 4101"/>
                  <a:gd name="connsiteY60" fmla="*/ 1039 h 1039"/>
                  <a:gd name="connsiteX61" fmla="*/ 1190 w 4101"/>
                  <a:gd name="connsiteY61" fmla="*/ 1035 h 1039"/>
                  <a:gd name="connsiteX62" fmla="*/ 1128 w 4101"/>
                  <a:gd name="connsiteY62" fmla="*/ 1023 h 1039"/>
                  <a:gd name="connsiteX63" fmla="*/ 1070 w 4101"/>
                  <a:gd name="connsiteY63" fmla="*/ 1004 h 1039"/>
                  <a:gd name="connsiteX64" fmla="*/ 1018 w 4101"/>
                  <a:gd name="connsiteY64" fmla="*/ 979 h 1039"/>
                  <a:gd name="connsiteX65" fmla="*/ 971 w 4101"/>
                  <a:gd name="connsiteY65" fmla="*/ 948 h 1039"/>
                  <a:gd name="connsiteX66" fmla="*/ 925 w 4101"/>
                  <a:gd name="connsiteY66" fmla="*/ 911 h 1039"/>
                  <a:gd name="connsiteX67" fmla="*/ 884 w 4101"/>
                  <a:gd name="connsiteY67" fmla="*/ 869 h 1039"/>
                  <a:gd name="connsiteX68" fmla="*/ 847 w 4101"/>
                  <a:gd name="connsiteY68" fmla="*/ 824 h 1039"/>
                  <a:gd name="connsiteX69" fmla="*/ 810 w 4101"/>
                  <a:gd name="connsiteY69" fmla="*/ 776 h 1039"/>
                  <a:gd name="connsiteX70" fmla="*/ 777 w 4101"/>
                  <a:gd name="connsiteY70" fmla="*/ 724 h 1039"/>
                  <a:gd name="connsiteX71" fmla="*/ 742 w 4101"/>
                  <a:gd name="connsiteY71" fmla="*/ 670 h 1039"/>
                  <a:gd name="connsiteX72" fmla="*/ 711 w 4101"/>
                  <a:gd name="connsiteY72" fmla="*/ 614 h 1039"/>
                  <a:gd name="connsiteX73" fmla="*/ 678 w 4101"/>
                  <a:gd name="connsiteY73" fmla="*/ 556 h 1039"/>
                  <a:gd name="connsiteX74" fmla="*/ 616 w 4101"/>
                  <a:gd name="connsiteY74" fmla="*/ 444 h 1039"/>
                  <a:gd name="connsiteX75" fmla="*/ 547 w 4101"/>
                  <a:gd name="connsiteY75" fmla="*/ 336 h 1039"/>
                  <a:gd name="connsiteX76" fmla="*/ 504 w 4101"/>
                  <a:gd name="connsiteY76" fmla="*/ 280 h 1039"/>
                  <a:gd name="connsiteX77" fmla="*/ 457 w 4101"/>
                  <a:gd name="connsiteY77" fmla="*/ 235 h 1039"/>
                  <a:gd name="connsiteX78" fmla="*/ 409 w 4101"/>
                  <a:gd name="connsiteY78" fmla="*/ 195 h 1039"/>
                  <a:gd name="connsiteX79" fmla="*/ 358 w 4101"/>
                  <a:gd name="connsiteY79" fmla="*/ 164 h 1039"/>
                  <a:gd name="connsiteX80" fmla="*/ 308 w 4101"/>
                  <a:gd name="connsiteY80" fmla="*/ 141 h 1039"/>
                  <a:gd name="connsiteX81" fmla="*/ 256 w 4101"/>
                  <a:gd name="connsiteY81" fmla="*/ 123 h 1039"/>
                  <a:gd name="connsiteX82" fmla="*/ 209 w 4101"/>
                  <a:gd name="connsiteY82" fmla="*/ 108 h 1039"/>
                  <a:gd name="connsiteX83" fmla="*/ 163 w 4101"/>
                  <a:gd name="connsiteY83" fmla="*/ 100 h 1039"/>
                  <a:gd name="connsiteX84" fmla="*/ 122 w 4101"/>
                  <a:gd name="connsiteY84" fmla="*/ 96 h 1039"/>
                  <a:gd name="connsiteX85" fmla="*/ 85 w 4101"/>
                  <a:gd name="connsiteY85" fmla="*/ 91 h 1039"/>
                  <a:gd name="connsiteX86" fmla="*/ 31 w 4101"/>
                  <a:gd name="connsiteY86" fmla="*/ 91 h 1039"/>
                  <a:gd name="connsiteX87" fmla="*/ 17 w 4101"/>
                  <a:gd name="connsiteY87" fmla="*/ 94 h 1039"/>
                  <a:gd name="connsiteX88" fmla="*/ 11 w 4101"/>
                  <a:gd name="connsiteY88" fmla="*/ 94 h 1039"/>
                  <a:gd name="connsiteX89" fmla="*/ 0 w 4101"/>
                  <a:gd name="connsiteY89" fmla="*/ 9 h 1039"/>
                  <a:gd name="connsiteX90" fmla="*/ 9 w 4101"/>
                  <a:gd name="connsiteY90" fmla="*/ 9 h 1039"/>
                  <a:gd name="connsiteX91" fmla="*/ 29 w 4101"/>
                  <a:gd name="connsiteY91" fmla="*/ 6 h 1039"/>
                  <a:gd name="connsiteX92" fmla="*/ 91 w 4101"/>
                  <a:gd name="connsiteY92" fmla="*/ 6 h 1039"/>
                  <a:gd name="connsiteX93" fmla="*/ 135 w 4101"/>
                  <a:gd name="connsiteY93" fmla="*/ 9 h 1039"/>
                  <a:gd name="connsiteX94" fmla="*/ 182 w 4101"/>
                  <a:gd name="connsiteY94" fmla="*/ 15 h 1039"/>
                  <a:gd name="connsiteX95" fmla="*/ 234 w 4101"/>
                  <a:gd name="connsiteY95" fmla="*/ 25 h 1039"/>
                  <a:gd name="connsiteX96" fmla="*/ 287 w 4101"/>
                  <a:gd name="connsiteY96" fmla="*/ 42 h 1039"/>
                  <a:gd name="connsiteX97" fmla="*/ 345 w 4101"/>
                  <a:gd name="connsiteY97" fmla="*/ 62 h 1039"/>
                  <a:gd name="connsiteX98" fmla="*/ 403 w 4101"/>
                  <a:gd name="connsiteY98" fmla="*/ 89 h 1039"/>
                  <a:gd name="connsiteX99" fmla="*/ 459 w 4101"/>
                  <a:gd name="connsiteY99" fmla="*/ 127 h 1039"/>
                  <a:gd name="connsiteX100" fmla="*/ 514 w 4101"/>
                  <a:gd name="connsiteY100" fmla="*/ 170 h 1039"/>
                  <a:gd name="connsiteX101" fmla="*/ 568 w 4101"/>
                  <a:gd name="connsiteY101" fmla="*/ 224 h 1039"/>
                  <a:gd name="connsiteX102" fmla="*/ 618 w 4101"/>
                  <a:gd name="connsiteY102" fmla="*/ 288 h 1039"/>
                  <a:gd name="connsiteX103" fmla="*/ 667 w 4101"/>
                  <a:gd name="connsiteY103" fmla="*/ 363 h 1039"/>
                  <a:gd name="connsiteX104" fmla="*/ 754 w 4101"/>
                  <a:gd name="connsiteY104" fmla="*/ 512 h 1039"/>
                  <a:gd name="connsiteX105" fmla="*/ 787 w 4101"/>
                  <a:gd name="connsiteY105" fmla="*/ 571 h 1039"/>
                  <a:gd name="connsiteX106" fmla="*/ 820 w 4101"/>
                  <a:gd name="connsiteY106" fmla="*/ 627 h 1039"/>
                  <a:gd name="connsiteX107" fmla="*/ 853 w 4101"/>
                  <a:gd name="connsiteY107" fmla="*/ 680 h 1039"/>
                  <a:gd name="connsiteX108" fmla="*/ 886 w 4101"/>
                  <a:gd name="connsiteY108" fmla="*/ 732 h 1039"/>
                  <a:gd name="connsiteX109" fmla="*/ 921 w 4101"/>
                  <a:gd name="connsiteY109" fmla="*/ 778 h 1039"/>
                  <a:gd name="connsiteX110" fmla="*/ 958 w 4101"/>
                  <a:gd name="connsiteY110" fmla="*/ 821 h 1039"/>
                  <a:gd name="connsiteX111" fmla="*/ 1000 w 4101"/>
                  <a:gd name="connsiteY111" fmla="*/ 859 h 1039"/>
                  <a:gd name="connsiteX112" fmla="*/ 1043 w 4101"/>
                  <a:gd name="connsiteY112" fmla="*/ 890 h 1039"/>
                  <a:gd name="connsiteX113" fmla="*/ 1090 w 4101"/>
                  <a:gd name="connsiteY113" fmla="*/ 917 h 1039"/>
                  <a:gd name="connsiteX114" fmla="*/ 1140 w 4101"/>
                  <a:gd name="connsiteY114" fmla="*/ 935 h 1039"/>
                  <a:gd name="connsiteX115" fmla="*/ 1196 w 4101"/>
                  <a:gd name="connsiteY115" fmla="*/ 948 h 1039"/>
                  <a:gd name="connsiteX116" fmla="*/ 1258 w 4101"/>
                  <a:gd name="connsiteY116" fmla="*/ 952 h 1039"/>
                  <a:gd name="connsiteX117" fmla="*/ 1264 w 4101"/>
                  <a:gd name="connsiteY117" fmla="*/ 952 h 1039"/>
                  <a:gd name="connsiteX118" fmla="*/ 1324 w 4101"/>
                  <a:gd name="connsiteY118" fmla="*/ 946 h 1039"/>
                  <a:gd name="connsiteX119" fmla="*/ 1380 w 4101"/>
                  <a:gd name="connsiteY119" fmla="*/ 931 h 1039"/>
                  <a:gd name="connsiteX120" fmla="*/ 1433 w 4101"/>
                  <a:gd name="connsiteY120" fmla="*/ 909 h 1039"/>
                  <a:gd name="connsiteX121" fmla="*/ 1481 w 4101"/>
                  <a:gd name="connsiteY121" fmla="*/ 880 h 1039"/>
                  <a:gd name="connsiteX122" fmla="*/ 1526 w 4101"/>
                  <a:gd name="connsiteY122" fmla="*/ 842 h 1039"/>
                  <a:gd name="connsiteX123" fmla="*/ 1569 w 4101"/>
                  <a:gd name="connsiteY123" fmla="*/ 799 h 1039"/>
                  <a:gd name="connsiteX124" fmla="*/ 1609 w 4101"/>
                  <a:gd name="connsiteY124" fmla="*/ 751 h 1039"/>
                  <a:gd name="connsiteX125" fmla="*/ 1648 w 4101"/>
                  <a:gd name="connsiteY125" fmla="*/ 699 h 1039"/>
                  <a:gd name="connsiteX126" fmla="*/ 1687 w 4101"/>
                  <a:gd name="connsiteY126" fmla="*/ 645 h 1039"/>
                  <a:gd name="connsiteX127" fmla="*/ 1799 w 4101"/>
                  <a:gd name="connsiteY127" fmla="*/ 471 h 1039"/>
                  <a:gd name="connsiteX128" fmla="*/ 1838 w 4101"/>
                  <a:gd name="connsiteY128" fmla="*/ 411 h 1039"/>
                  <a:gd name="connsiteX129" fmla="*/ 1879 w 4101"/>
                  <a:gd name="connsiteY129" fmla="*/ 353 h 1039"/>
                  <a:gd name="connsiteX130" fmla="*/ 1923 w 4101"/>
                  <a:gd name="connsiteY130" fmla="*/ 295 h 1039"/>
                  <a:gd name="connsiteX131" fmla="*/ 1968 w 4101"/>
                  <a:gd name="connsiteY131" fmla="*/ 241 h 1039"/>
                  <a:gd name="connsiteX132" fmla="*/ 2015 w 4101"/>
                  <a:gd name="connsiteY132" fmla="*/ 189 h 1039"/>
                  <a:gd name="connsiteX133" fmla="*/ 2069 w 4101"/>
                  <a:gd name="connsiteY133" fmla="*/ 141 h 1039"/>
                  <a:gd name="connsiteX134" fmla="*/ 2125 w 4101"/>
                  <a:gd name="connsiteY134" fmla="*/ 100 h 1039"/>
                  <a:gd name="connsiteX135" fmla="*/ 2187 w 4101"/>
                  <a:gd name="connsiteY135" fmla="*/ 65 h 1039"/>
                  <a:gd name="connsiteX136" fmla="*/ 2253 w 4101"/>
                  <a:gd name="connsiteY136" fmla="*/ 35 h 1039"/>
                  <a:gd name="connsiteX137" fmla="*/ 2325 w 4101"/>
                  <a:gd name="connsiteY137" fmla="*/ 15 h 1039"/>
                  <a:gd name="connsiteX138" fmla="*/ 2404 w 4101"/>
                  <a:gd name="connsiteY138" fmla="*/ 2 h 1039"/>
                  <a:gd name="connsiteX139" fmla="*/ 2474 w 4101"/>
                  <a:gd name="connsiteY139" fmla="*/ 0 h 1039"/>
                  <a:gd name="connsiteX140" fmla="*/ 2540 w 4101"/>
                  <a:gd name="connsiteY140" fmla="*/ 9 h 1039"/>
                  <a:gd name="connsiteX141" fmla="*/ 2600 w 4101"/>
                  <a:gd name="connsiteY141" fmla="*/ 23 h 1039"/>
                  <a:gd name="connsiteX142" fmla="*/ 2658 w 4101"/>
                  <a:gd name="connsiteY142" fmla="*/ 46 h 1039"/>
                  <a:gd name="connsiteX143" fmla="*/ 2711 w 4101"/>
                  <a:gd name="connsiteY143" fmla="*/ 77 h 1039"/>
                  <a:gd name="connsiteX144" fmla="*/ 2761 w 4101"/>
                  <a:gd name="connsiteY144" fmla="*/ 112 h 1039"/>
                  <a:gd name="connsiteX145" fmla="*/ 2806 w 4101"/>
                  <a:gd name="connsiteY145" fmla="*/ 154 h 1039"/>
                  <a:gd name="connsiteX146" fmla="*/ 2852 w 4101"/>
                  <a:gd name="connsiteY146" fmla="*/ 199 h 1039"/>
                  <a:gd name="connsiteX147" fmla="*/ 2893 w 4101"/>
                  <a:gd name="connsiteY147" fmla="*/ 247 h 1039"/>
                  <a:gd name="connsiteX148" fmla="*/ 2932 w 4101"/>
                  <a:gd name="connsiteY148" fmla="*/ 299 h 1039"/>
                  <a:gd name="connsiteX149" fmla="*/ 2969 w 4101"/>
                  <a:gd name="connsiteY149" fmla="*/ 353 h 1039"/>
                  <a:gd name="connsiteX150" fmla="*/ 3004 w 4101"/>
                  <a:gd name="connsiteY150" fmla="*/ 409 h 1039"/>
                  <a:gd name="connsiteX151" fmla="*/ 3039 w 4101"/>
                  <a:gd name="connsiteY151" fmla="*/ 463 h 1039"/>
                  <a:gd name="connsiteX152" fmla="*/ 3073 w 4101"/>
                  <a:gd name="connsiteY152" fmla="*/ 519 h 1039"/>
                  <a:gd name="connsiteX153" fmla="*/ 3110 w 4101"/>
                  <a:gd name="connsiteY153" fmla="*/ 581 h 1039"/>
                  <a:gd name="connsiteX154" fmla="*/ 3147 w 4101"/>
                  <a:gd name="connsiteY154" fmla="*/ 639 h 1039"/>
                  <a:gd name="connsiteX155" fmla="*/ 3186 w 4101"/>
                  <a:gd name="connsiteY155" fmla="*/ 697 h 1039"/>
                  <a:gd name="connsiteX156" fmla="*/ 3223 w 4101"/>
                  <a:gd name="connsiteY156" fmla="*/ 751 h 1039"/>
                  <a:gd name="connsiteX157" fmla="*/ 3265 w 4101"/>
                  <a:gd name="connsiteY157" fmla="*/ 801 h 1039"/>
                  <a:gd name="connsiteX158" fmla="*/ 3306 w 4101"/>
                  <a:gd name="connsiteY158" fmla="*/ 844 h 1039"/>
                  <a:gd name="connsiteX159" fmla="*/ 3349 w 4101"/>
                  <a:gd name="connsiteY159" fmla="*/ 882 h 1039"/>
                  <a:gd name="connsiteX160" fmla="*/ 3395 w 4101"/>
                  <a:gd name="connsiteY160" fmla="*/ 913 h 1039"/>
                  <a:gd name="connsiteX161" fmla="*/ 3444 w 4101"/>
                  <a:gd name="connsiteY161" fmla="*/ 935 h 1039"/>
                  <a:gd name="connsiteX162" fmla="*/ 3498 w 4101"/>
                  <a:gd name="connsiteY162" fmla="*/ 948 h 1039"/>
                  <a:gd name="connsiteX163" fmla="*/ 3554 w 4101"/>
                  <a:gd name="connsiteY163" fmla="*/ 952 h 1039"/>
                  <a:gd name="connsiteX164" fmla="*/ 3609 w 4101"/>
                  <a:gd name="connsiteY164" fmla="*/ 946 h 1039"/>
                  <a:gd name="connsiteX165" fmla="*/ 3659 w 4101"/>
                  <a:gd name="connsiteY165" fmla="*/ 931 h 1039"/>
                  <a:gd name="connsiteX166" fmla="*/ 3706 w 4101"/>
                  <a:gd name="connsiteY166" fmla="*/ 911 h 1039"/>
                  <a:gd name="connsiteX167" fmla="*/ 3750 w 4101"/>
                  <a:gd name="connsiteY167" fmla="*/ 880 h 1039"/>
                  <a:gd name="connsiteX168" fmla="*/ 3789 w 4101"/>
                  <a:gd name="connsiteY168" fmla="*/ 844 h 1039"/>
                  <a:gd name="connsiteX169" fmla="*/ 3826 w 4101"/>
                  <a:gd name="connsiteY169" fmla="*/ 803 h 1039"/>
                  <a:gd name="connsiteX170" fmla="*/ 3861 w 4101"/>
                  <a:gd name="connsiteY170" fmla="*/ 755 h 1039"/>
                  <a:gd name="connsiteX171" fmla="*/ 3894 w 4101"/>
                  <a:gd name="connsiteY171" fmla="*/ 705 h 1039"/>
                  <a:gd name="connsiteX172" fmla="*/ 3927 w 4101"/>
                  <a:gd name="connsiteY172" fmla="*/ 651 h 1039"/>
                  <a:gd name="connsiteX173" fmla="*/ 3960 w 4101"/>
                  <a:gd name="connsiteY173" fmla="*/ 593 h 1039"/>
                  <a:gd name="connsiteX174" fmla="*/ 3993 w 4101"/>
                  <a:gd name="connsiteY174" fmla="*/ 533 h 1039"/>
                  <a:gd name="connsiteX175" fmla="*/ 4022 w 4101"/>
                  <a:gd name="connsiteY175" fmla="*/ 479 h 1039"/>
                  <a:gd name="connsiteX176" fmla="*/ 4084 w 4101"/>
                  <a:gd name="connsiteY176" fmla="*/ 371 h 1039"/>
                  <a:gd name="connsiteX0" fmla="*/ 4084 w 4084"/>
                  <a:gd name="connsiteY0" fmla="*/ 371 h 1039"/>
                  <a:gd name="connsiteX1" fmla="*/ 4008 w 4084"/>
                  <a:gd name="connsiteY1" fmla="*/ 687 h 1039"/>
                  <a:gd name="connsiteX2" fmla="*/ 3975 w 4084"/>
                  <a:gd name="connsiteY2" fmla="*/ 743 h 1039"/>
                  <a:gd name="connsiteX3" fmla="*/ 3940 w 4084"/>
                  <a:gd name="connsiteY3" fmla="*/ 794 h 1039"/>
                  <a:gd name="connsiteX4" fmla="*/ 3905 w 4084"/>
                  <a:gd name="connsiteY4" fmla="*/ 844 h 1039"/>
                  <a:gd name="connsiteX5" fmla="*/ 3865 w 4084"/>
                  <a:gd name="connsiteY5" fmla="*/ 890 h 1039"/>
                  <a:gd name="connsiteX6" fmla="*/ 3824 w 4084"/>
                  <a:gd name="connsiteY6" fmla="*/ 931 h 1039"/>
                  <a:gd name="connsiteX7" fmla="*/ 3779 w 4084"/>
                  <a:gd name="connsiteY7" fmla="*/ 967 h 1039"/>
                  <a:gd name="connsiteX8" fmla="*/ 3729 w 4084"/>
                  <a:gd name="connsiteY8" fmla="*/ 996 h 1039"/>
                  <a:gd name="connsiteX9" fmla="*/ 3677 w 4084"/>
                  <a:gd name="connsiteY9" fmla="*/ 1018 h 1039"/>
                  <a:gd name="connsiteX10" fmla="*/ 3620 w 4084"/>
                  <a:gd name="connsiteY10" fmla="*/ 1033 h 1039"/>
                  <a:gd name="connsiteX11" fmla="*/ 3556 w 4084"/>
                  <a:gd name="connsiteY11" fmla="*/ 1039 h 1039"/>
                  <a:gd name="connsiteX12" fmla="*/ 3547 w 4084"/>
                  <a:gd name="connsiteY12" fmla="*/ 1039 h 1039"/>
                  <a:gd name="connsiteX13" fmla="*/ 3485 w 4084"/>
                  <a:gd name="connsiteY13" fmla="*/ 1035 h 1039"/>
                  <a:gd name="connsiteX14" fmla="*/ 3426 w 4084"/>
                  <a:gd name="connsiteY14" fmla="*/ 1021 h 1039"/>
                  <a:gd name="connsiteX15" fmla="*/ 3372 w 4084"/>
                  <a:gd name="connsiteY15" fmla="*/ 998 h 1039"/>
                  <a:gd name="connsiteX16" fmla="*/ 3320 w 4084"/>
                  <a:gd name="connsiteY16" fmla="*/ 969 h 1039"/>
                  <a:gd name="connsiteX17" fmla="*/ 3273 w 4084"/>
                  <a:gd name="connsiteY17" fmla="*/ 931 h 1039"/>
                  <a:gd name="connsiteX18" fmla="*/ 3229 w 4084"/>
                  <a:gd name="connsiteY18" fmla="*/ 890 h 1039"/>
                  <a:gd name="connsiteX19" fmla="*/ 3186 w 4084"/>
                  <a:gd name="connsiteY19" fmla="*/ 842 h 1039"/>
                  <a:gd name="connsiteX20" fmla="*/ 3147 w 4084"/>
                  <a:gd name="connsiteY20" fmla="*/ 792 h 1039"/>
                  <a:gd name="connsiteX21" fmla="*/ 3108 w 4084"/>
                  <a:gd name="connsiteY21" fmla="*/ 736 h 1039"/>
                  <a:gd name="connsiteX22" fmla="*/ 3070 w 4084"/>
                  <a:gd name="connsiteY22" fmla="*/ 680 h 1039"/>
                  <a:gd name="connsiteX23" fmla="*/ 2965 w 4084"/>
                  <a:gd name="connsiteY23" fmla="*/ 506 h 1039"/>
                  <a:gd name="connsiteX24" fmla="*/ 2928 w 4084"/>
                  <a:gd name="connsiteY24" fmla="*/ 448 h 1039"/>
                  <a:gd name="connsiteX25" fmla="*/ 2891 w 4084"/>
                  <a:gd name="connsiteY25" fmla="*/ 392 h 1039"/>
                  <a:gd name="connsiteX26" fmla="*/ 2854 w 4084"/>
                  <a:gd name="connsiteY26" fmla="*/ 338 h 1039"/>
                  <a:gd name="connsiteX27" fmla="*/ 2814 w 4084"/>
                  <a:gd name="connsiteY27" fmla="*/ 288 h 1039"/>
                  <a:gd name="connsiteX28" fmla="*/ 2773 w 4084"/>
                  <a:gd name="connsiteY28" fmla="*/ 243 h 1039"/>
                  <a:gd name="connsiteX29" fmla="*/ 2732 w 4084"/>
                  <a:gd name="connsiteY29" fmla="*/ 201 h 1039"/>
                  <a:gd name="connsiteX30" fmla="*/ 2686 w 4084"/>
                  <a:gd name="connsiteY30" fmla="*/ 164 h 1039"/>
                  <a:gd name="connsiteX31" fmla="*/ 2639 w 4084"/>
                  <a:gd name="connsiteY31" fmla="*/ 135 h 1039"/>
                  <a:gd name="connsiteX32" fmla="*/ 2587 w 4084"/>
                  <a:gd name="connsiteY32" fmla="*/ 112 h 1039"/>
                  <a:gd name="connsiteX33" fmla="*/ 2532 w 4084"/>
                  <a:gd name="connsiteY33" fmla="*/ 96 h 1039"/>
                  <a:gd name="connsiteX34" fmla="*/ 2474 w 4084"/>
                  <a:gd name="connsiteY34" fmla="*/ 87 h 1039"/>
                  <a:gd name="connsiteX35" fmla="*/ 2410 w 4084"/>
                  <a:gd name="connsiteY35" fmla="*/ 89 h 1039"/>
                  <a:gd name="connsiteX36" fmla="*/ 2342 w 4084"/>
                  <a:gd name="connsiteY36" fmla="*/ 100 h 1039"/>
                  <a:gd name="connsiteX37" fmla="*/ 2280 w 4084"/>
                  <a:gd name="connsiteY37" fmla="*/ 118 h 1039"/>
                  <a:gd name="connsiteX38" fmla="*/ 2222 w 4084"/>
                  <a:gd name="connsiteY38" fmla="*/ 143 h 1039"/>
                  <a:gd name="connsiteX39" fmla="*/ 2168 w 4084"/>
                  <a:gd name="connsiteY39" fmla="*/ 176 h 1039"/>
                  <a:gd name="connsiteX40" fmla="*/ 2117 w 4084"/>
                  <a:gd name="connsiteY40" fmla="*/ 214 h 1039"/>
                  <a:gd name="connsiteX41" fmla="*/ 2071 w 4084"/>
                  <a:gd name="connsiteY41" fmla="*/ 257 h 1039"/>
                  <a:gd name="connsiteX42" fmla="*/ 2026 w 4084"/>
                  <a:gd name="connsiteY42" fmla="*/ 303 h 1039"/>
                  <a:gd name="connsiteX43" fmla="*/ 1984 w 4084"/>
                  <a:gd name="connsiteY43" fmla="*/ 355 h 1039"/>
                  <a:gd name="connsiteX44" fmla="*/ 1945 w 4084"/>
                  <a:gd name="connsiteY44" fmla="*/ 409 h 1039"/>
                  <a:gd name="connsiteX45" fmla="*/ 1908 w 4084"/>
                  <a:gd name="connsiteY45" fmla="*/ 463 h 1039"/>
                  <a:gd name="connsiteX46" fmla="*/ 1871 w 4084"/>
                  <a:gd name="connsiteY46" fmla="*/ 519 h 1039"/>
                  <a:gd name="connsiteX47" fmla="*/ 1834 w 4084"/>
                  <a:gd name="connsiteY47" fmla="*/ 577 h 1039"/>
                  <a:gd name="connsiteX48" fmla="*/ 1799 w 4084"/>
                  <a:gd name="connsiteY48" fmla="*/ 633 h 1039"/>
                  <a:gd name="connsiteX49" fmla="*/ 1724 w 4084"/>
                  <a:gd name="connsiteY49" fmla="*/ 745 h 1039"/>
                  <a:gd name="connsiteX50" fmla="*/ 1685 w 4084"/>
                  <a:gd name="connsiteY50" fmla="*/ 797 h 1039"/>
                  <a:gd name="connsiteX51" fmla="*/ 1644 w 4084"/>
                  <a:gd name="connsiteY51" fmla="*/ 846 h 1039"/>
                  <a:gd name="connsiteX52" fmla="*/ 1600 w 4084"/>
                  <a:gd name="connsiteY52" fmla="*/ 892 h 1039"/>
                  <a:gd name="connsiteX53" fmla="*/ 1553 w 4084"/>
                  <a:gd name="connsiteY53" fmla="*/ 933 h 1039"/>
                  <a:gd name="connsiteX54" fmla="*/ 1503 w 4084"/>
                  <a:gd name="connsiteY54" fmla="*/ 969 h 1039"/>
                  <a:gd name="connsiteX55" fmla="*/ 1450 w 4084"/>
                  <a:gd name="connsiteY55" fmla="*/ 998 h 1039"/>
                  <a:gd name="connsiteX56" fmla="*/ 1394 w 4084"/>
                  <a:gd name="connsiteY56" fmla="*/ 1021 h 1039"/>
                  <a:gd name="connsiteX57" fmla="*/ 1330 w 4084"/>
                  <a:gd name="connsiteY57" fmla="*/ 1033 h 1039"/>
                  <a:gd name="connsiteX58" fmla="*/ 1264 w 4084"/>
                  <a:gd name="connsiteY58" fmla="*/ 1039 h 1039"/>
                  <a:gd name="connsiteX59" fmla="*/ 1258 w 4084"/>
                  <a:gd name="connsiteY59" fmla="*/ 1039 h 1039"/>
                  <a:gd name="connsiteX60" fmla="*/ 1190 w 4084"/>
                  <a:gd name="connsiteY60" fmla="*/ 1035 h 1039"/>
                  <a:gd name="connsiteX61" fmla="*/ 1128 w 4084"/>
                  <a:gd name="connsiteY61" fmla="*/ 1023 h 1039"/>
                  <a:gd name="connsiteX62" fmla="*/ 1070 w 4084"/>
                  <a:gd name="connsiteY62" fmla="*/ 1004 h 1039"/>
                  <a:gd name="connsiteX63" fmla="*/ 1018 w 4084"/>
                  <a:gd name="connsiteY63" fmla="*/ 979 h 1039"/>
                  <a:gd name="connsiteX64" fmla="*/ 971 w 4084"/>
                  <a:gd name="connsiteY64" fmla="*/ 948 h 1039"/>
                  <a:gd name="connsiteX65" fmla="*/ 925 w 4084"/>
                  <a:gd name="connsiteY65" fmla="*/ 911 h 1039"/>
                  <a:gd name="connsiteX66" fmla="*/ 884 w 4084"/>
                  <a:gd name="connsiteY66" fmla="*/ 869 h 1039"/>
                  <a:gd name="connsiteX67" fmla="*/ 847 w 4084"/>
                  <a:gd name="connsiteY67" fmla="*/ 824 h 1039"/>
                  <a:gd name="connsiteX68" fmla="*/ 810 w 4084"/>
                  <a:gd name="connsiteY68" fmla="*/ 776 h 1039"/>
                  <a:gd name="connsiteX69" fmla="*/ 777 w 4084"/>
                  <a:gd name="connsiteY69" fmla="*/ 724 h 1039"/>
                  <a:gd name="connsiteX70" fmla="*/ 742 w 4084"/>
                  <a:gd name="connsiteY70" fmla="*/ 670 h 1039"/>
                  <a:gd name="connsiteX71" fmla="*/ 711 w 4084"/>
                  <a:gd name="connsiteY71" fmla="*/ 614 h 1039"/>
                  <a:gd name="connsiteX72" fmla="*/ 678 w 4084"/>
                  <a:gd name="connsiteY72" fmla="*/ 556 h 1039"/>
                  <a:gd name="connsiteX73" fmla="*/ 616 w 4084"/>
                  <a:gd name="connsiteY73" fmla="*/ 444 h 1039"/>
                  <a:gd name="connsiteX74" fmla="*/ 547 w 4084"/>
                  <a:gd name="connsiteY74" fmla="*/ 336 h 1039"/>
                  <a:gd name="connsiteX75" fmla="*/ 504 w 4084"/>
                  <a:gd name="connsiteY75" fmla="*/ 280 h 1039"/>
                  <a:gd name="connsiteX76" fmla="*/ 457 w 4084"/>
                  <a:gd name="connsiteY76" fmla="*/ 235 h 1039"/>
                  <a:gd name="connsiteX77" fmla="*/ 409 w 4084"/>
                  <a:gd name="connsiteY77" fmla="*/ 195 h 1039"/>
                  <a:gd name="connsiteX78" fmla="*/ 358 w 4084"/>
                  <a:gd name="connsiteY78" fmla="*/ 164 h 1039"/>
                  <a:gd name="connsiteX79" fmla="*/ 308 w 4084"/>
                  <a:gd name="connsiteY79" fmla="*/ 141 h 1039"/>
                  <a:gd name="connsiteX80" fmla="*/ 256 w 4084"/>
                  <a:gd name="connsiteY80" fmla="*/ 123 h 1039"/>
                  <a:gd name="connsiteX81" fmla="*/ 209 w 4084"/>
                  <a:gd name="connsiteY81" fmla="*/ 108 h 1039"/>
                  <a:gd name="connsiteX82" fmla="*/ 163 w 4084"/>
                  <a:gd name="connsiteY82" fmla="*/ 100 h 1039"/>
                  <a:gd name="connsiteX83" fmla="*/ 122 w 4084"/>
                  <a:gd name="connsiteY83" fmla="*/ 96 h 1039"/>
                  <a:gd name="connsiteX84" fmla="*/ 85 w 4084"/>
                  <a:gd name="connsiteY84" fmla="*/ 91 h 1039"/>
                  <a:gd name="connsiteX85" fmla="*/ 31 w 4084"/>
                  <a:gd name="connsiteY85" fmla="*/ 91 h 1039"/>
                  <a:gd name="connsiteX86" fmla="*/ 17 w 4084"/>
                  <a:gd name="connsiteY86" fmla="*/ 94 h 1039"/>
                  <a:gd name="connsiteX87" fmla="*/ 11 w 4084"/>
                  <a:gd name="connsiteY87" fmla="*/ 94 h 1039"/>
                  <a:gd name="connsiteX88" fmla="*/ 0 w 4084"/>
                  <a:gd name="connsiteY88" fmla="*/ 9 h 1039"/>
                  <a:gd name="connsiteX89" fmla="*/ 9 w 4084"/>
                  <a:gd name="connsiteY89" fmla="*/ 9 h 1039"/>
                  <a:gd name="connsiteX90" fmla="*/ 29 w 4084"/>
                  <a:gd name="connsiteY90" fmla="*/ 6 h 1039"/>
                  <a:gd name="connsiteX91" fmla="*/ 91 w 4084"/>
                  <a:gd name="connsiteY91" fmla="*/ 6 h 1039"/>
                  <a:gd name="connsiteX92" fmla="*/ 135 w 4084"/>
                  <a:gd name="connsiteY92" fmla="*/ 9 h 1039"/>
                  <a:gd name="connsiteX93" fmla="*/ 182 w 4084"/>
                  <a:gd name="connsiteY93" fmla="*/ 15 h 1039"/>
                  <a:gd name="connsiteX94" fmla="*/ 234 w 4084"/>
                  <a:gd name="connsiteY94" fmla="*/ 25 h 1039"/>
                  <a:gd name="connsiteX95" fmla="*/ 287 w 4084"/>
                  <a:gd name="connsiteY95" fmla="*/ 42 h 1039"/>
                  <a:gd name="connsiteX96" fmla="*/ 345 w 4084"/>
                  <a:gd name="connsiteY96" fmla="*/ 62 h 1039"/>
                  <a:gd name="connsiteX97" fmla="*/ 403 w 4084"/>
                  <a:gd name="connsiteY97" fmla="*/ 89 h 1039"/>
                  <a:gd name="connsiteX98" fmla="*/ 459 w 4084"/>
                  <a:gd name="connsiteY98" fmla="*/ 127 h 1039"/>
                  <a:gd name="connsiteX99" fmla="*/ 514 w 4084"/>
                  <a:gd name="connsiteY99" fmla="*/ 170 h 1039"/>
                  <a:gd name="connsiteX100" fmla="*/ 568 w 4084"/>
                  <a:gd name="connsiteY100" fmla="*/ 224 h 1039"/>
                  <a:gd name="connsiteX101" fmla="*/ 618 w 4084"/>
                  <a:gd name="connsiteY101" fmla="*/ 288 h 1039"/>
                  <a:gd name="connsiteX102" fmla="*/ 667 w 4084"/>
                  <a:gd name="connsiteY102" fmla="*/ 363 h 1039"/>
                  <a:gd name="connsiteX103" fmla="*/ 754 w 4084"/>
                  <a:gd name="connsiteY103" fmla="*/ 512 h 1039"/>
                  <a:gd name="connsiteX104" fmla="*/ 787 w 4084"/>
                  <a:gd name="connsiteY104" fmla="*/ 571 h 1039"/>
                  <a:gd name="connsiteX105" fmla="*/ 820 w 4084"/>
                  <a:gd name="connsiteY105" fmla="*/ 627 h 1039"/>
                  <a:gd name="connsiteX106" fmla="*/ 853 w 4084"/>
                  <a:gd name="connsiteY106" fmla="*/ 680 h 1039"/>
                  <a:gd name="connsiteX107" fmla="*/ 886 w 4084"/>
                  <a:gd name="connsiteY107" fmla="*/ 732 h 1039"/>
                  <a:gd name="connsiteX108" fmla="*/ 921 w 4084"/>
                  <a:gd name="connsiteY108" fmla="*/ 778 h 1039"/>
                  <a:gd name="connsiteX109" fmla="*/ 958 w 4084"/>
                  <a:gd name="connsiteY109" fmla="*/ 821 h 1039"/>
                  <a:gd name="connsiteX110" fmla="*/ 1000 w 4084"/>
                  <a:gd name="connsiteY110" fmla="*/ 859 h 1039"/>
                  <a:gd name="connsiteX111" fmla="*/ 1043 w 4084"/>
                  <a:gd name="connsiteY111" fmla="*/ 890 h 1039"/>
                  <a:gd name="connsiteX112" fmla="*/ 1090 w 4084"/>
                  <a:gd name="connsiteY112" fmla="*/ 917 h 1039"/>
                  <a:gd name="connsiteX113" fmla="*/ 1140 w 4084"/>
                  <a:gd name="connsiteY113" fmla="*/ 935 h 1039"/>
                  <a:gd name="connsiteX114" fmla="*/ 1196 w 4084"/>
                  <a:gd name="connsiteY114" fmla="*/ 948 h 1039"/>
                  <a:gd name="connsiteX115" fmla="*/ 1258 w 4084"/>
                  <a:gd name="connsiteY115" fmla="*/ 952 h 1039"/>
                  <a:gd name="connsiteX116" fmla="*/ 1264 w 4084"/>
                  <a:gd name="connsiteY116" fmla="*/ 952 h 1039"/>
                  <a:gd name="connsiteX117" fmla="*/ 1324 w 4084"/>
                  <a:gd name="connsiteY117" fmla="*/ 946 h 1039"/>
                  <a:gd name="connsiteX118" fmla="*/ 1380 w 4084"/>
                  <a:gd name="connsiteY118" fmla="*/ 931 h 1039"/>
                  <a:gd name="connsiteX119" fmla="*/ 1433 w 4084"/>
                  <a:gd name="connsiteY119" fmla="*/ 909 h 1039"/>
                  <a:gd name="connsiteX120" fmla="*/ 1481 w 4084"/>
                  <a:gd name="connsiteY120" fmla="*/ 880 h 1039"/>
                  <a:gd name="connsiteX121" fmla="*/ 1526 w 4084"/>
                  <a:gd name="connsiteY121" fmla="*/ 842 h 1039"/>
                  <a:gd name="connsiteX122" fmla="*/ 1569 w 4084"/>
                  <a:gd name="connsiteY122" fmla="*/ 799 h 1039"/>
                  <a:gd name="connsiteX123" fmla="*/ 1609 w 4084"/>
                  <a:gd name="connsiteY123" fmla="*/ 751 h 1039"/>
                  <a:gd name="connsiteX124" fmla="*/ 1648 w 4084"/>
                  <a:gd name="connsiteY124" fmla="*/ 699 h 1039"/>
                  <a:gd name="connsiteX125" fmla="*/ 1687 w 4084"/>
                  <a:gd name="connsiteY125" fmla="*/ 645 h 1039"/>
                  <a:gd name="connsiteX126" fmla="*/ 1799 w 4084"/>
                  <a:gd name="connsiteY126" fmla="*/ 471 h 1039"/>
                  <a:gd name="connsiteX127" fmla="*/ 1838 w 4084"/>
                  <a:gd name="connsiteY127" fmla="*/ 411 h 1039"/>
                  <a:gd name="connsiteX128" fmla="*/ 1879 w 4084"/>
                  <a:gd name="connsiteY128" fmla="*/ 353 h 1039"/>
                  <a:gd name="connsiteX129" fmla="*/ 1923 w 4084"/>
                  <a:gd name="connsiteY129" fmla="*/ 295 h 1039"/>
                  <a:gd name="connsiteX130" fmla="*/ 1968 w 4084"/>
                  <a:gd name="connsiteY130" fmla="*/ 241 h 1039"/>
                  <a:gd name="connsiteX131" fmla="*/ 2015 w 4084"/>
                  <a:gd name="connsiteY131" fmla="*/ 189 h 1039"/>
                  <a:gd name="connsiteX132" fmla="*/ 2069 w 4084"/>
                  <a:gd name="connsiteY132" fmla="*/ 141 h 1039"/>
                  <a:gd name="connsiteX133" fmla="*/ 2125 w 4084"/>
                  <a:gd name="connsiteY133" fmla="*/ 100 h 1039"/>
                  <a:gd name="connsiteX134" fmla="*/ 2187 w 4084"/>
                  <a:gd name="connsiteY134" fmla="*/ 65 h 1039"/>
                  <a:gd name="connsiteX135" fmla="*/ 2253 w 4084"/>
                  <a:gd name="connsiteY135" fmla="*/ 35 h 1039"/>
                  <a:gd name="connsiteX136" fmla="*/ 2325 w 4084"/>
                  <a:gd name="connsiteY136" fmla="*/ 15 h 1039"/>
                  <a:gd name="connsiteX137" fmla="*/ 2404 w 4084"/>
                  <a:gd name="connsiteY137" fmla="*/ 2 h 1039"/>
                  <a:gd name="connsiteX138" fmla="*/ 2474 w 4084"/>
                  <a:gd name="connsiteY138" fmla="*/ 0 h 1039"/>
                  <a:gd name="connsiteX139" fmla="*/ 2540 w 4084"/>
                  <a:gd name="connsiteY139" fmla="*/ 9 h 1039"/>
                  <a:gd name="connsiteX140" fmla="*/ 2600 w 4084"/>
                  <a:gd name="connsiteY140" fmla="*/ 23 h 1039"/>
                  <a:gd name="connsiteX141" fmla="*/ 2658 w 4084"/>
                  <a:gd name="connsiteY141" fmla="*/ 46 h 1039"/>
                  <a:gd name="connsiteX142" fmla="*/ 2711 w 4084"/>
                  <a:gd name="connsiteY142" fmla="*/ 77 h 1039"/>
                  <a:gd name="connsiteX143" fmla="*/ 2761 w 4084"/>
                  <a:gd name="connsiteY143" fmla="*/ 112 h 1039"/>
                  <a:gd name="connsiteX144" fmla="*/ 2806 w 4084"/>
                  <a:gd name="connsiteY144" fmla="*/ 154 h 1039"/>
                  <a:gd name="connsiteX145" fmla="*/ 2852 w 4084"/>
                  <a:gd name="connsiteY145" fmla="*/ 199 h 1039"/>
                  <a:gd name="connsiteX146" fmla="*/ 2893 w 4084"/>
                  <a:gd name="connsiteY146" fmla="*/ 247 h 1039"/>
                  <a:gd name="connsiteX147" fmla="*/ 2932 w 4084"/>
                  <a:gd name="connsiteY147" fmla="*/ 299 h 1039"/>
                  <a:gd name="connsiteX148" fmla="*/ 2969 w 4084"/>
                  <a:gd name="connsiteY148" fmla="*/ 353 h 1039"/>
                  <a:gd name="connsiteX149" fmla="*/ 3004 w 4084"/>
                  <a:gd name="connsiteY149" fmla="*/ 409 h 1039"/>
                  <a:gd name="connsiteX150" fmla="*/ 3039 w 4084"/>
                  <a:gd name="connsiteY150" fmla="*/ 463 h 1039"/>
                  <a:gd name="connsiteX151" fmla="*/ 3073 w 4084"/>
                  <a:gd name="connsiteY151" fmla="*/ 519 h 1039"/>
                  <a:gd name="connsiteX152" fmla="*/ 3110 w 4084"/>
                  <a:gd name="connsiteY152" fmla="*/ 581 h 1039"/>
                  <a:gd name="connsiteX153" fmla="*/ 3147 w 4084"/>
                  <a:gd name="connsiteY153" fmla="*/ 639 h 1039"/>
                  <a:gd name="connsiteX154" fmla="*/ 3186 w 4084"/>
                  <a:gd name="connsiteY154" fmla="*/ 697 h 1039"/>
                  <a:gd name="connsiteX155" fmla="*/ 3223 w 4084"/>
                  <a:gd name="connsiteY155" fmla="*/ 751 h 1039"/>
                  <a:gd name="connsiteX156" fmla="*/ 3265 w 4084"/>
                  <a:gd name="connsiteY156" fmla="*/ 801 h 1039"/>
                  <a:gd name="connsiteX157" fmla="*/ 3306 w 4084"/>
                  <a:gd name="connsiteY157" fmla="*/ 844 h 1039"/>
                  <a:gd name="connsiteX158" fmla="*/ 3349 w 4084"/>
                  <a:gd name="connsiteY158" fmla="*/ 882 h 1039"/>
                  <a:gd name="connsiteX159" fmla="*/ 3395 w 4084"/>
                  <a:gd name="connsiteY159" fmla="*/ 913 h 1039"/>
                  <a:gd name="connsiteX160" fmla="*/ 3444 w 4084"/>
                  <a:gd name="connsiteY160" fmla="*/ 935 h 1039"/>
                  <a:gd name="connsiteX161" fmla="*/ 3498 w 4084"/>
                  <a:gd name="connsiteY161" fmla="*/ 948 h 1039"/>
                  <a:gd name="connsiteX162" fmla="*/ 3554 w 4084"/>
                  <a:gd name="connsiteY162" fmla="*/ 952 h 1039"/>
                  <a:gd name="connsiteX163" fmla="*/ 3609 w 4084"/>
                  <a:gd name="connsiteY163" fmla="*/ 946 h 1039"/>
                  <a:gd name="connsiteX164" fmla="*/ 3659 w 4084"/>
                  <a:gd name="connsiteY164" fmla="*/ 931 h 1039"/>
                  <a:gd name="connsiteX165" fmla="*/ 3706 w 4084"/>
                  <a:gd name="connsiteY165" fmla="*/ 911 h 1039"/>
                  <a:gd name="connsiteX166" fmla="*/ 3750 w 4084"/>
                  <a:gd name="connsiteY166" fmla="*/ 880 h 1039"/>
                  <a:gd name="connsiteX167" fmla="*/ 3789 w 4084"/>
                  <a:gd name="connsiteY167" fmla="*/ 844 h 1039"/>
                  <a:gd name="connsiteX168" fmla="*/ 3826 w 4084"/>
                  <a:gd name="connsiteY168" fmla="*/ 803 h 1039"/>
                  <a:gd name="connsiteX169" fmla="*/ 3861 w 4084"/>
                  <a:gd name="connsiteY169" fmla="*/ 755 h 1039"/>
                  <a:gd name="connsiteX170" fmla="*/ 3894 w 4084"/>
                  <a:gd name="connsiteY170" fmla="*/ 705 h 1039"/>
                  <a:gd name="connsiteX171" fmla="*/ 3927 w 4084"/>
                  <a:gd name="connsiteY171" fmla="*/ 651 h 1039"/>
                  <a:gd name="connsiteX172" fmla="*/ 3960 w 4084"/>
                  <a:gd name="connsiteY172" fmla="*/ 593 h 1039"/>
                  <a:gd name="connsiteX173" fmla="*/ 3993 w 4084"/>
                  <a:gd name="connsiteY173" fmla="*/ 533 h 1039"/>
                  <a:gd name="connsiteX174" fmla="*/ 4022 w 4084"/>
                  <a:gd name="connsiteY174" fmla="*/ 479 h 1039"/>
                  <a:gd name="connsiteX175" fmla="*/ 4084 w 4084"/>
                  <a:gd name="connsiteY175" fmla="*/ 371 h 1039"/>
                  <a:gd name="connsiteX0" fmla="*/ 4022 w 4025"/>
                  <a:gd name="connsiteY0" fmla="*/ 479 h 1039"/>
                  <a:gd name="connsiteX1" fmla="*/ 4008 w 4025"/>
                  <a:gd name="connsiteY1" fmla="*/ 687 h 1039"/>
                  <a:gd name="connsiteX2" fmla="*/ 3975 w 4025"/>
                  <a:gd name="connsiteY2" fmla="*/ 743 h 1039"/>
                  <a:gd name="connsiteX3" fmla="*/ 3940 w 4025"/>
                  <a:gd name="connsiteY3" fmla="*/ 794 h 1039"/>
                  <a:gd name="connsiteX4" fmla="*/ 3905 w 4025"/>
                  <a:gd name="connsiteY4" fmla="*/ 844 h 1039"/>
                  <a:gd name="connsiteX5" fmla="*/ 3865 w 4025"/>
                  <a:gd name="connsiteY5" fmla="*/ 890 h 1039"/>
                  <a:gd name="connsiteX6" fmla="*/ 3824 w 4025"/>
                  <a:gd name="connsiteY6" fmla="*/ 931 h 1039"/>
                  <a:gd name="connsiteX7" fmla="*/ 3779 w 4025"/>
                  <a:gd name="connsiteY7" fmla="*/ 967 h 1039"/>
                  <a:gd name="connsiteX8" fmla="*/ 3729 w 4025"/>
                  <a:gd name="connsiteY8" fmla="*/ 996 h 1039"/>
                  <a:gd name="connsiteX9" fmla="*/ 3677 w 4025"/>
                  <a:gd name="connsiteY9" fmla="*/ 1018 h 1039"/>
                  <a:gd name="connsiteX10" fmla="*/ 3620 w 4025"/>
                  <a:gd name="connsiteY10" fmla="*/ 1033 h 1039"/>
                  <a:gd name="connsiteX11" fmla="*/ 3556 w 4025"/>
                  <a:gd name="connsiteY11" fmla="*/ 1039 h 1039"/>
                  <a:gd name="connsiteX12" fmla="*/ 3547 w 4025"/>
                  <a:gd name="connsiteY12" fmla="*/ 1039 h 1039"/>
                  <a:gd name="connsiteX13" fmla="*/ 3485 w 4025"/>
                  <a:gd name="connsiteY13" fmla="*/ 1035 h 1039"/>
                  <a:gd name="connsiteX14" fmla="*/ 3426 w 4025"/>
                  <a:gd name="connsiteY14" fmla="*/ 1021 h 1039"/>
                  <a:gd name="connsiteX15" fmla="*/ 3372 w 4025"/>
                  <a:gd name="connsiteY15" fmla="*/ 998 h 1039"/>
                  <a:gd name="connsiteX16" fmla="*/ 3320 w 4025"/>
                  <a:gd name="connsiteY16" fmla="*/ 969 h 1039"/>
                  <a:gd name="connsiteX17" fmla="*/ 3273 w 4025"/>
                  <a:gd name="connsiteY17" fmla="*/ 931 h 1039"/>
                  <a:gd name="connsiteX18" fmla="*/ 3229 w 4025"/>
                  <a:gd name="connsiteY18" fmla="*/ 890 h 1039"/>
                  <a:gd name="connsiteX19" fmla="*/ 3186 w 4025"/>
                  <a:gd name="connsiteY19" fmla="*/ 842 h 1039"/>
                  <a:gd name="connsiteX20" fmla="*/ 3147 w 4025"/>
                  <a:gd name="connsiteY20" fmla="*/ 792 h 1039"/>
                  <a:gd name="connsiteX21" fmla="*/ 3108 w 4025"/>
                  <a:gd name="connsiteY21" fmla="*/ 736 h 1039"/>
                  <a:gd name="connsiteX22" fmla="*/ 3070 w 4025"/>
                  <a:gd name="connsiteY22" fmla="*/ 680 h 1039"/>
                  <a:gd name="connsiteX23" fmla="*/ 2965 w 4025"/>
                  <a:gd name="connsiteY23" fmla="*/ 506 h 1039"/>
                  <a:gd name="connsiteX24" fmla="*/ 2928 w 4025"/>
                  <a:gd name="connsiteY24" fmla="*/ 448 h 1039"/>
                  <a:gd name="connsiteX25" fmla="*/ 2891 w 4025"/>
                  <a:gd name="connsiteY25" fmla="*/ 392 h 1039"/>
                  <a:gd name="connsiteX26" fmla="*/ 2854 w 4025"/>
                  <a:gd name="connsiteY26" fmla="*/ 338 h 1039"/>
                  <a:gd name="connsiteX27" fmla="*/ 2814 w 4025"/>
                  <a:gd name="connsiteY27" fmla="*/ 288 h 1039"/>
                  <a:gd name="connsiteX28" fmla="*/ 2773 w 4025"/>
                  <a:gd name="connsiteY28" fmla="*/ 243 h 1039"/>
                  <a:gd name="connsiteX29" fmla="*/ 2732 w 4025"/>
                  <a:gd name="connsiteY29" fmla="*/ 201 h 1039"/>
                  <a:gd name="connsiteX30" fmla="*/ 2686 w 4025"/>
                  <a:gd name="connsiteY30" fmla="*/ 164 h 1039"/>
                  <a:gd name="connsiteX31" fmla="*/ 2639 w 4025"/>
                  <a:gd name="connsiteY31" fmla="*/ 135 h 1039"/>
                  <a:gd name="connsiteX32" fmla="*/ 2587 w 4025"/>
                  <a:gd name="connsiteY32" fmla="*/ 112 h 1039"/>
                  <a:gd name="connsiteX33" fmla="*/ 2532 w 4025"/>
                  <a:gd name="connsiteY33" fmla="*/ 96 h 1039"/>
                  <a:gd name="connsiteX34" fmla="*/ 2474 w 4025"/>
                  <a:gd name="connsiteY34" fmla="*/ 87 h 1039"/>
                  <a:gd name="connsiteX35" fmla="*/ 2410 w 4025"/>
                  <a:gd name="connsiteY35" fmla="*/ 89 h 1039"/>
                  <a:gd name="connsiteX36" fmla="*/ 2342 w 4025"/>
                  <a:gd name="connsiteY36" fmla="*/ 100 h 1039"/>
                  <a:gd name="connsiteX37" fmla="*/ 2280 w 4025"/>
                  <a:gd name="connsiteY37" fmla="*/ 118 h 1039"/>
                  <a:gd name="connsiteX38" fmla="*/ 2222 w 4025"/>
                  <a:gd name="connsiteY38" fmla="*/ 143 h 1039"/>
                  <a:gd name="connsiteX39" fmla="*/ 2168 w 4025"/>
                  <a:gd name="connsiteY39" fmla="*/ 176 h 1039"/>
                  <a:gd name="connsiteX40" fmla="*/ 2117 w 4025"/>
                  <a:gd name="connsiteY40" fmla="*/ 214 h 1039"/>
                  <a:gd name="connsiteX41" fmla="*/ 2071 w 4025"/>
                  <a:gd name="connsiteY41" fmla="*/ 257 h 1039"/>
                  <a:gd name="connsiteX42" fmla="*/ 2026 w 4025"/>
                  <a:gd name="connsiteY42" fmla="*/ 303 h 1039"/>
                  <a:gd name="connsiteX43" fmla="*/ 1984 w 4025"/>
                  <a:gd name="connsiteY43" fmla="*/ 355 h 1039"/>
                  <a:gd name="connsiteX44" fmla="*/ 1945 w 4025"/>
                  <a:gd name="connsiteY44" fmla="*/ 409 h 1039"/>
                  <a:gd name="connsiteX45" fmla="*/ 1908 w 4025"/>
                  <a:gd name="connsiteY45" fmla="*/ 463 h 1039"/>
                  <a:gd name="connsiteX46" fmla="*/ 1871 w 4025"/>
                  <a:gd name="connsiteY46" fmla="*/ 519 h 1039"/>
                  <a:gd name="connsiteX47" fmla="*/ 1834 w 4025"/>
                  <a:gd name="connsiteY47" fmla="*/ 577 h 1039"/>
                  <a:gd name="connsiteX48" fmla="*/ 1799 w 4025"/>
                  <a:gd name="connsiteY48" fmla="*/ 633 h 1039"/>
                  <a:gd name="connsiteX49" fmla="*/ 1724 w 4025"/>
                  <a:gd name="connsiteY49" fmla="*/ 745 h 1039"/>
                  <a:gd name="connsiteX50" fmla="*/ 1685 w 4025"/>
                  <a:gd name="connsiteY50" fmla="*/ 797 h 1039"/>
                  <a:gd name="connsiteX51" fmla="*/ 1644 w 4025"/>
                  <a:gd name="connsiteY51" fmla="*/ 846 h 1039"/>
                  <a:gd name="connsiteX52" fmla="*/ 1600 w 4025"/>
                  <a:gd name="connsiteY52" fmla="*/ 892 h 1039"/>
                  <a:gd name="connsiteX53" fmla="*/ 1553 w 4025"/>
                  <a:gd name="connsiteY53" fmla="*/ 933 h 1039"/>
                  <a:gd name="connsiteX54" fmla="*/ 1503 w 4025"/>
                  <a:gd name="connsiteY54" fmla="*/ 969 h 1039"/>
                  <a:gd name="connsiteX55" fmla="*/ 1450 w 4025"/>
                  <a:gd name="connsiteY55" fmla="*/ 998 h 1039"/>
                  <a:gd name="connsiteX56" fmla="*/ 1394 w 4025"/>
                  <a:gd name="connsiteY56" fmla="*/ 1021 h 1039"/>
                  <a:gd name="connsiteX57" fmla="*/ 1330 w 4025"/>
                  <a:gd name="connsiteY57" fmla="*/ 1033 h 1039"/>
                  <a:gd name="connsiteX58" fmla="*/ 1264 w 4025"/>
                  <a:gd name="connsiteY58" fmla="*/ 1039 h 1039"/>
                  <a:gd name="connsiteX59" fmla="*/ 1258 w 4025"/>
                  <a:gd name="connsiteY59" fmla="*/ 1039 h 1039"/>
                  <a:gd name="connsiteX60" fmla="*/ 1190 w 4025"/>
                  <a:gd name="connsiteY60" fmla="*/ 1035 h 1039"/>
                  <a:gd name="connsiteX61" fmla="*/ 1128 w 4025"/>
                  <a:gd name="connsiteY61" fmla="*/ 1023 h 1039"/>
                  <a:gd name="connsiteX62" fmla="*/ 1070 w 4025"/>
                  <a:gd name="connsiteY62" fmla="*/ 1004 h 1039"/>
                  <a:gd name="connsiteX63" fmla="*/ 1018 w 4025"/>
                  <a:gd name="connsiteY63" fmla="*/ 979 h 1039"/>
                  <a:gd name="connsiteX64" fmla="*/ 971 w 4025"/>
                  <a:gd name="connsiteY64" fmla="*/ 948 h 1039"/>
                  <a:gd name="connsiteX65" fmla="*/ 925 w 4025"/>
                  <a:gd name="connsiteY65" fmla="*/ 911 h 1039"/>
                  <a:gd name="connsiteX66" fmla="*/ 884 w 4025"/>
                  <a:gd name="connsiteY66" fmla="*/ 869 h 1039"/>
                  <a:gd name="connsiteX67" fmla="*/ 847 w 4025"/>
                  <a:gd name="connsiteY67" fmla="*/ 824 h 1039"/>
                  <a:gd name="connsiteX68" fmla="*/ 810 w 4025"/>
                  <a:gd name="connsiteY68" fmla="*/ 776 h 1039"/>
                  <a:gd name="connsiteX69" fmla="*/ 777 w 4025"/>
                  <a:gd name="connsiteY69" fmla="*/ 724 h 1039"/>
                  <a:gd name="connsiteX70" fmla="*/ 742 w 4025"/>
                  <a:gd name="connsiteY70" fmla="*/ 670 h 1039"/>
                  <a:gd name="connsiteX71" fmla="*/ 711 w 4025"/>
                  <a:gd name="connsiteY71" fmla="*/ 614 h 1039"/>
                  <a:gd name="connsiteX72" fmla="*/ 678 w 4025"/>
                  <a:gd name="connsiteY72" fmla="*/ 556 h 1039"/>
                  <a:gd name="connsiteX73" fmla="*/ 616 w 4025"/>
                  <a:gd name="connsiteY73" fmla="*/ 444 h 1039"/>
                  <a:gd name="connsiteX74" fmla="*/ 547 w 4025"/>
                  <a:gd name="connsiteY74" fmla="*/ 336 h 1039"/>
                  <a:gd name="connsiteX75" fmla="*/ 504 w 4025"/>
                  <a:gd name="connsiteY75" fmla="*/ 280 h 1039"/>
                  <a:gd name="connsiteX76" fmla="*/ 457 w 4025"/>
                  <a:gd name="connsiteY76" fmla="*/ 235 h 1039"/>
                  <a:gd name="connsiteX77" fmla="*/ 409 w 4025"/>
                  <a:gd name="connsiteY77" fmla="*/ 195 h 1039"/>
                  <a:gd name="connsiteX78" fmla="*/ 358 w 4025"/>
                  <a:gd name="connsiteY78" fmla="*/ 164 h 1039"/>
                  <a:gd name="connsiteX79" fmla="*/ 308 w 4025"/>
                  <a:gd name="connsiteY79" fmla="*/ 141 h 1039"/>
                  <a:gd name="connsiteX80" fmla="*/ 256 w 4025"/>
                  <a:gd name="connsiteY80" fmla="*/ 123 h 1039"/>
                  <a:gd name="connsiteX81" fmla="*/ 209 w 4025"/>
                  <a:gd name="connsiteY81" fmla="*/ 108 h 1039"/>
                  <a:gd name="connsiteX82" fmla="*/ 163 w 4025"/>
                  <a:gd name="connsiteY82" fmla="*/ 100 h 1039"/>
                  <a:gd name="connsiteX83" fmla="*/ 122 w 4025"/>
                  <a:gd name="connsiteY83" fmla="*/ 96 h 1039"/>
                  <a:gd name="connsiteX84" fmla="*/ 85 w 4025"/>
                  <a:gd name="connsiteY84" fmla="*/ 91 h 1039"/>
                  <a:gd name="connsiteX85" fmla="*/ 31 w 4025"/>
                  <a:gd name="connsiteY85" fmla="*/ 91 h 1039"/>
                  <a:gd name="connsiteX86" fmla="*/ 17 w 4025"/>
                  <a:gd name="connsiteY86" fmla="*/ 94 h 1039"/>
                  <a:gd name="connsiteX87" fmla="*/ 11 w 4025"/>
                  <a:gd name="connsiteY87" fmla="*/ 94 h 1039"/>
                  <a:gd name="connsiteX88" fmla="*/ 0 w 4025"/>
                  <a:gd name="connsiteY88" fmla="*/ 9 h 1039"/>
                  <a:gd name="connsiteX89" fmla="*/ 9 w 4025"/>
                  <a:gd name="connsiteY89" fmla="*/ 9 h 1039"/>
                  <a:gd name="connsiteX90" fmla="*/ 29 w 4025"/>
                  <a:gd name="connsiteY90" fmla="*/ 6 h 1039"/>
                  <a:gd name="connsiteX91" fmla="*/ 91 w 4025"/>
                  <a:gd name="connsiteY91" fmla="*/ 6 h 1039"/>
                  <a:gd name="connsiteX92" fmla="*/ 135 w 4025"/>
                  <a:gd name="connsiteY92" fmla="*/ 9 h 1039"/>
                  <a:gd name="connsiteX93" fmla="*/ 182 w 4025"/>
                  <a:gd name="connsiteY93" fmla="*/ 15 h 1039"/>
                  <a:gd name="connsiteX94" fmla="*/ 234 w 4025"/>
                  <a:gd name="connsiteY94" fmla="*/ 25 h 1039"/>
                  <a:gd name="connsiteX95" fmla="*/ 287 w 4025"/>
                  <a:gd name="connsiteY95" fmla="*/ 42 h 1039"/>
                  <a:gd name="connsiteX96" fmla="*/ 345 w 4025"/>
                  <a:gd name="connsiteY96" fmla="*/ 62 h 1039"/>
                  <a:gd name="connsiteX97" fmla="*/ 403 w 4025"/>
                  <a:gd name="connsiteY97" fmla="*/ 89 h 1039"/>
                  <a:gd name="connsiteX98" fmla="*/ 459 w 4025"/>
                  <a:gd name="connsiteY98" fmla="*/ 127 h 1039"/>
                  <a:gd name="connsiteX99" fmla="*/ 514 w 4025"/>
                  <a:gd name="connsiteY99" fmla="*/ 170 h 1039"/>
                  <a:gd name="connsiteX100" fmla="*/ 568 w 4025"/>
                  <a:gd name="connsiteY100" fmla="*/ 224 h 1039"/>
                  <a:gd name="connsiteX101" fmla="*/ 618 w 4025"/>
                  <a:gd name="connsiteY101" fmla="*/ 288 h 1039"/>
                  <a:gd name="connsiteX102" fmla="*/ 667 w 4025"/>
                  <a:gd name="connsiteY102" fmla="*/ 363 h 1039"/>
                  <a:gd name="connsiteX103" fmla="*/ 754 w 4025"/>
                  <a:gd name="connsiteY103" fmla="*/ 512 h 1039"/>
                  <a:gd name="connsiteX104" fmla="*/ 787 w 4025"/>
                  <a:gd name="connsiteY104" fmla="*/ 571 h 1039"/>
                  <a:gd name="connsiteX105" fmla="*/ 820 w 4025"/>
                  <a:gd name="connsiteY105" fmla="*/ 627 h 1039"/>
                  <a:gd name="connsiteX106" fmla="*/ 853 w 4025"/>
                  <a:gd name="connsiteY106" fmla="*/ 680 h 1039"/>
                  <a:gd name="connsiteX107" fmla="*/ 886 w 4025"/>
                  <a:gd name="connsiteY107" fmla="*/ 732 h 1039"/>
                  <a:gd name="connsiteX108" fmla="*/ 921 w 4025"/>
                  <a:gd name="connsiteY108" fmla="*/ 778 h 1039"/>
                  <a:gd name="connsiteX109" fmla="*/ 958 w 4025"/>
                  <a:gd name="connsiteY109" fmla="*/ 821 h 1039"/>
                  <a:gd name="connsiteX110" fmla="*/ 1000 w 4025"/>
                  <a:gd name="connsiteY110" fmla="*/ 859 h 1039"/>
                  <a:gd name="connsiteX111" fmla="*/ 1043 w 4025"/>
                  <a:gd name="connsiteY111" fmla="*/ 890 h 1039"/>
                  <a:gd name="connsiteX112" fmla="*/ 1090 w 4025"/>
                  <a:gd name="connsiteY112" fmla="*/ 917 h 1039"/>
                  <a:gd name="connsiteX113" fmla="*/ 1140 w 4025"/>
                  <a:gd name="connsiteY113" fmla="*/ 935 h 1039"/>
                  <a:gd name="connsiteX114" fmla="*/ 1196 w 4025"/>
                  <a:gd name="connsiteY114" fmla="*/ 948 h 1039"/>
                  <a:gd name="connsiteX115" fmla="*/ 1258 w 4025"/>
                  <a:gd name="connsiteY115" fmla="*/ 952 h 1039"/>
                  <a:gd name="connsiteX116" fmla="*/ 1264 w 4025"/>
                  <a:gd name="connsiteY116" fmla="*/ 952 h 1039"/>
                  <a:gd name="connsiteX117" fmla="*/ 1324 w 4025"/>
                  <a:gd name="connsiteY117" fmla="*/ 946 h 1039"/>
                  <a:gd name="connsiteX118" fmla="*/ 1380 w 4025"/>
                  <a:gd name="connsiteY118" fmla="*/ 931 h 1039"/>
                  <a:gd name="connsiteX119" fmla="*/ 1433 w 4025"/>
                  <a:gd name="connsiteY119" fmla="*/ 909 h 1039"/>
                  <a:gd name="connsiteX120" fmla="*/ 1481 w 4025"/>
                  <a:gd name="connsiteY120" fmla="*/ 880 h 1039"/>
                  <a:gd name="connsiteX121" fmla="*/ 1526 w 4025"/>
                  <a:gd name="connsiteY121" fmla="*/ 842 h 1039"/>
                  <a:gd name="connsiteX122" fmla="*/ 1569 w 4025"/>
                  <a:gd name="connsiteY122" fmla="*/ 799 h 1039"/>
                  <a:gd name="connsiteX123" fmla="*/ 1609 w 4025"/>
                  <a:gd name="connsiteY123" fmla="*/ 751 h 1039"/>
                  <a:gd name="connsiteX124" fmla="*/ 1648 w 4025"/>
                  <a:gd name="connsiteY124" fmla="*/ 699 h 1039"/>
                  <a:gd name="connsiteX125" fmla="*/ 1687 w 4025"/>
                  <a:gd name="connsiteY125" fmla="*/ 645 h 1039"/>
                  <a:gd name="connsiteX126" fmla="*/ 1799 w 4025"/>
                  <a:gd name="connsiteY126" fmla="*/ 471 h 1039"/>
                  <a:gd name="connsiteX127" fmla="*/ 1838 w 4025"/>
                  <a:gd name="connsiteY127" fmla="*/ 411 h 1039"/>
                  <a:gd name="connsiteX128" fmla="*/ 1879 w 4025"/>
                  <a:gd name="connsiteY128" fmla="*/ 353 h 1039"/>
                  <a:gd name="connsiteX129" fmla="*/ 1923 w 4025"/>
                  <a:gd name="connsiteY129" fmla="*/ 295 h 1039"/>
                  <a:gd name="connsiteX130" fmla="*/ 1968 w 4025"/>
                  <a:gd name="connsiteY130" fmla="*/ 241 h 1039"/>
                  <a:gd name="connsiteX131" fmla="*/ 2015 w 4025"/>
                  <a:gd name="connsiteY131" fmla="*/ 189 h 1039"/>
                  <a:gd name="connsiteX132" fmla="*/ 2069 w 4025"/>
                  <a:gd name="connsiteY132" fmla="*/ 141 h 1039"/>
                  <a:gd name="connsiteX133" fmla="*/ 2125 w 4025"/>
                  <a:gd name="connsiteY133" fmla="*/ 100 h 1039"/>
                  <a:gd name="connsiteX134" fmla="*/ 2187 w 4025"/>
                  <a:gd name="connsiteY134" fmla="*/ 65 h 1039"/>
                  <a:gd name="connsiteX135" fmla="*/ 2253 w 4025"/>
                  <a:gd name="connsiteY135" fmla="*/ 35 h 1039"/>
                  <a:gd name="connsiteX136" fmla="*/ 2325 w 4025"/>
                  <a:gd name="connsiteY136" fmla="*/ 15 h 1039"/>
                  <a:gd name="connsiteX137" fmla="*/ 2404 w 4025"/>
                  <a:gd name="connsiteY137" fmla="*/ 2 h 1039"/>
                  <a:gd name="connsiteX138" fmla="*/ 2474 w 4025"/>
                  <a:gd name="connsiteY138" fmla="*/ 0 h 1039"/>
                  <a:gd name="connsiteX139" fmla="*/ 2540 w 4025"/>
                  <a:gd name="connsiteY139" fmla="*/ 9 h 1039"/>
                  <a:gd name="connsiteX140" fmla="*/ 2600 w 4025"/>
                  <a:gd name="connsiteY140" fmla="*/ 23 h 1039"/>
                  <a:gd name="connsiteX141" fmla="*/ 2658 w 4025"/>
                  <a:gd name="connsiteY141" fmla="*/ 46 h 1039"/>
                  <a:gd name="connsiteX142" fmla="*/ 2711 w 4025"/>
                  <a:gd name="connsiteY142" fmla="*/ 77 h 1039"/>
                  <a:gd name="connsiteX143" fmla="*/ 2761 w 4025"/>
                  <a:gd name="connsiteY143" fmla="*/ 112 h 1039"/>
                  <a:gd name="connsiteX144" fmla="*/ 2806 w 4025"/>
                  <a:gd name="connsiteY144" fmla="*/ 154 h 1039"/>
                  <a:gd name="connsiteX145" fmla="*/ 2852 w 4025"/>
                  <a:gd name="connsiteY145" fmla="*/ 199 h 1039"/>
                  <a:gd name="connsiteX146" fmla="*/ 2893 w 4025"/>
                  <a:gd name="connsiteY146" fmla="*/ 247 h 1039"/>
                  <a:gd name="connsiteX147" fmla="*/ 2932 w 4025"/>
                  <a:gd name="connsiteY147" fmla="*/ 299 h 1039"/>
                  <a:gd name="connsiteX148" fmla="*/ 2969 w 4025"/>
                  <a:gd name="connsiteY148" fmla="*/ 353 h 1039"/>
                  <a:gd name="connsiteX149" fmla="*/ 3004 w 4025"/>
                  <a:gd name="connsiteY149" fmla="*/ 409 h 1039"/>
                  <a:gd name="connsiteX150" fmla="*/ 3039 w 4025"/>
                  <a:gd name="connsiteY150" fmla="*/ 463 h 1039"/>
                  <a:gd name="connsiteX151" fmla="*/ 3073 w 4025"/>
                  <a:gd name="connsiteY151" fmla="*/ 519 h 1039"/>
                  <a:gd name="connsiteX152" fmla="*/ 3110 w 4025"/>
                  <a:gd name="connsiteY152" fmla="*/ 581 h 1039"/>
                  <a:gd name="connsiteX153" fmla="*/ 3147 w 4025"/>
                  <a:gd name="connsiteY153" fmla="*/ 639 h 1039"/>
                  <a:gd name="connsiteX154" fmla="*/ 3186 w 4025"/>
                  <a:gd name="connsiteY154" fmla="*/ 697 h 1039"/>
                  <a:gd name="connsiteX155" fmla="*/ 3223 w 4025"/>
                  <a:gd name="connsiteY155" fmla="*/ 751 h 1039"/>
                  <a:gd name="connsiteX156" fmla="*/ 3265 w 4025"/>
                  <a:gd name="connsiteY156" fmla="*/ 801 h 1039"/>
                  <a:gd name="connsiteX157" fmla="*/ 3306 w 4025"/>
                  <a:gd name="connsiteY157" fmla="*/ 844 h 1039"/>
                  <a:gd name="connsiteX158" fmla="*/ 3349 w 4025"/>
                  <a:gd name="connsiteY158" fmla="*/ 882 h 1039"/>
                  <a:gd name="connsiteX159" fmla="*/ 3395 w 4025"/>
                  <a:gd name="connsiteY159" fmla="*/ 913 h 1039"/>
                  <a:gd name="connsiteX160" fmla="*/ 3444 w 4025"/>
                  <a:gd name="connsiteY160" fmla="*/ 935 h 1039"/>
                  <a:gd name="connsiteX161" fmla="*/ 3498 w 4025"/>
                  <a:gd name="connsiteY161" fmla="*/ 948 h 1039"/>
                  <a:gd name="connsiteX162" fmla="*/ 3554 w 4025"/>
                  <a:gd name="connsiteY162" fmla="*/ 952 h 1039"/>
                  <a:gd name="connsiteX163" fmla="*/ 3609 w 4025"/>
                  <a:gd name="connsiteY163" fmla="*/ 946 h 1039"/>
                  <a:gd name="connsiteX164" fmla="*/ 3659 w 4025"/>
                  <a:gd name="connsiteY164" fmla="*/ 931 h 1039"/>
                  <a:gd name="connsiteX165" fmla="*/ 3706 w 4025"/>
                  <a:gd name="connsiteY165" fmla="*/ 911 h 1039"/>
                  <a:gd name="connsiteX166" fmla="*/ 3750 w 4025"/>
                  <a:gd name="connsiteY166" fmla="*/ 880 h 1039"/>
                  <a:gd name="connsiteX167" fmla="*/ 3789 w 4025"/>
                  <a:gd name="connsiteY167" fmla="*/ 844 h 1039"/>
                  <a:gd name="connsiteX168" fmla="*/ 3826 w 4025"/>
                  <a:gd name="connsiteY168" fmla="*/ 803 h 1039"/>
                  <a:gd name="connsiteX169" fmla="*/ 3861 w 4025"/>
                  <a:gd name="connsiteY169" fmla="*/ 755 h 1039"/>
                  <a:gd name="connsiteX170" fmla="*/ 3894 w 4025"/>
                  <a:gd name="connsiteY170" fmla="*/ 705 h 1039"/>
                  <a:gd name="connsiteX171" fmla="*/ 3927 w 4025"/>
                  <a:gd name="connsiteY171" fmla="*/ 651 h 1039"/>
                  <a:gd name="connsiteX172" fmla="*/ 3960 w 4025"/>
                  <a:gd name="connsiteY172" fmla="*/ 593 h 1039"/>
                  <a:gd name="connsiteX173" fmla="*/ 3993 w 4025"/>
                  <a:gd name="connsiteY173" fmla="*/ 533 h 1039"/>
                  <a:gd name="connsiteX174" fmla="*/ 4022 w 4025"/>
                  <a:gd name="connsiteY174" fmla="*/ 479 h 1039"/>
                  <a:gd name="connsiteX0" fmla="*/ 3993 w 4011"/>
                  <a:gd name="connsiteY0" fmla="*/ 533 h 1039"/>
                  <a:gd name="connsiteX1" fmla="*/ 4008 w 4011"/>
                  <a:gd name="connsiteY1" fmla="*/ 687 h 1039"/>
                  <a:gd name="connsiteX2" fmla="*/ 3975 w 4011"/>
                  <a:gd name="connsiteY2" fmla="*/ 743 h 1039"/>
                  <a:gd name="connsiteX3" fmla="*/ 3940 w 4011"/>
                  <a:gd name="connsiteY3" fmla="*/ 794 h 1039"/>
                  <a:gd name="connsiteX4" fmla="*/ 3905 w 4011"/>
                  <a:gd name="connsiteY4" fmla="*/ 844 h 1039"/>
                  <a:gd name="connsiteX5" fmla="*/ 3865 w 4011"/>
                  <a:gd name="connsiteY5" fmla="*/ 890 h 1039"/>
                  <a:gd name="connsiteX6" fmla="*/ 3824 w 4011"/>
                  <a:gd name="connsiteY6" fmla="*/ 931 h 1039"/>
                  <a:gd name="connsiteX7" fmla="*/ 3779 w 4011"/>
                  <a:gd name="connsiteY7" fmla="*/ 967 h 1039"/>
                  <a:gd name="connsiteX8" fmla="*/ 3729 w 4011"/>
                  <a:gd name="connsiteY8" fmla="*/ 996 h 1039"/>
                  <a:gd name="connsiteX9" fmla="*/ 3677 w 4011"/>
                  <a:gd name="connsiteY9" fmla="*/ 1018 h 1039"/>
                  <a:gd name="connsiteX10" fmla="*/ 3620 w 4011"/>
                  <a:gd name="connsiteY10" fmla="*/ 1033 h 1039"/>
                  <a:gd name="connsiteX11" fmla="*/ 3556 w 4011"/>
                  <a:gd name="connsiteY11" fmla="*/ 1039 h 1039"/>
                  <a:gd name="connsiteX12" fmla="*/ 3547 w 4011"/>
                  <a:gd name="connsiteY12" fmla="*/ 1039 h 1039"/>
                  <a:gd name="connsiteX13" fmla="*/ 3485 w 4011"/>
                  <a:gd name="connsiteY13" fmla="*/ 1035 h 1039"/>
                  <a:gd name="connsiteX14" fmla="*/ 3426 w 4011"/>
                  <a:gd name="connsiteY14" fmla="*/ 1021 h 1039"/>
                  <a:gd name="connsiteX15" fmla="*/ 3372 w 4011"/>
                  <a:gd name="connsiteY15" fmla="*/ 998 h 1039"/>
                  <a:gd name="connsiteX16" fmla="*/ 3320 w 4011"/>
                  <a:gd name="connsiteY16" fmla="*/ 969 h 1039"/>
                  <a:gd name="connsiteX17" fmla="*/ 3273 w 4011"/>
                  <a:gd name="connsiteY17" fmla="*/ 931 h 1039"/>
                  <a:gd name="connsiteX18" fmla="*/ 3229 w 4011"/>
                  <a:gd name="connsiteY18" fmla="*/ 890 h 1039"/>
                  <a:gd name="connsiteX19" fmla="*/ 3186 w 4011"/>
                  <a:gd name="connsiteY19" fmla="*/ 842 h 1039"/>
                  <a:gd name="connsiteX20" fmla="*/ 3147 w 4011"/>
                  <a:gd name="connsiteY20" fmla="*/ 792 h 1039"/>
                  <a:gd name="connsiteX21" fmla="*/ 3108 w 4011"/>
                  <a:gd name="connsiteY21" fmla="*/ 736 h 1039"/>
                  <a:gd name="connsiteX22" fmla="*/ 3070 w 4011"/>
                  <a:gd name="connsiteY22" fmla="*/ 680 h 1039"/>
                  <a:gd name="connsiteX23" fmla="*/ 2965 w 4011"/>
                  <a:gd name="connsiteY23" fmla="*/ 506 h 1039"/>
                  <a:gd name="connsiteX24" fmla="*/ 2928 w 4011"/>
                  <a:gd name="connsiteY24" fmla="*/ 448 h 1039"/>
                  <a:gd name="connsiteX25" fmla="*/ 2891 w 4011"/>
                  <a:gd name="connsiteY25" fmla="*/ 392 h 1039"/>
                  <a:gd name="connsiteX26" fmla="*/ 2854 w 4011"/>
                  <a:gd name="connsiteY26" fmla="*/ 338 h 1039"/>
                  <a:gd name="connsiteX27" fmla="*/ 2814 w 4011"/>
                  <a:gd name="connsiteY27" fmla="*/ 288 h 1039"/>
                  <a:gd name="connsiteX28" fmla="*/ 2773 w 4011"/>
                  <a:gd name="connsiteY28" fmla="*/ 243 h 1039"/>
                  <a:gd name="connsiteX29" fmla="*/ 2732 w 4011"/>
                  <a:gd name="connsiteY29" fmla="*/ 201 h 1039"/>
                  <a:gd name="connsiteX30" fmla="*/ 2686 w 4011"/>
                  <a:gd name="connsiteY30" fmla="*/ 164 h 1039"/>
                  <a:gd name="connsiteX31" fmla="*/ 2639 w 4011"/>
                  <a:gd name="connsiteY31" fmla="*/ 135 h 1039"/>
                  <a:gd name="connsiteX32" fmla="*/ 2587 w 4011"/>
                  <a:gd name="connsiteY32" fmla="*/ 112 h 1039"/>
                  <a:gd name="connsiteX33" fmla="*/ 2532 w 4011"/>
                  <a:gd name="connsiteY33" fmla="*/ 96 h 1039"/>
                  <a:gd name="connsiteX34" fmla="*/ 2474 w 4011"/>
                  <a:gd name="connsiteY34" fmla="*/ 87 h 1039"/>
                  <a:gd name="connsiteX35" fmla="*/ 2410 w 4011"/>
                  <a:gd name="connsiteY35" fmla="*/ 89 h 1039"/>
                  <a:gd name="connsiteX36" fmla="*/ 2342 w 4011"/>
                  <a:gd name="connsiteY36" fmla="*/ 100 h 1039"/>
                  <a:gd name="connsiteX37" fmla="*/ 2280 w 4011"/>
                  <a:gd name="connsiteY37" fmla="*/ 118 h 1039"/>
                  <a:gd name="connsiteX38" fmla="*/ 2222 w 4011"/>
                  <a:gd name="connsiteY38" fmla="*/ 143 h 1039"/>
                  <a:gd name="connsiteX39" fmla="*/ 2168 w 4011"/>
                  <a:gd name="connsiteY39" fmla="*/ 176 h 1039"/>
                  <a:gd name="connsiteX40" fmla="*/ 2117 w 4011"/>
                  <a:gd name="connsiteY40" fmla="*/ 214 h 1039"/>
                  <a:gd name="connsiteX41" fmla="*/ 2071 w 4011"/>
                  <a:gd name="connsiteY41" fmla="*/ 257 h 1039"/>
                  <a:gd name="connsiteX42" fmla="*/ 2026 w 4011"/>
                  <a:gd name="connsiteY42" fmla="*/ 303 h 1039"/>
                  <a:gd name="connsiteX43" fmla="*/ 1984 w 4011"/>
                  <a:gd name="connsiteY43" fmla="*/ 355 h 1039"/>
                  <a:gd name="connsiteX44" fmla="*/ 1945 w 4011"/>
                  <a:gd name="connsiteY44" fmla="*/ 409 h 1039"/>
                  <a:gd name="connsiteX45" fmla="*/ 1908 w 4011"/>
                  <a:gd name="connsiteY45" fmla="*/ 463 h 1039"/>
                  <a:gd name="connsiteX46" fmla="*/ 1871 w 4011"/>
                  <a:gd name="connsiteY46" fmla="*/ 519 h 1039"/>
                  <a:gd name="connsiteX47" fmla="*/ 1834 w 4011"/>
                  <a:gd name="connsiteY47" fmla="*/ 577 h 1039"/>
                  <a:gd name="connsiteX48" fmla="*/ 1799 w 4011"/>
                  <a:gd name="connsiteY48" fmla="*/ 633 h 1039"/>
                  <a:gd name="connsiteX49" fmla="*/ 1724 w 4011"/>
                  <a:gd name="connsiteY49" fmla="*/ 745 h 1039"/>
                  <a:gd name="connsiteX50" fmla="*/ 1685 w 4011"/>
                  <a:gd name="connsiteY50" fmla="*/ 797 h 1039"/>
                  <a:gd name="connsiteX51" fmla="*/ 1644 w 4011"/>
                  <a:gd name="connsiteY51" fmla="*/ 846 h 1039"/>
                  <a:gd name="connsiteX52" fmla="*/ 1600 w 4011"/>
                  <a:gd name="connsiteY52" fmla="*/ 892 h 1039"/>
                  <a:gd name="connsiteX53" fmla="*/ 1553 w 4011"/>
                  <a:gd name="connsiteY53" fmla="*/ 933 h 1039"/>
                  <a:gd name="connsiteX54" fmla="*/ 1503 w 4011"/>
                  <a:gd name="connsiteY54" fmla="*/ 969 h 1039"/>
                  <a:gd name="connsiteX55" fmla="*/ 1450 w 4011"/>
                  <a:gd name="connsiteY55" fmla="*/ 998 h 1039"/>
                  <a:gd name="connsiteX56" fmla="*/ 1394 w 4011"/>
                  <a:gd name="connsiteY56" fmla="*/ 1021 h 1039"/>
                  <a:gd name="connsiteX57" fmla="*/ 1330 w 4011"/>
                  <a:gd name="connsiteY57" fmla="*/ 1033 h 1039"/>
                  <a:gd name="connsiteX58" fmla="*/ 1264 w 4011"/>
                  <a:gd name="connsiteY58" fmla="*/ 1039 h 1039"/>
                  <a:gd name="connsiteX59" fmla="*/ 1258 w 4011"/>
                  <a:gd name="connsiteY59" fmla="*/ 1039 h 1039"/>
                  <a:gd name="connsiteX60" fmla="*/ 1190 w 4011"/>
                  <a:gd name="connsiteY60" fmla="*/ 1035 h 1039"/>
                  <a:gd name="connsiteX61" fmla="*/ 1128 w 4011"/>
                  <a:gd name="connsiteY61" fmla="*/ 1023 h 1039"/>
                  <a:gd name="connsiteX62" fmla="*/ 1070 w 4011"/>
                  <a:gd name="connsiteY62" fmla="*/ 1004 h 1039"/>
                  <a:gd name="connsiteX63" fmla="*/ 1018 w 4011"/>
                  <a:gd name="connsiteY63" fmla="*/ 979 h 1039"/>
                  <a:gd name="connsiteX64" fmla="*/ 971 w 4011"/>
                  <a:gd name="connsiteY64" fmla="*/ 948 h 1039"/>
                  <a:gd name="connsiteX65" fmla="*/ 925 w 4011"/>
                  <a:gd name="connsiteY65" fmla="*/ 911 h 1039"/>
                  <a:gd name="connsiteX66" fmla="*/ 884 w 4011"/>
                  <a:gd name="connsiteY66" fmla="*/ 869 h 1039"/>
                  <a:gd name="connsiteX67" fmla="*/ 847 w 4011"/>
                  <a:gd name="connsiteY67" fmla="*/ 824 h 1039"/>
                  <a:gd name="connsiteX68" fmla="*/ 810 w 4011"/>
                  <a:gd name="connsiteY68" fmla="*/ 776 h 1039"/>
                  <a:gd name="connsiteX69" fmla="*/ 777 w 4011"/>
                  <a:gd name="connsiteY69" fmla="*/ 724 h 1039"/>
                  <a:gd name="connsiteX70" fmla="*/ 742 w 4011"/>
                  <a:gd name="connsiteY70" fmla="*/ 670 h 1039"/>
                  <a:gd name="connsiteX71" fmla="*/ 711 w 4011"/>
                  <a:gd name="connsiteY71" fmla="*/ 614 h 1039"/>
                  <a:gd name="connsiteX72" fmla="*/ 678 w 4011"/>
                  <a:gd name="connsiteY72" fmla="*/ 556 h 1039"/>
                  <a:gd name="connsiteX73" fmla="*/ 616 w 4011"/>
                  <a:gd name="connsiteY73" fmla="*/ 444 h 1039"/>
                  <a:gd name="connsiteX74" fmla="*/ 547 w 4011"/>
                  <a:gd name="connsiteY74" fmla="*/ 336 h 1039"/>
                  <a:gd name="connsiteX75" fmla="*/ 504 w 4011"/>
                  <a:gd name="connsiteY75" fmla="*/ 280 h 1039"/>
                  <a:gd name="connsiteX76" fmla="*/ 457 w 4011"/>
                  <a:gd name="connsiteY76" fmla="*/ 235 h 1039"/>
                  <a:gd name="connsiteX77" fmla="*/ 409 w 4011"/>
                  <a:gd name="connsiteY77" fmla="*/ 195 h 1039"/>
                  <a:gd name="connsiteX78" fmla="*/ 358 w 4011"/>
                  <a:gd name="connsiteY78" fmla="*/ 164 h 1039"/>
                  <a:gd name="connsiteX79" fmla="*/ 308 w 4011"/>
                  <a:gd name="connsiteY79" fmla="*/ 141 h 1039"/>
                  <a:gd name="connsiteX80" fmla="*/ 256 w 4011"/>
                  <a:gd name="connsiteY80" fmla="*/ 123 h 1039"/>
                  <a:gd name="connsiteX81" fmla="*/ 209 w 4011"/>
                  <a:gd name="connsiteY81" fmla="*/ 108 h 1039"/>
                  <a:gd name="connsiteX82" fmla="*/ 163 w 4011"/>
                  <a:gd name="connsiteY82" fmla="*/ 100 h 1039"/>
                  <a:gd name="connsiteX83" fmla="*/ 122 w 4011"/>
                  <a:gd name="connsiteY83" fmla="*/ 96 h 1039"/>
                  <a:gd name="connsiteX84" fmla="*/ 85 w 4011"/>
                  <a:gd name="connsiteY84" fmla="*/ 91 h 1039"/>
                  <a:gd name="connsiteX85" fmla="*/ 31 w 4011"/>
                  <a:gd name="connsiteY85" fmla="*/ 91 h 1039"/>
                  <a:gd name="connsiteX86" fmla="*/ 17 w 4011"/>
                  <a:gd name="connsiteY86" fmla="*/ 94 h 1039"/>
                  <a:gd name="connsiteX87" fmla="*/ 11 w 4011"/>
                  <a:gd name="connsiteY87" fmla="*/ 94 h 1039"/>
                  <a:gd name="connsiteX88" fmla="*/ 0 w 4011"/>
                  <a:gd name="connsiteY88" fmla="*/ 9 h 1039"/>
                  <a:gd name="connsiteX89" fmla="*/ 9 w 4011"/>
                  <a:gd name="connsiteY89" fmla="*/ 9 h 1039"/>
                  <a:gd name="connsiteX90" fmla="*/ 29 w 4011"/>
                  <a:gd name="connsiteY90" fmla="*/ 6 h 1039"/>
                  <a:gd name="connsiteX91" fmla="*/ 91 w 4011"/>
                  <a:gd name="connsiteY91" fmla="*/ 6 h 1039"/>
                  <a:gd name="connsiteX92" fmla="*/ 135 w 4011"/>
                  <a:gd name="connsiteY92" fmla="*/ 9 h 1039"/>
                  <a:gd name="connsiteX93" fmla="*/ 182 w 4011"/>
                  <a:gd name="connsiteY93" fmla="*/ 15 h 1039"/>
                  <a:gd name="connsiteX94" fmla="*/ 234 w 4011"/>
                  <a:gd name="connsiteY94" fmla="*/ 25 h 1039"/>
                  <a:gd name="connsiteX95" fmla="*/ 287 w 4011"/>
                  <a:gd name="connsiteY95" fmla="*/ 42 h 1039"/>
                  <a:gd name="connsiteX96" fmla="*/ 345 w 4011"/>
                  <a:gd name="connsiteY96" fmla="*/ 62 h 1039"/>
                  <a:gd name="connsiteX97" fmla="*/ 403 w 4011"/>
                  <a:gd name="connsiteY97" fmla="*/ 89 h 1039"/>
                  <a:gd name="connsiteX98" fmla="*/ 459 w 4011"/>
                  <a:gd name="connsiteY98" fmla="*/ 127 h 1039"/>
                  <a:gd name="connsiteX99" fmla="*/ 514 w 4011"/>
                  <a:gd name="connsiteY99" fmla="*/ 170 h 1039"/>
                  <a:gd name="connsiteX100" fmla="*/ 568 w 4011"/>
                  <a:gd name="connsiteY100" fmla="*/ 224 h 1039"/>
                  <a:gd name="connsiteX101" fmla="*/ 618 w 4011"/>
                  <a:gd name="connsiteY101" fmla="*/ 288 h 1039"/>
                  <a:gd name="connsiteX102" fmla="*/ 667 w 4011"/>
                  <a:gd name="connsiteY102" fmla="*/ 363 h 1039"/>
                  <a:gd name="connsiteX103" fmla="*/ 754 w 4011"/>
                  <a:gd name="connsiteY103" fmla="*/ 512 h 1039"/>
                  <a:gd name="connsiteX104" fmla="*/ 787 w 4011"/>
                  <a:gd name="connsiteY104" fmla="*/ 571 h 1039"/>
                  <a:gd name="connsiteX105" fmla="*/ 820 w 4011"/>
                  <a:gd name="connsiteY105" fmla="*/ 627 h 1039"/>
                  <a:gd name="connsiteX106" fmla="*/ 853 w 4011"/>
                  <a:gd name="connsiteY106" fmla="*/ 680 h 1039"/>
                  <a:gd name="connsiteX107" fmla="*/ 886 w 4011"/>
                  <a:gd name="connsiteY107" fmla="*/ 732 h 1039"/>
                  <a:gd name="connsiteX108" fmla="*/ 921 w 4011"/>
                  <a:gd name="connsiteY108" fmla="*/ 778 h 1039"/>
                  <a:gd name="connsiteX109" fmla="*/ 958 w 4011"/>
                  <a:gd name="connsiteY109" fmla="*/ 821 h 1039"/>
                  <a:gd name="connsiteX110" fmla="*/ 1000 w 4011"/>
                  <a:gd name="connsiteY110" fmla="*/ 859 h 1039"/>
                  <a:gd name="connsiteX111" fmla="*/ 1043 w 4011"/>
                  <a:gd name="connsiteY111" fmla="*/ 890 h 1039"/>
                  <a:gd name="connsiteX112" fmla="*/ 1090 w 4011"/>
                  <a:gd name="connsiteY112" fmla="*/ 917 h 1039"/>
                  <a:gd name="connsiteX113" fmla="*/ 1140 w 4011"/>
                  <a:gd name="connsiteY113" fmla="*/ 935 h 1039"/>
                  <a:gd name="connsiteX114" fmla="*/ 1196 w 4011"/>
                  <a:gd name="connsiteY114" fmla="*/ 948 h 1039"/>
                  <a:gd name="connsiteX115" fmla="*/ 1258 w 4011"/>
                  <a:gd name="connsiteY115" fmla="*/ 952 h 1039"/>
                  <a:gd name="connsiteX116" fmla="*/ 1264 w 4011"/>
                  <a:gd name="connsiteY116" fmla="*/ 952 h 1039"/>
                  <a:gd name="connsiteX117" fmla="*/ 1324 w 4011"/>
                  <a:gd name="connsiteY117" fmla="*/ 946 h 1039"/>
                  <a:gd name="connsiteX118" fmla="*/ 1380 w 4011"/>
                  <a:gd name="connsiteY118" fmla="*/ 931 h 1039"/>
                  <a:gd name="connsiteX119" fmla="*/ 1433 w 4011"/>
                  <a:gd name="connsiteY119" fmla="*/ 909 h 1039"/>
                  <a:gd name="connsiteX120" fmla="*/ 1481 w 4011"/>
                  <a:gd name="connsiteY120" fmla="*/ 880 h 1039"/>
                  <a:gd name="connsiteX121" fmla="*/ 1526 w 4011"/>
                  <a:gd name="connsiteY121" fmla="*/ 842 h 1039"/>
                  <a:gd name="connsiteX122" fmla="*/ 1569 w 4011"/>
                  <a:gd name="connsiteY122" fmla="*/ 799 h 1039"/>
                  <a:gd name="connsiteX123" fmla="*/ 1609 w 4011"/>
                  <a:gd name="connsiteY123" fmla="*/ 751 h 1039"/>
                  <a:gd name="connsiteX124" fmla="*/ 1648 w 4011"/>
                  <a:gd name="connsiteY124" fmla="*/ 699 h 1039"/>
                  <a:gd name="connsiteX125" fmla="*/ 1687 w 4011"/>
                  <a:gd name="connsiteY125" fmla="*/ 645 h 1039"/>
                  <a:gd name="connsiteX126" fmla="*/ 1799 w 4011"/>
                  <a:gd name="connsiteY126" fmla="*/ 471 h 1039"/>
                  <a:gd name="connsiteX127" fmla="*/ 1838 w 4011"/>
                  <a:gd name="connsiteY127" fmla="*/ 411 h 1039"/>
                  <a:gd name="connsiteX128" fmla="*/ 1879 w 4011"/>
                  <a:gd name="connsiteY128" fmla="*/ 353 h 1039"/>
                  <a:gd name="connsiteX129" fmla="*/ 1923 w 4011"/>
                  <a:gd name="connsiteY129" fmla="*/ 295 h 1039"/>
                  <a:gd name="connsiteX130" fmla="*/ 1968 w 4011"/>
                  <a:gd name="connsiteY130" fmla="*/ 241 h 1039"/>
                  <a:gd name="connsiteX131" fmla="*/ 2015 w 4011"/>
                  <a:gd name="connsiteY131" fmla="*/ 189 h 1039"/>
                  <a:gd name="connsiteX132" fmla="*/ 2069 w 4011"/>
                  <a:gd name="connsiteY132" fmla="*/ 141 h 1039"/>
                  <a:gd name="connsiteX133" fmla="*/ 2125 w 4011"/>
                  <a:gd name="connsiteY133" fmla="*/ 100 h 1039"/>
                  <a:gd name="connsiteX134" fmla="*/ 2187 w 4011"/>
                  <a:gd name="connsiteY134" fmla="*/ 65 h 1039"/>
                  <a:gd name="connsiteX135" fmla="*/ 2253 w 4011"/>
                  <a:gd name="connsiteY135" fmla="*/ 35 h 1039"/>
                  <a:gd name="connsiteX136" fmla="*/ 2325 w 4011"/>
                  <a:gd name="connsiteY136" fmla="*/ 15 h 1039"/>
                  <a:gd name="connsiteX137" fmla="*/ 2404 w 4011"/>
                  <a:gd name="connsiteY137" fmla="*/ 2 h 1039"/>
                  <a:gd name="connsiteX138" fmla="*/ 2474 w 4011"/>
                  <a:gd name="connsiteY138" fmla="*/ 0 h 1039"/>
                  <a:gd name="connsiteX139" fmla="*/ 2540 w 4011"/>
                  <a:gd name="connsiteY139" fmla="*/ 9 h 1039"/>
                  <a:gd name="connsiteX140" fmla="*/ 2600 w 4011"/>
                  <a:gd name="connsiteY140" fmla="*/ 23 h 1039"/>
                  <a:gd name="connsiteX141" fmla="*/ 2658 w 4011"/>
                  <a:gd name="connsiteY141" fmla="*/ 46 h 1039"/>
                  <a:gd name="connsiteX142" fmla="*/ 2711 w 4011"/>
                  <a:gd name="connsiteY142" fmla="*/ 77 h 1039"/>
                  <a:gd name="connsiteX143" fmla="*/ 2761 w 4011"/>
                  <a:gd name="connsiteY143" fmla="*/ 112 h 1039"/>
                  <a:gd name="connsiteX144" fmla="*/ 2806 w 4011"/>
                  <a:gd name="connsiteY144" fmla="*/ 154 h 1039"/>
                  <a:gd name="connsiteX145" fmla="*/ 2852 w 4011"/>
                  <a:gd name="connsiteY145" fmla="*/ 199 h 1039"/>
                  <a:gd name="connsiteX146" fmla="*/ 2893 w 4011"/>
                  <a:gd name="connsiteY146" fmla="*/ 247 h 1039"/>
                  <a:gd name="connsiteX147" fmla="*/ 2932 w 4011"/>
                  <a:gd name="connsiteY147" fmla="*/ 299 h 1039"/>
                  <a:gd name="connsiteX148" fmla="*/ 2969 w 4011"/>
                  <a:gd name="connsiteY148" fmla="*/ 353 h 1039"/>
                  <a:gd name="connsiteX149" fmla="*/ 3004 w 4011"/>
                  <a:gd name="connsiteY149" fmla="*/ 409 h 1039"/>
                  <a:gd name="connsiteX150" fmla="*/ 3039 w 4011"/>
                  <a:gd name="connsiteY150" fmla="*/ 463 h 1039"/>
                  <a:gd name="connsiteX151" fmla="*/ 3073 w 4011"/>
                  <a:gd name="connsiteY151" fmla="*/ 519 h 1039"/>
                  <a:gd name="connsiteX152" fmla="*/ 3110 w 4011"/>
                  <a:gd name="connsiteY152" fmla="*/ 581 h 1039"/>
                  <a:gd name="connsiteX153" fmla="*/ 3147 w 4011"/>
                  <a:gd name="connsiteY153" fmla="*/ 639 h 1039"/>
                  <a:gd name="connsiteX154" fmla="*/ 3186 w 4011"/>
                  <a:gd name="connsiteY154" fmla="*/ 697 h 1039"/>
                  <a:gd name="connsiteX155" fmla="*/ 3223 w 4011"/>
                  <a:gd name="connsiteY155" fmla="*/ 751 h 1039"/>
                  <a:gd name="connsiteX156" fmla="*/ 3265 w 4011"/>
                  <a:gd name="connsiteY156" fmla="*/ 801 h 1039"/>
                  <a:gd name="connsiteX157" fmla="*/ 3306 w 4011"/>
                  <a:gd name="connsiteY157" fmla="*/ 844 h 1039"/>
                  <a:gd name="connsiteX158" fmla="*/ 3349 w 4011"/>
                  <a:gd name="connsiteY158" fmla="*/ 882 h 1039"/>
                  <a:gd name="connsiteX159" fmla="*/ 3395 w 4011"/>
                  <a:gd name="connsiteY159" fmla="*/ 913 h 1039"/>
                  <a:gd name="connsiteX160" fmla="*/ 3444 w 4011"/>
                  <a:gd name="connsiteY160" fmla="*/ 935 h 1039"/>
                  <a:gd name="connsiteX161" fmla="*/ 3498 w 4011"/>
                  <a:gd name="connsiteY161" fmla="*/ 948 h 1039"/>
                  <a:gd name="connsiteX162" fmla="*/ 3554 w 4011"/>
                  <a:gd name="connsiteY162" fmla="*/ 952 h 1039"/>
                  <a:gd name="connsiteX163" fmla="*/ 3609 w 4011"/>
                  <a:gd name="connsiteY163" fmla="*/ 946 h 1039"/>
                  <a:gd name="connsiteX164" fmla="*/ 3659 w 4011"/>
                  <a:gd name="connsiteY164" fmla="*/ 931 h 1039"/>
                  <a:gd name="connsiteX165" fmla="*/ 3706 w 4011"/>
                  <a:gd name="connsiteY165" fmla="*/ 911 h 1039"/>
                  <a:gd name="connsiteX166" fmla="*/ 3750 w 4011"/>
                  <a:gd name="connsiteY166" fmla="*/ 880 h 1039"/>
                  <a:gd name="connsiteX167" fmla="*/ 3789 w 4011"/>
                  <a:gd name="connsiteY167" fmla="*/ 844 h 1039"/>
                  <a:gd name="connsiteX168" fmla="*/ 3826 w 4011"/>
                  <a:gd name="connsiteY168" fmla="*/ 803 h 1039"/>
                  <a:gd name="connsiteX169" fmla="*/ 3861 w 4011"/>
                  <a:gd name="connsiteY169" fmla="*/ 755 h 1039"/>
                  <a:gd name="connsiteX170" fmla="*/ 3894 w 4011"/>
                  <a:gd name="connsiteY170" fmla="*/ 705 h 1039"/>
                  <a:gd name="connsiteX171" fmla="*/ 3927 w 4011"/>
                  <a:gd name="connsiteY171" fmla="*/ 651 h 1039"/>
                  <a:gd name="connsiteX172" fmla="*/ 3960 w 4011"/>
                  <a:gd name="connsiteY172" fmla="*/ 593 h 1039"/>
                  <a:gd name="connsiteX173" fmla="*/ 3993 w 4011"/>
                  <a:gd name="connsiteY173" fmla="*/ 533 h 1039"/>
                  <a:gd name="connsiteX0" fmla="*/ 3960 w 4008"/>
                  <a:gd name="connsiteY0" fmla="*/ 593 h 1039"/>
                  <a:gd name="connsiteX1" fmla="*/ 4008 w 4008"/>
                  <a:gd name="connsiteY1" fmla="*/ 687 h 1039"/>
                  <a:gd name="connsiteX2" fmla="*/ 3975 w 4008"/>
                  <a:gd name="connsiteY2" fmla="*/ 743 h 1039"/>
                  <a:gd name="connsiteX3" fmla="*/ 3940 w 4008"/>
                  <a:gd name="connsiteY3" fmla="*/ 794 h 1039"/>
                  <a:gd name="connsiteX4" fmla="*/ 3905 w 4008"/>
                  <a:gd name="connsiteY4" fmla="*/ 844 h 1039"/>
                  <a:gd name="connsiteX5" fmla="*/ 3865 w 4008"/>
                  <a:gd name="connsiteY5" fmla="*/ 890 h 1039"/>
                  <a:gd name="connsiteX6" fmla="*/ 3824 w 4008"/>
                  <a:gd name="connsiteY6" fmla="*/ 931 h 1039"/>
                  <a:gd name="connsiteX7" fmla="*/ 3779 w 4008"/>
                  <a:gd name="connsiteY7" fmla="*/ 967 h 1039"/>
                  <a:gd name="connsiteX8" fmla="*/ 3729 w 4008"/>
                  <a:gd name="connsiteY8" fmla="*/ 996 h 1039"/>
                  <a:gd name="connsiteX9" fmla="*/ 3677 w 4008"/>
                  <a:gd name="connsiteY9" fmla="*/ 1018 h 1039"/>
                  <a:gd name="connsiteX10" fmla="*/ 3620 w 4008"/>
                  <a:gd name="connsiteY10" fmla="*/ 1033 h 1039"/>
                  <a:gd name="connsiteX11" fmla="*/ 3556 w 4008"/>
                  <a:gd name="connsiteY11" fmla="*/ 1039 h 1039"/>
                  <a:gd name="connsiteX12" fmla="*/ 3547 w 4008"/>
                  <a:gd name="connsiteY12" fmla="*/ 1039 h 1039"/>
                  <a:gd name="connsiteX13" fmla="*/ 3485 w 4008"/>
                  <a:gd name="connsiteY13" fmla="*/ 1035 h 1039"/>
                  <a:gd name="connsiteX14" fmla="*/ 3426 w 4008"/>
                  <a:gd name="connsiteY14" fmla="*/ 1021 h 1039"/>
                  <a:gd name="connsiteX15" fmla="*/ 3372 w 4008"/>
                  <a:gd name="connsiteY15" fmla="*/ 998 h 1039"/>
                  <a:gd name="connsiteX16" fmla="*/ 3320 w 4008"/>
                  <a:gd name="connsiteY16" fmla="*/ 969 h 1039"/>
                  <a:gd name="connsiteX17" fmla="*/ 3273 w 4008"/>
                  <a:gd name="connsiteY17" fmla="*/ 931 h 1039"/>
                  <a:gd name="connsiteX18" fmla="*/ 3229 w 4008"/>
                  <a:gd name="connsiteY18" fmla="*/ 890 h 1039"/>
                  <a:gd name="connsiteX19" fmla="*/ 3186 w 4008"/>
                  <a:gd name="connsiteY19" fmla="*/ 842 h 1039"/>
                  <a:gd name="connsiteX20" fmla="*/ 3147 w 4008"/>
                  <a:gd name="connsiteY20" fmla="*/ 792 h 1039"/>
                  <a:gd name="connsiteX21" fmla="*/ 3108 w 4008"/>
                  <a:gd name="connsiteY21" fmla="*/ 736 h 1039"/>
                  <a:gd name="connsiteX22" fmla="*/ 3070 w 4008"/>
                  <a:gd name="connsiteY22" fmla="*/ 680 h 1039"/>
                  <a:gd name="connsiteX23" fmla="*/ 2965 w 4008"/>
                  <a:gd name="connsiteY23" fmla="*/ 506 h 1039"/>
                  <a:gd name="connsiteX24" fmla="*/ 2928 w 4008"/>
                  <a:gd name="connsiteY24" fmla="*/ 448 h 1039"/>
                  <a:gd name="connsiteX25" fmla="*/ 2891 w 4008"/>
                  <a:gd name="connsiteY25" fmla="*/ 392 h 1039"/>
                  <a:gd name="connsiteX26" fmla="*/ 2854 w 4008"/>
                  <a:gd name="connsiteY26" fmla="*/ 338 h 1039"/>
                  <a:gd name="connsiteX27" fmla="*/ 2814 w 4008"/>
                  <a:gd name="connsiteY27" fmla="*/ 288 h 1039"/>
                  <a:gd name="connsiteX28" fmla="*/ 2773 w 4008"/>
                  <a:gd name="connsiteY28" fmla="*/ 243 h 1039"/>
                  <a:gd name="connsiteX29" fmla="*/ 2732 w 4008"/>
                  <a:gd name="connsiteY29" fmla="*/ 201 h 1039"/>
                  <a:gd name="connsiteX30" fmla="*/ 2686 w 4008"/>
                  <a:gd name="connsiteY30" fmla="*/ 164 h 1039"/>
                  <a:gd name="connsiteX31" fmla="*/ 2639 w 4008"/>
                  <a:gd name="connsiteY31" fmla="*/ 135 h 1039"/>
                  <a:gd name="connsiteX32" fmla="*/ 2587 w 4008"/>
                  <a:gd name="connsiteY32" fmla="*/ 112 h 1039"/>
                  <a:gd name="connsiteX33" fmla="*/ 2532 w 4008"/>
                  <a:gd name="connsiteY33" fmla="*/ 96 h 1039"/>
                  <a:gd name="connsiteX34" fmla="*/ 2474 w 4008"/>
                  <a:gd name="connsiteY34" fmla="*/ 87 h 1039"/>
                  <a:gd name="connsiteX35" fmla="*/ 2410 w 4008"/>
                  <a:gd name="connsiteY35" fmla="*/ 89 h 1039"/>
                  <a:gd name="connsiteX36" fmla="*/ 2342 w 4008"/>
                  <a:gd name="connsiteY36" fmla="*/ 100 h 1039"/>
                  <a:gd name="connsiteX37" fmla="*/ 2280 w 4008"/>
                  <a:gd name="connsiteY37" fmla="*/ 118 h 1039"/>
                  <a:gd name="connsiteX38" fmla="*/ 2222 w 4008"/>
                  <a:gd name="connsiteY38" fmla="*/ 143 h 1039"/>
                  <a:gd name="connsiteX39" fmla="*/ 2168 w 4008"/>
                  <a:gd name="connsiteY39" fmla="*/ 176 h 1039"/>
                  <a:gd name="connsiteX40" fmla="*/ 2117 w 4008"/>
                  <a:gd name="connsiteY40" fmla="*/ 214 h 1039"/>
                  <a:gd name="connsiteX41" fmla="*/ 2071 w 4008"/>
                  <a:gd name="connsiteY41" fmla="*/ 257 h 1039"/>
                  <a:gd name="connsiteX42" fmla="*/ 2026 w 4008"/>
                  <a:gd name="connsiteY42" fmla="*/ 303 h 1039"/>
                  <a:gd name="connsiteX43" fmla="*/ 1984 w 4008"/>
                  <a:gd name="connsiteY43" fmla="*/ 355 h 1039"/>
                  <a:gd name="connsiteX44" fmla="*/ 1945 w 4008"/>
                  <a:gd name="connsiteY44" fmla="*/ 409 h 1039"/>
                  <a:gd name="connsiteX45" fmla="*/ 1908 w 4008"/>
                  <a:gd name="connsiteY45" fmla="*/ 463 h 1039"/>
                  <a:gd name="connsiteX46" fmla="*/ 1871 w 4008"/>
                  <a:gd name="connsiteY46" fmla="*/ 519 h 1039"/>
                  <a:gd name="connsiteX47" fmla="*/ 1834 w 4008"/>
                  <a:gd name="connsiteY47" fmla="*/ 577 h 1039"/>
                  <a:gd name="connsiteX48" fmla="*/ 1799 w 4008"/>
                  <a:gd name="connsiteY48" fmla="*/ 633 h 1039"/>
                  <a:gd name="connsiteX49" fmla="*/ 1724 w 4008"/>
                  <a:gd name="connsiteY49" fmla="*/ 745 h 1039"/>
                  <a:gd name="connsiteX50" fmla="*/ 1685 w 4008"/>
                  <a:gd name="connsiteY50" fmla="*/ 797 h 1039"/>
                  <a:gd name="connsiteX51" fmla="*/ 1644 w 4008"/>
                  <a:gd name="connsiteY51" fmla="*/ 846 h 1039"/>
                  <a:gd name="connsiteX52" fmla="*/ 1600 w 4008"/>
                  <a:gd name="connsiteY52" fmla="*/ 892 h 1039"/>
                  <a:gd name="connsiteX53" fmla="*/ 1553 w 4008"/>
                  <a:gd name="connsiteY53" fmla="*/ 933 h 1039"/>
                  <a:gd name="connsiteX54" fmla="*/ 1503 w 4008"/>
                  <a:gd name="connsiteY54" fmla="*/ 969 h 1039"/>
                  <a:gd name="connsiteX55" fmla="*/ 1450 w 4008"/>
                  <a:gd name="connsiteY55" fmla="*/ 998 h 1039"/>
                  <a:gd name="connsiteX56" fmla="*/ 1394 w 4008"/>
                  <a:gd name="connsiteY56" fmla="*/ 1021 h 1039"/>
                  <a:gd name="connsiteX57" fmla="*/ 1330 w 4008"/>
                  <a:gd name="connsiteY57" fmla="*/ 1033 h 1039"/>
                  <a:gd name="connsiteX58" fmla="*/ 1264 w 4008"/>
                  <a:gd name="connsiteY58" fmla="*/ 1039 h 1039"/>
                  <a:gd name="connsiteX59" fmla="*/ 1258 w 4008"/>
                  <a:gd name="connsiteY59" fmla="*/ 1039 h 1039"/>
                  <a:gd name="connsiteX60" fmla="*/ 1190 w 4008"/>
                  <a:gd name="connsiteY60" fmla="*/ 1035 h 1039"/>
                  <a:gd name="connsiteX61" fmla="*/ 1128 w 4008"/>
                  <a:gd name="connsiteY61" fmla="*/ 1023 h 1039"/>
                  <a:gd name="connsiteX62" fmla="*/ 1070 w 4008"/>
                  <a:gd name="connsiteY62" fmla="*/ 1004 h 1039"/>
                  <a:gd name="connsiteX63" fmla="*/ 1018 w 4008"/>
                  <a:gd name="connsiteY63" fmla="*/ 979 h 1039"/>
                  <a:gd name="connsiteX64" fmla="*/ 971 w 4008"/>
                  <a:gd name="connsiteY64" fmla="*/ 948 h 1039"/>
                  <a:gd name="connsiteX65" fmla="*/ 925 w 4008"/>
                  <a:gd name="connsiteY65" fmla="*/ 911 h 1039"/>
                  <a:gd name="connsiteX66" fmla="*/ 884 w 4008"/>
                  <a:gd name="connsiteY66" fmla="*/ 869 h 1039"/>
                  <a:gd name="connsiteX67" fmla="*/ 847 w 4008"/>
                  <a:gd name="connsiteY67" fmla="*/ 824 h 1039"/>
                  <a:gd name="connsiteX68" fmla="*/ 810 w 4008"/>
                  <a:gd name="connsiteY68" fmla="*/ 776 h 1039"/>
                  <a:gd name="connsiteX69" fmla="*/ 777 w 4008"/>
                  <a:gd name="connsiteY69" fmla="*/ 724 h 1039"/>
                  <a:gd name="connsiteX70" fmla="*/ 742 w 4008"/>
                  <a:gd name="connsiteY70" fmla="*/ 670 h 1039"/>
                  <a:gd name="connsiteX71" fmla="*/ 711 w 4008"/>
                  <a:gd name="connsiteY71" fmla="*/ 614 h 1039"/>
                  <a:gd name="connsiteX72" fmla="*/ 678 w 4008"/>
                  <a:gd name="connsiteY72" fmla="*/ 556 h 1039"/>
                  <a:gd name="connsiteX73" fmla="*/ 616 w 4008"/>
                  <a:gd name="connsiteY73" fmla="*/ 444 h 1039"/>
                  <a:gd name="connsiteX74" fmla="*/ 547 w 4008"/>
                  <a:gd name="connsiteY74" fmla="*/ 336 h 1039"/>
                  <a:gd name="connsiteX75" fmla="*/ 504 w 4008"/>
                  <a:gd name="connsiteY75" fmla="*/ 280 h 1039"/>
                  <a:gd name="connsiteX76" fmla="*/ 457 w 4008"/>
                  <a:gd name="connsiteY76" fmla="*/ 235 h 1039"/>
                  <a:gd name="connsiteX77" fmla="*/ 409 w 4008"/>
                  <a:gd name="connsiteY77" fmla="*/ 195 h 1039"/>
                  <a:gd name="connsiteX78" fmla="*/ 358 w 4008"/>
                  <a:gd name="connsiteY78" fmla="*/ 164 h 1039"/>
                  <a:gd name="connsiteX79" fmla="*/ 308 w 4008"/>
                  <a:gd name="connsiteY79" fmla="*/ 141 h 1039"/>
                  <a:gd name="connsiteX80" fmla="*/ 256 w 4008"/>
                  <a:gd name="connsiteY80" fmla="*/ 123 h 1039"/>
                  <a:gd name="connsiteX81" fmla="*/ 209 w 4008"/>
                  <a:gd name="connsiteY81" fmla="*/ 108 h 1039"/>
                  <a:gd name="connsiteX82" fmla="*/ 163 w 4008"/>
                  <a:gd name="connsiteY82" fmla="*/ 100 h 1039"/>
                  <a:gd name="connsiteX83" fmla="*/ 122 w 4008"/>
                  <a:gd name="connsiteY83" fmla="*/ 96 h 1039"/>
                  <a:gd name="connsiteX84" fmla="*/ 85 w 4008"/>
                  <a:gd name="connsiteY84" fmla="*/ 91 h 1039"/>
                  <a:gd name="connsiteX85" fmla="*/ 31 w 4008"/>
                  <a:gd name="connsiteY85" fmla="*/ 91 h 1039"/>
                  <a:gd name="connsiteX86" fmla="*/ 17 w 4008"/>
                  <a:gd name="connsiteY86" fmla="*/ 94 h 1039"/>
                  <a:gd name="connsiteX87" fmla="*/ 11 w 4008"/>
                  <a:gd name="connsiteY87" fmla="*/ 94 h 1039"/>
                  <a:gd name="connsiteX88" fmla="*/ 0 w 4008"/>
                  <a:gd name="connsiteY88" fmla="*/ 9 h 1039"/>
                  <a:gd name="connsiteX89" fmla="*/ 9 w 4008"/>
                  <a:gd name="connsiteY89" fmla="*/ 9 h 1039"/>
                  <a:gd name="connsiteX90" fmla="*/ 29 w 4008"/>
                  <a:gd name="connsiteY90" fmla="*/ 6 h 1039"/>
                  <a:gd name="connsiteX91" fmla="*/ 91 w 4008"/>
                  <a:gd name="connsiteY91" fmla="*/ 6 h 1039"/>
                  <a:gd name="connsiteX92" fmla="*/ 135 w 4008"/>
                  <a:gd name="connsiteY92" fmla="*/ 9 h 1039"/>
                  <a:gd name="connsiteX93" fmla="*/ 182 w 4008"/>
                  <a:gd name="connsiteY93" fmla="*/ 15 h 1039"/>
                  <a:gd name="connsiteX94" fmla="*/ 234 w 4008"/>
                  <a:gd name="connsiteY94" fmla="*/ 25 h 1039"/>
                  <a:gd name="connsiteX95" fmla="*/ 287 w 4008"/>
                  <a:gd name="connsiteY95" fmla="*/ 42 h 1039"/>
                  <a:gd name="connsiteX96" fmla="*/ 345 w 4008"/>
                  <a:gd name="connsiteY96" fmla="*/ 62 h 1039"/>
                  <a:gd name="connsiteX97" fmla="*/ 403 w 4008"/>
                  <a:gd name="connsiteY97" fmla="*/ 89 h 1039"/>
                  <a:gd name="connsiteX98" fmla="*/ 459 w 4008"/>
                  <a:gd name="connsiteY98" fmla="*/ 127 h 1039"/>
                  <a:gd name="connsiteX99" fmla="*/ 514 w 4008"/>
                  <a:gd name="connsiteY99" fmla="*/ 170 h 1039"/>
                  <a:gd name="connsiteX100" fmla="*/ 568 w 4008"/>
                  <a:gd name="connsiteY100" fmla="*/ 224 h 1039"/>
                  <a:gd name="connsiteX101" fmla="*/ 618 w 4008"/>
                  <a:gd name="connsiteY101" fmla="*/ 288 h 1039"/>
                  <a:gd name="connsiteX102" fmla="*/ 667 w 4008"/>
                  <a:gd name="connsiteY102" fmla="*/ 363 h 1039"/>
                  <a:gd name="connsiteX103" fmla="*/ 754 w 4008"/>
                  <a:gd name="connsiteY103" fmla="*/ 512 h 1039"/>
                  <a:gd name="connsiteX104" fmla="*/ 787 w 4008"/>
                  <a:gd name="connsiteY104" fmla="*/ 571 h 1039"/>
                  <a:gd name="connsiteX105" fmla="*/ 820 w 4008"/>
                  <a:gd name="connsiteY105" fmla="*/ 627 h 1039"/>
                  <a:gd name="connsiteX106" fmla="*/ 853 w 4008"/>
                  <a:gd name="connsiteY106" fmla="*/ 680 h 1039"/>
                  <a:gd name="connsiteX107" fmla="*/ 886 w 4008"/>
                  <a:gd name="connsiteY107" fmla="*/ 732 h 1039"/>
                  <a:gd name="connsiteX108" fmla="*/ 921 w 4008"/>
                  <a:gd name="connsiteY108" fmla="*/ 778 h 1039"/>
                  <a:gd name="connsiteX109" fmla="*/ 958 w 4008"/>
                  <a:gd name="connsiteY109" fmla="*/ 821 h 1039"/>
                  <a:gd name="connsiteX110" fmla="*/ 1000 w 4008"/>
                  <a:gd name="connsiteY110" fmla="*/ 859 h 1039"/>
                  <a:gd name="connsiteX111" fmla="*/ 1043 w 4008"/>
                  <a:gd name="connsiteY111" fmla="*/ 890 h 1039"/>
                  <a:gd name="connsiteX112" fmla="*/ 1090 w 4008"/>
                  <a:gd name="connsiteY112" fmla="*/ 917 h 1039"/>
                  <a:gd name="connsiteX113" fmla="*/ 1140 w 4008"/>
                  <a:gd name="connsiteY113" fmla="*/ 935 h 1039"/>
                  <a:gd name="connsiteX114" fmla="*/ 1196 w 4008"/>
                  <a:gd name="connsiteY114" fmla="*/ 948 h 1039"/>
                  <a:gd name="connsiteX115" fmla="*/ 1258 w 4008"/>
                  <a:gd name="connsiteY115" fmla="*/ 952 h 1039"/>
                  <a:gd name="connsiteX116" fmla="*/ 1264 w 4008"/>
                  <a:gd name="connsiteY116" fmla="*/ 952 h 1039"/>
                  <a:gd name="connsiteX117" fmla="*/ 1324 w 4008"/>
                  <a:gd name="connsiteY117" fmla="*/ 946 h 1039"/>
                  <a:gd name="connsiteX118" fmla="*/ 1380 w 4008"/>
                  <a:gd name="connsiteY118" fmla="*/ 931 h 1039"/>
                  <a:gd name="connsiteX119" fmla="*/ 1433 w 4008"/>
                  <a:gd name="connsiteY119" fmla="*/ 909 h 1039"/>
                  <a:gd name="connsiteX120" fmla="*/ 1481 w 4008"/>
                  <a:gd name="connsiteY120" fmla="*/ 880 h 1039"/>
                  <a:gd name="connsiteX121" fmla="*/ 1526 w 4008"/>
                  <a:gd name="connsiteY121" fmla="*/ 842 h 1039"/>
                  <a:gd name="connsiteX122" fmla="*/ 1569 w 4008"/>
                  <a:gd name="connsiteY122" fmla="*/ 799 h 1039"/>
                  <a:gd name="connsiteX123" fmla="*/ 1609 w 4008"/>
                  <a:gd name="connsiteY123" fmla="*/ 751 h 1039"/>
                  <a:gd name="connsiteX124" fmla="*/ 1648 w 4008"/>
                  <a:gd name="connsiteY124" fmla="*/ 699 h 1039"/>
                  <a:gd name="connsiteX125" fmla="*/ 1687 w 4008"/>
                  <a:gd name="connsiteY125" fmla="*/ 645 h 1039"/>
                  <a:gd name="connsiteX126" fmla="*/ 1799 w 4008"/>
                  <a:gd name="connsiteY126" fmla="*/ 471 h 1039"/>
                  <a:gd name="connsiteX127" fmla="*/ 1838 w 4008"/>
                  <a:gd name="connsiteY127" fmla="*/ 411 h 1039"/>
                  <a:gd name="connsiteX128" fmla="*/ 1879 w 4008"/>
                  <a:gd name="connsiteY128" fmla="*/ 353 h 1039"/>
                  <a:gd name="connsiteX129" fmla="*/ 1923 w 4008"/>
                  <a:gd name="connsiteY129" fmla="*/ 295 h 1039"/>
                  <a:gd name="connsiteX130" fmla="*/ 1968 w 4008"/>
                  <a:gd name="connsiteY130" fmla="*/ 241 h 1039"/>
                  <a:gd name="connsiteX131" fmla="*/ 2015 w 4008"/>
                  <a:gd name="connsiteY131" fmla="*/ 189 h 1039"/>
                  <a:gd name="connsiteX132" fmla="*/ 2069 w 4008"/>
                  <a:gd name="connsiteY132" fmla="*/ 141 h 1039"/>
                  <a:gd name="connsiteX133" fmla="*/ 2125 w 4008"/>
                  <a:gd name="connsiteY133" fmla="*/ 100 h 1039"/>
                  <a:gd name="connsiteX134" fmla="*/ 2187 w 4008"/>
                  <a:gd name="connsiteY134" fmla="*/ 65 h 1039"/>
                  <a:gd name="connsiteX135" fmla="*/ 2253 w 4008"/>
                  <a:gd name="connsiteY135" fmla="*/ 35 h 1039"/>
                  <a:gd name="connsiteX136" fmla="*/ 2325 w 4008"/>
                  <a:gd name="connsiteY136" fmla="*/ 15 h 1039"/>
                  <a:gd name="connsiteX137" fmla="*/ 2404 w 4008"/>
                  <a:gd name="connsiteY137" fmla="*/ 2 h 1039"/>
                  <a:gd name="connsiteX138" fmla="*/ 2474 w 4008"/>
                  <a:gd name="connsiteY138" fmla="*/ 0 h 1039"/>
                  <a:gd name="connsiteX139" fmla="*/ 2540 w 4008"/>
                  <a:gd name="connsiteY139" fmla="*/ 9 h 1039"/>
                  <a:gd name="connsiteX140" fmla="*/ 2600 w 4008"/>
                  <a:gd name="connsiteY140" fmla="*/ 23 h 1039"/>
                  <a:gd name="connsiteX141" fmla="*/ 2658 w 4008"/>
                  <a:gd name="connsiteY141" fmla="*/ 46 h 1039"/>
                  <a:gd name="connsiteX142" fmla="*/ 2711 w 4008"/>
                  <a:gd name="connsiteY142" fmla="*/ 77 h 1039"/>
                  <a:gd name="connsiteX143" fmla="*/ 2761 w 4008"/>
                  <a:gd name="connsiteY143" fmla="*/ 112 h 1039"/>
                  <a:gd name="connsiteX144" fmla="*/ 2806 w 4008"/>
                  <a:gd name="connsiteY144" fmla="*/ 154 h 1039"/>
                  <a:gd name="connsiteX145" fmla="*/ 2852 w 4008"/>
                  <a:gd name="connsiteY145" fmla="*/ 199 h 1039"/>
                  <a:gd name="connsiteX146" fmla="*/ 2893 w 4008"/>
                  <a:gd name="connsiteY146" fmla="*/ 247 h 1039"/>
                  <a:gd name="connsiteX147" fmla="*/ 2932 w 4008"/>
                  <a:gd name="connsiteY147" fmla="*/ 299 h 1039"/>
                  <a:gd name="connsiteX148" fmla="*/ 2969 w 4008"/>
                  <a:gd name="connsiteY148" fmla="*/ 353 h 1039"/>
                  <a:gd name="connsiteX149" fmla="*/ 3004 w 4008"/>
                  <a:gd name="connsiteY149" fmla="*/ 409 h 1039"/>
                  <a:gd name="connsiteX150" fmla="*/ 3039 w 4008"/>
                  <a:gd name="connsiteY150" fmla="*/ 463 h 1039"/>
                  <a:gd name="connsiteX151" fmla="*/ 3073 w 4008"/>
                  <a:gd name="connsiteY151" fmla="*/ 519 h 1039"/>
                  <a:gd name="connsiteX152" fmla="*/ 3110 w 4008"/>
                  <a:gd name="connsiteY152" fmla="*/ 581 h 1039"/>
                  <a:gd name="connsiteX153" fmla="*/ 3147 w 4008"/>
                  <a:gd name="connsiteY153" fmla="*/ 639 h 1039"/>
                  <a:gd name="connsiteX154" fmla="*/ 3186 w 4008"/>
                  <a:gd name="connsiteY154" fmla="*/ 697 h 1039"/>
                  <a:gd name="connsiteX155" fmla="*/ 3223 w 4008"/>
                  <a:gd name="connsiteY155" fmla="*/ 751 h 1039"/>
                  <a:gd name="connsiteX156" fmla="*/ 3265 w 4008"/>
                  <a:gd name="connsiteY156" fmla="*/ 801 h 1039"/>
                  <a:gd name="connsiteX157" fmla="*/ 3306 w 4008"/>
                  <a:gd name="connsiteY157" fmla="*/ 844 h 1039"/>
                  <a:gd name="connsiteX158" fmla="*/ 3349 w 4008"/>
                  <a:gd name="connsiteY158" fmla="*/ 882 h 1039"/>
                  <a:gd name="connsiteX159" fmla="*/ 3395 w 4008"/>
                  <a:gd name="connsiteY159" fmla="*/ 913 h 1039"/>
                  <a:gd name="connsiteX160" fmla="*/ 3444 w 4008"/>
                  <a:gd name="connsiteY160" fmla="*/ 935 h 1039"/>
                  <a:gd name="connsiteX161" fmla="*/ 3498 w 4008"/>
                  <a:gd name="connsiteY161" fmla="*/ 948 h 1039"/>
                  <a:gd name="connsiteX162" fmla="*/ 3554 w 4008"/>
                  <a:gd name="connsiteY162" fmla="*/ 952 h 1039"/>
                  <a:gd name="connsiteX163" fmla="*/ 3609 w 4008"/>
                  <a:gd name="connsiteY163" fmla="*/ 946 h 1039"/>
                  <a:gd name="connsiteX164" fmla="*/ 3659 w 4008"/>
                  <a:gd name="connsiteY164" fmla="*/ 931 h 1039"/>
                  <a:gd name="connsiteX165" fmla="*/ 3706 w 4008"/>
                  <a:gd name="connsiteY165" fmla="*/ 911 h 1039"/>
                  <a:gd name="connsiteX166" fmla="*/ 3750 w 4008"/>
                  <a:gd name="connsiteY166" fmla="*/ 880 h 1039"/>
                  <a:gd name="connsiteX167" fmla="*/ 3789 w 4008"/>
                  <a:gd name="connsiteY167" fmla="*/ 844 h 1039"/>
                  <a:gd name="connsiteX168" fmla="*/ 3826 w 4008"/>
                  <a:gd name="connsiteY168" fmla="*/ 803 h 1039"/>
                  <a:gd name="connsiteX169" fmla="*/ 3861 w 4008"/>
                  <a:gd name="connsiteY169" fmla="*/ 755 h 1039"/>
                  <a:gd name="connsiteX170" fmla="*/ 3894 w 4008"/>
                  <a:gd name="connsiteY170" fmla="*/ 705 h 1039"/>
                  <a:gd name="connsiteX171" fmla="*/ 3927 w 4008"/>
                  <a:gd name="connsiteY171" fmla="*/ 651 h 1039"/>
                  <a:gd name="connsiteX172" fmla="*/ 3960 w 4008"/>
                  <a:gd name="connsiteY172" fmla="*/ 593 h 1039"/>
                  <a:gd name="connsiteX0" fmla="*/ 3927 w 4008"/>
                  <a:gd name="connsiteY0" fmla="*/ 651 h 1039"/>
                  <a:gd name="connsiteX1" fmla="*/ 4008 w 4008"/>
                  <a:gd name="connsiteY1" fmla="*/ 687 h 1039"/>
                  <a:gd name="connsiteX2" fmla="*/ 3975 w 4008"/>
                  <a:gd name="connsiteY2" fmla="*/ 743 h 1039"/>
                  <a:gd name="connsiteX3" fmla="*/ 3940 w 4008"/>
                  <a:gd name="connsiteY3" fmla="*/ 794 h 1039"/>
                  <a:gd name="connsiteX4" fmla="*/ 3905 w 4008"/>
                  <a:gd name="connsiteY4" fmla="*/ 844 h 1039"/>
                  <a:gd name="connsiteX5" fmla="*/ 3865 w 4008"/>
                  <a:gd name="connsiteY5" fmla="*/ 890 h 1039"/>
                  <a:gd name="connsiteX6" fmla="*/ 3824 w 4008"/>
                  <a:gd name="connsiteY6" fmla="*/ 931 h 1039"/>
                  <a:gd name="connsiteX7" fmla="*/ 3779 w 4008"/>
                  <a:gd name="connsiteY7" fmla="*/ 967 h 1039"/>
                  <a:gd name="connsiteX8" fmla="*/ 3729 w 4008"/>
                  <a:gd name="connsiteY8" fmla="*/ 996 h 1039"/>
                  <a:gd name="connsiteX9" fmla="*/ 3677 w 4008"/>
                  <a:gd name="connsiteY9" fmla="*/ 1018 h 1039"/>
                  <a:gd name="connsiteX10" fmla="*/ 3620 w 4008"/>
                  <a:gd name="connsiteY10" fmla="*/ 1033 h 1039"/>
                  <a:gd name="connsiteX11" fmla="*/ 3556 w 4008"/>
                  <a:gd name="connsiteY11" fmla="*/ 1039 h 1039"/>
                  <a:gd name="connsiteX12" fmla="*/ 3547 w 4008"/>
                  <a:gd name="connsiteY12" fmla="*/ 1039 h 1039"/>
                  <a:gd name="connsiteX13" fmla="*/ 3485 w 4008"/>
                  <a:gd name="connsiteY13" fmla="*/ 1035 h 1039"/>
                  <a:gd name="connsiteX14" fmla="*/ 3426 w 4008"/>
                  <a:gd name="connsiteY14" fmla="*/ 1021 h 1039"/>
                  <a:gd name="connsiteX15" fmla="*/ 3372 w 4008"/>
                  <a:gd name="connsiteY15" fmla="*/ 998 h 1039"/>
                  <a:gd name="connsiteX16" fmla="*/ 3320 w 4008"/>
                  <a:gd name="connsiteY16" fmla="*/ 969 h 1039"/>
                  <a:gd name="connsiteX17" fmla="*/ 3273 w 4008"/>
                  <a:gd name="connsiteY17" fmla="*/ 931 h 1039"/>
                  <a:gd name="connsiteX18" fmla="*/ 3229 w 4008"/>
                  <a:gd name="connsiteY18" fmla="*/ 890 h 1039"/>
                  <a:gd name="connsiteX19" fmla="*/ 3186 w 4008"/>
                  <a:gd name="connsiteY19" fmla="*/ 842 h 1039"/>
                  <a:gd name="connsiteX20" fmla="*/ 3147 w 4008"/>
                  <a:gd name="connsiteY20" fmla="*/ 792 h 1039"/>
                  <a:gd name="connsiteX21" fmla="*/ 3108 w 4008"/>
                  <a:gd name="connsiteY21" fmla="*/ 736 h 1039"/>
                  <a:gd name="connsiteX22" fmla="*/ 3070 w 4008"/>
                  <a:gd name="connsiteY22" fmla="*/ 680 h 1039"/>
                  <a:gd name="connsiteX23" fmla="*/ 2965 w 4008"/>
                  <a:gd name="connsiteY23" fmla="*/ 506 h 1039"/>
                  <a:gd name="connsiteX24" fmla="*/ 2928 w 4008"/>
                  <a:gd name="connsiteY24" fmla="*/ 448 h 1039"/>
                  <a:gd name="connsiteX25" fmla="*/ 2891 w 4008"/>
                  <a:gd name="connsiteY25" fmla="*/ 392 h 1039"/>
                  <a:gd name="connsiteX26" fmla="*/ 2854 w 4008"/>
                  <a:gd name="connsiteY26" fmla="*/ 338 h 1039"/>
                  <a:gd name="connsiteX27" fmla="*/ 2814 w 4008"/>
                  <a:gd name="connsiteY27" fmla="*/ 288 h 1039"/>
                  <a:gd name="connsiteX28" fmla="*/ 2773 w 4008"/>
                  <a:gd name="connsiteY28" fmla="*/ 243 h 1039"/>
                  <a:gd name="connsiteX29" fmla="*/ 2732 w 4008"/>
                  <a:gd name="connsiteY29" fmla="*/ 201 h 1039"/>
                  <a:gd name="connsiteX30" fmla="*/ 2686 w 4008"/>
                  <a:gd name="connsiteY30" fmla="*/ 164 h 1039"/>
                  <a:gd name="connsiteX31" fmla="*/ 2639 w 4008"/>
                  <a:gd name="connsiteY31" fmla="*/ 135 h 1039"/>
                  <a:gd name="connsiteX32" fmla="*/ 2587 w 4008"/>
                  <a:gd name="connsiteY32" fmla="*/ 112 h 1039"/>
                  <a:gd name="connsiteX33" fmla="*/ 2532 w 4008"/>
                  <a:gd name="connsiteY33" fmla="*/ 96 h 1039"/>
                  <a:gd name="connsiteX34" fmla="*/ 2474 w 4008"/>
                  <a:gd name="connsiteY34" fmla="*/ 87 h 1039"/>
                  <a:gd name="connsiteX35" fmla="*/ 2410 w 4008"/>
                  <a:gd name="connsiteY35" fmla="*/ 89 h 1039"/>
                  <a:gd name="connsiteX36" fmla="*/ 2342 w 4008"/>
                  <a:gd name="connsiteY36" fmla="*/ 100 h 1039"/>
                  <a:gd name="connsiteX37" fmla="*/ 2280 w 4008"/>
                  <a:gd name="connsiteY37" fmla="*/ 118 h 1039"/>
                  <a:gd name="connsiteX38" fmla="*/ 2222 w 4008"/>
                  <a:gd name="connsiteY38" fmla="*/ 143 h 1039"/>
                  <a:gd name="connsiteX39" fmla="*/ 2168 w 4008"/>
                  <a:gd name="connsiteY39" fmla="*/ 176 h 1039"/>
                  <a:gd name="connsiteX40" fmla="*/ 2117 w 4008"/>
                  <a:gd name="connsiteY40" fmla="*/ 214 h 1039"/>
                  <a:gd name="connsiteX41" fmla="*/ 2071 w 4008"/>
                  <a:gd name="connsiteY41" fmla="*/ 257 h 1039"/>
                  <a:gd name="connsiteX42" fmla="*/ 2026 w 4008"/>
                  <a:gd name="connsiteY42" fmla="*/ 303 h 1039"/>
                  <a:gd name="connsiteX43" fmla="*/ 1984 w 4008"/>
                  <a:gd name="connsiteY43" fmla="*/ 355 h 1039"/>
                  <a:gd name="connsiteX44" fmla="*/ 1945 w 4008"/>
                  <a:gd name="connsiteY44" fmla="*/ 409 h 1039"/>
                  <a:gd name="connsiteX45" fmla="*/ 1908 w 4008"/>
                  <a:gd name="connsiteY45" fmla="*/ 463 h 1039"/>
                  <a:gd name="connsiteX46" fmla="*/ 1871 w 4008"/>
                  <a:gd name="connsiteY46" fmla="*/ 519 h 1039"/>
                  <a:gd name="connsiteX47" fmla="*/ 1834 w 4008"/>
                  <a:gd name="connsiteY47" fmla="*/ 577 h 1039"/>
                  <a:gd name="connsiteX48" fmla="*/ 1799 w 4008"/>
                  <a:gd name="connsiteY48" fmla="*/ 633 h 1039"/>
                  <a:gd name="connsiteX49" fmla="*/ 1724 w 4008"/>
                  <a:gd name="connsiteY49" fmla="*/ 745 h 1039"/>
                  <a:gd name="connsiteX50" fmla="*/ 1685 w 4008"/>
                  <a:gd name="connsiteY50" fmla="*/ 797 h 1039"/>
                  <a:gd name="connsiteX51" fmla="*/ 1644 w 4008"/>
                  <a:gd name="connsiteY51" fmla="*/ 846 h 1039"/>
                  <a:gd name="connsiteX52" fmla="*/ 1600 w 4008"/>
                  <a:gd name="connsiteY52" fmla="*/ 892 h 1039"/>
                  <a:gd name="connsiteX53" fmla="*/ 1553 w 4008"/>
                  <a:gd name="connsiteY53" fmla="*/ 933 h 1039"/>
                  <a:gd name="connsiteX54" fmla="*/ 1503 w 4008"/>
                  <a:gd name="connsiteY54" fmla="*/ 969 h 1039"/>
                  <a:gd name="connsiteX55" fmla="*/ 1450 w 4008"/>
                  <a:gd name="connsiteY55" fmla="*/ 998 h 1039"/>
                  <a:gd name="connsiteX56" fmla="*/ 1394 w 4008"/>
                  <a:gd name="connsiteY56" fmla="*/ 1021 h 1039"/>
                  <a:gd name="connsiteX57" fmla="*/ 1330 w 4008"/>
                  <a:gd name="connsiteY57" fmla="*/ 1033 h 1039"/>
                  <a:gd name="connsiteX58" fmla="*/ 1264 w 4008"/>
                  <a:gd name="connsiteY58" fmla="*/ 1039 h 1039"/>
                  <a:gd name="connsiteX59" fmla="*/ 1258 w 4008"/>
                  <a:gd name="connsiteY59" fmla="*/ 1039 h 1039"/>
                  <a:gd name="connsiteX60" fmla="*/ 1190 w 4008"/>
                  <a:gd name="connsiteY60" fmla="*/ 1035 h 1039"/>
                  <a:gd name="connsiteX61" fmla="*/ 1128 w 4008"/>
                  <a:gd name="connsiteY61" fmla="*/ 1023 h 1039"/>
                  <a:gd name="connsiteX62" fmla="*/ 1070 w 4008"/>
                  <a:gd name="connsiteY62" fmla="*/ 1004 h 1039"/>
                  <a:gd name="connsiteX63" fmla="*/ 1018 w 4008"/>
                  <a:gd name="connsiteY63" fmla="*/ 979 h 1039"/>
                  <a:gd name="connsiteX64" fmla="*/ 971 w 4008"/>
                  <a:gd name="connsiteY64" fmla="*/ 948 h 1039"/>
                  <a:gd name="connsiteX65" fmla="*/ 925 w 4008"/>
                  <a:gd name="connsiteY65" fmla="*/ 911 h 1039"/>
                  <a:gd name="connsiteX66" fmla="*/ 884 w 4008"/>
                  <a:gd name="connsiteY66" fmla="*/ 869 h 1039"/>
                  <a:gd name="connsiteX67" fmla="*/ 847 w 4008"/>
                  <a:gd name="connsiteY67" fmla="*/ 824 h 1039"/>
                  <a:gd name="connsiteX68" fmla="*/ 810 w 4008"/>
                  <a:gd name="connsiteY68" fmla="*/ 776 h 1039"/>
                  <a:gd name="connsiteX69" fmla="*/ 777 w 4008"/>
                  <a:gd name="connsiteY69" fmla="*/ 724 h 1039"/>
                  <a:gd name="connsiteX70" fmla="*/ 742 w 4008"/>
                  <a:gd name="connsiteY70" fmla="*/ 670 h 1039"/>
                  <a:gd name="connsiteX71" fmla="*/ 711 w 4008"/>
                  <a:gd name="connsiteY71" fmla="*/ 614 h 1039"/>
                  <a:gd name="connsiteX72" fmla="*/ 678 w 4008"/>
                  <a:gd name="connsiteY72" fmla="*/ 556 h 1039"/>
                  <a:gd name="connsiteX73" fmla="*/ 616 w 4008"/>
                  <a:gd name="connsiteY73" fmla="*/ 444 h 1039"/>
                  <a:gd name="connsiteX74" fmla="*/ 547 w 4008"/>
                  <a:gd name="connsiteY74" fmla="*/ 336 h 1039"/>
                  <a:gd name="connsiteX75" fmla="*/ 504 w 4008"/>
                  <a:gd name="connsiteY75" fmla="*/ 280 h 1039"/>
                  <a:gd name="connsiteX76" fmla="*/ 457 w 4008"/>
                  <a:gd name="connsiteY76" fmla="*/ 235 h 1039"/>
                  <a:gd name="connsiteX77" fmla="*/ 409 w 4008"/>
                  <a:gd name="connsiteY77" fmla="*/ 195 h 1039"/>
                  <a:gd name="connsiteX78" fmla="*/ 358 w 4008"/>
                  <a:gd name="connsiteY78" fmla="*/ 164 h 1039"/>
                  <a:gd name="connsiteX79" fmla="*/ 308 w 4008"/>
                  <a:gd name="connsiteY79" fmla="*/ 141 h 1039"/>
                  <a:gd name="connsiteX80" fmla="*/ 256 w 4008"/>
                  <a:gd name="connsiteY80" fmla="*/ 123 h 1039"/>
                  <a:gd name="connsiteX81" fmla="*/ 209 w 4008"/>
                  <a:gd name="connsiteY81" fmla="*/ 108 h 1039"/>
                  <a:gd name="connsiteX82" fmla="*/ 163 w 4008"/>
                  <a:gd name="connsiteY82" fmla="*/ 100 h 1039"/>
                  <a:gd name="connsiteX83" fmla="*/ 122 w 4008"/>
                  <a:gd name="connsiteY83" fmla="*/ 96 h 1039"/>
                  <a:gd name="connsiteX84" fmla="*/ 85 w 4008"/>
                  <a:gd name="connsiteY84" fmla="*/ 91 h 1039"/>
                  <a:gd name="connsiteX85" fmla="*/ 31 w 4008"/>
                  <a:gd name="connsiteY85" fmla="*/ 91 h 1039"/>
                  <a:gd name="connsiteX86" fmla="*/ 17 w 4008"/>
                  <a:gd name="connsiteY86" fmla="*/ 94 h 1039"/>
                  <a:gd name="connsiteX87" fmla="*/ 11 w 4008"/>
                  <a:gd name="connsiteY87" fmla="*/ 94 h 1039"/>
                  <a:gd name="connsiteX88" fmla="*/ 0 w 4008"/>
                  <a:gd name="connsiteY88" fmla="*/ 9 h 1039"/>
                  <a:gd name="connsiteX89" fmla="*/ 9 w 4008"/>
                  <a:gd name="connsiteY89" fmla="*/ 9 h 1039"/>
                  <a:gd name="connsiteX90" fmla="*/ 29 w 4008"/>
                  <a:gd name="connsiteY90" fmla="*/ 6 h 1039"/>
                  <a:gd name="connsiteX91" fmla="*/ 91 w 4008"/>
                  <a:gd name="connsiteY91" fmla="*/ 6 h 1039"/>
                  <a:gd name="connsiteX92" fmla="*/ 135 w 4008"/>
                  <a:gd name="connsiteY92" fmla="*/ 9 h 1039"/>
                  <a:gd name="connsiteX93" fmla="*/ 182 w 4008"/>
                  <a:gd name="connsiteY93" fmla="*/ 15 h 1039"/>
                  <a:gd name="connsiteX94" fmla="*/ 234 w 4008"/>
                  <a:gd name="connsiteY94" fmla="*/ 25 h 1039"/>
                  <a:gd name="connsiteX95" fmla="*/ 287 w 4008"/>
                  <a:gd name="connsiteY95" fmla="*/ 42 h 1039"/>
                  <a:gd name="connsiteX96" fmla="*/ 345 w 4008"/>
                  <a:gd name="connsiteY96" fmla="*/ 62 h 1039"/>
                  <a:gd name="connsiteX97" fmla="*/ 403 w 4008"/>
                  <a:gd name="connsiteY97" fmla="*/ 89 h 1039"/>
                  <a:gd name="connsiteX98" fmla="*/ 459 w 4008"/>
                  <a:gd name="connsiteY98" fmla="*/ 127 h 1039"/>
                  <a:gd name="connsiteX99" fmla="*/ 514 w 4008"/>
                  <a:gd name="connsiteY99" fmla="*/ 170 h 1039"/>
                  <a:gd name="connsiteX100" fmla="*/ 568 w 4008"/>
                  <a:gd name="connsiteY100" fmla="*/ 224 h 1039"/>
                  <a:gd name="connsiteX101" fmla="*/ 618 w 4008"/>
                  <a:gd name="connsiteY101" fmla="*/ 288 h 1039"/>
                  <a:gd name="connsiteX102" fmla="*/ 667 w 4008"/>
                  <a:gd name="connsiteY102" fmla="*/ 363 h 1039"/>
                  <a:gd name="connsiteX103" fmla="*/ 754 w 4008"/>
                  <a:gd name="connsiteY103" fmla="*/ 512 h 1039"/>
                  <a:gd name="connsiteX104" fmla="*/ 787 w 4008"/>
                  <a:gd name="connsiteY104" fmla="*/ 571 h 1039"/>
                  <a:gd name="connsiteX105" fmla="*/ 820 w 4008"/>
                  <a:gd name="connsiteY105" fmla="*/ 627 h 1039"/>
                  <a:gd name="connsiteX106" fmla="*/ 853 w 4008"/>
                  <a:gd name="connsiteY106" fmla="*/ 680 h 1039"/>
                  <a:gd name="connsiteX107" fmla="*/ 886 w 4008"/>
                  <a:gd name="connsiteY107" fmla="*/ 732 h 1039"/>
                  <a:gd name="connsiteX108" fmla="*/ 921 w 4008"/>
                  <a:gd name="connsiteY108" fmla="*/ 778 h 1039"/>
                  <a:gd name="connsiteX109" fmla="*/ 958 w 4008"/>
                  <a:gd name="connsiteY109" fmla="*/ 821 h 1039"/>
                  <a:gd name="connsiteX110" fmla="*/ 1000 w 4008"/>
                  <a:gd name="connsiteY110" fmla="*/ 859 h 1039"/>
                  <a:gd name="connsiteX111" fmla="*/ 1043 w 4008"/>
                  <a:gd name="connsiteY111" fmla="*/ 890 h 1039"/>
                  <a:gd name="connsiteX112" fmla="*/ 1090 w 4008"/>
                  <a:gd name="connsiteY112" fmla="*/ 917 h 1039"/>
                  <a:gd name="connsiteX113" fmla="*/ 1140 w 4008"/>
                  <a:gd name="connsiteY113" fmla="*/ 935 h 1039"/>
                  <a:gd name="connsiteX114" fmla="*/ 1196 w 4008"/>
                  <a:gd name="connsiteY114" fmla="*/ 948 h 1039"/>
                  <a:gd name="connsiteX115" fmla="*/ 1258 w 4008"/>
                  <a:gd name="connsiteY115" fmla="*/ 952 h 1039"/>
                  <a:gd name="connsiteX116" fmla="*/ 1264 w 4008"/>
                  <a:gd name="connsiteY116" fmla="*/ 952 h 1039"/>
                  <a:gd name="connsiteX117" fmla="*/ 1324 w 4008"/>
                  <a:gd name="connsiteY117" fmla="*/ 946 h 1039"/>
                  <a:gd name="connsiteX118" fmla="*/ 1380 w 4008"/>
                  <a:gd name="connsiteY118" fmla="*/ 931 h 1039"/>
                  <a:gd name="connsiteX119" fmla="*/ 1433 w 4008"/>
                  <a:gd name="connsiteY119" fmla="*/ 909 h 1039"/>
                  <a:gd name="connsiteX120" fmla="*/ 1481 w 4008"/>
                  <a:gd name="connsiteY120" fmla="*/ 880 h 1039"/>
                  <a:gd name="connsiteX121" fmla="*/ 1526 w 4008"/>
                  <a:gd name="connsiteY121" fmla="*/ 842 h 1039"/>
                  <a:gd name="connsiteX122" fmla="*/ 1569 w 4008"/>
                  <a:gd name="connsiteY122" fmla="*/ 799 h 1039"/>
                  <a:gd name="connsiteX123" fmla="*/ 1609 w 4008"/>
                  <a:gd name="connsiteY123" fmla="*/ 751 h 1039"/>
                  <a:gd name="connsiteX124" fmla="*/ 1648 w 4008"/>
                  <a:gd name="connsiteY124" fmla="*/ 699 h 1039"/>
                  <a:gd name="connsiteX125" fmla="*/ 1687 w 4008"/>
                  <a:gd name="connsiteY125" fmla="*/ 645 h 1039"/>
                  <a:gd name="connsiteX126" fmla="*/ 1799 w 4008"/>
                  <a:gd name="connsiteY126" fmla="*/ 471 h 1039"/>
                  <a:gd name="connsiteX127" fmla="*/ 1838 w 4008"/>
                  <a:gd name="connsiteY127" fmla="*/ 411 h 1039"/>
                  <a:gd name="connsiteX128" fmla="*/ 1879 w 4008"/>
                  <a:gd name="connsiteY128" fmla="*/ 353 h 1039"/>
                  <a:gd name="connsiteX129" fmla="*/ 1923 w 4008"/>
                  <a:gd name="connsiteY129" fmla="*/ 295 h 1039"/>
                  <a:gd name="connsiteX130" fmla="*/ 1968 w 4008"/>
                  <a:gd name="connsiteY130" fmla="*/ 241 h 1039"/>
                  <a:gd name="connsiteX131" fmla="*/ 2015 w 4008"/>
                  <a:gd name="connsiteY131" fmla="*/ 189 h 1039"/>
                  <a:gd name="connsiteX132" fmla="*/ 2069 w 4008"/>
                  <a:gd name="connsiteY132" fmla="*/ 141 h 1039"/>
                  <a:gd name="connsiteX133" fmla="*/ 2125 w 4008"/>
                  <a:gd name="connsiteY133" fmla="*/ 100 h 1039"/>
                  <a:gd name="connsiteX134" fmla="*/ 2187 w 4008"/>
                  <a:gd name="connsiteY134" fmla="*/ 65 h 1039"/>
                  <a:gd name="connsiteX135" fmla="*/ 2253 w 4008"/>
                  <a:gd name="connsiteY135" fmla="*/ 35 h 1039"/>
                  <a:gd name="connsiteX136" fmla="*/ 2325 w 4008"/>
                  <a:gd name="connsiteY136" fmla="*/ 15 h 1039"/>
                  <a:gd name="connsiteX137" fmla="*/ 2404 w 4008"/>
                  <a:gd name="connsiteY137" fmla="*/ 2 h 1039"/>
                  <a:gd name="connsiteX138" fmla="*/ 2474 w 4008"/>
                  <a:gd name="connsiteY138" fmla="*/ 0 h 1039"/>
                  <a:gd name="connsiteX139" fmla="*/ 2540 w 4008"/>
                  <a:gd name="connsiteY139" fmla="*/ 9 h 1039"/>
                  <a:gd name="connsiteX140" fmla="*/ 2600 w 4008"/>
                  <a:gd name="connsiteY140" fmla="*/ 23 h 1039"/>
                  <a:gd name="connsiteX141" fmla="*/ 2658 w 4008"/>
                  <a:gd name="connsiteY141" fmla="*/ 46 h 1039"/>
                  <a:gd name="connsiteX142" fmla="*/ 2711 w 4008"/>
                  <a:gd name="connsiteY142" fmla="*/ 77 h 1039"/>
                  <a:gd name="connsiteX143" fmla="*/ 2761 w 4008"/>
                  <a:gd name="connsiteY143" fmla="*/ 112 h 1039"/>
                  <a:gd name="connsiteX144" fmla="*/ 2806 w 4008"/>
                  <a:gd name="connsiteY144" fmla="*/ 154 h 1039"/>
                  <a:gd name="connsiteX145" fmla="*/ 2852 w 4008"/>
                  <a:gd name="connsiteY145" fmla="*/ 199 h 1039"/>
                  <a:gd name="connsiteX146" fmla="*/ 2893 w 4008"/>
                  <a:gd name="connsiteY146" fmla="*/ 247 h 1039"/>
                  <a:gd name="connsiteX147" fmla="*/ 2932 w 4008"/>
                  <a:gd name="connsiteY147" fmla="*/ 299 h 1039"/>
                  <a:gd name="connsiteX148" fmla="*/ 2969 w 4008"/>
                  <a:gd name="connsiteY148" fmla="*/ 353 h 1039"/>
                  <a:gd name="connsiteX149" fmla="*/ 3004 w 4008"/>
                  <a:gd name="connsiteY149" fmla="*/ 409 h 1039"/>
                  <a:gd name="connsiteX150" fmla="*/ 3039 w 4008"/>
                  <a:gd name="connsiteY150" fmla="*/ 463 h 1039"/>
                  <a:gd name="connsiteX151" fmla="*/ 3073 w 4008"/>
                  <a:gd name="connsiteY151" fmla="*/ 519 h 1039"/>
                  <a:gd name="connsiteX152" fmla="*/ 3110 w 4008"/>
                  <a:gd name="connsiteY152" fmla="*/ 581 h 1039"/>
                  <a:gd name="connsiteX153" fmla="*/ 3147 w 4008"/>
                  <a:gd name="connsiteY153" fmla="*/ 639 h 1039"/>
                  <a:gd name="connsiteX154" fmla="*/ 3186 w 4008"/>
                  <a:gd name="connsiteY154" fmla="*/ 697 h 1039"/>
                  <a:gd name="connsiteX155" fmla="*/ 3223 w 4008"/>
                  <a:gd name="connsiteY155" fmla="*/ 751 h 1039"/>
                  <a:gd name="connsiteX156" fmla="*/ 3265 w 4008"/>
                  <a:gd name="connsiteY156" fmla="*/ 801 h 1039"/>
                  <a:gd name="connsiteX157" fmla="*/ 3306 w 4008"/>
                  <a:gd name="connsiteY157" fmla="*/ 844 h 1039"/>
                  <a:gd name="connsiteX158" fmla="*/ 3349 w 4008"/>
                  <a:gd name="connsiteY158" fmla="*/ 882 h 1039"/>
                  <a:gd name="connsiteX159" fmla="*/ 3395 w 4008"/>
                  <a:gd name="connsiteY159" fmla="*/ 913 h 1039"/>
                  <a:gd name="connsiteX160" fmla="*/ 3444 w 4008"/>
                  <a:gd name="connsiteY160" fmla="*/ 935 h 1039"/>
                  <a:gd name="connsiteX161" fmla="*/ 3498 w 4008"/>
                  <a:gd name="connsiteY161" fmla="*/ 948 h 1039"/>
                  <a:gd name="connsiteX162" fmla="*/ 3554 w 4008"/>
                  <a:gd name="connsiteY162" fmla="*/ 952 h 1039"/>
                  <a:gd name="connsiteX163" fmla="*/ 3609 w 4008"/>
                  <a:gd name="connsiteY163" fmla="*/ 946 h 1039"/>
                  <a:gd name="connsiteX164" fmla="*/ 3659 w 4008"/>
                  <a:gd name="connsiteY164" fmla="*/ 931 h 1039"/>
                  <a:gd name="connsiteX165" fmla="*/ 3706 w 4008"/>
                  <a:gd name="connsiteY165" fmla="*/ 911 h 1039"/>
                  <a:gd name="connsiteX166" fmla="*/ 3750 w 4008"/>
                  <a:gd name="connsiteY166" fmla="*/ 880 h 1039"/>
                  <a:gd name="connsiteX167" fmla="*/ 3789 w 4008"/>
                  <a:gd name="connsiteY167" fmla="*/ 844 h 1039"/>
                  <a:gd name="connsiteX168" fmla="*/ 3826 w 4008"/>
                  <a:gd name="connsiteY168" fmla="*/ 803 h 1039"/>
                  <a:gd name="connsiteX169" fmla="*/ 3861 w 4008"/>
                  <a:gd name="connsiteY169" fmla="*/ 755 h 1039"/>
                  <a:gd name="connsiteX170" fmla="*/ 3894 w 4008"/>
                  <a:gd name="connsiteY170" fmla="*/ 705 h 1039"/>
                  <a:gd name="connsiteX171" fmla="*/ 3927 w 4008"/>
                  <a:gd name="connsiteY171" fmla="*/ 651 h 1039"/>
                  <a:gd name="connsiteX0" fmla="*/ 3894 w 4008"/>
                  <a:gd name="connsiteY0" fmla="*/ 705 h 1039"/>
                  <a:gd name="connsiteX1" fmla="*/ 4008 w 4008"/>
                  <a:gd name="connsiteY1" fmla="*/ 687 h 1039"/>
                  <a:gd name="connsiteX2" fmla="*/ 3975 w 4008"/>
                  <a:gd name="connsiteY2" fmla="*/ 743 h 1039"/>
                  <a:gd name="connsiteX3" fmla="*/ 3940 w 4008"/>
                  <a:gd name="connsiteY3" fmla="*/ 794 h 1039"/>
                  <a:gd name="connsiteX4" fmla="*/ 3905 w 4008"/>
                  <a:gd name="connsiteY4" fmla="*/ 844 h 1039"/>
                  <a:gd name="connsiteX5" fmla="*/ 3865 w 4008"/>
                  <a:gd name="connsiteY5" fmla="*/ 890 h 1039"/>
                  <a:gd name="connsiteX6" fmla="*/ 3824 w 4008"/>
                  <a:gd name="connsiteY6" fmla="*/ 931 h 1039"/>
                  <a:gd name="connsiteX7" fmla="*/ 3779 w 4008"/>
                  <a:gd name="connsiteY7" fmla="*/ 967 h 1039"/>
                  <a:gd name="connsiteX8" fmla="*/ 3729 w 4008"/>
                  <a:gd name="connsiteY8" fmla="*/ 996 h 1039"/>
                  <a:gd name="connsiteX9" fmla="*/ 3677 w 4008"/>
                  <a:gd name="connsiteY9" fmla="*/ 1018 h 1039"/>
                  <a:gd name="connsiteX10" fmla="*/ 3620 w 4008"/>
                  <a:gd name="connsiteY10" fmla="*/ 1033 h 1039"/>
                  <a:gd name="connsiteX11" fmla="*/ 3556 w 4008"/>
                  <a:gd name="connsiteY11" fmla="*/ 1039 h 1039"/>
                  <a:gd name="connsiteX12" fmla="*/ 3547 w 4008"/>
                  <a:gd name="connsiteY12" fmla="*/ 1039 h 1039"/>
                  <a:gd name="connsiteX13" fmla="*/ 3485 w 4008"/>
                  <a:gd name="connsiteY13" fmla="*/ 1035 h 1039"/>
                  <a:gd name="connsiteX14" fmla="*/ 3426 w 4008"/>
                  <a:gd name="connsiteY14" fmla="*/ 1021 h 1039"/>
                  <a:gd name="connsiteX15" fmla="*/ 3372 w 4008"/>
                  <a:gd name="connsiteY15" fmla="*/ 998 h 1039"/>
                  <a:gd name="connsiteX16" fmla="*/ 3320 w 4008"/>
                  <a:gd name="connsiteY16" fmla="*/ 969 h 1039"/>
                  <a:gd name="connsiteX17" fmla="*/ 3273 w 4008"/>
                  <a:gd name="connsiteY17" fmla="*/ 931 h 1039"/>
                  <a:gd name="connsiteX18" fmla="*/ 3229 w 4008"/>
                  <a:gd name="connsiteY18" fmla="*/ 890 h 1039"/>
                  <a:gd name="connsiteX19" fmla="*/ 3186 w 4008"/>
                  <a:gd name="connsiteY19" fmla="*/ 842 h 1039"/>
                  <a:gd name="connsiteX20" fmla="*/ 3147 w 4008"/>
                  <a:gd name="connsiteY20" fmla="*/ 792 h 1039"/>
                  <a:gd name="connsiteX21" fmla="*/ 3108 w 4008"/>
                  <a:gd name="connsiteY21" fmla="*/ 736 h 1039"/>
                  <a:gd name="connsiteX22" fmla="*/ 3070 w 4008"/>
                  <a:gd name="connsiteY22" fmla="*/ 680 h 1039"/>
                  <a:gd name="connsiteX23" fmla="*/ 2965 w 4008"/>
                  <a:gd name="connsiteY23" fmla="*/ 506 h 1039"/>
                  <a:gd name="connsiteX24" fmla="*/ 2928 w 4008"/>
                  <a:gd name="connsiteY24" fmla="*/ 448 h 1039"/>
                  <a:gd name="connsiteX25" fmla="*/ 2891 w 4008"/>
                  <a:gd name="connsiteY25" fmla="*/ 392 h 1039"/>
                  <a:gd name="connsiteX26" fmla="*/ 2854 w 4008"/>
                  <a:gd name="connsiteY26" fmla="*/ 338 h 1039"/>
                  <a:gd name="connsiteX27" fmla="*/ 2814 w 4008"/>
                  <a:gd name="connsiteY27" fmla="*/ 288 h 1039"/>
                  <a:gd name="connsiteX28" fmla="*/ 2773 w 4008"/>
                  <a:gd name="connsiteY28" fmla="*/ 243 h 1039"/>
                  <a:gd name="connsiteX29" fmla="*/ 2732 w 4008"/>
                  <a:gd name="connsiteY29" fmla="*/ 201 h 1039"/>
                  <a:gd name="connsiteX30" fmla="*/ 2686 w 4008"/>
                  <a:gd name="connsiteY30" fmla="*/ 164 h 1039"/>
                  <a:gd name="connsiteX31" fmla="*/ 2639 w 4008"/>
                  <a:gd name="connsiteY31" fmla="*/ 135 h 1039"/>
                  <a:gd name="connsiteX32" fmla="*/ 2587 w 4008"/>
                  <a:gd name="connsiteY32" fmla="*/ 112 h 1039"/>
                  <a:gd name="connsiteX33" fmla="*/ 2532 w 4008"/>
                  <a:gd name="connsiteY33" fmla="*/ 96 h 1039"/>
                  <a:gd name="connsiteX34" fmla="*/ 2474 w 4008"/>
                  <a:gd name="connsiteY34" fmla="*/ 87 h 1039"/>
                  <a:gd name="connsiteX35" fmla="*/ 2410 w 4008"/>
                  <a:gd name="connsiteY35" fmla="*/ 89 h 1039"/>
                  <a:gd name="connsiteX36" fmla="*/ 2342 w 4008"/>
                  <a:gd name="connsiteY36" fmla="*/ 100 h 1039"/>
                  <a:gd name="connsiteX37" fmla="*/ 2280 w 4008"/>
                  <a:gd name="connsiteY37" fmla="*/ 118 h 1039"/>
                  <a:gd name="connsiteX38" fmla="*/ 2222 w 4008"/>
                  <a:gd name="connsiteY38" fmla="*/ 143 h 1039"/>
                  <a:gd name="connsiteX39" fmla="*/ 2168 w 4008"/>
                  <a:gd name="connsiteY39" fmla="*/ 176 h 1039"/>
                  <a:gd name="connsiteX40" fmla="*/ 2117 w 4008"/>
                  <a:gd name="connsiteY40" fmla="*/ 214 h 1039"/>
                  <a:gd name="connsiteX41" fmla="*/ 2071 w 4008"/>
                  <a:gd name="connsiteY41" fmla="*/ 257 h 1039"/>
                  <a:gd name="connsiteX42" fmla="*/ 2026 w 4008"/>
                  <a:gd name="connsiteY42" fmla="*/ 303 h 1039"/>
                  <a:gd name="connsiteX43" fmla="*/ 1984 w 4008"/>
                  <a:gd name="connsiteY43" fmla="*/ 355 h 1039"/>
                  <a:gd name="connsiteX44" fmla="*/ 1945 w 4008"/>
                  <a:gd name="connsiteY44" fmla="*/ 409 h 1039"/>
                  <a:gd name="connsiteX45" fmla="*/ 1908 w 4008"/>
                  <a:gd name="connsiteY45" fmla="*/ 463 h 1039"/>
                  <a:gd name="connsiteX46" fmla="*/ 1871 w 4008"/>
                  <a:gd name="connsiteY46" fmla="*/ 519 h 1039"/>
                  <a:gd name="connsiteX47" fmla="*/ 1834 w 4008"/>
                  <a:gd name="connsiteY47" fmla="*/ 577 h 1039"/>
                  <a:gd name="connsiteX48" fmla="*/ 1799 w 4008"/>
                  <a:gd name="connsiteY48" fmla="*/ 633 h 1039"/>
                  <a:gd name="connsiteX49" fmla="*/ 1724 w 4008"/>
                  <a:gd name="connsiteY49" fmla="*/ 745 h 1039"/>
                  <a:gd name="connsiteX50" fmla="*/ 1685 w 4008"/>
                  <a:gd name="connsiteY50" fmla="*/ 797 h 1039"/>
                  <a:gd name="connsiteX51" fmla="*/ 1644 w 4008"/>
                  <a:gd name="connsiteY51" fmla="*/ 846 h 1039"/>
                  <a:gd name="connsiteX52" fmla="*/ 1600 w 4008"/>
                  <a:gd name="connsiteY52" fmla="*/ 892 h 1039"/>
                  <a:gd name="connsiteX53" fmla="*/ 1553 w 4008"/>
                  <a:gd name="connsiteY53" fmla="*/ 933 h 1039"/>
                  <a:gd name="connsiteX54" fmla="*/ 1503 w 4008"/>
                  <a:gd name="connsiteY54" fmla="*/ 969 h 1039"/>
                  <a:gd name="connsiteX55" fmla="*/ 1450 w 4008"/>
                  <a:gd name="connsiteY55" fmla="*/ 998 h 1039"/>
                  <a:gd name="connsiteX56" fmla="*/ 1394 w 4008"/>
                  <a:gd name="connsiteY56" fmla="*/ 1021 h 1039"/>
                  <a:gd name="connsiteX57" fmla="*/ 1330 w 4008"/>
                  <a:gd name="connsiteY57" fmla="*/ 1033 h 1039"/>
                  <a:gd name="connsiteX58" fmla="*/ 1264 w 4008"/>
                  <a:gd name="connsiteY58" fmla="*/ 1039 h 1039"/>
                  <a:gd name="connsiteX59" fmla="*/ 1258 w 4008"/>
                  <a:gd name="connsiteY59" fmla="*/ 1039 h 1039"/>
                  <a:gd name="connsiteX60" fmla="*/ 1190 w 4008"/>
                  <a:gd name="connsiteY60" fmla="*/ 1035 h 1039"/>
                  <a:gd name="connsiteX61" fmla="*/ 1128 w 4008"/>
                  <a:gd name="connsiteY61" fmla="*/ 1023 h 1039"/>
                  <a:gd name="connsiteX62" fmla="*/ 1070 w 4008"/>
                  <a:gd name="connsiteY62" fmla="*/ 1004 h 1039"/>
                  <a:gd name="connsiteX63" fmla="*/ 1018 w 4008"/>
                  <a:gd name="connsiteY63" fmla="*/ 979 h 1039"/>
                  <a:gd name="connsiteX64" fmla="*/ 971 w 4008"/>
                  <a:gd name="connsiteY64" fmla="*/ 948 h 1039"/>
                  <a:gd name="connsiteX65" fmla="*/ 925 w 4008"/>
                  <a:gd name="connsiteY65" fmla="*/ 911 h 1039"/>
                  <a:gd name="connsiteX66" fmla="*/ 884 w 4008"/>
                  <a:gd name="connsiteY66" fmla="*/ 869 h 1039"/>
                  <a:gd name="connsiteX67" fmla="*/ 847 w 4008"/>
                  <a:gd name="connsiteY67" fmla="*/ 824 h 1039"/>
                  <a:gd name="connsiteX68" fmla="*/ 810 w 4008"/>
                  <a:gd name="connsiteY68" fmla="*/ 776 h 1039"/>
                  <a:gd name="connsiteX69" fmla="*/ 777 w 4008"/>
                  <a:gd name="connsiteY69" fmla="*/ 724 h 1039"/>
                  <a:gd name="connsiteX70" fmla="*/ 742 w 4008"/>
                  <a:gd name="connsiteY70" fmla="*/ 670 h 1039"/>
                  <a:gd name="connsiteX71" fmla="*/ 711 w 4008"/>
                  <a:gd name="connsiteY71" fmla="*/ 614 h 1039"/>
                  <a:gd name="connsiteX72" fmla="*/ 678 w 4008"/>
                  <a:gd name="connsiteY72" fmla="*/ 556 h 1039"/>
                  <a:gd name="connsiteX73" fmla="*/ 616 w 4008"/>
                  <a:gd name="connsiteY73" fmla="*/ 444 h 1039"/>
                  <a:gd name="connsiteX74" fmla="*/ 547 w 4008"/>
                  <a:gd name="connsiteY74" fmla="*/ 336 h 1039"/>
                  <a:gd name="connsiteX75" fmla="*/ 504 w 4008"/>
                  <a:gd name="connsiteY75" fmla="*/ 280 h 1039"/>
                  <a:gd name="connsiteX76" fmla="*/ 457 w 4008"/>
                  <a:gd name="connsiteY76" fmla="*/ 235 h 1039"/>
                  <a:gd name="connsiteX77" fmla="*/ 409 w 4008"/>
                  <a:gd name="connsiteY77" fmla="*/ 195 h 1039"/>
                  <a:gd name="connsiteX78" fmla="*/ 358 w 4008"/>
                  <a:gd name="connsiteY78" fmla="*/ 164 h 1039"/>
                  <a:gd name="connsiteX79" fmla="*/ 308 w 4008"/>
                  <a:gd name="connsiteY79" fmla="*/ 141 h 1039"/>
                  <a:gd name="connsiteX80" fmla="*/ 256 w 4008"/>
                  <a:gd name="connsiteY80" fmla="*/ 123 h 1039"/>
                  <a:gd name="connsiteX81" fmla="*/ 209 w 4008"/>
                  <a:gd name="connsiteY81" fmla="*/ 108 h 1039"/>
                  <a:gd name="connsiteX82" fmla="*/ 163 w 4008"/>
                  <a:gd name="connsiteY82" fmla="*/ 100 h 1039"/>
                  <a:gd name="connsiteX83" fmla="*/ 122 w 4008"/>
                  <a:gd name="connsiteY83" fmla="*/ 96 h 1039"/>
                  <a:gd name="connsiteX84" fmla="*/ 85 w 4008"/>
                  <a:gd name="connsiteY84" fmla="*/ 91 h 1039"/>
                  <a:gd name="connsiteX85" fmla="*/ 31 w 4008"/>
                  <a:gd name="connsiteY85" fmla="*/ 91 h 1039"/>
                  <a:gd name="connsiteX86" fmla="*/ 17 w 4008"/>
                  <a:gd name="connsiteY86" fmla="*/ 94 h 1039"/>
                  <a:gd name="connsiteX87" fmla="*/ 11 w 4008"/>
                  <a:gd name="connsiteY87" fmla="*/ 94 h 1039"/>
                  <a:gd name="connsiteX88" fmla="*/ 0 w 4008"/>
                  <a:gd name="connsiteY88" fmla="*/ 9 h 1039"/>
                  <a:gd name="connsiteX89" fmla="*/ 9 w 4008"/>
                  <a:gd name="connsiteY89" fmla="*/ 9 h 1039"/>
                  <a:gd name="connsiteX90" fmla="*/ 29 w 4008"/>
                  <a:gd name="connsiteY90" fmla="*/ 6 h 1039"/>
                  <a:gd name="connsiteX91" fmla="*/ 91 w 4008"/>
                  <a:gd name="connsiteY91" fmla="*/ 6 h 1039"/>
                  <a:gd name="connsiteX92" fmla="*/ 135 w 4008"/>
                  <a:gd name="connsiteY92" fmla="*/ 9 h 1039"/>
                  <a:gd name="connsiteX93" fmla="*/ 182 w 4008"/>
                  <a:gd name="connsiteY93" fmla="*/ 15 h 1039"/>
                  <a:gd name="connsiteX94" fmla="*/ 234 w 4008"/>
                  <a:gd name="connsiteY94" fmla="*/ 25 h 1039"/>
                  <a:gd name="connsiteX95" fmla="*/ 287 w 4008"/>
                  <a:gd name="connsiteY95" fmla="*/ 42 h 1039"/>
                  <a:gd name="connsiteX96" fmla="*/ 345 w 4008"/>
                  <a:gd name="connsiteY96" fmla="*/ 62 h 1039"/>
                  <a:gd name="connsiteX97" fmla="*/ 403 w 4008"/>
                  <a:gd name="connsiteY97" fmla="*/ 89 h 1039"/>
                  <a:gd name="connsiteX98" fmla="*/ 459 w 4008"/>
                  <a:gd name="connsiteY98" fmla="*/ 127 h 1039"/>
                  <a:gd name="connsiteX99" fmla="*/ 514 w 4008"/>
                  <a:gd name="connsiteY99" fmla="*/ 170 h 1039"/>
                  <a:gd name="connsiteX100" fmla="*/ 568 w 4008"/>
                  <a:gd name="connsiteY100" fmla="*/ 224 h 1039"/>
                  <a:gd name="connsiteX101" fmla="*/ 618 w 4008"/>
                  <a:gd name="connsiteY101" fmla="*/ 288 h 1039"/>
                  <a:gd name="connsiteX102" fmla="*/ 667 w 4008"/>
                  <a:gd name="connsiteY102" fmla="*/ 363 h 1039"/>
                  <a:gd name="connsiteX103" fmla="*/ 754 w 4008"/>
                  <a:gd name="connsiteY103" fmla="*/ 512 h 1039"/>
                  <a:gd name="connsiteX104" fmla="*/ 787 w 4008"/>
                  <a:gd name="connsiteY104" fmla="*/ 571 h 1039"/>
                  <a:gd name="connsiteX105" fmla="*/ 820 w 4008"/>
                  <a:gd name="connsiteY105" fmla="*/ 627 h 1039"/>
                  <a:gd name="connsiteX106" fmla="*/ 853 w 4008"/>
                  <a:gd name="connsiteY106" fmla="*/ 680 h 1039"/>
                  <a:gd name="connsiteX107" fmla="*/ 886 w 4008"/>
                  <a:gd name="connsiteY107" fmla="*/ 732 h 1039"/>
                  <a:gd name="connsiteX108" fmla="*/ 921 w 4008"/>
                  <a:gd name="connsiteY108" fmla="*/ 778 h 1039"/>
                  <a:gd name="connsiteX109" fmla="*/ 958 w 4008"/>
                  <a:gd name="connsiteY109" fmla="*/ 821 h 1039"/>
                  <a:gd name="connsiteX110" fmla="*/ 1000 w 4008"/>
                  <a:gd name="connsiteY110" fmla="*/ 859 h 1039"/>
                  <a:gd name="connsiteX111" fmla="*/ 1043 w 4008"/>
                  <a:gd name="connsiteY111" fmla="*/ 890 h 1039"/>
                  <a:gd name="connsiteX112" fmla="*/ 1090 w 4008"/>
                  <a:gd name="connsiteY112" fmla="*/ 917 h 1039"/>
                  <a:gd name="connsiteX113" fmla="*/ 1140 w 4008"/>
                  <a:gd name="connsiteY113" fmla="*/ 935 h 1039"/>
                  <a:gd name="connsiteX114" fmla="*/ 1196 w 4008"/>
                  <a:gd name="connsiteY114" fmla="*/ 948 h 1039"/>
                  <a:gd name="connsiteX115" fmla="*/ 1258 w 4008"/>
                  <a:gd name="connsiteY115" fmla="*/ 952 h 1039"/>
                  <a:gd name="connsiteX116" fmla="*/ 1264 w 4008"/>
                  <a:gd name="connsiteY116" fmla="*/ 952 h 1039"/>
                  <a:gd name="connsiteX117" fmla="*/ 1324 w 4008"/>
                  <a:gd name="connsiteY117" fmla="*/ 946 h 1039"/>
                  <a:gd name="connsiteX118" fmla="*/ 1380 w 4008"/>
                  <a:gd name="connsiteY118" fmla="*/ 931 h 1039"/>
                  <a:gd name="connsiteX119" fmla="*/ 1433 w 4008"/>
                  <a:gd name="connsiteY119" fmla="*/ 909 h 1039"/>
                  <a:gd name="connsiteX120" fmla="*/ 1481 w 4008"/>
                  <a:gd name="connsiteY120" fmla="*/ 880 h 1039"/>
                  <a:gd name="connsiteX121" fmla="*/ 1526 w 4008"/>
                  <a:gd name="connsiteY121" fmla="*/ 842 h 1039"/>
                  <a:gd name="connsiteX122" fmla="*/ 1569 w 4008"/>
                  <a:gd name="connsiteY122" fmla="*/ 799 h 1039"/>
                  <a:gd name="connsiteX123" fmla="*/ 1609 w 4008"/>
                  <a:gd name="connsiteY123" fmla="*/ 751 h 1039"/>
                  <a:gd name="connsiteX124" fmla="*/ 1648 w 4008"/>
                  <a:gd name="connsiteY124" fmla="*/ 699 h 1039"/>
                  <a:gd name="connsiteX125" fmla="*/ 1687 w 4008"/>
                  <a:gd name="connsiteY125" fmla="*/ 645 h 1039"/>
                  <a:gd name="connsiteX126" fmla="*/ 1799 w 4008"/>
                  <a:gd name="connsiteY126" fmla="*/ 471 h 1039"/>
                  <a:gd name="connsiteX127" fmla="*/ 1838 w 4008"/>
                  <a:gd name="connsiteY127" fmla="*/ 411 h 1039"/>
                  <a:gd name="connsiteX128" fmla="*/ 1879 w 4008"/>
                  <a:gd name="connsiteY128" fmla="*/ 353 h 1039"/>
                  <a:gd name="connsiteX129" fmla="*/ 1923 w 4008"/>
                  <a:gd name="connsiteY129" fmla="*/ 295 h 1039"/>
                  <a:gd name="connsiteX130" fmla="*/ 1968 w 4008"/>
                  <a:gd name="connsiteY130" fmla="*/ 241 h 1039"/>
                  <a:gd name="connsiteX131" fmla="*/ 2015 w 4008"/>
                  <a:gd name="connsiteY131" fmla="*/ 189 h 1039"/>
                  <a:gd name="connsiteX132" fmla="*/ 2069 w 4008"/>
                  <a:gd name="connsiteY132" fmla="*/ 141 h 1039"/>
                  <a:gd name="connsiteX133" fmla="*/ 2125 w 4008"/>
                  <a:gd name="connsiteY133" fmla="*/ 100 h 1039"/>
                  <a:gd name="connsiteX134" fmla="*/ 2187 w 4008"/>
                  <a:gd name="connsiteY134" fmla="*/ 65 h 1039"/>
                  <a:gd name="connsiteX135" fmla="*/ 2253 w 4008"/>
                  <a:gd name="connsiteY135" fmla="*/ 35 h 1039"/>
                  <a:gd name="connsiteX136" fmla="*/ 2325 w 4008"/>
                  <a:gd name="connsiteY136" fmla="*/ 15 h 1039"/>
                  <a:gd name="connsiteX137" fmla="*/ 2404 w 4008"/>
                  <a:gd name="connsiteY137" fmla="*/ 2 h 1039"/>
                  <a:gd name="connsiteX138" fmla="*/ 2474 w 4008"/>
                  <a:gd name="connsiteY138" fmla="*/ 0 h 1039"/>
                  <a:gd name="connsiteX139" fmla="*/ 2540 w 4008"/>
                  <a:gd name="connsiteY139" fmla="*/ 9 h 1039"/>
                  <a:gd name="connsiteX140" fmla="*/ 2600 w 4008"/>
                  <a:gd name="connsiteY140" fmla="*/ 23 h 1039"/>
                  <a:gd name="connsiteX141" fmla="*/ 2658 w 4008"/>
                  <a:gd name="connsiteY141" fmla="*/ 46 h 1039"/>
                  <a:gd name="connsiteX142" fmla="*/ 2711 w 4008"/>
                  <a:gd name="connsiteY142" fmla="*/ 77 h 1039"/>
                  <a:gd name="connsiteX143" fmla="*/ 2761 w 4008"/>
                  <a:gd name="connsiteY143" fmla="*/ 112 h 1039"/>
                  <a:gd name="connsiteX144" fmla="*/ 2806 w 4008"/>
                  <a:gd name="connsiteY144" fmla="*/ 154 h 1039"/>
                  <a:gd name="connsiteX145" fmla="*/ 2852 w 4008"/>
                  <a:gd name="connsiteY145" fmla="*/ 199 h 1039"/>
                  <a:gd name="connsiteX146" fmla="*/ 2893 w 4008"/>
                  <a:gd name="connsiteY146" fmla="*/ 247 h 1039"/>
                  <a:gd name="connsiteX147" fmla="*/ 2932 w 4008"/>
                  <a:gd name="connsiteY147" fmla="*/ 299 h 1039"/>
                  <a:gd name="connsiteX148" fmla="*/ 2969 w 4008"/>
                  <a:gd name="connsiteY148" fmla="*/ 353 h 1039"/>
                  <a:gd name="connsiteX149" fmla="*/ 3004 w 4008"/>
                  <a:gd name="connsiteY149" fmla="*/ 409 h 1039"/>
                  <a:gd name="connsiteX150" fmla="*/ 3039 w 4008"/>
                  <a:gd name="connsiteY150" fmla="*/ 463 h 1039"/>
                  <a:gd name="connsiteX151" fmla="*/ 3073 w 4008"/>
                  <a:gd name="connsiteY151" fmla="*/ 519 h 1039"/>
                  <a:gd name="connsiteX152" fmla="*/ 3110 w 4008"/>
                  <a:gd name="connsiteY152" fmla="*/ 581 h 1039"/>
                  <a:gd name="connsiteX153" fmla="*/ 3147 w 4008"/>
                  <a:gd name="connsiteY153" fmla="*/ 639 h 1039"/>
                  <a:gd name="connsiteX154" fmla="*/ 3186 w 4008"/>
                  <a:gd name="connsiteY154" fmla="*/ 697 h 1039"/>
                  <a:gd name="connsiteX155" fmla="*/ 3223 w 4008"/>
                  <a:gd name="connsiteY155" fmla="*/ 751 h 1039"/>
                  <a:gd name="connsiteX156" fmla="*/ 3265 w 4008"/>
                  <a:gd name="connsiteY156" fmla="*/ 801 h 1039"/>
                  <a:gd name="connsiteX157" fmla="*/ 3306 w 4008"/>
                  <a:gd name="connsiteY157" fmla="*/ 844 h 1039"/>
                  <a:gd name="connsiteX158" fmla="*/ 3349 w 4008"/>
                  <a:gd name="connsiteY158" fmla="*/ 882 h 1039"/>
                  <a:gd name="connsiteX159" fmla="*/ 3395 w 4008"/>
                  <a:gd name="connsiteY159" fmla="*/ 913 h 1039"/>
                  <a:gd name="connsiteX160" fmla="*/ 3444 w 4008"/>
                  <a:gd name="connsiteY160" fmla="*/ 935 h 1039"/>
                  <a:gd name="connsiteX161" fmla="*/ 3498 w 4008"/>
                  <a:gd name="connsiteY161" fmla="*/ 948 h 1039"/>
                  <a:gd name="connsiteX162" fmla="*/ 3554 w 4008"/>
                  <a:gd name="connsiteY162" fmla="*/ 952 h 1039"/>
                  <a:gd name="connsiteX163" fmla="*/ 3609 w 4008"/>
                  <a:gd name="connsiteY163" fmla="*/ 946 h 1039"/>
                  <a:gd name="connsiteX164" fmla="*/ 3659 w 4008"/>
                  <a:gd name="connsiteY164" fmla="*/ 931 h 1039"/>
                  <a:gd name="connsiteX165" fmla="*/ 3706 w 4008"/>
                  <a:gd name="connsiteY165" fmla="*/ 911 h 1039"/>
                  <a:gd name="connsiteX166" fmla="*/ 3750 w 4008"/>
                  <a:gd name="connsiteY166" fmla="*/ 880 h 1039"/>
                  <a:gd name="connsiteX167" fmla="*/ 3789 w 4008"/>
                  <a:gd name="connsiteY167" fmla="*/ 844 h 1039"/>
                  <a:gd name="connsiteX168" fmla="*/ 3826 w 4008"/>
                  <a:gd name="connsiteY168" fmla="*/ 803 h 1039"/>
                  <a:gd name="connsiteX169" fmla="*/ 3861 w 4008"/>
                  <a:gd name="connsiteY169" fmla="*/ 755 h 1039"/>
                  <a:gd name="connsiteX170" fmla="*/ 3894 w 4008"/>
                  <a:gd name="connsiteY170" fmla="*/ 705 h 1039"/>
                  <a:gd name="connsiteX0" fmla="*/ 3861 w 4008"/>
                  <a:gd name="connsiteY0" fmla="*/ 755 h 1039"/>
                  <a:gd name="connsiteX1" fmla="*/ 4008 w 4008"/>
                  <a:gd name="connsiteY1" fmla="*/ 687 h 1039"/>
                  <a:gd name="connsiteX2" fmla="*/ 3975 w 4008"/>
                  <a:gd name="connsiteY2" fmla="*/ 743 h 1039"/>
                  <a:gd name="connsiteX3" fmla="*/ 3940 w 4008"/>
                  <a:gd name="connsiteY3" fmla="*/ 794 h 1039"/>
                  <a:gd name="connsiteX4" fmla="*/ 3905 w 4008"/>
                  <a:gd name="connsiteY4" fmla="*/ 844 h 1039"/>
                  <a:gd name="connsiteX5" fmla="*/ 3865 w 4008"/>
                  <a:gd name="connsiteY5" fmla="*/ 890 h 1039"/>
                  <a:gd name="connsiteX6" fmla="*/ 3824 w 4008"/>
                  <a:gd name="connsiteY6" fmla="*/ 931 h 1039"/>
                  <a:gd name="connsiteX7" fmla="*/ 3779 w 4008"/>
                  <a:gd name="connsiteY7" fmla="*/ 967 h 1039"/>
                  <a:gd name="connsiteX8" fmla="*/ 3729 w 4008"/>
                  <a:gd name="connsiteY8" fmla="*/ 996 h 1039"/>
                  <a:gd name="connsiteX9" fmla="*/ 3677 w 4008"/>
                  <a:gd name="connsiteY9" fmla="*/ 1018 h 1039"/>
                  <a:gd name="connsiteX10" fmla="*/ 3620 w 4008"/>
                  <a:gd name="connsiteY10" fmla="*/ 1033 h 1039"/>
                  <a:gd name="connsiteX11" fmla="*/ 3556 w 4008"/>
                  <a:gd name="connsiteY11" fmla="*/ 1039 h 1039"/>
                  <a:gd name="connsiteX12" fmla="*/ 3547 w 4008"/>
                  <a:gd name="connsiteY12" fmla="*/ 1039 h 1039"/>
                  <a:gd name="connsiteX13" fmla="*/ 3485 w 4008"/>
                  <a:gd name="connsiteY13" fmla="*/ 1035 h 1039"/>
                  <a:gd name="connsiteX14" fmla="*/ 3426 w 4008"/>
                  <a:gd name="connsiteY14" fmla="*/ 1021 h 1039"/>
                  <a:gd name="connsiteX15" fmla="*/ 3372 w 4008"/>
                  <a:gd name="connsiteY15" fmla="*/ 998 h 1039"/>
                  <a:gd name="connsiteX16" fmla="*/ 3320 w 4008"/>
                  <a:gd name="connsiteY16" fmla="*/ 969 h 1039"/>
                  <a:gd name="connsiteX17" fmla="*/ 3273 w 4008"/>
                  <a:gd name="connsiteY17" fmla="*/ 931 h 1039"/>
                  <a:gd name="connsiteX18" fmla="*/ 3229 w 4008"/>
                  <a:gd name="connsiteY18" fmla="*/ 890 h 1039"/>
                  <a:gd name="connsiteX19" fmla="*/ 3186 w 4008"/>
                  <a:gd name="connsiteY19" fmla="*/ 842 h 1039"/>
                  <a:gd name="connsiteX20" fmla="*/ 3147 w 4008"/>
                  <a:gd name="connsiteY20" fmla="*/ 792 h 1039"/>
                  <a:gd name="connsiteX21" fmla="*/ 3108 w 4008"/>
                  <a:gd name="connsiteY21" fmla="*/ 736 h 1039"/>
                  <a:gd name="connsiteX22" fmla="*/ 3070 w 4008"/>
                  <a:gd name="connsiteY22" fmla="*/ 680 h 1039"/>
                  <a:gd name="connsiteX23" fmla="*/ 2965 w 4008"/>
                  <a:gd name="connsiteY23" fmla="*/ 506 h 1039"/>
                  <a:gd name="connsiteX24" fmla="*/ 2928 w 4008"/>
                  <a:gd name="connsiteY24" fmla="*/ 448 h 1039"/>
                  <a:gd name="connsiteX25" fmla="*/ 2891 w 4008"/>
                  <a:gd name="connsiteY25" fmla="*/ 392 h 1039"/>
                  <a:gd name="connsiteX26" fmla="*/ 2854 w 4008"/>
                  <a:gd name="connsiteY26" fmla="*/ 338 h 1039"/>
                  <a:gd name="connsiteX27" fmla="*/ 2814 w 4008"/>
                  <a:gd name="connsiteY27" fmla="*/ 288 h 1039"/>
                  <a:gd name="connsiteX28" fmla="*/ 2773 w 4008"/>
                  <a:gd name="connsiteY28" fmla="*/ 243 h 1039"/>
                  <a:gd name="connsiteX29" fmla="*/ 2732 w 4008"/>
                  <a:gd name="connsiteY29" fmla="*/ 201 h 1039"/>
                  <a:gd name="connsiteX30" fmla="*/ 2686 w 4008"/>
                  <a:gd name="connsiteY30" fmla="*/ 164 h 1039"/>
                  <a:gd name="connsiteX31" fmla="*/ 2639 w 4008"/>
                  <a:gd name="connsiteY31" fmla="*/ 135 h 1039"/>
                  <a:gd name="connsiteX32" fmla="*/ 2587 w 4008"/>
                  <a:gd name="connsiteY32" fmla="*/ 112 h 1039"/>
                  <a:gd name="connsiteX33" fmla="*/ 2532 w 4008"/>
                  <a:gd name="connsiteY33" fmla="*/ 96 h 1039"/>
                  <a:gd name="connsiteX34" fmla="*/ 2474 w 4008"/>
                  <a:gd name="connsiteY34" fmla="*/ 87 h 1039"/>
                  <a:gd name="connsiteX35" fmla="*/ 2410 w 4008"/>
                  <a:gd name="connsiteY35" fmla="*/ 89 h 1039"/>
                  <a:gd name="connsiteX36" fmla="*/ 2342 w 4008"/>
                  <a:gd name="connsiteY36" fmla="*/ 100 h 1039"/>
                  <a:gd name="connsiteX37" fmla="*/ 2280 w 4008"/>
                  <a:gd name="connsiteY37" fmla="*/ 118 h 1039"/>
                  <a:gd name="connsiteX38" fmla="*/ 2222 w 4008"/>
                  <a:gd name="connsiteY38" fmla="*/ 143 h 1039"/>
                  <a:gd name="connsiteX39" fmla="*/ 2168 w 4008"/>
                  <a:gd name="connsiteY39" fmla="*/ 176 h 1039"/>
                  <a:gd name="connsiteX40" fmla="*/ 2117 w 4008"/>
                  <a:gd name="connsiteY40" fmla="*/ 214 h 1039"/>
                  <a:gd name="connsiteX41" fmla="*/ 2071 w 4008"/>
                  <a:gd name="connsiteY41" fmla="*/ 257 h 1039"/>
                  <a:gd name="connsiteX42" fmla="*/ 2026 w 4008"/>
                  <a:gd name="connsiteY42" fmla="*/ 303 h 1039"/>
                  <a:gd name="connsiteX43" fmla="*/ 1984 w 4008"/>
                  <a:gd name="connsiteY43" fmla="*/ 355 h 1039"/>
                  <a:gd name="connsiteX44" fmla="*/ 1945 w 4008"/>
                  <a:gd name="connsiteY44" fmla="*/ 409 h 1039"/>
                  <a:gd name="connsiteX45" fmla="*/ 1908 w 4008"/>
                  <a:gd name="connsiteY45" fmla="*/ 463 h 1039"/>
                  <a:gd name="connsiteX46" fmla="*/ 1871 w 4008"/>
                  <a:gd name="connsiteY46" fmla="*/ 519 h 1039"/>
                  <a:gd name="connsiteX47" fmla="*/ 1834 w 4008"/>
                  <a:gd name="connsiteY47" fmla="*/ 577 h 1039"/>
                  <a:gd name="connsiteX48" fmla="*/ 1799 w 4008"/>
                  <a:gd name="connsiteY48" fmla="*/ 633 h 1039"/>
                  <a:gd name="connsiteX49" fmla="*/ 1724 w 4008"/>
                  <a:gd name="connsiteY49" fmla="*/ 745 h 1039"/>
                  <a:gd name="connsiteX50" fmla="*/ 1685 w 4008"/>
                  <a:gd name="connsiteY50" fmla="*/ 797 h 1039"/>
                  <a:gd name="connsiteX51" fmla="*/ 1644 w 4008"/>
                  <a:gd name="connsiteY51" fmla="*/ 846 h 1039"/>
                  <a:gd name="connsiteX52" fmla="*/ 1600 w 4008"/>
                  <a:gd name="connsiteY52" fmla="*/ 892 h 1039"/>
                  <a:gd name="connsiteX53" fmla="*/ 1553 w 4008"/>
                  <a:gd name="connsiteY53" fmla="*/ 933 h 1039"/>
                  <a:gd name="connsiteX54" fmla="*/ 1503 w 4008"/>
                  <a:gd name="connsiteY54" fmla="*/ 969 h 1039"/>
                  <a:gd name="connsiteX55" fmla="*/ 1450 w 4008"/>
                  <a:gd name="connsiteY55" fmla="*/ 998 h 1039"/>
                  <a:gd name="connsiteX56" fmla="*/ 1394 w 4008"/>
                  <a:gd name="connsiteY56" fmla="*/ 1021 h 1039"/>
                  <a:gd name="connsiteX57" fmla="*/ 1330 w 4008"/>
                  <a:gd name="connsiteY57" fmla="*/ 1033 h 1039"/>
                  <a:gd name="connsiteX58" fmla="*/ 1264 w 4008"/>
                  <a:gd name="connsiteY58" fmla="*/ 1039 h 1039"/>
                  <a:gd name="connsiteX59" fmla="*/ 1258 w 4008"/>
                  <a:gd name="connsiteY59" fmla="*/ 1039 h 1039"/>
                  <a:gd name="connsiteX60" fmla="*/ 1190 w 4008"/>
                  <a:gd name="connsiteY60" fmla="*/ 1035 h 1039"/>
                  <a:gd name="connsiteX61" fmla="*/ 1128 w 4008"/>
                  <a:gd name="connsiteY61" fmla="*/ 1023 h 1039"/>
                  <a:gd name="connsiteX62" fmla="*/ 1070 w 4008"/>
                  <a:gd name="connsiteY62" fmla="*/ 1004 h 1039"/>
                  <a:gd name="connsiteX63" fmla="*/ 1018 w 4008"/>
                  <a:gd name="connsiteY63" fmla="*/ 979 h 1039"/>
                  <a:gd name="connsiteX64" fmla="*/ 971 w 4008"/>
                  <a:gd name="connsiteY64" fmla="*/ 948 h 1039"/>
                  <a:gd name="connsiteX65" fmla="*/ 925 w 4008"/>
                  <a:gd name="connsiteY65" fmla="*/ 911 h 1039"/>
                  <a:gd name="connsiteX66" fmla="*/ 884 w 4008"/>
                  <a:gd name="connsiteY66" fmla="*/ 869 h 1039"/>
                  <a:gd name="connsiteX67" fmla="*/ 847 w 4008"/>
                  <a:gd name="connsiteY67" fmla="*/ 824 h 1039"/>
                  <a:gd name="connsiteX68" fmla="*/ 810 w 4008"/>
                  <a:gd name="connsiteY68" fmla="*/ 776 h 1039"/>
                  <a:gd name="connsiteX69" fmla="*/ 777 w 4008"/>
                  <a:gd name="connsiteY69" fmla="*/ 724 h 1039"/>
                  <a:gd name="connsiteX70" fmla="*/ 742 w 4008"/>
                  <a:gd name="connsiteY70" fmla="*/ 670 h 1039"/>
                  <a:gd name="connsiteX71" fmla="*/ 711 w 4008"/>
                  <a:gd name="connsiteY71" fmla="*/ 614 h 1039"/>
                  <a:gd name="connsiteX72" fmla="*/ 678 w 4008"/>
                  <a:gd name="connsiteY72" fmla="*/ 556 h 1039"/>
                  <a:gd name="connsiteX73" fmla="*/ 616 w 4008"/>
                  <a:gd name="connsiteY73" fmla="*/ 444 h 1039"/>
                  <a:gd name="connsiteX74" fmla="*/ 547 w 4008"/>
                  <a:gd name="connsiteY74" fmla="*/ 336 h 1039"/>
                  <a:gd name="connsiteX75" fmla="*/ 504 w 4008"/>
                  <a:gd name="connsiteY75" fmla="*/ 280 h 1039"/>
                  <a:gd name="connsiteX76" fmla="*/ 457 w 4008"/>
                  <a:gd name="connsiteY76" fmla="*/ 235 h 1039"/>
                  <a:gd name="connsiteX77" fmla="*/ 409 w 4008"/>
                  <a:gd name="connsiteY77" fmla="*/ 195 h 1039"/>
                  <a:gd name="connsiteX78" fmla="*/ 358 w 4008"/>
                  <a:gd name="connsiteY78" fmla="*/ 164 h 1039"/>
                  <a:gd name="connsiteX79" fmla="*/ 308 w 4008"/>
                  <a:gd name="connsiteY79" fmla="*/ 141 h 1039"/>
                  <a:gd name="connsiteX80" fmla="*/ 256 w 4008"/>
                  <a:gd name="connsiteY80" fmla="*/ 123 h 1039"/>
                  <a:gd name="connsiteX81" fmla="*/ 209 w 4008"/>
                  <a:gd name="connsiteY81" fmla="*/ 108 h 1039"/>
                  <a:gd name="connsiteX82" fmla="*/ 163 w 4008"/>
                  <a:gd name="connsiteY82" fmla="*/ 100 h 1039"/>
                  <a:gd name="connsiteX83" fmla="*/ 122 w 4008"/>
                  <a:gd name="connsiteY83" fmla="*/ 96 h 1039"/>
                  <a:gd name="connsiteX84" fmla="*/ 85 w 4008"/>
                  <a:gd name="connsiteY84" fmla="*/ 91 h 1039"/>
                  <a:gd name="connsiteX85" fmla="*/ 31 w 4008"/>
                  <a:gd name="connsiteY85" fmla="*/ 91 h 1039"/>
                  <a:gd name="connsiteX86" fmla="*/ 17 w 4008"/>
                  <a:gd name="connsiteY86" fmla="*/ 94 h 1039"/>
                  <a:gd name="connsiteX87" fmla="*/ 11 w 4008"/>
                  <a:gd name="connsiteY87" fmla="*/ 94 h 1039"/>
                  <a:gd name="connsiteX88" fmla="*/ 0 w 4008"/>
                  <a:gd name="connsiteY88" fmla="*/ 9 h 1039"/>
                  <a:gd name="connsiteX89" fmla="*/ 9 w 4008"/>
                  <a:gd name="connsiteY89" fmla="*/ 9 h 1039"/>
                  <a:gd name="connsiteX90" fmla="*/ 29 w 4008"/>
                  <a:gd name="connsiteY90" fmla="*/ 6 h 1039"/>
                  <a:gd name="connsiteX91" fmla="*/ 91 w 4008"/>
                  <a:gd name="connsiteY91" fmla="*/ 6 h 1039"/>
                  <a:gd name="connsiteX92" fmla="*/ 135 w 4008"/>
                  <a:gd name="connsiteY92" fmla="*/ 9 h 1039"/>
                  <a:gd name="connsiteX93" fmla="*/ 182 w 4008"/>
                  <a:gd name="connsiteY93" fmla="*/ 15 h 1039"/>
                  <a:gd name="connsiteX94" fmla="*/ 234 w 4008"/>
                  <a:gd name="connsiteY94" fmla="*/ 25 h 1039"/>
                  <a:gd name="connsiteX95" fmla="*/ 287 w 4008"/>
                  <a:gd name="connsiteY95" fmla="*/ 42 h 1039"/>
                  <a:gd name="connsiteX96" fmla="*/ 345 w 4008"/>
                  <a:gd name="connsiteY96" fmla="*/ 62 h 1039"/>
                  <a:gd name="connsiteX97" fmla="*/ 403 w 4008"/>
                  <a:gd name="connsiteY97" fmla="*/ 89 h 1039"/>
                  <a:gd name="connsiteX98" fmla="*/ 459 w 4008"/>
                  <a:gd name="connsiteY98" fmla="*/ 127 h 1039"/>
                  <a:gd name="connsiteX99" fmla="*/ 514 w 4008"/>
                  <a:gd name="connsiteY99" fmla="*/ 170 h 1039"/>
                  <a:gd name="connsiteX100" fmla="*/ 568 w 4008"/>
                  <a:gd name="connsiteY100" fmla="*/ 224 h 1039"/>
                  <a:gd name="connsiteX101" fmla="*/ 618 w 4008"/>
                  <a:gd name="connsiteY101" fmla="*/ 288 h 1039"/>
                  <a:gd name="connsiteX102" fmla="*/ 667 w 4008"/>
                  <a:gd name="connsiteY102" fmla="*/ 363 h 1039"/>
                  <a:gd name="connsiteX103" fmla="*/ 754 w 4008"/>
                  <a:gd name="connsiteY103" fmla="*/ 512 h 1039"/>
                  <a:gd name="connsiteX104" fmla="*/ 787 w 4008"/>
                  <a:gd name="connsiteY104" fmla="*/ 571 h 1039"/>
                  <a:gd name="connsiteX105" fmla="*/ 820 w 4008"/>
                  <a:gd name="connsiteY105" fmla="*/ 627 h 1039"/>
                  <a:gd name="connsiteX106" fmla="*/ 853 w 4008"/>
                  <a:gd name="connsiteY106" fmla="*/ 680 h 1039"/>
                  <a:gd name="connsiteX107" fmla="*/ 886 w 4008"/>
                  <a:gd name="connsiteY107" fmla="*/ 732 h 1039"/>
                  <a:gd name="connsiteX108" fmla="*/ 921 w 4008"/>
                  <a:gd name="connsiteY108" fmla="*/ 778 h 1039"/>
                  <a:gd name="connsiteX109" fmla="*/ 958 w 4008"/>
                  <a:gd name="connsiteY109" fmla="*/ 821 h 1039"/>
                  <a:gd name="connsiteX110" fmla="*/ 1000 w 4008"/>
                  <a:gd name="connsiteY110" fmla="*/ 859 h 1039"/>
                  <a:gd name="connsiteX111" fmla="*/ 1043 w 4008"/>
                  <a:gd name="connsiteY111" fmla="*/ 890 h 1039"/>
                  <a:gd name="connsiteX112" fmla="*/ 1090 w 4008"/>
                  <a:gd name="connsiteY112" fmla="*/ 917 h 1039"/>
                  <a:gd name="connsiteX113" fmla="*/ 1140 w 4008"/>
                  <a:gd name="connsiteY113" fmla="*/ 935 h 1039"/>
                  <a:gd name="connsiteX114" fmla="*/ 1196 w 4008"/>
                  <a:gd name="connsiteY114" fmla="*/ 948 h 1039"/>
                  <a:gd name="connsiteX115" fmla="*/ 1258 w 4008"/>
                  <a:gd name="connsiteY115" fmla="*/ 952 h 1039"/>
                  <a:gd name="connsiteX116" fmla="*/ 1264 w 4008"/>
                  <a:gd name="connsiteY116" fmla="*/ 952 h 1039"/>
                  <a:gd name="connsiteX117" fmla="*/ 1324 w 4008"/>
                  <a:gd name="connsiteY117" fmla="*/ 946 h 1039"/>
                  <a:gd name="connsiteX118" fmla="*/ 1380 w 4008"/>
                  <a:gd name="connsiteY118" fmla="*/ 931 h 1039"/>
                  <a:gd name="connsiteX119" fmla="*/ 1433 w 4008"/>
                  <a:gd name="connsiteY119" fmla="*/ 909 h 1039"/>
                  <a:gd name="connsiteX120" fmla="*/ 1481 w 4008"/>
                  <a:gd name="connsiteY120" fmla="*/ 880 h 1039"/>
                  <a:gd name="connsiteX121" fmla="*/ 1526 w 4008"/>
                  <a:gd name="connsiteY121" fmla="*/ 842 h 1039"/>
                  <a:gd name="connsiteX122" fmla="*/ 1569 w 4008"/>
                  <a:gd name="connsiteY122" fmla="*/ 799 h 1039"/>
                  <a:gd name="connsiteX123" fmla="*/ 1609 w 4008"/>
                  <a:gd name="connsiteY123" fmla="*/ 751 h 1039"/>
                  <a:gd name="connsiteX124" fmla="*/ 1648 w 4008"/>
                  <a:gd name="connsiteY124" fmla="*/ 699 h 1039"/>
                  <a:gd name="connsiteX125" fmla="*/ 1687 w 4008"/>
                  <a:gd name="connsiteY125" fmla="*/ 645 h 1039"/>
                  <a:gd name="connsiteX126" fmla="*/ 1799 w 4008"/>
                  <a:gd name="connsiteY126" fmla="*/ 471 h 1039"/>
                  <a:gd name="connsiteX127" fmla="*/ 1838 w 4008"/>
                  <a:gd name="connsiteY127" fmla="*/ 411 h 1039"/>
                  <a:gd name="connsiteX128" fmla="*/ 1879 w 4008"/>
                  <a:gd name="connsiteY128" fmla="*/ 353 h 1039"/>
                  <a:gd name="connsiteX129" fmla="*/ 1923 w 4008"/>
                  <a:gd name="connsiteY129" fmla="*/ 295 h 1039"/>
                  <a:gd name="connsiteX130" fmla="*/ 1968 w 4008"/>
                  <a:gd name="connsiteY130" fmla="*/ 241 h 1039"/>
                  <a:gd name="connsiteX131" fmla="*/ 2015 w 4008"/>
                  <a:gd name="connsiteY131" fmla="*/ 189 h 1039"/>
                  <a:gd name="connsiteX132" fmla="*/ 2069 w 4008"/>
                  <a:gd name="connsiteY132" fmla="*/ 141 h 1039"/>
                  <a:gd name="connsiteX133" fmla="*/ 2125 w 4008"/>
                  <a:gd name="connsiteY133" fmla="*/ 100 h 1039"/>
                  <a:gd name="connsiteX134" fmla="*/ 2187 w 4008"/>
                  <a:gd name="connsiteY134" fmla="*/ 65 h 1039"/>
                  <a:gd name="connsiteX135" fmla="*/ 2253 w 4008"/>
                  <a:gd name="connsiteY135" fmla="*/ 35 h 1039"/>
                  <a:gd name="connsiteX136" fmla="*/ 2325 w 4008"/>
                  <a:gd name="connsiteY136" fmla="*/ 15 h 1039"/>
                  <a:gd name="connsiteX137" fmla="*/ 2404 w 4008"/>
                  <a:gd name="connsiteY137" fmla="*/ 2 h 1039"/>
                  <a:gd name="connsiteX138" fmla="*/ 2474 w 4008"/>
                  <a:gd name="connsiteY138" fmla="*/ 0 h 1039"/>
                  <a:gd name="connsiteX139" fmla="*/ 2540 w 4008"/>
                  <a:gd name="connsiteY139" fmla="*/ 9 h 1039"/>
                  <a:gd name="connsiteX140" fmla="*/ 2600 w 4008"/>
                  <a:gd name="connsiteY140" fmla="*/ 23 h 1039"/>
                  <a:gd name="connsiteX141" fmla="*/ 2658 w 4008"/>
                  <a:gd name="connsiteY141" fmla="*/ 46 h 1039"/>
                  <a:gd name="connsiteX142" fmla="*/ 2711 w 4008"/>
                  <a:gd name="connsiteY142" fmla="*/ 77 h 1039"/>
                  <a:gd name="connsiteX143" fmla="*/ 2761 w 4008"/>
                  <a:gd name="connsiteY143" fmla="*/ 112 h 1039"/>
                  <a:gd name="connsiteX144" fmla="*/ 2806 w 4008"/>
                  <a:gd name="connsiteY144" fmla="*/ 154 h 1039"/>
                  <a:gd name="connsiteX145" fmla="*/ 2852 w 4008"/>
                  <a:gd name="connsiteY145" fmla="*/ 199 h 1039"/>
                  <a:gd name="connsiteX146" fmla="*/ 2893 w 4008"/>
                  <a:gd name="connsiteY146" fmla="*/ 247 h 1039"/>
                  <a:gd name="connsiteX147" fmla="*/ 2932 w 4008"/>
                  <a:gd name="connsiteY147" fmla="*/ 299 h 1039"/>
                  <a:gd name="connsiteX148" fmla="*/ 2969 w 4008"/>
                  <a:gd name="connsiteY148" fmla="*/ 353 h 1039"/>
                  <a:gd name="connsiteX149" fmla="*/ 3004 w 4008"/>
                  <a:gd name="connsiteY149" fmla="*/ 409 h 1039"/>
                  <a:gd name="connsiteX150" fmla="*/ 3039 w 4008"/>
                  <a:gd name="connsiteY150" fmla="*/ 463 h 1039"/>
                  <a:gd name="connsiteX151" fmla="*/ 3073 w 4008"/>
                  <a:gd name="connsiteY151" fmla="*/ 519 h 1039"/>
                  <a:gd name="connsiteX152" fmla="*/ 3110 w 4008"/>
                  <a:gd name="connsiteY152" fmla="*/ 581 h 1039"/>
                  <a:gd name="connsiteX153" fmla="*/ 3147 w 4008"/>
                  <a:gd name="connsiteY153" fmla="*/ 639 h 1039"/>
                  <a:gd name="connsiteX154" fmla="*/ 3186 w 4008"/>
                  <a:gd name="connsiteY154" fmla="*/ 697 h 1039"/>
                  <a:gd name="connsiteX155" fmla="*/ 3223 w 4008"/>
                  <a:gd name="connsiteY155" fmla="*/ 751 h 1039"/>
                  <a:gd name="connsiteX156" fmla="*/ 3265 w 4008"/>
                  <a:gd name="connsiteY156" fmla="*/ 801 h 1039"/>
                  <a:gd name="connsiteX157" fmla="*/ 3306 w 4008"/>
                  <a:gd name="connsiteY157" fmla="*/ 844 h 1039"/>
                  <a:gd name="connsiteX158" fmla="*/ 3349 w 4008"/>
                  <a:gd name="connsiteY158" fmla="*/ 882 h 1039"/>
                  <a:gd name="connsiteX159" fmla="*/ 3395 w 4008"/>
                  <a:gd name="connsiteY159" fmla="*/ 913 h 1039"/>
                  <a:gd name="connsiteX160" fmla="*/ 3444 w 4008"/>
                  <a:gd name="connsiteY160" fmla="*/ 935 h 1039"/>
                  <a:gd name="connsiteX161" fmla="*/ 3498 w 4008"/>
                  <a:gd name="connsiteY161" fmla="*/ 948 h 1039"/>
                  <a:gd name="connsiteX162" fmla="*/ 3554 w 4008"/>
                  <a:gd name="connsiteY162" fmla="*/ 952 h 1039"/>
                  <a:gd name="connsiteX163" fmla="*/ 3609 w 4008"/>
                  <a:gd name="connsiteY163" fmla="*/ 946 h 1039"/>
                  <a:gd name="connsiteX164" fmla="*/ 3659 w 4008"/>
                  <a:gd name="connsiteY164" fmla="*/ 931 h 1039"/>
                  <a:gd name="connsiteX165" fmla="*/ 3706 w 4008"/>
                  <a:gd name="connsiteY165" fmla="*/ 911 h 1039"/>
                  <a:gd name="connsiteX166" fmla="*/ 3750 w 4008"/>
                  <a:gd name="connsiteY166" fmla="*/ 880 h 1039"/>
                  <a:gd name="connsiteX167" fmla="*/ 3789 w 4008"/>
                  <a:gd name="connsiteY167" fmla="*/ 844 h 1039"/>
                  <a:gd name="connsiteX168" fmla="*/ 3826 w 4008"/>
                  <a:gd name="connsiteY168" fmla="*/ 803 h 1039"/>
                  <a:gd name="connsiteX169" fmla="*/ 3861 w 4008"/>
                  <a:gd name="connsiteY169" fmla="*/ 755 h 1039"/>
                  <a:gd name="connsiteX0" fmla="*/ 3826 w 4008"/>
                  <a:gd name="connsiteY0" fmla="*/ 803 h 1039"/>
                  <a:gd name="connsiteX1" fmla="*/ 4008 w 4008"/>
                  <a:gd name="connsiteY1" fmla="*/ 687 h 1039"/>
                  <a:gd name="connsiteX2" fmla="*/ 3975 w 4008"/>
                  <a:gd name="connsiteY2" fmla="*/ 743 h 1039"/>
                  <a:gd name="connsiteX3" fmla="*/ 3940 w 4008"/>
                  <a:gd name="connsiteY3" fmla="*/ 794 h 1039"/>
                  <a:gd name="connsiteX4" fmla="*/ 3905 w 4008"/>
                  <a:gd name="connsiteY4" fmla="*/ 844 h 1039"/>
                  <a:gd name="connsiteX5" fmla="*/ 3865 w 4008"/>
                  <a:gd name="connsiteY5" fmla="*/ 890 h 1039"/>
                  <a:gd name="connsiteX6" fmla="*/ 3824 w 4008"/>
                  <a:gd name="connsiteY6" fmla="*/ 931 h 1039"/>
                  <a:gd name="connsiteX7" fmla="*/ 3779 w 4008"/>
                  <a:gd name="connsiteY7" fmla="*/ 967 h 1039"/>
                  <a:gd name="connsiteX8" fmla="*/ 3729 w 4008"/>
                  <a:gd name="connsiteY8" fmla="*/ 996 h 1039"/>
                  <a:gd name="connsiteX9" fmla="*/ 3677 w 4008"/>
                  <a:gd name="connsiteY9" fmla="*/ 1018 h 1039"/>
                  <a:gd name="connsiteX10" fmla="*/ 3620 w 4008"/>
                  <a:gd name="connsiteY10" fmla="*/ 1033 h 1039"/>
                  <a:gd name="connsiteX11" fmla="*/ 3556 w 4008"/>
                  <a:gd name="connsiteY11" fmla="*/ 1039 h 1039"/>
                  <a:gd name="connsiteX12" fmla="*/ 3547 w 4008"/>
                  <a:gd name="connsiteY12" fmla="*/ 1039 h 1039"/>
                  <a:gd name="connsiteX13" fmla="*/ 3485 w 4008"/>
                  <a:gd name="connsiteY13" fmla="*/ 1035 h 1039"/>
                  <a:gd name="connsiteX14" fmla="*/ 3426 w 4008"/>
                  <a:gd name="connsiteY14" fmla="*/ 1021 h 1039"/>
                  <a:gd name="connsiteX15" fmla="*/ 3372 w 4008"/>
                  <a:gd name="connsiteY15" fmla="*/ 998 h 1039"/>
                  <a:gd name="connsiteX16" fmla="*/ 3320 w 4008"/>
                  <a:gd name="connsiteY16" fmla="*/ 969 h 1039"/>
                  <a:gd name="connsiteX17" fmla="*/ 3273 w 4008"/>
                  <a:gd name="connsiteY17" fmla="*/ 931 h 1039"/>
                  <a:gd name="connsiteX18" fmla="*/ 3229 w 4008"/>
                  <a:gd name="connsiteY18" fmla="*/ 890 h 1039"/>
                  <a:gd name="connsiteX19" fmla="*/ 3186 w 4008"/>
                  <a:gd name="connsiteY19" fmla="*/ 842 h 1039"/>
                  <a:gd name="connsiteX20" fmla="*/ 3147 w 4008"/>
                  <a:gd name="connsiteY20" fmla="*/ 792 h 1039"/>
                  <a:gd name="connsiteX21" fmla="*/ 3108 w 4008"/>
                  <a:gd name="connsiteY21" fmla="*/ 736 h 1039"/>
                  <a:gd name="connsiteX22" fmla="*/ 3070 w 4008"/>
                  <a:gd name="connsiteY22" fmla="*/ 680 h 1039"/>
                  <a:gd name="connsiteX23" fmla="*/ 2965 w 4008"/>
                  <a:gd name="connsiteY23" fmla="*/ 506 h 1039"/>
                  <a:gd name="connsiteX24" fmla="*/ 2928 w 4008"/>
                  <a:gd name="connsiteY24" fmla="*/ 448 h 1039"/>
                  <a:gd name="connsiteX25" fmla="*/ 2891 w 4008"/>
                  <a:gd name="connsiteY25" fmla="*/ 392 h 1039"/>
                  <a:gd name="connsiteX26" fmla="*/ 2854 w 4008"/>
                  <a:gd name="connsiteY26" fmla="*/ 338 h 1039"/>
                  <a:gd name="connsiteX27" fmla="*/ 2814 w 4008"/>
                  <a:gd name="connsiteY27" fmla="*/ 288 h 1039"/>
                  <a:gd name="connsiteX28" fmla="*/ 2773 w 4008"/>
                  <a:gd name="connsiteY28" fmla="*/ 243 h 1039"/>
                  <a:gd name="connsiteX29" fmla="*/ 2732 w 4008"/>
                  <a:gd name="connsiteY29" fmla="*/ 201 h 1039"/>
                  <a:gd name="connsiteX30" fmla="*/ 2686 w 4008"/>
                  <a:gd name="connsiteY30" fmla="*/ 164 h 1039"/>
                  <a:gd name="connsiteX31" fmla="*/ 2639 w 4008"/>
                  <a:gd name="connsiteY31" fmla="*/ 135 h 1039"/>
                  <a:gd name="connsiteX32" fmla="*/ 2587 w 4008"/>
                  <a:gd name="connsiteY32" fmla="*/ 112 h 1039"/>
                  <a:gd name="connsiteX33" fmla="*/ 2532 w 4008"/>
                  <a:gd name="connsiteY33" fmla="*/ 96 h 1039"/>
                  <a:gd name="connsiteX34" fmla="*/ 2474 w 4008"/>
                  <a:gd name="connsiteY34" fmla="*/ 87 h 1039"/>
                  <a:gd name="connsiteX35" fmla="*/ 2410 w 4008"/>
                  <a:gd name="connsiteY35" fmla="*/ 89 h 1039"/>
                  <a:gd name="connsiteX36" fmla="*/ 2342 w 4008"/>
                  <a:gd name="connsiteY36" fmla="*/ 100 h 1039"/>
                  <a:gd name="connsiteX37" fmla="*/ 2280 w 4008"/>
                  <a:gd name="connsiteY37" fmla="*/ 118 h 1039"/>
                  <a:gd name="connsiteX38" fmla="*/ 2222 w 4008"/>
                  <a:gd name="connsiteY38" fmla="*/ 143 h 1039"/>
                  <a:gd name="connsiteX39" fmla="*/ 2168 w 4008"/>
                  <a:gd name="connsiteY39" fmla="*/ 176 h 1039"/>
                  <a:gd name="connsiteX40" fmla="*/ 2117 w 4008"/>
                  <a:gd name="connsiteY40" fmla="*/ 214 h 1039"/>
                  <a:gd name="connsiteX41" fmla="*/ 2071 w 4008"/>
                  <a:gd name="connsiteY41" fmla="*/ 257 h 1039"/>
                  <a:gd name="connsiteX42" fmla="*/ 2026 w 4008"/>
                  <a:gd name="connsiteY42" fmla="*/ 303 h 1039"/>
                  <a:gd name="connsiteX43" fmla="*/ 1984 w 4008"/>
                  <a:gd name="connsiteY43" fmla="*/ 355 h 1039"/>
                  <a:gd name="connsiteX44" fmla="*/ 1945 w 4008"/>
                  <a:gd name="connsiteY44" fmla="*/ 409 h 1039"/>
                  <a:gd name="connsiteX45" fmla="*/ 1908 w 4008"/>
                  <a:gd name="connsiteY45" fmla="*/ 463 h 1039"/>
                  <a:gd name="connsiteX46" fmla="*/ 1871 w 4008"/>
                  <a:gd name="connsiteY46" fmla="*/ 519 h 1039"/>
                  <a:gd name="connsiteX47" fmla="*/ 1834 w 4008"/>
                  <a:gd name="connsiteY47" fmla="*/ 577 h 1039"/>
                  <a:gd name="connsiteX48" fmla="*/ 1799 w 4008"/>
                  <a:gd name="connsiteY48" fmla="*/ 633 h 1039"/>
                  <a:gd name="connsiteX49" fmla="*/ 1724 w 4008"/>
                  <a:gd name="connsiteY49" fmla="*/ 745 h 1039"/>
                  <a:gd name="connsiteX50" fmla="*/ 1685 w 4008"/>
                  <a:gd name="connsiteY50" fmla="*/ 797 h 1039"/>
                  <a:gd name="connsiteX51" fmla="*/ 1644 w 4008"/>
                  <a:gd name="connsiteY51" fmla="*/ 846 h 1039"/>
                  <a:gd name="connsiteX52" fmla="*/ 1600 w 4008"/>
                  <a:gd name="connsiteY52" fmla="*/ 892 h 1039"/>
                  <a:gd name="connsiteX53" fmla="*/ 1553 w 4008"/>
                  <a:gd name="connsiteY53" fmla="*/ 933 h 1039"/>
                  <a:gd name="connsiteX54" fmla="*/ 1503 w 4008"/>
                  <a:gd name="connsiteY54" fmla="*/ 969 h 1039"/>
                  <a:gd name="connsiteX55" fmla="*/ 1450 w 4008"/>
                  <a:gd name="connsiteY55" fmla="*/ 998 h 1039"/>
                  <a:gd name="connsiteX56" fmla="*/ 1394 w 4008"/>
                  <a:gd name="connsiteY56" fmla="*/ 1021 h 1039"/>
                  <a:gd name="connsiteX57" fmla="*/ 1330 w 4008"/>
                  <a:gd name="connsiteY57" fmla="*/ 1033 h 1039"/>
                  <a:gd name="connsiteX58" fmla="*/ 1264 w 4008"/>
                  <a:gd name="connsiteY58" fmla="*/ 1039 h 1039"/>
                  <a:gd name="connsiteX59" fmla="*/ 1258 w 4008"/>
                  <a:gd name="connsiteY59" fmla="*/ 1039 h 1039"/>
                  <a:gd name="connsiteX60" fmla="*/ 1190 w 4008"/>
                  <a:gd name="connsiteY60" fmla="*/ 1035 h 1039"/>
                  <a:gd name="connsiteX61" fmla="*/ 1128 w 4008"/>
                  <a:gd name="connsiteY61" fmla="*/ 1023 h 1039"/>
                  <a:gd name="connsiteX62" fmla="*/ 1070 w 4008"/>
                  <a:gd name="connsiteY62" fmla="*/ 1004 h 1039"/>
                  <a:gd name="connsiteX63" fmla="*/ 1018 w 4008"/>
                  <a:gd name="connsiteY63" fmla="*/ 979 h 1039"/>
                  <a:gd name="connsiteX64" fmla="*/ 971 w 4008"/>
                  <a:gd name="connsiteY64" fmla="*/ 948 h 1039"/>
                  <a:gd name="connsiteX65" fmla="*/ 925 w 4008"/>
                  <a:gd name="connsiteY65" fmla="*/ 911 h 1039"/>
                  <a:gd name="connsiteX66" fmla="*/ 884 w 4008"/>
                  <a:gd name="connsiteY66" fmla="*/ 869 h 1039"/>
                  <a:gd name="connsiteX67" fmla="*/ 847 w 4008"/>
                  <a:gd name="connsiteY67" fmla="*/ 824 h 1039"/>
                  <a:gd name="connsiteX68" fmla="*/ 810 w 4008"/>
                  <a:gd name="connsiteY68" fmla="*/ 776 h 1039"/>
                  <a:gd name="connsiteX69" fmla="*/ 777 w 4008"/>
                  <a:gd name="connsiteY69" fmla="*/ 724 h 1039"/>
                  <a:gd name="connsiteX70" fmla="*/ 742 w 4008"/>
                  <a:gd name="connsiteY70" fmla="*/ 670 h 1039"/>
                  <a:gd name="connsiteX71" fmla="*/ 711 w 4008"/>
                  <a:gd name="connsiteY71" fmla="*/ 614 h 1039"/>
                  <a:gd name="connsiteX72" fmla="*/ 678 w 4008"/>
                  <a:gd name="connsiteY72" fmla="*/ 556 h 1039"/>
                  <a:gd name="connsiteX73" fmla="*/ 616 w 4008"/>
                  <a:gd name="connsiteY73" fmla="*/ 444 h 1039"/>
                  <a:gd name="connsiteX74" fmla="*/ 547 w 4008"/>
                  <a:gd name="connsiteY74" fmla="*/ 336 h 1039"/>
                  <a:gd name="connsiteX75" fmla="*/ 504 w 4008"/>
                  <a:gd name="connsiteY75" fmla="*/ 280 h 1039"/>
                  <a:gd name="connsiteX76" fmla="*/ 457 w 4008"/>
                  <a:gd name="connsiteY76" fmla="*/ 235 h 1039"/>
                  <a:gd name="connsiteX77" fmla="*/ 409 w 4008"/>
                  <a:gd name="connsiteY77" fmla="*/ 195 h 1039"/>
                  <a:gd name="connsiteX78" fmla="*/ 358 w 4008"/>
                  <a:gd name="connsiteY78" fmla="*/ 164 h 1039"/>
                  <a:gd name="connsiteX79" fmla="*/ 308 w 4008"/>
                  <a:gd name="connsiteY79" fmla="*/ 141 h 1039"/>
                  <a:gd name="connsiteX80" fmla="*/ 256 w 4008"/>
                  <a:gd name="connsiteY80" fmla="*/ 123 h 1039"/>
                  <a:gd name="connsiteX81" fmla="*/ 209 w 4008"/>
                  <a:gd name="connsiteY81" fmla="*/ 108 h 1039"/>
                  <a:gd name="connsiteX82" fmla="*/ 163 w 4008"/>
                  <a:gd name="connsiteY82" fmla="*/ 100 h 1039"/>
                  <a:gd name="connsiteX83" fmla="*/ 122 w 4008"/>
                  <a:gd name="connsiteY83" fmla="*/ 96 h 1039"/>
                  <a:gd name="connsiteX84" fmla="*/ 85 w 4008"/>
                  <a:gd name="connsiteY84" fmla="*/ 91 h 1039"/>
                  <a:gd name="connsiteX85" fmla="*/ 31 w 4008"/>
                  <a:gd name="connsiteY85" fmla="*/ 91 h 1039"/>
                  <a:gd name="connsiteX86" fmla="*/ 17 w 4008"/>
                  <a:gd name="connsiteY86" fmla="*/ 94 h 1039"/>
                  <a:gd name="connsiteX87" fmla="*/ 11 w 4008"/>
                  <a:gd name="connsiteY87" fmla="*/ 94 h 1039"/>
                  <a:gd name="connsiteX88" fmla="*/ 0 w 4008"/>
                  <a:gd name="connsiteY88" fmla="*/ 9 h 1039"/>
                  <a:gd name="connsiteX89" fmla="*/ 9 w 4008"/>
                  <a:gd name="connsiteY89" fmla="*/ 9 h 1039"/>
                  <a:gd name="connsiteX90" fmla="*/ 29 w 4008"/>
                  <a:gd name="connsiteY90" fmla="*/ 6 h 1039"/>
                  <a:gd name="connsiteX91" fmla="*/ 91 w 4008"/>
                  <a:gd name="connsiteY91" fmla="*/ 6 h 1039"/>
                  <a:gd name="connsiteX92" fmla="*/ 135 w 4008"/>
                  <a:gd name="connsiteY92" fmla="*/ 9 h 1039"/>
                  <a:gd name="connsiteX93" fmla="*/ 182 w 4008"/>
                  <a:gd name="connsiteY93" fmla="*/ 15 h 1039"/>
                  <a:gd name="connsiteX94" fmla="*/ 234 w 4008"/>
                  <a:gd name="connsiteY94" fmla="*/ 25 h 1039"/>
                  <a:gd name="connsiteX95" fmla="*/ 287 w 4008"/>
                  <a:gd name="connsiteY95" fmla="*/ 42 h 1039"/>
                  <a:gd name="connsiteX96" fmla="*/ 345 w 4008"/>
                  <a:gd name="connsiteY96" fmla="*/ 62 h 1039"/>
                  <a:gd name="connsiteX97" fmla="*/ 403 w 4008"/>
                  <a:gd name="connsiteY97" fmla="*/ 89 h 1039"/>
                  <a:gd name="connsiteX98" fmla="*/ 459 w 4008"/>
                  <a:gd name="connsiteY98" fmla="*/ 127 h 1039"/>
                  <a:gd name="connsiteX99" fmla="*/ 514 w 4008"/>
                  <a:gd name="connsiteY99" fmla="*/ 170 h 1039"/>
                  <a:gd name="connsiteX100" fmla="*/ 568 w 4008"/>
                  <a:gd name="connsiteY100" fmla="*/ 224 h 1039"/>
                  <a:gd name="connsiteX101" fmla="*/ 618 w 4008"/>
                  <a:gd name="connsiteY101" fmla="*/ 288 h 1039"/>
                  <a:gd name="connsiteX102" fmla="*/ 667 w 4008"/>
                  <a:gd name="connsiteY102" fmla="*/ 363 h 1039"/>
                  <a:gd name="connsiteX103" fmla="*/ 754 w 4008"/>
                  <a:gd name="connsiteY103" fmla="*/ 512 h 1039"/>
                  <a:gd name="connsiteX104" fmla="*/ 787 w 4008"/>
                  <a:gd name="connsiteY104" fmla="*/ 571 h 1039"/>
                  <a:gd name="connsiteX105" fmla="*/ 820 w 4008"/>
                  <a:gd name="connsiteY105" fmla="*/ 627 h 1039"/>
                  <a:gd name="connsiteX106" fmla="*/ 853 w 4008"/>
                  <a:gd name="connsiteY106" fmla="*/ 680 h 1039"/>
                  <a:gd name="connsiteX107" fmla="*/ 886 w 4008"/>
                  <a:gd name="connsiteY107" fmla="*/ 732 h 1039"/>
                  <a:gd name="connsiteX108" fmla="*/ 921 w 4008"/>
                  <a:gd name="connsiteY108" fmla="*/ 778 h 1039"/>
                  <a:gd name="connsiteX109" fmla="*/ 958 w 4008"/>
                  <a:gd name="connsiteY109" fmla="*/ 821 h 1039"/>
                  <a:gd name="connsiteX110" fmla="*/ 1000 w 4008"/>
                  <a:gd name="connsiteY110" fmla="*/ 859 h 1039"/>
                  <a:gd name="connsiteX111" fmla="*/ 1043 w 4008"/>
                  <a:gd name="connsiteY111" fmla="*/ 890 h 1039"/>
                  <a:gd name="connsiteX112" fmla="*/ 1090 w 4008"/>
                  <a:gd name="connsiteY112" fmla="*/ 917 h 1039"/>
                  <a:gd name="connsiteX113" fmla="*/ 1140 w 4008"/>
                  <a:gd name="connsiteY113" fmla="*/ 935 h 1039"/>
                  <a:gd name="connsiteX114" fmla="*/ 1196 w 4008"/>
                  <a:gd name="connsiteY114" fmla="*/ 948 h 1039"/>
                  <a:gd name="connsiteX115" fmla="*/ 1258 w 4008"/>
                  <a:gd name="connsiteY115" fmla="*/ 952 h 1039"/>
                  <a:gd name="connsiteX116" fmla="*/ 1264 w 4008"/>
                  <a:gd name="connsiteY116" fmla="*/ 952 h 1039"/>
                  <a:gd name="connsiteX117" fmla="*/ 1324 w 4008"/>
                  <a:gd name="connsiteY117" fmla="*/ 946 h 1039"/>
                  <a:gd name="connsiteX118" fmla="*/ 1380 w 4008"/>
                  <a:gd name="connsiteY118" fmla="*/ 931 h 1039"/>
                  <a:gd name="connsiteX119" fmla="*/ 1433 w 4008"/>
                  <a:gd name="connsiteY119" fmla="*/ 909 h 1039"/>
                  <a:gd name="connsiteX120" fmla="*/ 1481 w 4008"/>
                  <a:gd name="connsiteY120" fmla="*/ 880 h 1039"/>
                  <a:gd name="connsiteX121" fmla="*/ 1526 w 4008"/>
                  <a:gd name="connsiteY121" fmla="*/ 842 h 1039"/>
                  <a:gd name="connsiteX122" fmla="*/ 1569 w 4008"/>
                  <a:gd name="connsiteY122" fmla="*/ 799 h 1039"/>
                  <a:gd name="connsiteX123" fmla="*/ 1609 w 4008"/>
                  <a:gd name="connsiteY123" fmla="*/ 751 h 1039"/>
                  <a:gd name="connsiteX124" fmla="*/ 1648 w 4008"/>
                  <a:gd name="connsiteY124" fmla="*/ 699 h 1039"/>
                  <a:gd name="connsiteX125" fmla="*/ 1687 w 4008"/>
                  <a:gd name="connsiteY125" fmla="*/ 645 h 1039"/>
                  <a:gd name="connsiteX126" fmla="*/ 1799 w 4008"/>
                  <a:gd name="connsiteY126" fmla="*/ 471 h 1039"/>
                  <a:gd name="connsiteX127" fmla="*/ 1838 w 4008"/>
                  <a:gd name="connsiteY127" fmla="*/ 411 h 1039"/>
                  <a:gd name="connsiteX128" fmla="*/ 1879 w 4008"/>
                  <a:gd name="connsiteY128" fmla="*/ 353 h 1039"/>
                  <a:gd name="connsiteX129" fmla="*/ 1923 w 4008"/>
                  <a:gd name="connsiteY129" fmla="*/ 295 h 1039"/>
                  <a:gd name="connsiteX130" fmla="*/ 1968 w 4008"/>
                  <a:gd name="connsiteY130" fmla="*/ 241 h 1039"/>
                  <a:gd name="connsiteX131" fmla="*/ 2015 w 4008"/>
                  <a:gd name="connsiteY131" fmla="*/ 189 h 1039"/>
                  <a:gd name="connsiteX132" fmla="*/ 2069 w 4008"/>
                  <a:gd name="connsiteY132" fmla="*/ 141 h 1039"/>
                  <a:gd name="connsiteX133" fmla="*/ 2125 w 4008"/>
                  <a:gd name="connsiteY133" fmla="*/ 100 h 1039"/>
                  <a:gd name="connsiteX134" fmla="*/ 2187 w 4008"/>
                  <a:gd name="connsiteY134" fmla="*/ 65 h 1039"/>
                  <a:gd name="connsiteX135" fmla="*/ 2253 w 4008"/>
                  <a:gd name="connsiteY135" fmla="*/ 35 h 1039"/>
                  <a:gd name="connsiteX136" fmla="*/ 2325 w 4008"/>
                  <a:gd name="connsiteY136" fmla="*/ 15 h 1039"/>
                  <a:gd name="connsiteX137" fmla="*/ 2404 w 4008"/>
                  <a:gd name="connsiteY137" fmla="*/ 2 h 1039"/>
                  <a:gd name="connsiteX138" fmla="*/ 2474 w 4008"/>
                  <a:gd name="connsiteY138" fmla="*/ 0 h 1039"/>
                  <a:gd name="connsiteX139" fmla="*/ 2540 w 4008"/>
                  <a:gd name="connsiteY139" fmla="*/ 9 h 1039"/>
                  <a:gd name="connsiteX140" fmla="*/ 2600 w 4008"/>
                  <a:gd name="connsiteY140" fmla="*/ 23 h 1039"/>
                  <a:gd name="connsiteX141" fmla="*/ 2658 w 4008"/>
                  <a:gd name="connsiteY141" fmla="*/ 46 h 1039"/>
                  <a:gd name="connsiteX142" fmla="*/ 2711 w 4008"/>
                  <a:gd name="connsiteY142" fmla="*/ 77 h 1039"/>
                  <a:gd name="connsiteX143" fmla="*/ 2761 w 4008"/>
                  <a:gd name="connsiteY143" fmla="*/ 112 h 1039"/>
                  <a:gd name="connsiteX144" fmla="*/ 2806 w 4008"/>
                  <a:gd name="connsiteY144" fmla="*/ 154 h 1039"/>
                  <a:gd name="connsiteX145" fmla="*/ 2852 w 4008"/>
                  <a:gd name="connsiteY145" fmla="*/ 199 h 1039"/>
                  <a:gd name="connsiteX146" fmla="*/ 2893 w 4008"/>
                  <a:gd name="connsiteY146" fmla="*/ 247 h 1039"/>
                  <a:gd name="connsiteX147" fmla="*/ 2932 w 4008"/>
                  <a:gd name="connsiteY147" fmla="*/ 299 h 1039"/>
                  <a:gd name="connsiteX148" fmla="*/ 2969 w 4008"/>
                  <a:gd name="connsiteY148" fmla="*/ 353 h 1039"/>
                  <a:gd name="connsiteX149" fmla="*/ 3004 w 4008"/>
                  <a:gd name="connsiteY149" fmla="*/ 409 h 1039"/>
                  <a:gd name="connsiteX150" fmla="*/ 3039 w 4008"/>
                  <a:gd name="connsiteY150" fmla="*/ 463 h 1039"/>
                  <a:gd name="connsiteX151" fmla="*/ 3073 w 4008"/>
                  <a:gd name="connsiteY151" fmla="*/ 519 h 1039"/>
                  <a:gd name="connsiteX152" fmla="*/ 3110 w 4008"/>
                  <a:gd name="connsiteY152" fmla="*/ 581 h 1039"/>
                  <a:gd name="connsiteX153" fmla="*/ 3147 w 4008"/>
                  <a:gd name="connsiteY153" fmla="*/ 639 h 1039"/>
                  <a:gd name="connsiteX154" fmla="*/ 3186 w 4008"/>
                  <a:gd name="connsiteY154" fmla="*/ 697 h 1039"/>
                  <a:gd name="connsiteX155" fmla="*/ 3223 w 4008"/>
                  <a:gd name="connsiteY155" fmla="*/ 751 h 1039"/>
                  <a:gd name="connsiteX156" fmla="*/ 3265 w 4008"/>
                  <a:gd name="connsiteY156" fmla="*/ 801 h 1039"/>
                  <a:gd name="connsiteX157" fmla="*/ 3306 w 4008"/>
                  <a:gd name="connsiteY157" fmla="*/ 844 h 1039"/>
                  <a:gd name="connsiteX158" fmla="*/ 3349 w 4008"/>
                  <a:gd name="connsiteY158" fmla="*/ 882 h 1039"/>
                  <a:gd name="connsiteX159" fmla="*/ 3395 w 4008"/>
                  <a:gd name="connsiteY159" fmla="*/ 913 h 1039"/>
                  <a:gd name="connsiteX160" fmla="*/ 3444 w 4008"/>
                  <a:gd name="connsiteY160" fmla="*/ 935 h 1039"/>
                  <a:gd name="connsiteX161" fmla="*/ 3498 w 4008"/>
                  <a:gd name="connsiteY161" fmla="*/ 948 h 1039"/>
                  <a:gd name="connsiteX162" fmla="*/ 3554 w 4008"/>
                  <a:gd name="connsiteY162" fmla="*/ 952 h 1039"/>
                  <a:gd name="connsiteX163" fmla="*/ 3609 w 4008"/>
                  <a:gd name="connsiteY163" fmla="*/ 946 h 1039"/>
                  <a:gd name="connsiteX164" fmla="*/ 3659 w 4008"/>
                  <a:gd name="connsiteY164" fmla="*/ 931 h 1039"/>
                  <a:gd name="connsiteX165" fmla="*/ 3706 w 4008"/>
                  <a:gd name="connsiteY165" fmla="*/ 911 h 1039"/>
                  <a:gd name="connsiteX166" fmla="*/ 3750 w 4008"/>
                  <a:gd name="connsiteY166" fmla="*/ 880 h 1039"/>
                  <a:gd name="connsiteX167" fmla="*/ 3789 w 4008"/>
                  <a:gd name="connsiteY167" fmla="*/ 844 h 1039"/>
                  <a:gd name="connsiteX168" fmla="*/ 3826 w 4008"/>
                  <a:gd name="connsiteY168" fmla="*/ 803 h 1039"/>
                  <a:gd name="connsiteX0" fmla="*/ 3826 w 4008"/>
                  <a:gd name="connsiteY0" fmla="*/ 803 h 1039"/>
                  <a:gd name="connsiteX1" fmla="*/ 4008 w 4008"/>
                  <a:gd name="connsiteY1" fmla="*/ 687 h 1039"/>
                  <a:gd name="connsiteX2" fmla="*/ 3975 w 4008"/>
                  <a:gd name="connsiteY2" fmla="*/ 743 h 1039"/>
                  <a:gd name="connsiteX3" fmla="*/ 3940 w 4008"/>
                  <a:gd name="connsiteY3" fmla="*/ 794 h 1039"/>
                  <a:gd name="connsiteX4" fmla="*/ 3905 w 4008"/>
                  <a:gd name="connsiteY4" fmla="*/ 844 h 1039"/>
                  <a:gd name="connsiteX5" fmla="*/ 3865 w 4008"/>
                  <a:gd name="connsiteY5" fmla="*/ 890 h 1039"/>
                  <a:gd name="connsiteX6" fmla="*/ 3824 w 4008"/>
                  <a:gd name="connsiteY6" fmla="*/ 931 h 1039"/>
                  <a:gd name="connsiteX7" fmla="*/ 3779 w 4008"/>
                  <a:gd name="connsiteY7" fmla="*/ 967 h 1039"/>
                  <a:gd name="connsiteX8" fmla="*/ 3729 w 4008"/>
                  <a:gd name="connsiteY8" fmla="*/ 996 h 1039"/>
                  <a:gd name="connsiteX9" fmla="*/ 3677 w 4008"/>
                  <a:gd name="connsiteY9" fmla="*/ 1018 h 1039"/>
                  <a:gd name="connsiteX10" fmla="*/ 3620 w 4008"/>
                  <a:gd name="connsiteY10" fmla="*/ 1033 h 1039"/>
                  <a:gd name="connsiteX11" fmla="*/ 3556 w 4008"/>
                  <a:gd name="connsiteY11" fmla="*/ 1039 h 1039"/>
                  <a:gd name="connsiteX12" fmla="*/ 3547 w 4008"/>
                  <a:gd name="connsiteY12" fmla="*/ 1039 h 1039"/>
                  <a:gd name="connsiteX13" fmla="*/ 3485 w 4008"/>
                  <a:gd name="connsiteY13" fmla="*/ 1035 h 1039"/>
                  <a:gd name="connsiteX14" fmla="*/ 3426 w 4008"/>
                  <a:gd name="connsiteY14" fmla="*/ 1021 h 1039"/>
                  <a:gd name="connsiteX15" fmla="*/ 3372 w 4008"/>
                  <a:gd name="connsiteY15" fmla="*/ 998 h 1039"/>
                  <a:gd name="connsiteX16" fmla="*/ 3320 w 4008"/>
                  <a:gd name="connsiteY16" fmla="*/ 969 h 1039"/>
                  <a:gd name="connsiteX17" fmla="*/ 3273 w 4008"/>
                  <a:gd name="connsiteY17" fmla="*/ 931 h 1039"/>
                  <a:gd name="connsiteX18" fmla="*/ 3229 w 4008"/>
                  <a:gd name="connsiteY18" fmla="*/ 890 h 1039"/>
                  <a:gd name="connsiteX19" fmla="*/ 3186 w 4008"/>
                  <a:gd name="connsiteY19" fmla="*/ 842 h 1039"/>
                  <a:gd name="connsiteX20" fmla="*/ 3147 w 4008"/>
                  <a:gd name="connsiteY20" fmla="*/ 792 h 1039"/>
                  <a:gd name="connsiteX21" fmla="*/ 3108 w 4008"/>
                  <a:gd name="connsiteY21" fmla="*/ 736 h 1039"/>
                  <a:gd name="connsiteX22" fmla="*/ 3070 w 4008"/>
                  <a:gd name="connsiteY22" fmla="*/ 680 h 1039"/>
                  <a:gd name="connsiteX23" fmla="*/ 2965 w 4008"/>
                  <a:gd name="connsiteY23" fmla="*/ 506 h 1039"/>
                  <a:gd name="connsiteX24" fmla="*/ 2928 w 4008"/>
                  <a:gd name="connsiteY24" fmla="*/ 448 h 1039"/>
                  <a:gd name="connsiteX25" fmla="*/ 2891 w 4008"/>
                  <a:gd name="connsiteY25" fmla="*/ 392 h 1039"/>
                  <a:gd name="connsiteX26" fmla="*/ 2854 w 4008"/>
                  <a:gd name="connsiteY26" fmla="*/ 338 h 1039"/>
                  <a:gd name="connsiteX27" fmla="*/ 2814 w 4008"/>
                  <a:gd name="connsiteY27" fmla="*/ 288 h 1039"/>
                  <a:gd name="connsiteX28" fmla="*/ 2773 w 4008"/>
                  <a:gd name="connsiteY28" fmla="*/ 243 h 1039"/>
                  <a:gd name="connsiteX29" fmla="*/ 2732 w 4008"/>
                  <a:gd name="connsiteY29" fmla="*/ 201 h 1039"/>
                  <a:gd name="connsiteX30" fmla="*/ 2686 w 4008"/>
                  <a:gd name="connsiteY30" fmla="*/ 164 h 1039"/>
                  <a:gd name="connsiteX31" fmla="*/ 2639 w 4008"/>
                  <a:gd name="connsiteY31" fmla="*/ 135 h 1039"/>
                  <a:gd name="connsiteX32" fmla="*/ 2587 w 4008"/>
                  <a:gd name="connsiteY32" fmla="*/ 112 h 1039"/>
                  <a:gd name="connsiteX33" fmla="*/ 2532 w 4008"/>
                  <a:gd name="connsiteY33" fmla="*/ 96 h 1039"/>
                  <a:gd name="connsiteX34" fmla="*/ 2474 w 4008"/>
                  <a:gd name="connsiteY34" fmla="*/ 87 h 1039"/>
                  <a:gd name="connsiteX35" fmla="*/ 2410 w 4008"/>
                  <a:gd name="connsiteY35" fmla="*/ 89 h 1039"/>
                  <a:gd name="connsiteX36" fmla="*/ 2342 w 4008"/>
                  <a:gd name="connsiteY36" fmla="*/ 100 h 1039"/>
                  <a:gd name="connsiteX37" fmla="*/ 2280 w 4008"/>
                  <a:gd name="connsiteY37" fmla="*/ 118 h 1039"/>
                  <a:gd name="connsiteX38" fmla="*/ 2222 w 4008"/>
                  <a:gd name="connsiteY38" fmla="*/ 143 h 1039"/>
                  <a:gd name="connsiteX39" fmla="*/ 2168 w 4008"/>
                  <a:gd name="connsiteY39" fmla="*/ 176 h 1039"/>
                  <a:gd name="connsiteX40" fmla="*/ 2117 w 4008"/>
                  <a:gd name="connsiteY40" fmla="*/ 214 h 1039"/>
                  <a:gd name="connsiteX41" fmla="*/ 2071 w 4008"/>
                  <a:gd name="connsiteY41" fmla="*/ 257 h 1039"/>
                  <a:gd name="connsiteX42" fmla="*/ 2026 w 4008"/>
                  <a:gd name="connsiteY42" fmla="*/ 303 h 1039"/>
                  <a:gd name="connsiteX43" fmla="*/ 1984 w 4008"/>
                  <a:gd name="connsiteY43" fmla="*/ 355 h 1039"/>
                  <a:gd name="connsiteX44" fmla="*/ 1945 w 4008"/>
                  <a:gd name="connsiteY44" fmla="*/ 409 h 1039"/>
                  <a:gd name="connsiteX45" fmla="*/ 1908 w 4008"/>
                  <a:gd name="connsiteY45" fmla="*/ 463 h 1039"/>
                  <a:gd name="connsiteX46" fmla="*/ 1871 w 4008"/>
                  <a:gd name="connsiteY46" fmla="*/ 519 h 1039"/>
                  <a:gd name="connsiteX47" fmla="*/ 1834 w 4008"/>
                  <a:gd name="connsiteY47" fmla="*/ 577 h 1039"/>
                  <a:gd name="connsiteX48" fmla="*/ 1799 w 4008"/>
                  <a:gd name="connsiteY48" fmla="*/ 633 h 1039"/>
                  <a:gd name="connsiteX49" fmla="*/ 1724 w 4008"/>
                  <a:gd name="connsiteY49" fmla="*/ 745 h 1039"/>
                  <a:gd name="connsiteX50" fmla="*/ 1685 w 4008"/>
                  <a:gd name="connsiteY50" fmla="*/ 797 h 1039"/>
                  <a:gd name="connsiteX51" fmla="*/ 1644 w 4008"/>
                  <a:gd name="connsiteY51" fmla="*/ 846 h 1039"/>
                  <a:gd name="connsiteX52" fmla="*/ 1600 w 4008"/>
                  <a:gd name="connsiteY52" fmla="*/ 892 h 1039"/>
                  <a:gd name="connsiteX53" fmla="*/ 1553 w 4008"/>
                  <a:gd name="connsiteY53" fmla="*/ 933 h 1039"/>
                  <a:gd name="connsiteX54" fmla="*/ 1503 w 4008"/>
                  <a:gd name="connsiteY54" fmla="*/ 969 h 1039"/>
                  <a:gd name="connsiteX55" fmla="*/ 1450 w 4008"/>
                  <a:gd name="connsiteY55" fmla="*/ 998 h 1039"/>
                  <a:gd name="connsiteX56" fmla="*/ 1394 w 4008"/>
                  <a:gd name="connsiteY56" fmla="*/ 1021 h 1039"/>
                  <a:gd name="connsiteX57" fmla="*/ 1330 w 4008"/>
                  <a:gd name="connsiteY57" fmla="*/ 1033 h 1039"/>
                  <a:gd name="connsiteX58" fmla="*/ 1264 w 4008"/>
                  <a:gd name="connsiteY58" fmla="*/ 1039 h 1039"/>
                  <a:gd name="connsiteX59" fmla="*/ 1258 w 4008"/>
                  <a:gd name="connsiteY59" fmla="*/ 1039 h 1039"/>
                  <a:gd name="connsiteX60" fmla="*/ 1190 w 4008"/>
                  <a:gd name="connsiteY60" fmla="*/ 1035 h 1039"/>
                  <a:gd name="connsiteX61" fmla="*/ 1128 w 4008"/>
                  <a:gd name="connsiteY61" fmla="*/ 1023 h 1039"/>
                  <a:gd name="connsiteX62" fmla="*/ 1070 w 4008"/>
                  <a:gd name="connsiteY62" fmla="*/ 1004 h 1039"/>
                  <a:gd name="connsiteX63" fmla="*/ 1018 w 4008"/>
                  <a:gd name="connsiteY63" fmla="*/ 979 h 1039"/>
                  <a:gd name="connsiteX64" fmla="*/ 971 w 4008"/>
                  <a:gd name="connsiteY64" fmla="*/ 948 h 1039"/>
                  <a:gd name="connsiteX65" fmla="*/ 925 w 4008"/>
                  <a:gd name="connsiteY65" fmla="*/ 911 h 1039"/>
                  <a:gd name="connsiteX66" fmla="*/ 884 w 4008"/>
                  <a:gd name="connsiteY66" fmla="*/ 869 h 1039"/>
                  <a:gd name="connsiteX67" fmla="*/ 847 w 4008"/>
                  <a:gd name="connsiteY67" fmla="*/ 824 h 1039"/>
                  <a:gd name="connsiteX68" fmla="*/ 810 w 4008"/>
                  <a:gd name="connsiteY68" fmla="*/ 776 h 1039"/>
                  <a:gd name="connsiteX69" fmla="*/ 777 w 4008"/>
                  <a:gd name="connsiteY69" fmla="*/ 724 h 1039"/>
                  <a:gd name="connsiteX70" fmla="*/ 742 w 4008"/>
                  <a:gd name="connsiteY70" fmla="*/ 670 h 1039"/>
                  <a:gd name="connsiteX71" fmla="*/ 711 w 4008"/>
                  <a:gd name="connsiteY71" fmla="*/ 614 h 1039"/>
                  <a:gd name="connsiteX72" fmla="*/ 678 w 4008"/>
                  <a:gd name="connsiteY72" fmla="*/ 556 h 1039"/>
                  <a:gd name="connsiteX73" fmla="*/ 616 w 4008"/>
                  <a:gd name="connsiteY73" fmla="*/ 444 h 1039"/>
                  <a:gd name="connsiteX74" fmla="*/ 547 w 4008"/>
                  <a:gd name="connsiteY74" fmla="*/ 336 h 1039"/>
                  <a:gd name="connsiteX75" fmla="*/ 504 w 4008"/>
                  <a:gd name="connsiteY75" fmla="*/ 280 h 1039"/>
                  <a:gd name="connsiteX76" fmla="*/ 457 w 4008"/>
                  <a:gd name="connsiteY76" fmla="*/ 235 h 1039"/>
                  <a:gd name="connsiteX77" fmla="*/ 409 w 4008"/>
                  <a:gd name="connsiteY77" fmla="*/ 195 h 1039"/>
                  <a:gd name="connsiteX78" fmla="*/ 358 w 4008"/>
                  <a:gd name="connsiteY78" fmla="*/ 164 h 1039"/>
                  <a:gd name="connsiteX79" fmla="*/ 308 w 4008"/>
                  <a:gd name="connsiteY79" fmla="*/ 141 h 1039"/>
                  <a:gd name="connsiteX80" fmla="*/ 256 w 4008"/>
                  <a:gd name="connsiteY80" fmla="*/ 123 h 1039"/>
                  <a:gd name="connsiteX81" fmla="*/ 209 w 4008"/>
                  <a:gd name="connsiteY81" fmla="*/ 108 h 1039"/>
                  <a:gd name="connsiteX82" fmla="*/ 163 w 4008"/>
                  <a:gd name="connsiteY82" fmla="*/ 100 h 1039"/>
                  <a:gd name="connsiteX83" fmla="*/ 122 w 4008"/>
                  <a:gd name="connsiteY83" fmla="*/ 96 h 1039"/>
                  <a:gd name="connsiteX84" fmla="*/ 85 w 4008"/>
                  <a:gd name="connsiteY84" fmla="*/ 91 h 1039"/>
                  <a:gd name="connsiteX85" fmla="*/ 31 w 4008"/>
                  <a:gd name="connsiteY85" fmla="*/ 91 h 1039"/>
                  <a:gd name="connsiteX86" fmla="*/ 17 w 4008"/>
                  <a:gd name="connsiteY86" fmla="*/ 94 h 1039"/>
                  <a:gd name="connsiteX87" fmla="*/ 11 w 4008"/>
                  <a:gd name="connsiteY87" fmla="*/ 94 h 1039"/>
                  <a:gd name="connsiteX88" fmla="*/ 0 w 4008"/>
                  <a:gd name="connsiteY88" fmla="*/ 9 h 1039"/>
                  <a:gd name="connsiteX89" fmla="*/ 9 w 4008"/>
                  <a:gd name="connsiteY89" fmla="*/ 9 h 1039"/>
                  <a:gd name="connsiteX90" fmla="*/ 29 w 4008"/>
                  <a:gd name="connsiteY90" fmla="*/ 6 h 1039"/>
                  <a:gd name="connsiteX91" fmla="*/ 91 w 4008"/>
                  <a:gd name="connsiteY91" fmla="*/ 6 h 1039"/>
                  <a:gd name="connsiteX92" fmla="*/ 135 w 4008"/>
                  <a:gd name="connsiteY92" fmla="*/ 9 h 1039"/>
                  <a:gd name="connsiteX93" fmla="*/ 182 w 4008"/>
                  <a:gd name="connsiteY93" fmla="*/ 15 h 1039"/>
                  <a:gd name="connsiteX94" fmla="*/ 234 w 4008"/>
                  <a:gd name="connsiteY94" fmla="*/ 25 h 1039"/>
                  <a:gd name="connsiteX95" fmla="*/ 287 w 4008"/>
                  <a:gd name="connsiteY95" fmla="*/ 42 h 1039"/>
                  <a:gd name="connsiteX96" fmla="*/ 345 w 4008"/>
                  <a:gd name="connsiteY96" fmla="*/ 62 h 1039"/>
                  <a:gd name="connsiteX97" fmla="*/ 403 w 4008"/>
                  <a:gd name="connsiteY97" fmla="*/ 89 h 1039"/>
                  <a:gd name="connsiteX98" fmla="*/ 459 w 4008"/>
                  <a:gd name="connsiteY98" fmla="*/ 127 h 1039"/>
                  <a:gd name="connsiteX99" fmla="*/ 514 w 4008"/>
                  <a:gd name="connsiteY99" fmla="*/ 170 h 1039"/>
                  <a:gd name="connsiteX100" fmla="*/ 568 w 4008"/>
                  <a:gd name="connsiteY100" fmla="*/ 224 h 1039"/>
                  <a:gd name="connsiteX101" fmla="*/ 618 w 4008"/>
                  <a:gd name="connsiteY101" fmla="*/ 288 h 1039"/>
                  <a:gd name="connsiteX102" fmla="*/ 667 w 4008"/>
                  <a:gd name="connsiteY102" fmla="*/ 363 h 1039"/>
                  <a:gd name="connsiteX103" fmla="*/ 754 w 4008"/>
                  <a:gd name="connsiteY103" fmla="*/ 512 h 1039"/>
                  <a:gd name="connsiteX104" fmla="*/ 787 w 4008"/>
                  <a:gd name="connsiteY104" fmla="*/ 571 h 1039"/>
                  <a:gd name="connsiteX105" fmla="*/ 820 w 4008"/>
                  <a:gd name="connsiteY105" fmla="*/ 627 h 1039"/>
                  <a:gd name="connsiteX106" fmla="*/ 853 w 4008"/>
                  <a:gd name="connsiteY106" fmla="*/ 680 h 1039"/>
                  <a:gd name="connsiteX107" fmla="*/ 886 w 4008"/>
                  <a:gd name="connsiteY107" fmla="*/ 732 h 1039"/>
                  <a:gd name="connsiteX108" fmla="*/ 921 w 4008"/>
                  <a:gd name="connsiteY108" fmla="*/ 778 h 1039"/>
                  <a:gd name="connsiteX109" fmla="*/ 958 w 4008"/>
                  <a:gd name="connsiteY109" fmla="*/ 821 h 1039"/>
                  <a:gd name="connsiteX110" fmla="*/ 1000 w 4008"/>
                  <a:gd name="connsiteY110" fmla="*/ 859 h 1039"/>
                  <a:gd name="connsiteX111" fmla="*/ 1043 w 4008"/>
                  <a:gd name="connsiteY111" fmla="*/ 890 h 1039"/>
                  <a:gd name="connsiteX112" fmla="*/ 1090 w 4008"/>
                  <a:gd name="connsiteY112" fmla="*/ 917 h 1039"/>
                  <a:gd name="connsiteX113" fmla="*/ 1140 w 4008"/>
                  <a:gd name="connsiteY113" fmla="*/ 935 h 1039"/>
                  <a:gd name="connsiteX114" fmla="*/ 1196 w 4008"/>
                  <a:gd name="connsiteY114" fmla="*/ 948 h 1039"/>
                  <a:gd name="connsiteX115" fmla="*/ 1258 w 4008"/>
                  <a:gd name="connsiteY115" fmla="*/ 952 h 1039"/>
                  <a:gd name="connsiteX116" fmla="*/ 1264 w 4008"/>
                  <a:gd name="connsiteY116" fmla="*/ 952 h 1039"/>
                  <a:gd name="connsiteX117" fmla="*/ 1324 w 4008"/>
                  <a:gd name="connsiteY117" fmla="*/ 946 h 1039"/>
                  <a:gd name="connsiteX118" fmla="*/ 1380 w 4008"/>
                  <a:gd name="connsiteY118" fmla="*/ 931 h 1039"/>
                  <a:gd name="connsiteX119" fmla="*/ 1433 w 4008"/>
                  <a:gd name="connsiteY119" fmla="*/ 909 h 1039"/>
                  <a:gd name="connsiteX120" fmla="*/ 1481 w 4008"/>
                  <a:gd name="connsiteY120" fmla="*/ 880 h 1039"/>
                  <a:gd name="connsiteX121" fmla="*/ 1526 w 4008"/>
                  <a:gd name="connsiteY121" fmla="*/ 842 h 1039"/>
                  <a:gd name="connsiteX122" fmla="*/ 1569 w 4008"/>
                  <a:gd name="connsiteY122" fmla="*/ 799 h 1039"/>
                  <a:gd name="connsiteX123" fmla="*/ 1609 w 4008"/>
                  <a:gd name="connsiteY123" fmla="*/ 751 h 1039"/>
                  <a:gd name="connsiteX124" fmla="*/ 1648 w 4008"/>
                  <a:gd name="connsiteY124" fmla="*/ 699 h 1039"/>
                  <a:gd name="connsiteX125" fmla="*/ 1687 w 4008"/>
                  <a:gd name="connsiteY125" fmla="*/ 645 h 1039"/>
                  <a:gd name="connsiteX126" fmla="*/ 1799 w 4008"/>
                  <a:gd name="connsiteY126" fmla="*/ 471 h 1039"/>
                  <a:gd name="connsiteX127" fmla="*/ 1838 w 4008"/>
                  <a:gd name="connsiteY127" fmla="*/ 411 h 1039"/>
                  <a:gd name="connsiteX128" fmla="*/ 1879 w 4008"/>
                  <a:gd name="connsiteY128" fmla="*/ 353 h 1039"/>
                  <a:gd name="connsiteX129" fmla="*/ 1923 w 4008"/>
                  <a:gd name="connsiteY129" fmla="*/ 295 h 1039"/>
                  <a:gd name="connsiteX130" fmla="*/ 1968 w 4008"/>
                  <a:gd name="connsiteY130" fmla="*/ 241 h 1039"/>
                  <a:gd name="connsiteX131" fmla="*/ 2015 w 4008"/>
                  <a:gd name="connsiteY131" fmla="*/ 189 h 1039"/>
                  <a:gd name="connsiteX132" fmla="*/ 2069 w 4008"/>
                  <a:gd name="connsiteY132" fmla="*/ 141 h 1039"/>
                  <a:gd name="connsiteX133" fmla="*/ 2125 w 4008"/>
                  <a:gd name="connsiteY133" fmla="*/ 100 h 1039"/>
                  <a:gd name="connsiteX134" fmla="*/ 2187 w 4008"/>
                  <a:gd name="connsiteY134" fmla="*/ 65 h 1039"/>
                  <a:gd name="connsiteX135" fmla="*/ 2253 w 4008"/>
                  <a:gd name="connsiteY135" fmla="*/ 35 h 1039"/>
                  <a:gd name="connsiteX136" fmla="*/ 2325 w 4008"/>
                  <a:gd name="connsiteY136" fmla="*/ 15 h 1039"/>
                  <a:gd name="connsiteX137" fmla="*/ 2404 w 4008"/>
                  <a:gd name="connsiteY137" fmla="*/ 2 h 1039"/>
                  <a:gd name="connsiteX138" fmla="*/ 2474 w 4008"/>
                  <a:gd name="connsiteY138" fmla="*/ 0 h 1039"/>
                  <a:gd name="connsiteX139" fmla="*/ 2540 w 4008"/>
                  <a:gd name="connsiteY139" fmla="*/ 9 h 1039"/>
                  <a:gd name="connsiteX140" fmla="*/ 2600 w 4008"/>
                  <a:gd name="connsiteY140" fmla="*/ 23 h 1039"/>
                  <a:gd name="connsiteX141" fmla="*/ 2658 w 4008"/>
                  <a:gd name="connsiteY141" fmla="*/ 46 h 1039"/>
                  <a:gd name="connsiteX142" fmla="*/ 2711 w 4008"/>
                  <a:gd name="connsiteY142" fmla="*/ 77 h 1039"/>
                  <a:gd name="connsiteX143" fmla="*/ 2761 w 4008"/>
                  <a:gd name="connsiteY143" fmla="*/ 112 h 1039"/>
                  <a:gd name="connsiteX144" fmla="*/ 2806 w 4008"/>
                  <a:gd name="connsiteY144" fmla="*/ 154 h 1039"/>
                  <a:gd name="connsiteX145" fmla="*/ 2852 w 4008"/>
                  <a:gd name="connsiteY145" fmla="*/ 199 h 1039"/>
                  <a:gd name="connsiteX146" fmla="*/ 2893 w 4008"/>
                  <a:gd name="connsiteY146" fmla="*/ 247 h 1039"/>
                  <a:gd name="connsiteX147" fmla="*/ 2932 w 4008"/>
                  <a:gd name="connsiteY147" fmla="*/ 299 h 1039"/>
                  <a:gd name="connsiteX148" fmla="*/ 2969 w 4008"/>
                  <a:gd name="connsiteY148" fmla="*/ 353 h 1039"/>
                  <a:gd name="connsiteX149" fmla="*/ 3004 w 4008"/>
                  <a:gd name="connsiteY149" fmla="*/ 409 h 1039"/>
                  <a:gd name="connsiteX150" fmla="*/ 3039 w 4008"/>
                  <a:gd name="connsiteY150" fmla="*/ 463 h 1039"/>
                  <a:gd name="connsiteX151" fmla="*/ 3073 w 4008"/>
                  <a:gd name="connsiteY151" fmla="*/ 519 h 1039"/>
                  <a:gd name="connsiteX152" fmla="*/ 3110 w 4008"/>
                  <a:gd name="connsiteY152" fmla="*/ 581 h 1039"/>
                  <a:gd name="connsiteX153" fmla="*/ 3147 w 4008"/>
                  <a:gd name="connsiteY153" fmla="*/ 639 h 1039"/>
                  <a:gd name="connsiteX154" fmla="*/ 3186 w 4008"/>
                  <a:gd name="connsiteY154" fmla="*/ 697 h 1039"/>
                  <a:gd name="connsiteX155" fmla="*/ 3223 w 4008"/>
                  <a:gd name="connsiteY155" fmla="*/ 751 h 1039"/>
                  <a:gd name="connsiteX156" fmla="*/ 3265 w 4008"/>
                  <a:gd name="connsiteY156" fmla="*/ 801 h 1039"/>
                  <a:gd name="connsiteX157" fmla="*/ 3306 w 4008"/>
                  <a:gd name="connsiteY157" fmla="*/ 844 h 1039"/>
                  <a:gd name="connsiteX158" fmla="*/ 3349 w 4008"/>
                  <a:gd name="connsiteY158" fmla="*/ 882 h 1039"/>
                  <a:gd name="connsiteX159" fmla="*/ 3395 w 4008"/>
                  <a:gd name="connsiteY159" fmla="*/ 913 h 1039"/>
                  <a:gd name="connsiteX160" fmla="*/ 3444 w 4008"/>
                  <a:gd name="connsiteY160" fmla="*/ 935 h 1039"/>
                  <a:gd name="connsiteX161" fmla="*/ 3498 w 4008"/>
                  <a:gd name="connsiteY161" fmla="*/ 948 h 1039"/>
                  <a:gd name="connsiteX162" fmla="*/ 3554 w 4008"/>
                  <a:gd name="connsiteY162" fmla="*/ 952 h 1039"/>
                  <a:gd name="connsiteX163" fmla="*/ 3609 w 4008"/>
                  <a:gd name="connsiteY163" fmla="*/ 946 h 1039"/>
                  <a:gd name="connsiteX164" fmla="*/ 3659 w 4008"/>
                  <a:gd name="connsiteY164" fmla="*/ 931 h 1039"/>
                  <a:gd name="connsiteX165" fmla="*/ 3706 w 4008"/>
                  <a:gd name="connsiteY165" fmla="*/ 911 h 1039"/>
                  <a:gd name="connsiteX166" fmla="*/ 3789 w 4008"/>
                  <a:gd name="connsiteY166" fmla="*/ 844 h 1039"/>
                  <a:gd name="connsiteX167" fmla="*/ 3826 w 4008"/>
                  <a:gd name="connsiteY167" fmla="*/ 803 h 1039"/>
                  <a:gd name="connsiteX0" fmla="*/ 3826 w 4008"/>
                  <a:gd name="connsiteY0" fmla="*/ 803 h 1039"/>
                  <a:gd name="connsiteX1" fmla="*/ 4008 w 4008"/>
                  <a:gd name="connsiteY1" fmla="*/ 687 h 1039"/>
                  <a:gd name="connsiteX2" fmla="*/ 3975 w 4008"/>
                  <a:gd name="connsiteY2" fmla="*/ 743 h 1039"/>
                  <a:gd name="connsiteX3" fmla="*/ 3940 w 4008"/>
                  <a:gd name="connsiteY3" fmla="*/ 794 h 1039"/>
                  <a:gd name="connsiteX4" fmla="*/ 3905 w 4008"/>
                  <a:gd name="connsiteY4" fmla="*/ 844 h 1039"/>
                  <a:gd name="connsiteX5" fmla="*/ 3865 w 4008"/>
                  <a:gd name="connsiteY5" fmla="*/ 890 h 1039"/>
                  <a:gd name="connsiteX6" fmla="*/ 3824 w 4008"/>
                  <a:gd name="connsiteY6" fmla="*/ 931 h 1039"/>
                  <a:gd name="connsiteX7" fmla="*/ 3779 w 4008"/>
                  <a:gd name="connsiteY7" fmla="*/ 967 h 1039"/>
                  <a:gd name="connsiteX8" fmla="*/ 3729 w 4008"/>
                  <a:gd name="connsiteY8" fmla="*/ 996 h 1039"/>
                  <a:gd name="connsiteX9" fmla="*/ 3677 w 4008"/>
                  <a:gd name="connsiteY9" fmla="*/ 1018 h 1039"/>
                  <a:gd name="connsiteX10" fmla="*/ 3620 w 4008"/>
                  <a:gd name="connsiteY10" fmla="*/ 1033 h 1039"/>
                  <a:gd name="connsiteX11" fmla="*/ 3556 w 4008"/>
                  <a:gd name="connsiteY11" fmla="*/ 1039 h 1039"/>
                  <a:gd name="connsiteX12" fmla="*/ 3547 w 4008"/>
                  <a:gd name="connsiteY12" fmla="*/ 1039 h 1039"/>
                  <a:gd name="connsiteX13" fmla="*/ 3485 w 4008"/>
                  <a:gd name="connsiteY13" fmla="*/ 1035 h 1039"/>
                  <a:gd name="connsiteX14" fmla="*/ 3426 w 4008"/>
                  <a:gd name="connsiteY14" fmla="*/ 1021 h 1039"/>
                  <a:gd name="connsiteX15" fmla="*/ 3372 w 4008"/>
                  <a:gd name="connsiteY15" fmla="*/ 998 h 1039"/>
                  <a:gd name="connsiteX16" fmla="*/ 3320 w 4008"/>
                  <a:gd name="connsiteY16" fmla="*/ 969 h 1039"/>
                  <a:gd name="connsiteX17" fmla="*/ 3273 w 4008"/>
                  <a:gd name="connsiteY17" fmla="*/ 931 h 1039"/>
                  <a:gd name="connsiteX18" fmla="*/ 3229 w 4008"/>
                  <a:gd name="connsiteY18" fmla="*/ 890 h 1039"/>
                  <a:gd name="connsiteX19" fmla="*/ 3186 w 4008"/>
                  <a:gd name="connsiteY19" fmla="*/ 842 h 1039"/>
                  <a:gd name="connsiteX20" fmla="*/ 3147 w 4008"/>
                  <a:gd name="connsiteY20" fmla="*/ 792 h 1039"/>
                  <a:gd name="connsiteX21" fmla="*/ 3108 w 4008"/>
                  <a:gd name="connsiteY21" fmla="*/ 736 h 1039"/>
                  <a:gd name="connsiteX22" fmla="*/ 3070 w 4008"/>
                  <a:gd name="connsiteY22" fmla="*/ 680 h 1039"/>
                  <a:gd name="connsiteX23" fmla="*/ 2965 w 4008"/>
                  <a:gd name="connsiteY23" fmla="*/ 506 h 1039"/>
                  <a:gd name="connsiteX24" fmla="*/ 2928 w 4008"/>
                  <a:gd name="connsiteY24" fmla="*/ 448 h 1039"/>
                  <a:gd name="connsiteX25" fmla="*/ 2891 w 4008"/>
                  <a:gd name="connsiteY25" fmla="*/ 392 h 1039"/>
                  <a:gd name="connsiteX26" fmla="*/ 2854 w 4008"/>
                  <a:gd name="connsiteY26" fmla="*/ 338 h 1039"/>
                  <a:gd name="connsiteX27" fmla="*/ 2814 w 4008"/>
                  <a:gd name="connsiteY27" fmla="*/ 288 h 1039"/>
                  <a:gd name="connsiteX28" fmla="*/ 2773 w 4008"/>
                  <a:gd name="connsiteY28" fmla="*/ 243 h 1039"/>
                  <a:gd name="connsiteX29" fmla="*/ 2732 w 4008"/>
                  <a:gd name="connsiteY29" fmla="*/ 201 h 1039"/>
                  <a:gd name="connsiteX30" fmla="*/ 2686 w 4008"/>
                  <a:gd name="connsiteY30" fmla="*/ 164 h 1039"/>
                  <a:gd name="connsiteX31" fmla="*/ 2639 w 4008"/>
                  <a:gd name="connsiteY31" fmla="*/ 135 h 1039"/>
                  <a:gd name="connsiteX32" fmla="*/ 2587 w 4008"/>
                  <a:gd name="connsiteY32" fmla="*/ 112 h 1039"/>
                  <a:gd name="connsiteX33" fmla="*/ 2532 w 4008"/>
                  <a:gd name="connsiteY33" fmla="*/ 96 h 1039"/>
                  <a:gd name="connsiteX34" fmla="*/ 2474 w 4008"/>
                  <a:gd name="connsiteY34" fmla="*/ 87 h 1039"/>
                  <a:gd name="connsiteX35" fmla="*/ 2410 w 4008"/>
                  <a:gd name="connsiteY35" fmla="*/ 89 h 1039"/>
                  <a:gd name="connsiteX36" fmla="*/ 2342 w 4008"/>
                  <a:gd name="connsiteY36" fmla="*/ 100 h 1039"/>
                  <a:gd name="connsiteX37" fmla="*/ 2280 w 4008"/>
                  <a:gd name="connsiteY37" fmla="*/ 118 h 1039"/>
                  <a:gd name="connsiteX38" fmla="*/ 2222 w 4008"/>
                  <a:gd name="connsiteY38" fmla="*/ 143 h 1039"/>
                  <a:gd name="connsiteX39" fmla="*/ 2168 w 4008"/>
                  <a:gd name="connsiteY39" fmla="*/ 176 h 1039"/>
                  <a:gd name="connsiteX40" fmla="*/ 2117 w 4008"/>
                  <a:gd name="connsiteY40" fmla="*/ 214 h 1039"/>
                  <a:gd name="connsiteX41" fmla="*/ 2071 w 4008"/>
                  <a:gd name="connsiteY41" fmla="*/ 257 h 1039"/>
                  <a:gd name="connsiteX42" fmla="*/ 2026 w 4008"/>
                  <a:gd name="connsiteY42" fmla="*/ 303 h 1039"/>
                  <a:gd name="connsiteX43" fmla="*/ 1984 w 4008"/>
                  <a:gd name="connsiteY43" fmla="*/ 355 h 1039"/>
                  <a:gd name="connsiteX44" fmla="*/ 1945 w 4008"/>
                  <a:gd name="connsiteY44" fmla="*/ 409 h 1039"/>
                  <a:gd name="connsiteX45" fmla="*/ 1908 w 4008"/>
                  <a:gd name="connsiteY45" fmla="*/ 463 h 1039"/>
                  <a:gd name="connsiteX46" fmla="*/ 1871 w 4008"/>
                  <a:gd name="connsiteY46" fmla="*/ 519 h 1039"/>
                  <a:gd name="connsiteX47" fmla="*/ 1834 w 4008"/>
                  <a:gd name="connsiteY47" fmla="*/ 577 h 1039"/>
                  <a:gd name="connsiteX48" fmla="*/ 1799 w 4008"/>
                  <a:gd name="connsiteY48" fmla="*/ 633 h 1039"/>
                  <a:gd name="connsiteX49" fmla="*/ 1724 w 4008"/>
                  <a:gd name="connsiteY49" fmla="*/ 745 h 1039"/>
                  <a:gd name="connsiteX50" fmla="*/ 1685 w 4008"/>
                  <a:gd name="connsiteY50" fmla="*/ 797 h 1039"/>
                  <a:gd name="connsiteX51" fmla="*/ 1644 w 4008"/>
                  <a:gd name="connsiteY51" fmla="*/ 846 h 1039"/>
                  <a:gd name="connsiteX52" fmla="*/ 1600 w 4008"/>
                  <a:gd name="connsiteY52" fmla="*/ 892 h 1039"/>
                  <a:gd name="connsiteX53" fmla="*/ 1553 w 4008"/>
                  <a:gd name="connsiteY53" fmla="*/ 933 h 1039"/>
                  <a:gd name="connsiteX54" fmla="*/ 1503 w 4008"/>
                  <a:gd name="connsiteY54" fmla="*/ 969 h 1039"/>
                  <a:gd name="connsiteX55" fmla="*/ 1450 w 4008"/>
                  <a:gd name="connsiteY55" fmla="*/ 998 h 1039"/>
                  <a:gd name="connsiteX56" fmla="*/ 1394 w 4008"/>
                  <a:gd name="connsiteY56" fmla="*/ 1021 h 1039"/>
                  <a:gd name="connsiteX57" fmla="*/ 1330 w 4008"/>
                  <a:gd name="connsiteY57" fmla="*/ 1033 h 1039"/>
                  <a:gd name="connsiteX58" fmla="*/ 1264 w 4008"/>
                  <a:gd name="connsiteY58" fmla="*/ 1039 h 1039"/>
                  <a:gd name="connsiteX59" fmla="*/ 1258 w 4008"/>
                  <a:gd name="connsiteY59" fmla="*/ 1039 h 1039"/>
                  <a:gd name="connsiteX60" fmla="*/ 1190 w 4008"/>
                  <a:gd name="connsiteY60" fmla="*/ 1035 h 1039"/>
                  <a:gd name="connsiteX61" fmla="*/ 1128 w 4008"/>
                  <a:gd name="connsiteY61" fmla="*/ 1023 h 1039"/>
                  <a:gd name="connsiteX62" fmla="*/ 1070 w 4008"/>
                  <a:gd name="connsiteY62" fmla="*/ 1004 h 1039"/>
                  <a:gd name="connsiteX63" fmla="*/ 1018 w 4008"/>
                  <a:gd name="connsiteY63" fmla="*/ 979 h 1039"/>
                  <a:gd name="connsiteX64" fmla="*/ 971 w 4008"/>
                  <a:gd name="connsiteY64" fmla="*/ 948 h 1039"/>
                  <a:gd name="connsiteX65" fmla="*/ 925 w 4008"/>
                  <a:gd name="connsiteY65" fmla="*/ 911 h 1039"/>
                  <a:gd name="connsiteX66" fmla="*/ 884 w 4008"/>
                  <a:gd name="connsiteY66" fmla="*/ 869 h 1039"/>
                  <a:gd name="connsiteX67" fmla="*/ 847 w 4008"/>
                  <a:gd name="connsiteY67" fmla="*/ 824 h 1039"/>
                  <a:gd name="connsiteX68" fmla="*/ 810 w 4008"/>
                  <a:gd name="connsiteY68" fmla="*/ 776 h 1039"/>
                  <a:gd name="connsiteX69" fmla="*/ 777 w 4008"/>
                  <a:gd name="connsiteY69" fmla="*/ 724 h 1039"/>
                  <a:gd name="connsiteX70" fmla="*/ 742 w 4008"/>
                  <a:gd name="connsiteY70" fmla="*/ 670 h 1039"/>
                  <a:gd name="connsiteX71" fmla="*/ 711 w 4008"/>
                  <a:gd name="connsiteY71" fmla="*/ 614 h 1039"/>
                  <a:gd name="connsiteX72" fmla="*/ 678 w 4008"/>
                  <a:gd name="connsiteY72" fmla="*/ 556 h 1039"/>
                  <a:gd name="connsiteX73" fmla="*/ 616 w 4008"/>
                  <a:gd name="connsiteY73" fmla="*/ 444 h 1039"/>
                  <a:gd name="connsiteX74" fmla="*/ 547 w 4008"/>
                  <a:gd name="connsiteY74" fmla="*/ 336 h 1039"/>
                  <a:gd name="connsiteX75" fmla="*/ 504 w 4008"/>
                  <a:gd name="connsiteY75" fmla="*/ 280 h 1039"/>
                  <a:gd name="connsiteX76" fmla="*/ 457 w 4008"/>
                  <a:gd name="connsiteY76" fmla="*/ 235 h 1039"/>
                  <a:gd name="connsiteX77" fmla="*/ 409 w 4008"/>
                  <a:gd name="connsiteY77" fmla="*/ 195 h 1039"/>
                  <a:gd name="connsiteX78" fmla="*/ 358 w 4008"/>
                  <a:gd name="connsiteY78" fmla="*/ 164 h 1039"/>
                  <a:gd name="connsiteX79" fmla="*/ 308 w 4008"/>
                  <a:gd name="connsiteY79" fmla="*/ 141 h 1039"/>
                  <a:gd name="connsiteX80" fmla="*/ 256 w 4008"/>
                  <a:gd name="connsiteY80" fmla="*/ 123 h 1039"/>
                  <a:gd name="connsiteX81" fmla="*/ 209 w 4008"/>
                  <a:gd name="connsiteY81" fmla="*/ 108 h 1039"/>
                  <a:gd name="connsiteX82" fmla="*/ 163 w 4008"/>
                  <a:gd name="connsiteY82" fmla="*/ 100 h 1039"/>
                  <a:gd name="connsiteX83" fmla="*/ 122 w 4008"/>
                  <a:gd name="connsiteY83" fmla="*/ 96 h 1039"/>
                  <a:gd name="connsiteX84" fmla="*/ 85 w 4008"/>
                  <a:gd name="connsiteY84" fmla="*/ 91 h 1039"/>
                  <a:gd name="connsiteX85" fmla="*/ 31 w 4008"/>
                  <a:gd name="connsiteY85" fmla="*/ 91 h 1039"/>
                  <a:gd name="connsiteX86" fmla="*/ 17 w 4008"/>
                  <a:gd name="connsiteY86" fmla="*/ 94 h 1039"/>
                  <a:gd name="connsiteX87" fmla="*/ 11 w 4008"/>
                  <a:gd name="connsiteY87" fmla="*/ 94 h 1039"/>
                  <a:gd name="connsiteX88" fmla="*/ 0 w 4008"/>
                  <a:gd name="connsiteY88" fmla="*/ 9 h 1039"/>
                  <a:gd name="connsiteX89" fmla="*/ 9 w 4008"/>
                  <a:gd name="connsiteY89" fmla="*/ 9 h 1039"/>
                  <a:gd name="connsiteX90" fmla="*/ 29 w 4008"/>
                  <a:gd name="connsiteY90" fmla="*/ 6 h 1039"/>
                  <a:gd name="connsiteX91" fmla="*/ 91 w 4008"/>
                  <a:gd name="connsiteY91" fmla="*/ 6 h 1039"/>
                  <a:gd name="connsiteX92" fmla="*/ 135 w 4008"/>
                  <a:gd name="connsiteY92" fmla="*/ 9 h 1039"/>
                  <a:gd name="connsiteX93" fmla="*/ 182 w 4008"/>
                  <a:gd name="connsiteY93" fmla="*/ 15 h 1039"/>
                  <a:gd name="connsiteX94" fmla="*/ 234 w 4008"/>
                  <a:gd name="connsiteY94" fmla="*/ 25 h 1039"/>
                  <a:gd name="connsiteX95" fmla="*/ 287 w 4008"/>
                  <a:gd name="connsiteY95" fmla="*/ 42 h 1039"/>
                  <a:gd name="connsiteX96" fmla="*/ 345 w 4008"/>
                  <a:gd name="connsiteY96" fmla="*/ 62 h 1039"/>
                  <a:gd name="connsiteX97" fmla="*/ 403 w 4008"/>
                  <a:gd name="connsiteY97" fmla="*/ 89 h 1039"/>
                  <a:gd name="connsiteX98" fmla="*/ 459 w 4008"/>
                  <a:gd name="connsiteY98" fmla="*/ 127 h 1039"/>
                  <a:gd name="connsiteX99" fmla="*/ 514 w 4008"/>
                  <a:gd name="connsiteY99" fmla="*/ 170 h 1039"/>
                  <a:gd name="connsiteX100" fmla="*/ 568 w 4008"/>
                  <a:gd name="connsiteY100" fmla="*/ 224 h 1039"/>
                  <a:gd name="connsiteX101" fmla="*/ 618 w 4008"/>
                  <a:gd name="connsiteY101" fmla="*/ 288 h 1039"/>
                  <a:gd name="connsiteX102" fmla="*/ 667 w 4008"/>
                  <a:gd name="connsiteY102" fmla="*/ 363 h 1039"/>
                  <a:gd name="connsiteX103" fmla="*/ 754 w 4008"/>
                  <a:gd name="connsiteY103" fmla="*/ 512 h 1039"/>
                  <a:gd name="connsiteX104" fmla="*/ 787 w 4008"/>
                  <a:gd name="connsiteY104" fmla="*/ 571 h 1039"/>
                  <a:gd name="connsiteX105" fmla="*/ 820 w 4008"/>
                  <a:gd name="connsiteY105" fmla="*/ 627 h 1039"/>
                  <a:gd name="connsiteX106" fmla="*/ 853 w 4008"/>
                  <a:gd name="connsiteY106" fmla="*/ 680 h 1039"/>
                  <a:gd name="connsiteX107" fmla="*/ 886 w 4008"/>
                  <a:gd name="connsiteY107" fmla="*/ 732 h 1039"/>
                  <a:gd name="connsiteX108" fmla="*/ 921 w 4008"/>
                  <a:gd name="connsiteY108" fmla="*/ 778 h 1039"/>
                  <a:gd name="connsiteX109" fmla="*/ 958 w 4008"/>
                  <a:gd name="connsiteY109" fmla="*/ 821 h 1039"/>
                  <a:gd name="connsiteX110" fmla="*/ 1000 w 4008"/>
                  <a:gd name="connsiteY110" fmla="*/ 859 h 1039"/>
                  <a:gd name="connsiteX111" fmla="*/ 1043 w 4008"/>
                  <a:gd name="connsiteY111" fmla="*/ 890 h 1039"/>
                  <a:gd name="connsiteX112" fmla="*/ 1090 w 4008"/>
                  <a:gd name="connsiteY112" fmla="*/ 917 h 1039"/>
                  <a:gd name="connsiteX113" fmla="*/ 1140 w 4008"/>
                  <a:gd name="connsiteY113" fmla="*/ 935 h 1039"/>
                  <a:gd name="connsiteX114" fmla="*/ 1196 w 4008"/>
                  <a:gd name="connsiteY114" fmla="*/ 948 h 1039"/>
                  <a:gd name="connsiteX115" fmla="*/ 1258 w 4008"/>
                  <a:gd name="connsiteY115" fmla="*/ 952 h 1039"/>
                  <a:gd name="connsiteX116" fmla="*/ 1264 w 4008"/>
                  <a:gd name="connsiteY116" fmla="*/ 952 h 1039"/>
                  <a:gd name="connsiteX117" fmla="*/ 1324 w 4008"/>
                  <a:gd name="connsiteY117" fmla="*/ 946 h 1039"/>
                  <a:gd name="connsiteX118" fmla="*/ 1380 w 4008"/>
                  <a:gd name="connsiteY118" fmla="*/ 931 h 1039"/>
                  <a:gd name="connsiteX119" fmla="*/ 1433 w 4008"/>
                  <a:gd name="connsiteY119" fmla="*/ 909 h 1039"/>
                  <a:gd name="connsiteX120" fmla="*/ 1481 w 4008"/>
                  <a:gd name="connsiteY120" fmla="*/ 880 h 1039"/>
                  <a:gd name="connsiteX121" fmla="*/ 1526 w 4008"/>
                  <a:gd name="connsiteY121" fmla="*/ 842 h 1039"/>
                  <a:gd name="connsiteX122" fmla="*/ 1569 w 4008"/>
                  <a:gd name="connsiteY122" fmla="*/ 799 h 1039"/>
                  <a:gd name="connsiteX123" fmla="*/ 1609 w 4008"/>
                  <a:gd name="connsiteY123" fmla="*/ 751 h 1039"/>
                  <a:gd name="connsiteX124" fmla="*/ 1648 w 4008"/>
                  <a:gd name="connsiteY124" fmla="*/ 699 h 1039"/>
                  <a:gd name="connsiteX125" fmla="*/ 1687 w 4008"/>
                  <a:gd name="connsiteY125" fmla="*/ 645 h 1039"/>
                  <a:gd name="connsiteX126" fmla="*/ 1799 w 4008"/>
                  <a:gd name="connsiteY126" fmla="*/ 471 h 1039"/>
                  <a:gd name="connsiteX127" fmla="*/ 1838 w 4008"/>
                  <a:gd name="connsiteY127" fmla="*/ 411 h 1039"/>
                  <a:gd name="connsiteX128" fmla="*/ 1879 w 4008"/>
                  <a:gd name="connsiteY128" fmla="*/ 353 h 1039"/>
                  <a:gd name="connsiteX129" fmla="*/ 1923 w 4008"/>
                  <a:gd name="connsiteY129" fmla="*/ 295 h 1039"/>
                  <a:gd name="connsiteX130" fmla="*/ 1968 w 4008"/>
                  <a:gd name="connsiteY130" fmla="*/ 241 h 1039"/>
                  <a:gd name="connsiteX131" fmla="*/ 2015 w 4008"/>
                  <a:gd name="connsiteY131" fmla="*/ 189 h 1039"/>
                  <a:gd name="connsiteX132" fmla="*/ 2069 w 4008"/>
                  <a:gd name="connsiteY132" fmla="*/ 141 h 1039"/>
                  <a:gd name="connsiteX133" fmla="*/ 2125 w 4008"/>
                  <a:gd name="connsiteY133" fmla="*/ 100 h 1039"/>
                  <a:gd name="connsiteX134" fmla="*/ 2187 w 4008"/>
                  <a:gd name="connsiteY134" fmla="*/ 65 h 1039"/>
                  <a:gd name="connsiteX135" fmla="*/ 2253 w 4008"/>
                  <a:gd name="connsiteY135" fmla="*/ 35 h 1039"/>
                  <a:gd name="connsiteX136" fmla="*/ 2325 w 4008"/>
                  <a:gd name="connsiteY136" fmla="*/ 15 h 1039"/>
                  <a:gd name="connsiteX137" fmla="*/ 2404 w 4008"/>
                  <a:gd name="connsiteY137" fmla="*/ 2 h 1039"/>
                  <a:gd name="connsiteX138" fmla="*/ 2474 w 4008"/>
                  <a:gd name="connsiteY138" fmla="*/ 0 h 1039"/>
                  <a:gd name="connsiteX139" fmla="*/ 2540 w 4008"/>
                  <a:gd name="connsiteY139" fmla="*/ 9 h 1039"/>
                  <a:gd name="connsiteX140" fmla="*/ 2600 w 4008"/>
                  <a:gd name="connsiteY140" fmla="*/ 23 h 1039"/>
                  <a:gd name="connsiteX141" fmla="*/ 2658 w 4008"/>
                  <a:gd name="connsiteY141" fmla="*/ 46 h 1039"/>
                  <a:gd name="connsiteX142" fmla="*/ 2711 w 4008"/>
                  <a:gd name="connsiteY142" fmla="*/ 77 h 1039"/>
                  <a:gd name="connsiteX143" fmla="*/ 2761 w 4008"/>
                  <a:gd name="connsiteY143" fmla="*/ 112 h 1039"/>
                  <a:gd name="connsiteX144" fmla="*/ 2806 w 4008"/>
                  <a:gd name="connsiteY144" fmla="*/ 154 h 1039"/>
                  <a:gd name="connsiteX145" fmla="*/ 2852 w 4008"/>
                  <a:gd name="connsiteY145" fmla="*/ 199 h 1039"/>
                  <a:gd name="connsiteX146" fmla="*/ 2893 w 4008"/>
                  <a:gd name="connsiteY146" fmla="*/ 247 h 1039"/>
                  <a:gd name="connsiteX147" fmla="*/ 2932 w 4008"/>
                  <a:gd name="connsiteY147" fmla="*/ 299 h 1039"/>
                  <a:gd name="connsiteX148" fmla="*/ 2969 w 4008"/>
                  <a:gd name="connsiteY148" fmla="*/ 353 h 1039"/>
                  <a:gd name="connsiteX149" fmla="*/ 3004 w 4008"/>
                  <a:gd name="connsiteY149" fmla="*/ 409 h 1039"/>
                  <a:gd name="connsiteX150" fmla="*/ 3039 w 4008"/>
                  <a:gd name="connsiteY150" fmla="*/ 463 h 1039"/>
                  <a:gd name="connsiteX151" fmla="*/ 3073 w 4008"/>
                  <a:gd name="connsiteY151" fmla="*/ 519 h 1039"/>
                  <a:gd name="connsiteX152" fmla="*/ 3110 w 4008"/>
                  <a:gd name="connsiteY152" fmla="*/ 581 h 1039"/>
                  <a:gd name="connsiteX153" fmla="*/ 3147 w 4008"/>
                  <a:gd name="connsiteY153" fmla="*/ 639 h 1039"/>
                  <a:gd name="connsiteX154" fmla="*/ 3186 w 4008"/>
                  <a:gd name="connsiteY154" fmla="*/ 697 h 1039"/>
                  <a:gd name="connsiteX155" fmla="*/ 3223 w 4008"/>
                  <a:gd name="connsiteY155" fmla="*/ 751 h 1039"/>
                  <a:gd name="connsiteX156" fmla="*/ 3265 w 4008"/>
                  <a:gd name="connsiteY156" fmla="*/ 801 h 1039"/>
                  <a:gd name="connsiteX157" fmla="*/ 3306 w 4008"/>
                  <a:gd name="connsiteY157" fmla="*/ 844 h 1039"/>
                  <a:gd name="connsiteX158" fmla="*/ 3349 w 4008"/>
                  <a:gd name="connsiteY158" fmla="*/ 882 h 1039"/>
                  <a:gd name="connsiteX159" fmla="*/ 3395 w 4008"/>
                  <a:gd name="connsiteY159" fmla="*/ 913 h 1039"/>
                  <a:gd name="connsiteX160" fmla="*/ 3444 w 4008"/>
                  <a:gd name="connsiteY160" fmla="*/ 935 h 1039"/>
                  <a:gd name="connsiteX161" fmla="*/ 3498 w 4008"/>
                  <a:gd name="connsiteY161" fmla="*/ 948 h 1039"/>
                  <a:gd name="connsiteX162" fmla="*/ 3554 w 4008"/>
                  <a:gd name="connsiteY162" fmla="*/ 952 h 1039"/>
                  <a:gd name="connsiteX163" fmla="*/ 3609 w 4008"/>
                  <a:gd name="connsiteY163" fmla="*/ 946 h 1039"/>
                  <a:gd name="connsiteX164" fmla="*/ 3659 w 4008"/>
                  <a:gd name="connsiteY164" fmla="*/ 931 h 1039"/>
                  <a:gd name="connsiteX165" fmla="*/ 3789 w 4008"/>
                  <a:gd name="connsiteY165" fmla="*/ 844 h 1039"/>
                  <a:gd name="connsiteX166" fmla="*/ 3826 w 4008"/>
                  <a:gd name="connsiteY166" fmla="*/ 803 h 1039"/>
                  <a:gd name="connsiteX0" fmla="*/ 3826 w 4008"/>
                  <a:gd name="connsiteY0" fmla="*/ 803 h 1039"/>
                  <a:gd name="connsiteX1" fmla="*/ 4008 w 4008"/>
                  <a:gd name="connsiteY1" fmla="*/ 687 h 1039"/>
                  <a:gd name="connsiteX2" fmla="*/ 3975 w 4008"/>
                  <a:gd name="connsiteY2" fmla="*/ 743 h 1039"/>
                  <a:gd name="connsiteX3" fmla="*/ 3940 w 4008"/>
                  <a:gd name="connsiteY3" fmla="*/ 794 h 1039"/>
                  <a:gd name="connsiteX4" fmla="*/ 3905 w 4008"/>
                  <a:gd name="connsiteY4" fmla="*/ 844 h 1039"/>
                  <a:gd name="connsiteX5" fmla="*/ 3865 w 4008"/>
                  <a:gd name="connsiteY5" fmla="*/ 890 h 1039"/>
                  <a:gd name="connsiteX6" fmla="*/ 3824 w 4008"/>
                  <a:gd name="connsiteY6" fmla="*/ 931 h 1039"/>
                  <a:gd name="connsiteX7" fmla="*/ 3779 w 4008"/>
                  <a:gd name="connsiteY7" fmla="*/ 967 h 1039"/>
                  <a:gd name="connsiteX8" fmla="*/ 3729 w 4008"/>
                  <a:gd name="connsiteY8" fmla="*/ 996 h 1039"/>
                  <a:gd name="connsiteX9" fmla="*/ 3677 w 4008"/>
                  <a:gd name="connsiteY9" fmla="*/ 1018 h 1039"/>
                  <a:gd name="connsiteX10" fmla="*/ 3620 w 4008"/>
                  <a:gd name="connsiteY10" fmla="*/ 1033 h 1039"/>
                  <a:gd name="connsiteX11" fmla="*/ 3556 w 4008"/>
                  <a:gd name="connsiteY11" fmla="*/ 1039 h 1039"/>
                  <a:gd name="connsiteX12" fmla="*/ 3547 w 4008"/>
                  <a:gd name="connsiteY12" fmla="*/ 1039 h 1039"/>
                  <a:gd name="connsiteX13" fmla="*/ 3485 w 4008"/>
                  <a:gd name="connsiteY13" fmla="*/ 1035 h 1039"/>
                  <a:gd name="connsiteX14" fmla="*/ 3426 w 4008"/>
                  <a:gd name="connsiteY14" fmla="*/ 1021 h 1039"/>
                  <a:gd name="connsiteX15" fmla="*/ 3372 w 4008"/>
                  <a:gd name="connsiteY15" fmla="*/ 998 h 1039"/>
                  <a:gd name="connsiteX16" fmla="*/ 3320 w 4008"/>
                  <a:gd name="connsiteY16" fmla="*/ 969 h 1039"/>
                  <a:gd name="connsiteX17" fmla="*/ 3273 w 4008"/>
                  <a:gd name="connsiteY17" fmla="*/ 931 h 1039"/>
                  <a:gd name="connsiteX18" fmla="*/ 3229 w 4008"/>
                  <a:gd name="connsiteY18" fmla="*/ 890 h 1039"/>
                  <a:gd name="connsiteX19" fmla="*/ 3186 w 4008"/>
                  <a:gd name="connsiteY19" fmla="*/ 842 h 1039"/>
                  <a:gd name="connsiteX20" fmla="*/ 3147 w 4008"/>
                  <a:gd name="connsiteY20" fmla="*/ 792 h 1039"/>
                  <a:gd name="connsiteX21" fmla="*/ 3108 w 4008"/>
                  <a:gd name="connsiteY21" fmla="*/ 736 h 1039"/>
                  <a:gd name="connsiteX22" fmla="*/ 3070 w 4008"/>
                  <a:gd name="connsiteY22" fmla="*/ 680 h 1039"/>
                  <a:gd name="connsiteX23" fmla="*/ 2965 w 4008"/>
                  <a:gd name="connsiteY23" fmla="*/ 506 h 1039"/>
                  <a:gd name="connsiteX24" fmla="*/ 2928 w 4008"/>
                  <a:gd name="connsiteY24" fmla="*/ 448 h 1039"/>
                  <a:gd name="connsiteX25" fmla="*/ 2891 w 4008"/>
                  <a:gd name="connsiteY25" fmla="*/ 392 h 1039"/>
                  <a:gd name="connsiteX26" fmla="*/ 2854 w 4008"/>
                  <a:gd name="connsiteY26" fmla="*/ 338 h 1039"/>
                  <a:gd name="connsiteX27" fmla="*/ 2814 w 4008"/>
                  <a:gd name="connsiteY27" fmla="*/ 288 h 1039"/>
                  <a:gd name="connsiteX28" fmla="*/ 2773 w 4008"/>
                  <a:gd name="connsiteY28" fmla="*/ 243 h 1039"/>
                  <a:gd name="connsiteX29" fmla="*/ 2732 w 4008"/>
                  <a:gd name="connsiteY29" fmla="*/ 201 h 1039"/>
                  <a:gd name="connsiteX30" fmla="*/ 2686 w 4008"/>
                  <a:gd name="connsiteY30" fmla="*/ 164 h 1039"/>
                  <a:gd name="connsiteX31" fmla="*/ 2639 w 4008"/>
                  <a:gd name="connsiteY31" fmla="*/ 135 h 1039"/>
                  <a:gd name="connsiteX32" fmla="*/ 2587 w 4008"/>
                  <a:gd name="connsiteY32" fmla="*/ 112 h 1039"/>
                  <a:gd name="connsiteX33" fmla="*/ 2532 w 4008"/>
                  <a:gd name="connsiteY33" fmla="*/ 96 h 1039"/>
                  <a:gd name="connsiteX34" fmla="*/ 2474 w 4008"/>
                  <a:gd name="connsiteY34" fmla="*/ 87 h 1039"/>
                  <a:gd name="connsiteX35" fmla="*/ 2410 w 4008"/>
                  <a:gd name="connsiteY35" fmla="*/ 89 h 1039"/>
                  <a:gd name="connsiteX36" fmla="*/ 2342 w 4008"/>
                  <a:gd name="connsiteY36" fmla="*/ 100 h 1039"/>
                  <a:gd name="connsiteX37" fmla="*/ 2280 w 4008"/>
                  <a:gd name="connsiteY37" fmla="*/ 118 h 1039"/>
                  <a:gd name="connsiteX38" fmla="*/ 2222 w 4008"/>
                  <a:gd name="connsiteY38" fmla="*/ 143 h 1039"/>
                  <a:gd name="connsiteX39" fmla="*/ 2168 w 4008"/>
                  <a:gd name="connsiteY39" fmla="*/ 176 h 1039"/>
                  <a:gd name="connsiteX40" fmla="*/ 2117 w 4008"/>
                  <a:gd name="connsiteY40" fmla="*/ 214 h 1039"/>
                  <a:gd name="connsiteX41" fmla="*/ 2071 w 4008"/>
                  <a:gd name="connsiteY41" fmla="*/ 257 h 1039"/>
                  <a:gd name="connsiteX42" fmla="*/ 2026 w 4008"/>
                  <a:gd name="connsiteY42" fmla="*/ 303 h 1039"/>
                  <a:gd name="connsiteX43" fmla="*/ 1984 w 4008"/>
                  <a:gd name="connsiteY43" fmla="*/ 355 h 1039"/>
                  <a:gd name="connsiteX44" fmla="*/ 1945 w 4008"/>
                  <a:gd name="connsiteY44" fmla="*/ 409 h 1039"/>
                  <a:gd name="connsiteX45" fmla="*/ 1908 w 4008"/>
                  <a:gd name="connsiteY45" fmla="*/ 463 h 1039"/>
                  <a:gd name="connsiteX46" fmla="*/ 1871 w 4008"/>
                  <a:gd name="connsiteY46" fmla="*/ 519 h 1039"/>
                  <a:gd name="connsiteX47" fmla="*/ 1834 w 4008"/>
                  <a:gd name="connsiteY47" fmla="*/ 577 h 1039"/>
                  <a:gd name="connsiteX48" fmla="*/ 1799 w 4008"/>
                  <a:gd name="connsiteY48" fmla="*/ 633 h 1039"/>
                  <a:gd name="connsiteX49" fmla="*/ 1724 w 4008"/>
                  <a:gd name="connsiteY49" fmla="*/ 745 h 1039"/>
                  <a:gd name="connsiteX50" fmla="*/ 1685 w 4008"/>
                  <a:gd name="connsiteY50" fmla="*/ 797 h 1039"/>
                  <a:gd name="connsiteX51" fmla="*/ 1644 w 4008"/>
                  <a:gd name="connsiteY51" fmla="*/ 846 h 1039"/>
                  <a:gd name="connsiteX52" fmla="*/ 1600 w 4008"/>
                  <a:gd name="connsiteY52" fmla="*/ 892 h 1039"/>
                  <a:gd name="connsiteX53" fmla="*/ 1553 w 4008"/>
                  <a:gd name="connsiteY53" fmla="*/ 933 h 1039"/>
                  <a:gd name="connsiteX54" fmla="*/ 1503 w 4008"/>
                  <a:gd name="connsiteY54" fmla="*/ 969 h 1039"/>
                  <a:gd name="connsiteX55" fmla="*/ 1450 w 4008"/>
                  <a:gd name="connsiteY55" fmla="*/ 998 h 1039"/>
                  <a:gd name="connsiteX56" fmla="*/ 1394 w 4008"/>
                  <a:gd name="connsiteY56" fmla="*/ 1021 h 1039"/>
                  <a:gd name="connsiteX57" fmla="*/ 1330 w 4008"/>
                  <a:gd name="connsiteY57" fmla="*/ 1033 h 1039"/>
                  <a:gd name="connsiteX58" fmla="*/ 1264 w 4008"/>
                  <a:gd name="connsiteY58" fmla="*/ 1039 h 1039"/>
                  <a:gd name="connsiteX59" fmla="*/ 1258 w 4008"/>
                  <a:gd name="connsiteY59" fmla="*/ 1039 h 1039"/>
                  <a:gd name="connsiteX60" fmla="*/ 1190 w 4008"/>
                  <a:gd name="connsiteY60" fmla="*/ 1035 h 1039"/>
                  <a:gd name="connsiteX61" fmla="*/ 1128 w 4008"/>
                  <a:gd name="connsiteY61" fmla="*/ 1023 h 1039"/>
                  <a:gd name="connsiteX62" fmla="*/ 1070 w 4008"/>
                  <a:gd name="connsiteY62" fmla="*/ 1004 h 1039"/>
                  <a:gd name="connsiteX63" fmla="*/ 1018 w 4008"/>
                  <a:gd name="connsiteY63" fmla="*/ 979 h 1039"/>
                  <a:gd name="connsiteX64" fmla="*/ 971 w 4008"/>
                  <a:gd name="connsiteY64" fmla="*/ 948 h 1039"/>
                  <a:gd name="connsiteX65" fmla="*/ 925 w 4008"/>
                  <a:gd name="connsiteY65" fmla="*/ 911 h 1039"/>
                  <a:gd name="connsiteX66" fmla="*/ 884 w 4008"/>
                  <a:gd name="connsiteY66" fmla="*/ 869 h 1039"/>
                  <a:gd name="connsiteX67" fmla="*/ 847 w 4008"/>
                  <a:gd name="connsiteY67" fmla="*/ 824 h 1039"/>
                  <a:gd name="connsiteX68" fmla="*/ 810 w 4008"/>
                  <a:gd name="connsiteY68" fmla="*/ 776 h 1039"/>
                  <a:gd name="connsiteX69" fmla="*/ 777 w 4008"/>
                  <a:gd name="connsiteY69" fmla="*/ 724 h 1039"/>
                  <a:gd name="connsiteX70" fmla="*/ 742 w 4008"/>
                  <a:gd name="connsiteY70" fmla="*/ 670 h 1039"/>
                  <a:gd name="connsiteX71" fmla="*/ 711 w 4008"/>
                  <a:gd name="connsiteY71" fmla="*/ 614 h 1039"/>
                  <a:gd name="connsiteX72" fmla="*/ 678 w 4008"/>
                  <a:gd name="connsiteY72" fmla="*/ 556 h 1039"/>
                  <a:gd name="connsiteX73" fmla="*/ 616 w 4008"/>
                  <a:gd name="connsiteY73" fmla="*/ 444 h 1039"/>
                  <a:gd name="connsiteX74" fmla="*/ 547 w 4008"/>
                  <a:gd name="connsiteY74" fmla="*/ 336 h 1039"/>
                  <a:gd name="connsiteX75" fmla="*/ 504 w 4008"/>
                  <a:gd name="connsiteY75" fmla="*/ 280 h 1039"/>
                  <a:gd name="connsiteX76" fmla="*/ 457 w 4008"/>
                  <a:gd name="connsiteY76" fmla="*/ 235 h 1039"/>
                  <a:gd name="connsiteX77" fmla="*/ 409 w 4008"/>
                  <a:gd name="connsiteY77" fmla="*/ 195 h 1039"/>
                  <a:gd name="connsiteX78" fmla="*/ 358 w 4008"/>
                  <a:gd name="connsiteY78" fmla="*/ 164 h 1039"/>
                  <a:gd name="connsiteX79" fmla="*/ 308 w 4008"/>
                  <a:gd name="connsiteY79" fmla="*/ 141 h 1039"/>
                  <a:gd name="connsiteX80" fmla="*/ 256 w 4008"/>
                  <a:gd name="connsiteY80" fmla="*/ 123 h 1039"/>
                  <a:gd name="connsiteX81" fmla="*/ 209 w 4008"/>
                  <a:gd name="connsiteY81" fmla="*/ 108 h 1039"/>
                  <a:gd name="connsiteX82" fmla="*/ 163 w 4008"/>
                  <a:gd name="connsiteY82" fmla="*/ 100 h 1039"/>
                  <a:gd name="connsiteX83" fmla="*/ 122 w 4008"/>
                  <a:gd name="connsiteY83" fmla="*/ 96 h 1039"/>
                  <a:gd name="connsiteX84" fmla="*/ 85 w 4008"/>
                  <a:gd name="connsiteY84" fmla="*/ 91 h 1039"/>
                  <a:gd name="connsiteX85" fmla="*/ 31 w 4008"/>
                  <a:gd name="connsiteY85" fmla="*/ 91 h 1039"/>
                  <a:gd name="connsiteX86" fmla="*/ 17 w 4008"/>
                  <a:gd name="connsiteY86" fmla="*/ 94 h 1039"/>
                  <a:gd name="connsiteX87" fmla="*/ 11 w 4008"/>
                  <a:gd name="connsiteY87" fmla="*/ 94 h 1039"/>
                  <a:gd name="connsiteX88" fmla="*/ 0 w 4008"/>
                  <a:gd name="connsiteY88" fmla="*/ 9 h 1039"/>
                  <a:gd name="connsiteX89" fmla="*/ 9 w 4008"/>
                  <a:gd name="connsiteY89" fmla="*/ 9 h 1039"/>
                  <a:gd name="connsiteX90" fmla="*/ 29 w 4008"/>
                  <a:gd name="connsiteY90" fmla="*/ 6 h 1039"/>
                  <a:gd name="connsiteX91" fmla="*/ 91 w 4008"/>
                  <a:gd name="connsiteY91" fmla="*/ 6 h 1039"/>
                  <a:gd name="connsiteX92" fmla="*/ 135 w 4008"/>
                  <a:gd name="connsiteY92" fmla="*/ 9 h 1039"/>
                  <a:gd name="connsiteX93" fmla="*/ 182 w 4008"/>
                  <a:gd name="connsiteY93" fmla="*/ 15 h 1039"/>
                  <a:gd name="connsiteX94" fmla="*/ 234 w 4008"/>
                  <a:gd name="connsiteY94" fmla="*/ 25 h 1039"/>
                  <a:gd name="connsiteX95" fmla="*/ 287 w 4008"/>
                  <a:gd name="connsiteY95" fmla="*/ 42 h 1039"/>
                  <a:gd name="connsiteX96" fmla="*/ 345 w 4008"/>
                  <a:gd name="connsiteY96" fmla="*/ 62 h 1039"/>
                  <a:gd name="connsiteX97" fmla="*/ 403 w 4008"/>
                  <a:gd name="connsiteY97" fmla="*/ 89 h 1039"/>
                  <a:gd name="connsiteX98" fmla="*/ 459 w 4008"/>
                  <a:gd name="connsiteY98" fmla="*/ 127 h 1039"/>
                  <a:gd name="connsiteX99" fmla="*/ 514 w 4008"/>
                  <a:gd name="connsiteY99" fmla="*/ 170 h 1039"/>
                  <a:gd name="connsiteX100" fmla="*/ 568 w 4008"/>
                  <a:gd name="connsiteY100" fmla="*/ 224 h 1039"/>
                  <a:gd name="connsiteX101" fmla="*/ 618 w 4008"/>
                  <a:gd name="connsiteY101" fmla="*/ 288 h 1039"/>
                  <a:gd name="connsiteX102" fmla="*/ 667 w 4008"/>
                  <a:gd name="connsiteY102" fmla="*/ 363 h 1039"/>
                  <a:gd name="connsiteX103" fmla="*/ 754 w 4008"/>
                  <a:gd name="connsiteY103" fmla="*/ 512 h 1039"/>
                  <a:gd name="connsiteX104" fmla="*/ 787 w 4008"/>
                  <a:gd name="connsiteY104" fmla="*/ 571 h 1039"/>
                  <a:gd name="connsiteX105" fmla="*/ 820 w 4008"/>
                  <a:gd name="connsiteY105" fmla="*/ 627 h 1039"/>
                  <a:gd name="connsiteX106" fmla="*/ 853 w 4008"/>
                  <a:gd name="connsiteY106" fmla="*/ 680 h 1039"/>
                  <a:gd name="connsiteX107" fmla="*/ 886 w 4008"/>
                  <a:gd name="connsiteY107" fmla="*/ 732 h 1039"/>
                  <a:gd name="connsiteX108" fmla="*/ 921 w 4008"/>
                  <a:gd name="connsiteY108" fmla="*/ 778 h 1039"/>
                  <a:gd name="connsiteX109" fmla="*/ 958 w 4008"/>
                  <a:gd name="connsiteY109" fmla="*/ 821 h 1039"/>
                  <a:gd name="connsiteX110" fmla="*/ 1000 w 4008"/>
                  <a:gd name="connsiteY110" fmla="*/ 859 h 1039"/>
                  <a:gd name="connsiteX111" fmla="*/ 1043 w 4008"/>
                  <a:gd name="connsiteY111" fmla="*/ 890 h 1039"/>
                  <a:gd name="connsiteX112" fmla="*/ 1090 w 4008"/>
                  <a:gd name="connsiteY112" fmla="*/ 917 h 1039"/>
                  <a:gd name="connsiteX113" fmla="*/ 1140 w 4008"/>
                  <a:gd name="connsiteY113" fmla="*/ 935 h 1039"/>
                  <a:gd name="connsiteX114" fmla="*/ 1196 w 4008"/>
                  <a:gd name="connsiteY114" fmla="*/ 948 h 1039"/>
                  <a:gd name="connsiteX115" fmla="*/ 1258 w 4008"/>
                  <a:gd name="connsiteY115" fmla="*/ 952 h 1039"/>
                  <a:gd name="connsiteX116" fmla="*/ 1264 w 4008"/>
                  <a:gd name="connsiteY116" fmla="*/ 952 h 1039"/>
                  <a:gd name="connsiteX117" fmla="*/ 1324 w 4008"/>
                  <a:gd name="connsiteY117" fmla="*/ 946 h 1039"/>
                  <a:gd name="connsiteX118" fmla="*/ 1380 w 4008"/>
                  <a:gd name="connsiteY118" fmla="*/ 931 h 1039"/>
                  <a:gd name="connsiteX119" fmla="*/ 1433 w 4008"/>
                  <a:gd name="connsiteY119" fmla="*/ 909 h 1039"/>
                  <a:gd name="connsiteX120" fmla="*/ 1481 w 4008"/>
                  <a:gd name="connsiteY120" fmla="*/ 880 h 1039"/>
                  <a:gd name="connsiteX121" fmla="*/ 1526 w 4008"/>
                  <a:gd name="connsiteY121" fmla="*/ 842 h 1039"/>
                  <a:gd name="connsiteX122" fmla="*/ 1569 w 4008"/>
                  <a:gd name="connsiteY122" fmla="*/ 799 h 1039"/>
                  <a:gd name="connsiteX123" fmla="*/ 1609 w 4008"/>
                  <a:gd name="connsiteY123" fmla="*/ 751 h 1039"/>
                  <a:gd name="connsiteX124" fmla="*/ 1648 w 4008"/>
                  <a:gd name="connsiteY124" fmla="*/ 699 h 1039"/>
                  <a:gd name="connsiteX125" fmla="*/ 1687 w 4008"/>
                  <a:gd name="connsiteY125" fmla="*/ 645 h 1039"/>
                  <a:gd name="connsiteX126" fmla="*/ 1799 w 4008"/>
                  <a:gd name="connsiteY126" fmla="*/ 471 h 1039"/>
                  <a:gd name="connsiteX127" fmla="*/ 1838 w 4008"/>
                  <a:gd name="connsiteY127" fmla="*/ 411 h 1039"/>
                  <a:gd name="connsiteX128" fmla="*/ 1879 w 4008"/>
                  <a:gd name="connsiteY128" fmla="*/ 353 h 1039"/>
                  <a:gd name="connsiteX129" fmla="*/ 1923 w 4008"/>
                  <a:gd name="connsiteY129" fmla="*/ 295 h 1039"/>
                  <a:gd name="connsiteX130" fmla="*/ 1968 w 4008"/>
                  <a:gd name="connsiteY130" fmla="*/ 241 h 1039"/>
                  <a:gd name="connsiteX131" fmla="*/ 2015 w 4008"/>
                  <a:gd name="connsiteY131" fmla="*/ 189 h 1039"/>
                  <a:gd name="connsiteX132" fmla="*/ 2069 w 4008"/>
                  <a:gd name="connsiteY132" fmla="*/ 141 h 1039"/>
                  <a:gd name="connsiteX133" fmla="*/ 2125 w 4008"/>
                  <a:gd name="connsiteY133" fmla="*/ 100 h 1039"/>
                  <a:gd name="connsiteX134" fmla="*/ 2187 w 4008"/>
                  <a:gd name="connsiteY134" fmla="*/ 65 h 1039"/>
                  <a:gd name="connsiteX135" fmla="*/ 2253 w 4008"/>
                  <a:gd name="connsiteY135" fmla="*/ 35 h 1039"/>
                  <a:gd name="connsiteX136" fmla="*/ 2325 w 4008"/>
                  <a:gd name="connsiteY136" fmla="*/ 15 h 1039"/>
                  <a:gd name="connsiteX137" fmla="*/ 2404 w 4008"/>
                  <a:gd name="connsiteY137" fmla="*/ 2 h 1039"/>
                  <a:gd name="connsiteX138" fmla="*/ 2474 w 4008"/>
                  <a:gd name="connsiteY138" fmla="*/ 0 h 1039"/>
                  <a:gd name="connsiteX139" fmla="*/ 2540 w 4008"/>
                  <a:gd name="connsiteY139" fmla="*/ 9 h 1039"/>
                  <a:gd name="connsiteX140" fmla="*/ 2600 w 4008"/>
                  <a:gd name="connsiteY140" fmla="*/ 23 h 1039"/>
                  <a:gd name="connsiteX141" fmla="*/ 2658 w 4008"/>
                  <a:gd name="connsiteY141" fmla="*/ 46 h 1039"/>
                  <a:gd name="connsiteX142" fmla="*/ 2711 w 4008"/>
                  <a:gd name="connsiteY142" fmla="*/ 77 h 1039"/>
                  <a:gd name="connsiteX143" fmla="*/ 2761 w 4008"/>
                  <a:gd name="connsiteY143" fmla="*/ 112 h 1039"/>
                  <a:gd name="connsiteX144" fmla="*/ 2806 w 4008"/>
                  <a:gd name="connsiteY144" fmla="*/ 154 h 1039"/>
                  <a:gd name="connsiteX145" fmla="*/ 2852 w 4008"/>
                  <a:gd name="connsiteY145" fmla="*/ 199 h 1039"/>
                  <a:gd name="connsiteX146" fmla="*/ 2893 w 4008"/>
                  <a:gd name="connsiteY146" fmla="*/ 247 h 1039"/>
                  <a:gd name="connsiteX147" fmla="*/ 2932 w 4008"/>
                  <a:gd name="connsiteY147" fmla="*/ 299 h 1039"/>
                  <a:gd name="connsiteX148" fmla="*/ 2969 w 4008"/>
                  <a:gd name="connsiteY148" fmla="*/ 353 h 1039"/>
                  <a:gd name="connsiteX149" fmla="*/ 3004 w 4008"/>
                  <a:gd name="connsiteY149" fmla="*/ 409 h 1039"/>
                  <a:gd name="connsiteX150" fmla="*/ 3039 w 4008"/>
                  <a:gd name="connsiteY150" fmla="*/ 463 h 1039"/>
                  <a:gd name="connsiteX151" fmla="*/ 3073 w 4008"/>
                  <a:gd name="connsiteY151" fmla="*/ 519 h 1039"/>
                  <a:gd name="connsiteX152" fmla="*/ 3110 w 4008"/>
                  <a:gd name="connsiteY152" fmla="*/ 581 h 1039"/>
                  <a:gd name="connsiteX153" fmla="*/ 3147 w 4008"/>
                  <a:gd name="connsiteY153" fmla="*/ 639 h 1039"/>
                  <a:gd name="connsiteX154" fmla="*/ 3186 w 4008"/>
                  <a:gd name="connsiteY154" fmla="*/ 697 h 1039"/>
                  <a:gd name="connsiteX155" fmla="*/ 3223 w 4008"/>
                  <a:gd name="connsiteY155" fmla="*/ 751 h 1039"/>
                  <a:gd name="connsiteX156" fmla="*/ 3265 w 4008"/>
                  <a:gd name="connsiteY156" fmla="*/ 801 h 1039"/>
                  <a:gd name="connsiteX157" fmla="*/ 3306 w 4008"/>
                  <a:gd name="connsiteY157" fmla="*/ 844 h 1039"/>
                  <a:gd name="connsiteX158" fmla="*/ 3349 w 4008"/>
                  <a:gd name="connsiteY158" fmla="*/ 882 h 1039"/>
                  <a:gd name="connsiteX159" fmla="*/ 3395 w 4008"/>
                  <a:gd name="connsiteY159" fmla="*/ 913 h 1039"/>
                  <a:gd name="connsiteX160" fmla="*/ 3444 w 4008"/>
                  <a:gd name="connsiteY160" fmla="*/ 935 h 1039"/>
                  <a:gd name="connsiteX161" fmla="*/ 3498 w 4008"/>
                  <a:gd name="connsiteY161" fmla="*/ 948 h 1039"/>
                  <a:gd name="connsiteX162" fmla="*/ 3554 w 4008"/>
                  <a:gd name="connsiteY162" fmla="*/ 952 h 1039"/>
                  <a:gd name="connsiteX163" fmla="*/ 3659 w 4008"/>
                  <a:gd name="connsiteY163" fmla="*/ 931 h 1039"/>
                  <a:gd name="connsiteX164" fmla="*/ 3789 w 4008"/>
                  <a:gd name="connsiteY164" fmla="*/ 844 h 1039"/>
                  <a:gd name="connsiteX165" fmla="*/ 3826 w 4008"/>
                  <a:gd name="connsiteY165" fmla="*/ 803 h 1039"/>
                  <a:gd name="connsiteX0" fmla="*/ 3826 w 4008"/>
                  <a:gd name="connsiteY0" fmla="*/ 803 h 1039"/>
                  <a:gd name="connsiteX1" fmla="*/ 4008 w 4008"/>
                  <a:gd name="connsiteY1" fmla="*/ 687 h 1039"/>
                  <a:gd name="connsiteX2" fmla="*/ 3975 w 4008"/>
                  <a:gd name="connsiteY2" fmla="*/ 743 h 1039"/>
                  <a:gd name="connsiteX3" fmla="*/ 3940 w 4008"/>
                  <a:gd name="connsiteY3" fmla="*/ 794 h 1039"/>
                  <a:gd name="connsiteX4" fmla="*/ 3905 w 4008"/>
                  <a:gd name="connsiteY4" fmla="*/ 844 h 1039"/>
                  <a:gd name="connsiteX5" fmla="*/ 3865 w 4008"/>
                  <a:gd name="connsiteY5" fmla="*/ 890 h 1039"/>
                  <a:gd name="connsiteX6" fmla="*/ 3824 w 4008"/>
                  <a:gd name="connsiteY6" fmla="*/ 931 h 1039"/>
                  <a:gd name="connsiteX7" fmla="*/ 3779 w 4008"/>
                  <a:gd name="connsiteY7" fmla="*/ 967 h 1039"/>
                  <a:gd name="connsiteX8" fmla="*/ 3729 w 4008"/>
                  <a:gd name="connsiteY8" fmla="*/ 996 h 1039"/>
                  <a:gd name="connsiteX9" fmla="*/ 3677 w 4008"/>
                  <a:gd name="connsiteY9" fmla="*/ 1018 h 1039"/>
                  <a:gd name="connsiteX10" fmla="*/ 3620 w 4008"/>
                  <a:gd name="connsiteY10" fmla="*/ 1033 h 1039"/>
                  <a:gd name="connsiteX11" fmla="*/ 3556 w 4008"/>
                  <a:gd name="connsiteY11" fmla="*/ 1039 h 1039"/>
                  <a:gd name="connsiteX12" fmla="*/ 3547 w 4008"/>
                  <a:gd name="connsiteY12" fmla="*/ 1039 h 1039"/>
                  <a:gd name="connsiteX13" fmla="*/ 3485 w 4008"/>
                  <a:gd name="connsiteY13" fmla="*/ 1035 h 1039"/>
                  <a:gd name="connsiteX14" fmla="*/ 3426 w 4008"/>
                  <a:gd name="connsiteY14" fmla="*/ 1021 h 1039"/>
                  <a:gd name="connsiteX15" fmla="*/ 3372 w 4008"/>
                  <a:gd name="connsiteY15" fmla="*/ 998 h 1039"/>
                  <a:gd name="connsiteX16" fmla="*/ 3320 w 4008"/>
                  <a:gd name="connsiteY16" fmla="*/ 969 h 1039"/>
                  <a:gd name="connsiteX17" fmla="*/ 3273 w 4008"/>
                  <a:gd name="connsiteY17" fmla="*/ 931 h 1039"/>
                  <a:gd name="connsiteX18" fmla="*/ 3229 w 4008"/>
                  <a:gd name="connsiteY18" fmla="*/ 890 h 1039"/>
                  <a:gd name="connsiteX19" fmla="*/ 3186 w 4008"/>
                  <a:gd name="connsiteY19" fmla="*/ 842 h 1039"/>
                  <a:gd name="connsiteX20" fmla="*/ 3147 w 4008"/>
                  <a:gd name="connsiteY20" fmla="*/ 792 h 1039"/>
                  <a:gd name="connsiteX21" fmla="*/ 3108 w 4008"/>
                  <a:gd name="connsiteY21" fmla="*/ 736 h 1039"/>
                  <a:gd name="connsiteX22" fmla="*/ 3070 w 4008"/>
                  <a:gd name="connsiteY22" fmla="*/ 680 h 1039"/>
                  <a:gd name="connsiteX23" fmla="*/ 2965 w 4008"/>
                  <a:gd name="connsiteY23" fmla="*/ 506 h 1039"/>
                  <a:gd name="connsiteX24" fmla="*/ 2928 w 4008"/>
                  <a:gd name="connsiteY24" fmla="*/ 448 h 1039"/>
                  <a:gd name="connsiteX25" fmla="*/ 2891 w 4008"/>
                  <a:gd name="connsiteY25" fmla="*/ 392 h 1039"/>
                  <a:gd name="connsiteX26" fmla="*/ 2854 w 4008"/>
                  <a:gd name="connsiteY26" fmla="*/ 338 h 1039"/>
                  <a:gd name="connsiteX27" fmla="*/ 2814 w 4008"/>
                  <a:gd name="connsiteY27" fmla="*/ 288 h 1039"/>
                  <a:gd name="connsiteX28" fmla="*/ 2773 w 4008"/>
                  <a:gd name="connsiteY28" fmla="*/ 243 h 1039"/>
                  <a:gd name="connsiteX29" fmla="*/ 2732 w 4008"/>
                  <a:gd name="connsiteY29" fmla="*/ 201 h 1039"/>
                  <a:gd name="connsiteX30" fmla="*/ 2686 w 4008"/>
                  <a:gd name="connsiteY30" fmla="*/ 164 h 1039"/>
                  <a:gd name="connsiteX31" fmla="*/ 2639 w 4008"/>
                  <a:gd name="connsiteY31" fmla="*/ 135 h 1039"/>
                  <a:gd name="connsiteX32" fmla="*/ 2587 w 4008"/>
                  <a:gd name="connsiteY32" fmla="*/ 112 h 1039"/>
                  <a:gd name="connsiteX33" fmla="*/ 2532 w 4008"/>
                  <a:gd name="connsiteY33" fmla="*/ 96 h 1039"/>
                  <a:gd name="connsiteX34" fmla="*/ 2474 w 4008"/>
                  <a:gd name="connsiteY34" fmla="*/ 87 h 1039"/>
                  <a:gd name="connsiteX35" fmla="*/ 2410 w 4008"/>
                  <a:gd name="connsiteY35" fmla="*/ 89 h 1039"/>
                  <a:gd name="connsiteX36" fmla="*/ 2342 w 4008"/>
                  <a:gd name="connsiteY36" fmla="*/ 100 h 1039"/>
                  <a:gd name="connsiteX37" fmla="*/ 2280 w 4008"/>
                  <a:gd name="connsiteY37" fmla="*/ 118 h 1039"/>
                  <a:gd name="connsiteX38" fmla="*/ 2222 w 4008"/>
                  <a:gd name="connsiteY38" fmla="*/ 143 h 1039"/>
                  <a:gd name="connsiteX39" fmla="*/ 2168 w 4008"/>
                  <a:gd name="connsiteY39" fmla="*/ 176 h 1039"/>
                  <a:gd name="connsiteX40" fmla="*/ 2117 w 4008"/>
                  <a:gd name="connsiteY40" fmla="*/ 214 h 1039"/>
                  <a:gd name="connsiteX41" fmla="*/ 2071 w 4008"/>
                  <a:gd name="connsiteY41" fmla="*/ 257 h 1039"/>
                  <a:gd name="connsiteX42" fmla="*/ 2026 w 4008"/>
                  <a:gd name="connsiteY42" fmla="*/ 303 h 1039"/>
                  <a:gd name="connsiteX43" fmla="*/ 1984 w 4008"/>
                  <a:gd name="connsiteY43" fmla="*/ 355 h 1039"/>
                  <a:gd name="connsiteX44" fmla="*/ 1945 w 4008"/>
                  <a:gd name="connsiteY44" fmla="*/ 409 h 1039"/>
                  <a:gd name="connsiteX45" fmla="*/ 1908 w 4008"/>
                  <a:gd name="connsiteY45" fmla="*/ 463 h 1039"/>
                  <a:gd name="connsiteX46" fmla="*/ 1871 w 4008"/>
                  <a:gd name="connsiteY46" fmla="*/ 519 h 1039"/>
                  <a:gd name="connsiteX47" fmla="*/ 1834 w 4008"/>
                  <a:gd name="connsiteY47" fmla="*/ 577 h 1039"/>
                  <a:gd name="connsiteX48" fmla="*/ 1799 w 4008"/>
                  <a:gd name="connsiteY48" fmla="*/ 633 h 1039"/>
                  <a:gd name="connsiteX49" fmla="*/ 1724 w 4008"/>
                  <a:gd name="connsiteY49" fmla="*/ 745 h 1039"/>
                  <a:gd name="connsiteX50" fmla="*/ 1685 w 4008"/>
                  <a:gd name="connsiteY50" fmla="*/ 797 h 1039"/>
                  <a:gd name="connsiteX51" fmla="*/ 1644 w 4008"/>
                  <a:gd name="connsiteY51" fmla="*/ 846 h 1039"/>
                  <a:gd name="connsiteX52" fmla="*/ 1600 w 4008"/>
                  <a:gd name="connsiteY52" fmla="*/ 892 h 1039"/>
                  <a:gd name="connsiteX53" fmla="*/ 1553 w 4008"/>
                  <a:gd name="connsiteY53" fmla="*/ 933 h 1039"/>
                  <a:gd name="connsiteX54" fmla="*/ 1503 w 4008"/>
                  <a:gd name="connsiteY54" fmla="*/ 969 h 1039"/>
                  <a:gd name="connsiteX55" fmla="*/ 1450 w 4008"/>
                  <a:gd name="connsiteY55" fmla="*/ 998 h 1039"/>
                  <a:gd name="connsiteX56" fmla="*/ 1394 w 4008"/>
                  <a:gd name="connsiteY56" fmla="*/ 1021 h 1039"/>
                  <a:gd name="connsiteX57" fmla="*/ 1330 w 4008"/>
                  <a:gd name="connsiteY57" fmla="*/ 1033 h 1039"/>
                  <a:gd name="connsiteX58" fmla="*/ 1264 w 4008"/>
                  <a:gd name="connsiteY58" fmla="*/ 1039 h 1039"/>
                  <a:gd name="connsiteX59" fmla="*/ 1258 w 4008"/>
                  <a:gd name="connsiteY59" fmla="*/ 1039 h 1039"/>
                  <a:gd name="connsiteX60" fmla="*/ 1190 w 4008"/>
                  <a:gd name="connsiteY60" fmla="*/ 1035 h 1039"/>
                  <a:gd name="connsiteX61" fmla="*/ 1128 w 4008"/>
                  <a:gd name="connsiteY61" fmla="*/ 1023 h 1039"/>
                  <a:gd name="connsiteX62" fmla="*/ 1070 w 4008"/>
                  <a:gd name="connsiteY62" fmla="*/ 1004 h 1039"/>
                  <a:gd name="connsiteX63" fmla="*/ 1018 w 4008"/>
                  <a:gd name="connsiteY63" fmla="*/ 979 h 1039"/>
                  <a:gd name="connsiteX64" fmla="*/ 971 w 4008"/>
                  <a:gd name="connsiteY64" fmla="*/ 948 h 1039"/>
                  <a:gd name="connsiteX65" fmla="*/ 925 w 4008"/>
                  <a:gd name="connsiteY65" fmla="*/ 911 h 1039"/>
                  <a:gd name="connsiteX66" fmla="*/ 884 w 4008"/>
                  <a:gd name="connsiteY66" fmla="*/ 869 h 1039"/>
                  <a:gd name="connsiteX67" fmla="*/ 847 w 4008"/>
                  <a:gd name="connsiteY67" fmla="*/ 824 h 1039"/>
                  <a:gd name="connsiteX68" fmla="*/ 810 w 4008"/>
                  <a:gd name="connsiteY68" fmla="*/ 776 h 1039"/>
                  <a:gd name="connsiteX69" fmla="*/ 777 w 4008"/>
                  <a:gd name="connsiteY69" fmla="*/ 724 h 1039"/>
                  <a:gd name="connsiteX70" fmla="*/ 742 w 4008"/>
                  <a:gd name="connsiteY70" fmla="*/ 670 h 1039"/>
                  <a:gd name="connsiteX71" fmla="*/ 711 w 4008"/>
                  <a:gd name="connsiteY71" fmla="*/ 614 h 1039"/>
                  <a:gd name="connsiteX72" fmla="*/ 678 w 4008"/>
                  <a:gd name="connsiteY72" fmla="*/ 556 h 1039"/>
                  <a:gd name="connsiteX73" fmla="*/ 616 w 4008"/>
                  <a:gd name="connsiteY73" fmla="*/ 444 h 1039"/>
                  <a:gd name="connsiteX74" fmla="*/ 547 w 4008"/>
                  <a:gd name="connsiteY74" fmla="*/ 336 h 1039"/>
                  <a:gd name="connsiteX75" fmla="*/ 504 w 4008"/>
                  <a:gd name="connsiteY75" fmla="*/ 280 h 1039"/>
                  <a:gd name="connsiteX76" fmla="*/ 457 w 4008"/>
                  <a:gd name="connsiteY76" fmla="*/ 235 h 1039"/>
                  <a:gd name="connsiteX77" fmla="*/ 409 w 4008"/>
                  <a:gd name="connsiteY77" fmla="*/ 195 h 1039"/>
                  <a:gd name="connsiteX78" fmla="*/ 358 w 4008"/>
                  <a:gd name="connsiteY78" fmla="*/ 164 h 1039"/>
                  <a:gd name="connsiteX79" fmla="*/ 308 w 4008"/>
                  <a:gd name="connsiteY79" fmla="*/ 141 h 1039"/>
                  <a:gd name="connsiteX80" fmla="*/ 256 w 4008"/>
                  <a:gd name="connsiteY80" fmla="*/ 123 h 1039"/>
                  <a:gd name="connsiteX81" fmla="*/ 209 w 4008"/>
                  <a:gd name="connsiteY81" fmla="*/ 108 h 1039"/>
                  <a:gd name="connsiteX82" fmla="*/ 163 w 4008"/>
                  <a:gd name="connsiteY82" fmla="*/ 100 h 1039"/>
                  <a:gd name="connsiteX83" fmla="*/ 122 w 4008"/>
                  <a:gd name="connsiteY83" fmla="*/ 96 h 1039"/>
                  <a:gd name="connsiteX84" fmla="*/ 85 w 4008"/>
                  <a:gd name="connsiteY84" fmla="*/ 91 h 1039"/>
                  <a:gd name="connsiteX85" fmla="*/ 31 w 4008"/>
                  <a:gd name="connsiteY85" fmla="*/ 91 h 1039"/>
                  <a:gd name="connsiteX86" fmla="*/ 17 w 4008"/>
                  <a:gd name="connsiteY86" fmla="*/ 94 h 1039"/>
                  <a:gd name="connsiteX87" fmla="*/ 11 w 4008"/>
                  <a:gd name="connsiteY87" fmla="*/ 94 h 1039"/>
                  <a:gd name="connsiteX88" fmla="*/ 0 w 4008"/>
                  <a:gd name="connsiteY88" fmla="*/ 9 h 1039"/>
                  <a:gd name="connsiteX89" fmla="*/ 9 w 4008"/>
                  <a:gd name="connsiteY89" fmla="*/ 9 h 1039"/>
                  <a:gd name="connsiteX90" fmla="*/ 29 w 4008"/>
                  <a:gd name="connsiteY90" fmla="*/ 6 h 1039"/>
                  <a:gd name="connsiteX91" fmla="*/ 91 w 4008"/>
                  <a:gd name="connsiteY91" fmla="*/ 6 h 1039"/>
                  <a:gd name="connsiteX92" fmla="*/ 135 w 4008"/>
                  <a:gd name="connsiteY92" fmla="*/ 9 h 1039"/>
                  <a:gd name="connsiteX93" fmla="*/ 182 w 4008"/>
                  <a:gd name="connsiteY93" fmla="*/ 15 h 1039"/>
                  <a:gd name="connsiteX94" fmla="*/ 234 w 4008"/>
                  <a:gd name="connsiteY94" fmla="*/ 25 h 1039"/>
                  <a:gd name="connsiteX95" fmla="*/ 287 w 4008"/>
                  <a:gd name="connsiteY95" fmla="*/ 42 h 1039"/>
                  <a:gd name="connsiteX96" fmla="*/ 345 w 4008"/>
                  <a:gd name="connsiteY96" fmla="*/ 62 h 1039"/>
                  <a:gd name="connsiteX97" fmla="*/ 403 w 4008"/>
                  <a:gd name="connsiteY97" fmla="*/ 89 h 1039"/>
                  <a:gd name="connsiteX98" fmla="*/ 459 w 4008"/>
                  <a:gd name="connsiteY98" fmla="*/ 127 h 1039"/>
                  <a:gd name="connsiteX99" fmla="*/ 514 w 4008"/>
                  <a:gd name="connsiteY99" fmla="*/ 170 h 1039"/>
                  <a:gd name="connsiteX100" fmla="*/ 568 w 4008"/>
                  <a:gd name="connsiteY100" fmla="*/ 224 h 1039"/>
                  <a:gd name="connsiteX101" fmla="*/ 618 w 4008"/>
                  <a:gd name="connsiteY101" fmla="*/ 288 h 1039"/>
                  <a:gd name="connsiteX102" fmla="*/ 667 w 4008"/>
                  <a:gd name="connsiteY102" fmla="*/ 363 h 1039"/>
                  <a:gd name="connsiteX103" fmla="*/ 754 w 4008"/>
                  <a:gd name="connsiteY103" fmla="*/ 512 h 1039"/>
                  <a:gd name="connsiteX104" fmla="*/ 787 w 4008"/>
                  <a:gd name="connsiteY104" fmla="*/ 571 h 1039"/>
                  <a:gd name="connsiteX105" fmla="*/ 820 w 4008"/>
                  <a:gd name="connsiteY105" fmla="*/ 627 h 1039"/>
                  <a:gd name="connsiteX106" fmla="*/ 853 w 4008"/>
                  <a:gd name="connsiteY106" fmla="*/ 680 h 1039"/>
                  <a:gd name="connsiteX107" fmla="*/ 886 w 4008"/>
                  <a:gd name="connsiteY107" fmla="*/ 732 h 1039"/>
                  <a:gd name="connsiteX108" fmla="*/ 921 w 4008"/>
                  <a:gd name="connsiteY108" fmla="*/ 778 h 1039"/>
                  <a:gd name="connsiteX109" fmla="*/ 958 w 4008"/>
                  <a:gd name="connsiteY109" fmla="*/ 821 h 1039"/>
                  <a:gd name="connsiteX110" fmla="*/ 1000 w 4008"/>
                  <a:gd name="connsiteY110" fmla="*/ 859 h 1039"/>
                  <a:gd name="connsiteX111" fmla="*/ 1043 w 4008"/>
                  <a:gd name="connsiteY111" fmla="*/ 890 h 1039"/>
                  <a:gd name="connsiteX112" fmla="*/ 1090 w 4008"/>
                  <a:gd name="connsiteY112" fmla="*/ 917 h 1039"/>
                  <a:gd name="connsiteX113" fmla="*/ 1140 w 4008"/>
                  <a:gd name="connsiteY113" fmla="*/ 935 h 1039"/>
                  <a:gd name="connsiteX114" fmla="*/ 1196 w 4008"/>
                  <a:gd name="connsiteY114" fmla="*/ 948 h 1039"/>
                  <a:gd name="connsiteX115" fmla="*/ 1258 w 4008"/>
                  <a:gd name="connsiteY115" fmla="*/ 952 h 1039"/>
                  <a:gd name="connsiteX116" fmla="*/ 1264 w 4008"/>
                  <a:gd name="connsiteY116" fmla="*/ 952 h 1039"/>
                  <a:gd name="connsiteX117" fmla="*/ 1324 w 4008"/>
                  <a:gd name="connsiteY117" fmla="*/ 946 h 1039"/>
                  <a:gd name="connsiteX118" fmla="*/ 1380 w 4008"/>
                  <a:gd name="connsiteY118" fmla="*/ 931 h 1039"/>
                  <a:gd name="connsiteX119" fmla="*/ 1433 w 4008"/>
                  <a:gd name="connsiteY119" fmla="*/ 909 h 1039"/>
                  <a:gd name="connsiteX120" fmla="*/ 1481 w 4008"/>
                  <a:gd name="connsiteY120" fmla="*/ 880 h 1039"/>
                  <a:gd name="connsiteX121" fmla="*/ 1526 w 4008"/>
                  <a:gd name="connsiteY121" fmla="*/ 842 h 1039"/>
                  <a:gd name="connsiteX122" fmla="*/ 1569 w 4008"/>
                  <a:gd name="connsiteY122" fmla="*/ 799 h 1039"/>
                  <a:gd name="connsiteX123" fmla="*/ 1609 w 4008"/>
                  <a:gd name="connsiteY123" fmla="*/ 751 h 1039"/>
                  <a:gd name="connsiteX124" fmla="*/ 1648 w 4008"/>
                  <a:gd name="connsiteY124" fmla="*/ 699 h 1039"/>
                  <a:gd name="connsiteX125" fmla="*/ 1687 w 4008"/>
                  <a:gd name="connsiteY125" fmla="*/ 645 h 1039"/>
                  <a:gd name="connsiteX126" fmla="*/ 1799 w 4008"/>
                  <a:gd name="connsiteY126" fmla="*/ 471 h 1039"/>
                  <a:gd name="connsiteX127" fmla="*/ 1838 w 4008"/>
                  <a:gd name="connsiteY127" fmla="*/ 411 h 1039"/>
                  <a:gd name="connsiteX128" fmla="*/ 1879 w 4008"/>
                  <a:gd name="connsiteY128" fmla="*/ 353 h 1039"/>
                  <a:gd name="connsiteX129" fmla="*/ 1923 w 4008"/>
                  <a:gd name="connsiteY129" fmla="*/ 295 h 1039"/>
                  <a:gd name="connsiteX130" fmla="*/ 1968 w 4008"/>
                  <a:gd name="connsiteY130" fmla="*/ 241 h 1039"/>
                  <a:gd name="connsiteX131" fmla="*/ 2015 w 4008"/>
                  <a:gd name="connsiteY131" fmla="*/ 189 h 1039"/>
                  <a:gd name="connsiteX132" fmla="*/ 2069 w 4008"/>
                  <a:gd name="connsiteY132" fmla="*/ 141 h 1039"/>
                  <a:gd name="connsiteX133" fmla="*/ 2125 w 4008"/>
                  <a:gd name="connsiteY133" fmla="*/ 100 h 1039"/>
                  <a:gd name="connsiteX134" fmla="*/ 2187 w 4008"/>
                  <a:gd name="connsiteY134" fmla="*/ 65 h 1039"/>
                  <a:gd name="connsiteX135" fmla="*/ 2253 w 4008"/>
                  <a:gd name="connsiteY135" fmla="*/ 35 h 1039"/>
                  <a:gd name="connsiteX136" fmla="*/ 2325 w 4008"/>
                  <a:gd name="connsiteY136" fmla="*/ 15 h 1039"/>
                  <a:gd name="connsiteX137" fmla="*/ 2404 w 4008"/>
                  <a:gd name="connsiteY137" fmla="*/ 2 h 1039"/>
                  <a:gd name="connsiteX138" fmla="*/ 2474 w 4008"/>
                  <a:gd name="connsiteY138" fmla="*/ 0 h 1039"/>
                  <a:gd name="connsiteX139" fmla="*/ 2540 w 4008"/>
                  <a:gd name="connsiteY139" fmla="*/ 9 h 1039"/>
                  <a:gd name="connsiteX140" fmla="*/ 2600 w 4008"/>
                  <a:gd name="connsiteY140" fmla="*/ 23 h 1039"/>
                  <a:gd name="connsiteX141" fmla="*/ 2658 w 4008"/>
                  <a:gd name="connsiteY141" fmla="*/ 46 h 1039"/>
                  <a:gd name="connsiteX142" fmla="*/ 2711 w 4008"/>
                  <a:gd name="connsiteY142" fmla="*/ 77 h 1039"/>
                  <a:gd name="connsiteX143" fmla="*/ 2761 w 4008"/>
                  <a:gd name="connsiteY143" fmla="*/ 112 h 1039"/>
                  <a:gd name="connsiteX144" fmla="*/ 2806 w 4008"/>
                  <a:gd name="connsiteY144" fmla="*/ 154 h 1039"/>
                  <a:gd name="connsiteX145" fmla="*/ 2852 w 4008"/>
                  <a:gd name="connsiteY145" fmla="*/ 199 h 1039"/>
                  <a:gd name="connsiteX146" fmla="*/ 2893 w 4008"/>
                  <a:gd name="connsiteY146" fmla="*/ 247 h 1039"/>
                  <a:gd name="connsiteX147" fmla="*/ 2932 w 4008"/>
                  <a:gd name="connsiteY147" fmla="*/ 299 h 1039"/>
                  <a:gd name="connsiteX148" fmla="*/ 2969 w 4008"/>
                  <a:gd name="connsiteY148" fmla="*/ 353 h 1039"/>
                  <a:gd name="connsiteX149" fmla="*/ 3004 w 4008"/>
                  <a:gd name="connsiteY149" fmla="*/ 409 h 1039"/>
                  <a:gd name="connsiteX150" fmla="*/ 3039 w 4008"/>
                  <a:gd name="connsiteY150" fmla="*/ 463 h 1039"/>
                  <a:gd name="connsiteX151" fmla="*/ 3073 w 4008"/>
                  <a:gd name="connsiteY151" fmla="*/ 519 h 1039"/>
                  <a:gd name="connsiteX152" fmla="*/ 3110 w 4008"/>
                  <a:gd name="connsiteY152" fmla="*/ 581 h 1039"/>
                  <a:gd name="connsiteX153" fmla="*/ 3147 w 4008"/>
                  <a:gd name="connsiteY153" fmla="*/ 639 h 1039"/>
                  <a:gd name="connsiteX154" fmla="*/ 3186 w 4008"/>
                  <a:gd name="connsiteY154" fmla="*/ 697 h 1039"/>
                  <a:gd name="connsiteX155" fmla="*/ 3223 w 4008"/>
                  <a:gd name="connsiteY155" fmla="*/ 751 h 1039"/>
                  <a:gd name="connsiteX156" fmla="*/ 3265 w 4008"/>
                  <a:gd name="connsiteY156" fmla="*/ 801 h 1039"/>
                  <a:gd name="connsiteX157" fmla="*/ 3306 w 4008"/>
                  <a:gd name="connsiteY157" fmla="*/ 844 h 1039"/>
                  <a:gd name="connsiteX158" fmla="*/ 3349 w 4008"/>
                  <a:gd name="connsiteY158" fmla="*/ 882 h 1039"/>
                  <a:gd name="connsiteX159" fmla="*/ 3395 w 4008"/>
                  <a:gd name="connsiteY159" fmla="*/ 913 h 1039"/>
                  <a:gd name="connsiteX160" fmla="*/ 3444 w 4008"/>
                  <a:gd name="connsiteY160" fmla="*/ 935 h 1039"/>
                  <a:gd name="connsiteX161" fmla="*/ 3554 w 4008"/>
                  <a:gd name="connsiteY161" fmla="*/ 952 h 1039"/>
                  <a:gd name="connsiteX162" fmla="*/ 3659 w 4008"/>
                  <a:gd name="connsiteY162" fmla="*/ 931 h 1039"/>
                  <a:gd name="connsiteX163" fmla="*/ 3789 w 4008"/>
                  <a:gd name="connsiteY163" fmla="*/ 844 h 1039"/>
                  <a:gd name="connsiteX164" fmla="*/ 3826 w 4008"/>
                  <a:gd name="connsiteY164" fmla="*/ 803 h 1039"/>
                  <a:gd name="connsiteX0" fmla="*/ 3826 w 4008"/>
                  <a:gd name="connsiteY0" fmla="*/ 803 h 1039"/>
                  <a:gd name="connsiteX1" fmla="*/ 4008 w 4008"/>
                  <a:gd name="connsiteY1" fmla="*/ 687 h 1039"/>
                  <a:gd name="connsiteX2" fmla="*/ 3975 w 4008"/>
                  <a:gd name="connsiteY2" fmla="*/ 743 h 1039"/>
                  <a:gd name="connsiteX3" fmla="*/ 3940 w 4008"/>
                  <a:gd name="connsiteY3" fmla="*/ 794 h 1039"/>
                  <a:gd name="connsiteX4" fmla="*/ 3905 w 4008"/>
                  <a:gd name="connsiteY4" fmla="*/ 844 h 1039"/>
                  <a:gd name="connsiteX5" fmla="*/ 3865 w 4008"/>
                  <a:gd name="connsiteY5" fmla="*/ 890 h 1039"/>
                  <a:gd name="connsiteX6" fmla="*/ 3824 w 4008"/>
                  <a:gd name="connsiteY6" fmla="*/ 931 h 1039"/>
                  <a:gd name="connsiteX7" fmla="*/ 3779 w 4008"/>
                  <a:gd name="connsiteY7" fmla="*/ 967 h 1039"/>
                  <a:gd name="connsiteX8" fmla="*/ 3729 w 4008"/>
                  <a:gd name="connsiteY8" fmla="*/ 996 h 1039"/>
                  <a:gd name="connsiteX9" fmla="*/ 3677 w 4008"/>
                  <a:gd name="connsiteY9" fmla="*/ 1018 h 1039"/>
                  <a:gd name="connsiteX10" fmla="*/ 3620 w 4008"/>
                  <a:gd name="connsiteY10" fmla="*/ 1033 h 1039"/>
                  <a:gd name="connsiteX11" fmla="*/ 3556 w 4008"/>
                  <a:gd name="connsiteY11" fmla="*/ 1039 h 1039"/>
                  <a:gd name="connsiteX12" fmla="*/ 3547 w 4008"/>
                  <a:gd name="connsiteY12" fmla="*/ 1039 h 1039"/>
                  <a:gd name="connsiteX13" fmla="*/ 3485 w 4008"/>
                  <a:gd name="connsiteY13" fmla="*/ 1035 h 1039"/>
                  <a:gd name="connsiteX14" fmla="*/ 3426 w 4008"/>
                  <a:gd name="connsiteY14" fmla="*/ 1021 h 1039"/>
                  <a:gd name="connsiteX15" fmla="*/ 3372 w 4008"/>
                  <a:gd name="connsiteY15" fmla="*/ 998 h 1039"/>
                  <a:gd name="connsiteX16" fmla="*/ 3320 w 4008"/>
                  <a:gd name="connsiteY16" fmla="*/ 969 h 1039"/>
                  <a:gd name="connsiteX17" fmla="*/ 3273 w 4008"/>
                  <a:gd name="connsiteY17" fmla="*/ 931 h 1039"/>
                  <a:gd name="connsiteX18" fmla="*/ 3229 w 4008"/>
                  <a:gd name="connsiteY18" fmla="*/ 890 h 1039"/>
                  <a:gd name="connsiteX19" fmla="*/ 3186 w 4008"/>
                  <a:gd name="connsiteY19" fmla="*/ 842 h 1039"/>
                  <a:gd name="connsiteX20" fmla="*/ 3147 w 4008"/>
                  <a:gd name="connsiteY20" fmla="*/ 792 h 1039"/>
                  <a:gd name="connsiteX21" fmla="*/ 3108 w 4008"/>
                  <a:gd name="connsiteY21" fmla="*/ 736 h 1039"/>
                  <a:gd name="connsiteX22" fmla="*/ 3070 w 4008"/>
                  <a:gd name="connsiteY22" fmla="*/ 680 h 1039"/>
                  <a:gd name="connsiteX23" fmla="*/ 2965 w 4008"/>
                  <a:gd name="connsiteY23" fmla="*/ 506 h 1039"/>
                  <a:gd name="connsiteX24" fmla="*/ 2928 w 4008"/>
                  <a:gd name="connsiteY24" fmla="*/ 448 h 1039"/>
                  <a:gd name="connsiteX25" fmla="*/ 2891 w 4008"/>
                  <a:gd name="connsiteY25" fmla="*/ 392 h 1039"/>
                  <a:gd name="connsiteX26" fmla="*/ 2854 w 4008"/>
                  <a:gd name="connsiteY26" fmla="*/ 338 h 1039"/>
                  <a:gd name="connsiteX27" fmla="*/ 2814 w 4008"/>
                  <a:gd name="connsiteY27" fmla="*/ 288 h 1039"/>
                  <a:gd name="connsiteX28" fmla="*/ 2773 w 4008"/>
                  <a:gd name="connsiteY28" fmla="*/ 243 h 1039"/>
                  <a:gd name="connsiteX29" fmla="*/ 2732 w 4008"/>
                  <a:gd name="connsiteY29" fmla="*/ 201 h 1039"/>
                  <a:gd name="connsiteX30" fmla="*/ 2686 w 4008"/>
                  <a:gd name="connsiteY30" fmla="*/ 164 h 1039"/>
                  <a:gd name="connsiteX31" fmla="*/ 2639 w 4008"/>
                  <a:gd name="connsiteY31" fmla="*/ 135 h 1039"/>
                  <a:gd name="connsiteX32" fmla="*/ 2587 w 4008"/>
                  <a:gd name="connsiteY32" fmla="*/ 112 h 1039"/>
                  <a:gd name="connsiteX33" fmla="*/ 2532 w 4008"/>
                  <a:gd name="connsiteY33" fmla="*/ 96 h 1039"/>
                  <a:gd name="connsiteX34" fmla="*/ 2474 w 4008"/>
                  <a:gd name="connsiteY34" fmla="*/ 87 h 1039"/>
                  <a:gd name="connsiteX35" fmla="*/ 2410 w 4008"/>
                  <a:gd name="connsiteY35" fmla="*/ 89 h 1039"/>
                  <a:gd name="connsiteX36" fmla="*/ 2342 w 4008"/>
                  <a:gd name="connsiteY36" fmla="*/ 100 h 1039"/>
                  <a:gd name="connsiteX37" fmla="*/ 2280 w 4008"/>
                  <a:gd name="connsiteY37" fmla="*/ 118 h 1039"/>
                  <a:gd name="connsiteX38" fmla="*/ 2222 w 4008"/>
                  <a:gd name="connsiteY38" fmla="*/ 143 h 1039"/>
                  <a:gd name="connsiteX39" fmla="*/ 2168 w 4008"/>
                  <a:gd name="connsiteY39" fmla="*/ 176 h 1039"/>
                  <a:gd name="connsiteX40" fmla="*/ 2117 w 4008"/>
                  <a:gd name="connsiteY40" fmla="*/ 214 h 1039"/>
                  <a:gd name="connsiteX41" fmla="*/ 2071 w 4008"/>
                  <a:gd name="connsiteY41" fmla="*/ 257 h 1039"/>
                  <a:gd name="connsiteX42" fmla="*/ 2026 w 4008"/>
                  <a:gd name="connsiteY42" fmla="*/ 303 h 1039"/>
                  <a:gd name="connsiteX43" fmla="*/ 1984 w 4008"/>
                  <a:gd name="connsiteY43" fmla="*/ 355 h 1039"/>
                  <a:gd name="connsiteX44" fmla="*/ 1945 w 4008"/>
                  <a:gd name="connsiteY44" fmla="*/ 409 h 1039"/>
                  <a:gd name="connsiteX45" fmla="*/ 1908 w 4008"/>
                  <a:gd name="connsiteY45" fmla="*/ 463 h 1039"/>
                  <a:gd name="connsiteX46" fmla="*/ 1871 w 4008"/>
                  <a:gd name="connsiteY46" fmla="*/ 519 h 1039"/>
                  <a:gd name="connsiteX47" fmla="*/ 1834 w 4008"/>
                  <a:gd name="connsiteY47" fmla="*/ 577 h 1039"/>
                  <a:gd name="connsiteX48" fmla="*/ 1799 w 4008"/>
                  <a:gd name="connsiteY48" fmla="*/ 633 h 1039"/>
                  <a:gd name="connsiteX49" fmla="*/ 1724 w 4008"/>
                  <a:gd name="connsiteY49" fmla="*/ 745 h 1039"/>
                  <a:gd name="connsiteX50" fmla="*/ 1685 w 4008"/>
                  <a:gd name="connsiteY50" fmla="*/ 797 h 1039"/>
                  <a:gd name="connsiteX51" fmla="*/ 1644 w 4008"/>
                  <a:gd name="connsiteY51" fmla="*/ 846 h 1039"/>
                  <a:gd name="connsiteX52" fmla="*/ 1600 w 4008"/>
                  <a:gd name="connsiteY52" fmla="*/ 892 h 1039"/>
                  <a:gd name="connsiteX53" fmla="*/ 1553 w 4008"/>
                  <a:gd name="connsiteY53" fmla="*/ 933 h 1039"/>
                  <a:gd name="connsiteX54" fmla="*/ 1503 w 4008"/>
                  <a:gd name="connsiteY54" fmla="*/ 969 h 1039"/>
                  <a:gd name="connsiteX55" fmla="*/ 1450 w 4008"/>
                  <a:gd name="connsiteY55" fmla="*/ 998 h 1039"/>
                  <a:gd name="connsiteX56" fmla="*/ 1394 w 4008"/>
                  <a:gd name="connsiteY56" fmla="*/ 1021 h 1039"/>
                  <a:gd name="connsiteX57" fmla="*/ 1330 w 4008"/>
                  <a:gd name="connsiteY57" fmla="*/ 1033 h 1039"/>
                  <a:gd name="connsiteX58" fmla="*/ 1264 w 4008"/>
                  <a:gd name="connsiteY58" fmla="*/ 1039 h 1039"/>
                  <a:gd name="connsiteX59" fmla="*/ 1258 w 4008"/>
                  <a:gd name="connsiteY59" fmla="*/ 1039 h 1039"/>
                  <a:gd name="connsiteX60" fmla="*/ 1190 w 4008"/>
                  <a:gd name="connsiteY60" fmla="*/ 1035 h 1039"/>
                  <a:gd name="connsiteX61" fmla="*/ 1128 w 4008"/>
                  <a:gd name="connsiteY61" fmla="*/ 1023 h 1039"/>
                  <a:gd name="connsiteX62" fmla="*/ 1070 w 4008"/>
                  <a:gd name="connsiteY62" fmla="*/ 1004 h 1039"/>
                  <a:gd name="connsiteX63" fmla="*/ 1018 w 4008"/>
                  <a:gd name="connsiteY63" fmla="*/ 979 h 1039"/>
                  <a:gd name="connsiteX64" fmla="*/ 971 w 4008"/>
                  <a:gd name="connsiteY64" fmla="*/ 948 h 1039"/>
                  <a:gd name="connsiteX65" fmla="*/ 925 w 4008"/>
                  <a:gd name="connsiteY65" fmla="*/ 911 h 1039"/>
                  <a:gd name="connsiteX66" fmla="*/ 884 w 4008"/>
                  <a:gd name="connsiteY66" fmla="*/ 869 h 1039"/>
                  <a:gd name="connsiteX67" fmla="*/ 847 w 4008"/>
                  <a:gd name="connsiteY67" fmla="*/ 824 h 1039"/>
                  <a:gd name="connsiteX68" fmla="*/ 810 w 4008"/>
                  <a:gd name="connsiteY68" fmla="*/ 776 h 1039"/>
                  <a:gd name="connsiteX69" fmla="*/ 777 w 4008"/>
                  <a:gd name="connsiteY69" fmla="*/ 724 h 1039"/>
                  <a:gd name="connsiteX70" fmla="*/ 742 w 4008"/>
                  <a:gd name="connsiteY70" fmla="*/ 670 h 1039"/>
                  <a:gd name="connsiteX71" fmla="*/ 711 w 4008"/>
                  <a:gd name="connsiteY71" fmla="*/ 614 h 1039"/>
                  <a:gd name="connsiteX72" fmla="*/ 678 w 4008"/>
                  <a:gd name="connsiteY72" fmla="*/ 556 h 1039"/>
                  <a:gd name="connsiteX73" fmla="*/ 616 w 4008"/>
                  <a:gd name="connsiteY73" fmla="*/ 444 h 1039"/>
                  <a:gd name="connsiteX74" fmla="*/ 547 w 4008"/>
                  <a:gd name="connsiteY74" fmla="*/ 336 h 1039"/>
                  <a:gd name="connsiteX75" fmla="*/ 504 w 4008"/>
                  <a:gd name="connsiteY75" fmla="*/ 280 h 1039"/>
                  <a:gd name="connsiteX76" fmla="*/ 457 w 4008"/>
                  <a:gd name="connsiteY76" fmla="*/ 235 h 1039"/>
                  <a:gd name="connsiteX77" fmla="*/ 409 w 4008"/>
                  <a:gd name="connsiteY77" fmla="*/ 195 h 1039"/>
                  <a:gd name="connsiteX78" fmla="*/ 358 w 4008"/>
                  <a:gd name="connsiteY78" fmla="*/ 164 h 1039"/>
                  <a:gd name="connsiteX79" fmla="*/ 308 w 4008"/>
                  <a:gd name="connsiteY79" fmla="*/ 141 h 1039"/>
                  <a:gd name="connsiteX80" fmla="*/ 256 w 4008"/>
                  <a:gd name="connsiteY80" fmla="*/ 123 h 1039"/>
                  <a:gd name="connsiteX81" fmla="*/ 209 w 4008"/>
                  <a:gd name="connsiteY81" fmla="*/ 108 h 1039"/>
                  <a:gd name="connsiteX82" fmla="*/ 163 w 4008"/>
                  <a:gd name="connsiteY82" fmla="*/ 100 h 1039"/>
                  <a:gd name="connsiteX83" fmla="*/ 122 w 4008"/>
                  <a:gd name="connsiteY83" fmla="*/ 96 h 1039"/>
                  <a:gd name="connsiteX84" fmla="*/ 85 w 4008"/>
                  <a:gd name="connsiteY84" fmla="*/ 91 h 1039"/>
                  <a:gd name="connsiteX85" fmla="*/ 31 w 4008"/>
                  <a:gd name="connsiteY85" fmla="*/ 91 h 1039"/>
                  <a:gd name="connsiteX86" fmla="*/ 17 w 4008"/>
                  <a:gd name="connsiteY86" fmla="*/ 94 h 1039"/>
                  <a:gd name="connsiteX87" fmla="*/ 11 w 4008"/>
                  <a:gd name="connsiteY87" fmla="*/ 94 h 1039"/>
                  <a:gd name="connsiteX88" fmla="*/ 0 w 4008"/>
                  <a:gd name="connsiteY88" fmla="*/ 9 h 1039"/>
                  <a:gd name="connsiteX89" fmla="*/ 9 w 4008"/>
                  <a:gd name="connsiteY89" fmla="*/ 9 h 1039"/>
                  <a:gd name="connsiteX90" fmla="*/ 29 w 4008"/>
                  <a:gd name="connsiteY90" fmla="*/ 6 h 1039"/>
                  <a:gd name="connsiteX91" fmla="*/ 91 w 4008"/>
                  <a:gd name="connsiteY91" fmla="*/ 6 h 1039"/>
                  <a:gd name="connsiteX92" fmla="*/ 135 w 4008"/>
                  <a:gd name="connsiteY92" fmla="*/ 9 h 1039"/>
                  <a:gd name="connsiteX93" fmla="*/ 182 w 4008"/>
                  <a:gd name="connsiteY93" fmla="*/ 15 h 1039"/>
                  <a:gd name="connsiteX94" fmla="*/ 234 w 4008"/>
                  <a:gd name="connsiteY94" fmla="*/ 25 h 1039"/>
                  <a:gd name="connsiteX95" fmla="*/ 287 w 4008"/>
                  <a:gd name="connsiteY95" fmla="*/ 42 h 1039"/>
                  <a:gd name="connsiteX96" fmla="*/ 345 w 4008"/>
                  <a:gd name="connsiteY96" fmla="*/ 62 h 1039"/>
                  <a:gd name="connsiteX97" fmla="*/ 403 w 4008"/>
                  <a:gd name="connsiteY97" fmla="*/ 89 h 1039"/>
                  <a:gd name="connsiteX98" fmla="*/ 459 w 4008"/>
                  <a:gd name="connsiteY98" fmla="*/ 127 h 1039"/>
                  <a:gd name="connsiteX99" fmla="*/ 514 w 4008"/>
                  <a:gd name="connsiteY99" fmla="*/ 170 h 1039"/>
                  <a:gd name="connsiteX100" fmla="*/ 568 w 4008"/>
                  <a:gd name="connsiteY100" fmla="*/ 224 h 1039"/>
                  <a:gd name="connsiteX101" fmla="*/ 618 w 4008"/>
                  <a:gd name="connsiteY101" fmla="*/ 288 h 1039"/>
                  <a:gd name="connsiteX102" fmla="*/ 667 w 4008"/>
                  <a:gd name="connsiteY102" fmla="*/ 363 h 1039"/>
                  <a:gd name="connsiteX103" fmla="*/ 754 w 4008"/>
                  <a:gd name="connsiteY103" fmla="*/ 512 h 1039"/>
                  <a:gd name="connsiteX104" fmla="*/ 787 w 4008"/>
                  <a:gd name="connsiteY104" fmla="*/ 571 h 1039"/>
                  <a:gd name="connsiteX105" fmla="*/ 820 w 4008"/>
                  <a:gd name="connsiteY105" fmla="*/ 627 h 1039"/>
                  <a:gd name="connsiteX106" fmla="*/ 853 w 4008"/>
                  <a:gd name="connsiteY106" fmla="*/ 680 h 1039"/>
                  <a:gd name="connsiteX107" fmla="*/ 886 w 4008"/>
                  <a:gd name="connsiteY107" fmla="*/ 732 h 1039"/>
                  <a:gd name="connsiteX108" fmla="*/ 921 w 4008"/>
                  <a:gd name="connsiteY108" fmla="*/ 778 h 1039"/>
                  <a:gd name="connsiteX109" fmla="*/ 958 w 4008"/>
                  <a:gd name="connsiteY109" fmla="*/ 821 h 1039"/>
                  <a:gd name="connsiteX110" fmla="*/ 1000 w 4008"/>
                  <a:gd name="connsiteY110" fmla="*/ 859 h 1039"/>
                  <a:gd name="connsiteX111" fmla="*/ 1043 w 4008"/>
                  <a:gd name="connsiteY111" fmla="*/ 890 h 1039"/>
                  <a:gd name="connsiteX112" fmla="*/ 1090 w 4008"/>
                  <a:gd name="connsiteY112" fmla="*/ 917 h 1039"/>
                  <a:gd name="connsiteX113" fmla="*/ 1140 w 4008"/>
                  <a:gd name="connsiteY113" fmla="*/ 935 h 1039"/>
                  <a:gd name="connsiteX114" fmla="*/ 1196 w 4008"/>
                  <a:gd name="connsiteY114" fmla="*/ 948 h 1039"/>
                  <a:gd name="connsiteX115" fmla="*/ 1258 w 4008"/>
                  <a:gd name="connsiteY115" fmla="*/ 952 h 1039"/>
                  <a:gd name="connsiteX116" fmla="*/ 1264 w 4008"/>
                  <a:gd name="connsiteY116" fmla="*/ 952 h 1039"/>
                  <a:gd name="connsiteX117" fmla="*/ 1324 w 4008"/>
                  <a:gd name="connsiteY117" fmla="*/ 946 h 1039"/>
                  <a:gd name="connsiteX118" fmla="*/ 1380 w 4008"/>
                  <a:gd name="connsiteY118" fmla="*/ 931 h 1039"/>
                  <a:gd name="connsiteX119" fmla="*/ 1433 w 4008"/>
                  <a:gd name="connsiteY119" fmla="*/ 909 h 1039"/>
                  <a:gd name="connsiteX120" fmla="*/ 1481 w 4008"/>
                  <a:gd name="connsiteY120" fmla="*/ 880 h 1039"/>
                  <a:gd name="connsiteX121" fmla="*/ 1526 w 4008"/>
                  <a:gd name="connsiteY121" fmla="*/ 842 h 1039"/>
                  <a:gd name="connsiteX122" fmla="*/ 1569 w 4008"/>
                  <a:gd name="connsiteY122" fmla="*/ 799 h 1039"/>
                  <a:gd name="connsiteX123" fmla="*/ 1609 w 4008"/>
                  <a:gd name="connsiteY123" fmla="*/ 751 h 1039"/>
                  <a:gd name="connsiteX124" fmla="*/ 1648 w 4008"/>
                  <a:gd name="connsiteY124" fmla="*/ 699 h 1039"/>
                  <a:gd name="connsiteX125" fmla="*/ 1687 w 4008"/>
                  <a:gd name="connsiteY125" fmla="*/ 645 h 1039"/>
                  <a:gd name="connsiteX126" fmla="*/ 1799 w 4008"/>
                  <a:gd name="connsiteY126" fmla="*/ 471 h 1039"/>
                  <a:gd name="connsiteX127" fmla="*/ 1838 w 4008"/>
                  <a:gd name="connsiteY127" fmla="*/ 411 h 1039"/>
                  <a:gd name="connsiteX128" fmla="*/ 1879 w 4008"/>
                  <a:gd name="connsiteY128" fmla="*/ 353 h 1039"/>
                  <a:gd name="connsiteX129" fmla="*/ 1923 w 4008"/>
                  <a:gd name="connsiteY129" fmla="*/ 295 h 1039"/>
                  <a:gd name="connsiteX130" fmla="*/ 1968 w 4008"/>
                  <a:gd name="connsiteY130" fmla="*/ 241 h 1039"/>
                  <a:gd name="connsiteX131" fmla="*/ 2015 w 4008"/>
                  <a:gd name="connsiteY131" fmla="*/ 189 h 1039"/>
                  <a:gd name="connsiteX132" fmla="*/ 2069 w 4008"/>
                  <a:gd name="connsiteY132" fmla="*/ 141 h 1039"/>
                  <a:gd name="connsiteX133" fmla="*/ 2125 w 4008"/>
                  <a:gd name="connsiteY133" fmla="*/ 100 h 1039"/>
                  <a:gd name="connsiteX134" fmla="*/ 2187 w 4008"/>
                  <a:gd name="connsiteY134" fmla="*/ 65 h 1039"/>
                  <a:gd name="connsiteX135" fmla="*/ 2253 w 4008"/>
                  <a:gd name="connsiteY135" fmla="*/ 35 h 1039"/>
                  <a:gd name="connsiteX136" fmla="*/ 2325 w 4008"/>
                  <a:gd name="connsiteY136" fmla="*/ 15 h 1039"/>
                  <a:gd name="connsiteX137" fmla="*/ 2404 w 4008"/>
                  <a:gd name="connsiteY137" fmla="*/ 2 h 1039"/>
                  <a:gd name="connsiteX138" fmla="*/ 2474 w 4008"/>
                  <a:gd name="connsiteY138" fmla="*/ 0 h 1039"/>
                  <a:gd name="connsiteX139" fmla="*/ 2540 w 4008"/>
                  <a:gd name="connsiteY139" fmla="*/ 9 h 1039"/>
                  <a:gd name="connsiteX140" fmla="*/ 2600 w 4008"/>
                  <a:gd name="connsiteY140" fmla="*/ 23 h 1039"/>
                  <a:gd name="connsiteX141" fmla="*/ 2658 w 4008"/>
                  <a:gd name="connsiteY141" fmla="*/ 46 h 1039"/>
                  <a:gd name="connsiteX142" fmla="*/ 2711 w 4008"/>
                  <a:gd name="connsiteY142" fmla="*/ 77 h 1039"/>
                  <a:gd name="connsiteX143" fmla="*/ 2761 w 4008"/>
                  <a:gd name="connsiteY143" fmla="*/ 112 h 1039"/>
                  <a:gd name="connsiteX144" fmla="*/ 2806 w 4008"/>
                  <a:gd name="connsiteY144" fmla="*/ 154 h 1039"/>
                  <a:gd name="connsiteX145" fmla="*/ 2852 w 4008"/>
                  <a:gd name="connsiteY145" fmla="*/ 199 h 1039"/>
                  <a:gd name="connsiteX146" fmla="*/ 2893 w 4008"/>
                  <a:gd name="connsiteY146" fmla="*/ 247 h 1039"/>
                  <a:gd name="connsiteX147" fmla="*/ 2932 w 4008"/>
                  <a:gd name="connsiteY147" fmla="*/ 299 h 1039"/>
                  <a:gd name="connsiteX148" fmla="*/ 2969 w 4008"/>
                  <a:gd name="connsiteY148" fmla="*/ 353 h 1039"/>
                  <a:gd name="connsiteX149" fmla="*/ 3004 w 4008"/>
                  <a:gd name="connsiteY149" fmla="*/ 409 h 1039"/>
                  <a:gd name="connsiteX150" fmla="*/ 3039 w 4008"/>
                  <a:gd name="connsiteY150" fmla="*/ 463 h 1039"/>
                  <a:gd name="connsiteX151" fmla="*/ 3073 w 4008"/>
                  <a:gd name="connsiteY151" fmla="*/ 519 h 1039"/>
                  <a:gd name="connsiteX152" fmla="*/ 3110 w 4008"/>
                  <a:gd name="connsiteY152" fmla="*/ 581 h 1039"/>
                  <a:gd name="connsiteX153" fmla="*/ 3147 w 4008"/>
                  <a:gd name="connsiteY153" fmla="*/ 639 h 1039"/>
                  <a:gd name="connsiteX154" fmla="*/ 3186 w 4008"/>
                  <a:gd name="connsiteY154" fmla="*/ 697 h 1039"/>
                  <a:gd name="connsiteX155" fmla="*/ 3223 w 4008"/>
                  <a:gd name="connsiteY155" fmla="*/ 751 h 1039"/>
                  <a:gd name="connsiteX156" fmla="*/ 3265 w 4008"/>
                  <a:gd name="connsiteY156" fmla="*/ 801 h 1039"/>
                  <a:gd name="connsiteX157" fmla="*/ 3306 w 4008"/>
                  <a:gd name="connsiteY157" fmla="*/ 844 h 1039"/>
                  <a:gd name="connsiteX158" fmla="*/ 3395 w 4008"/>
                  <a:gd name="connsiteY158" fmla="*/ 913 h 1039"/>
                  <a:gd name="connsiteX159" fmla="*/ 3444 w 4008"/>
                  <a:gd name="connsiteY159" fmla="*/ 935 h 1039"/>
                  <a:gd name="connsiteX160" fmla="*/ 3554 w 4008"/>
                  <a:gd name="connsiteY160" fmla="*/ 952 h 1039"/>
                  <a:gd name="connsiteX161" fmla="*/ 3659 w 4008"/>
                  <a:gd name="connsiteY161" fmla="*/ 931 h 1039"/>
                  <a:gd name="connsiteX162" fmla="*/ 3789 w 4008"/>
                  <a:gd name="connsiteY162" fmla="*/ 844 h 1039"/>
                  <a:gd name="connsiteX163" fmla="*/ 3826 w 4008"/>
                  <a:gd name="connsiteY163" fmla="*/ 803 h 1039"/>
                  <a:gd name="connsiteX0" fmla="*/ 3826 w 4008"/>
                  <a:gd name="connsiteY0" fmla="*/ 803 h 1039"/>
                  <a:gd name="connsiteX1" fmla="*/ 4008 w 4008"/>
                  <a:gd name="connsiteY1" fmla="*/ 687 h 1039"/>
                  <a:gd name="connsiteX2" fmla="*/ 3975 w 4008"/>
                  <a:gd name="connsiteY2" fmla="*/ 743 h 1039"/>
                  <a:gd name="connsiteX3" fmla="*/ 3940 w 4008"/>
                  <a:gd name="connsiteY3" fmla="*/ 794 h 1039"/>
                  <a:gd name="connsiteX4" fmla="*/ 3905 w 4008"/>
                  <a:gd name="connsiteY4" fmla="*/ 844 h 1039"/>
                  <a:gd name="connsiteX5" fmla="*/ 3865 w 4008"/>
                  <a:gd name="connsiteY5" fmla="*/ 890 h 1039"/>
                  <a:gd name="connsiteX6" fmla="*/ 3824 w 4008"/>
                  <a:gd name="connsiteY6" fmla="*/ 931 h 1039"/>
                  <a:gd name="connsiteX7" fmla="*/ 3779 w 4008"/>
                  <a:gd name="connsiteY7" fmla="*/ 967 h 1039"/>
                  <a:gd name="connsiteX8" fmla="*/ 3729 w 4008"/>
                  <a:gd name="connsiteY8" fmla="*/ 996 h 1039"/>
                  <a:gd name="connsiteX9" fmla="*/ 3677 w 4008"/>
                  <a:gd name="connsiteY9" fmla="*/ 1018 h 1039"/>
                  <a:gd name="connsiteX10" fmla="*/ 3620 w 4008"/>
                  <a:gd name="connsiteY10" fmla="*/ 1033 h 1039"/>
                  <a:gd name="connsiteX11" fmla="*/ 3556 w 4008"/>
                  <a:gd name="connsiteY11" fmla="*/ 1039 h 1039"/>
                  <a:gd name="connsiteX12" fmla="*/ 3547 w 4008"/>
                  <a:gd name="connsiteY12" fmla="*/ 1039 h 1039"/>
                  <a:gd name="connsiteX13" fmla="*/ 3485 w 4008"/>
                  <a:gd name="connsiteY13" fmla="*/ 1035 h 1039"/>
                  <a:gd name="connsiteX14" fmla="*/ 3426 w 4008"/>
                  <a:gd name="connsiteY14" fmla="*/ 1021 h 1039"/>
                  <a:gd name="connsiteX15" fmla="*/ 3372 w 4008"/>
                  <a:gd name="connsiteY15" fmla="*/ 998 h 1039"/>
                  <a:gd name="connsiteX16" fmla="*/ 3320 w 4008"/>
                  <a:gd name="connsiteY16" fmla="*/ 969 h 1039"/>
                  <a:gd name="connsiteX17" fmla="*/ 3273 w 4008"/>
                  <a:gd name="connsiteY17" fmla="*/ 931 h 1039"/>
                  <a:gd name="connsiteX18" fmla="*/ 3229 w 4008"/>
                  <a:gd name="connsiteY18" fmla="*/ 890 h 1039"/>
                  <a:gd name="connsiteX19" fmla="*/ 3186 w 4008"/>
                  <a:gd name="connsiteY19" fmla="*/ 842 h 1039"/>
                  <a:gd name="connsiteX20" fmla="*/ 3147 w 4008"/>
                  <a:gd name="connsiteY20" fmla="*/ 792 h 1039"/>
                  <a:gd name="connsiteX21" fmla="*/ 3108 w 4008"/>
                  <a:gd name="connsiteY21" fmla="*/ 736 h 1039"/>
                  <a:gd name="connsiteX22" fmla="*/ 3070 w 4008"/>
                  <a:gd name="connsiteY22" fmla="*/ 680 h 1039"/>
                  <a:gd name="connsiteX23" fmla="*/ 2965 w 4008"/>
                  <a:gd name="connsiteY23" fmla="*/ 506 h 1039"/>
                  <a:gd name="connsiteX24" fmla="*/ 2928 w 4008"/>
                  <a:gd name="connsiteY24" fmla="*/ 448 h 1039"/>
                  <a:gd name="connsiteX25" fmla="*/ 2891 w 4008"/>
                  <a:gd name="connsiteY25" fmla="*/ 392 h 1039"/>
                  <a:gd name="connsiteX26" fmla="*/ 2854 w 4008"/>
                  <a:gd name="connsiteY26" fmla="*/ 338 h 1039"/>
                  <a:gd name="connsiteX27" fmla="*/ 2814 w 4008"/>
                  <a:gd name="connsiteY27" fmla="*/ 288 h 1039"/>
                  <a:gd name="connsiteX28" fmla="*/ 2773 w 4008"/>
                  <a:gd name="connsiteY28" fmla="*/ 243 h 1039"/>
                  <a:gd name="connsiteX29" fmla="*/ 2732 w 4008"/>
                  <a:gd name="connsiteY29" fmla="*/ 201 h 1039"/>
                  <a:gd name="connsiteX30" fmla="*/ 2686 w 4008"/>
                  <a:gd name="connsiteY30" fmla="*/ 164 h 1039"/>
                  <a:gd name="connsiteX31" fmla="*/ 2639 w 4008"/>
                  <a:gd name="connsiteY31" fmla="*/ 135 h 1039"/>
                  <a:gd name="connsiteX32" fmla="*/ 2587 w 4008"/>
                  <a:gd name="connsiteY32" fmla="*/ 112 h 1039"/>
                  <a:gd name="connsiteX33" fmla="*/ 2532 w 4008"/>
                  <a:gd name="connsiteY33" fmla="*/ 96 h 1039"/>
                  <a:gd name="connsiteX34" fmla="*/ 2474 w 4008"/>
                  <a:gd name="connsiteY34" fmla="*/ 87 h 1039"/>
                  <a:gd name="connsiteX35" fmla="*/ 2410 w 4008"/>
                  <a:gd name="connsiteY35" fmla="*/ 89 h 1039"/>
                  <a:gd name="connsiteX36" fmla="*/ 2342 w 4008"/>
                  <a:gd name="connsiteY36" fmla="*/ 100 h 1039"/>
                  <a:gd name="connsiteX37" fmla="*/ 2280 w 4008"/>
                  <a:gd name="connsiteY37" fmla="*/ 118 h 1039"/>
                  <a:gd name="connsiteX38" fmla="*/ 2222 w 4008"/>
                  <a:gd name="connsiteY38" fmla="*/ 143 h 1039"/>
                  <a:gd name="connsiteX39" fmla="*/ 2168 w 4008"/>
                  <a:gd name="connsiteY39" fmla="*/ 176 h 1039"/>
                  <a:gd name="connsiteX40" fmla="*/ 2117 w 4008"/>
                  <a:gd name="connsiteY40" fmla="*/ 214 h 1039"/>
                  <a:gd name="connsiteX41" fmla="*/ 2071 w 4008"/>
                  <a:gd name="connsiteY41" fmla="*/ 257 h 1039"/>
                  <a:gd name="connsiteX42" fmla="*/ 2026 w 4008"/>
                  <a:gd name="connsiteY42" fmla="*/ 303 h 1039"/>
                  <a:gd name="connsiteX43" fmla="*/ 1984 w 4008"/>
                  <a:gd name="connsiteY43" fmla="*/ 355 h 1039"/>
                  <a:gd name="connsiteX44" fmla="*/ 1945 w 4008"/>
                  <a:gd name="connsiteY44" fmla="*/ 409 h 1039"/>
                  <a:gd name="connsiteX45" fmla="*/ 1908 w 4008"/>
                  <a:gd name="connsiteY45" fmla="*/ 463 h 1039"/>
                  <a:gd name="connsiteX46" fmla="*/ 1871 w 4008"/>
                  <a:gd name="connsiteY46" fmla="*/ 519 h 1039"/>
                  <a:gd name="connsiteX47" fmla="*/ 1834 w 4008"/>
                  <a:gd name="connsiteY47" fmla="*/ 577 h 1039"/>
                  <a:gd name="connsiteX48" fmla="*/ 1799 w 4008"/>
                  <a:gd name="connsiteY48" fmla="*/ 633 h 1039"/>
                  <a:gd name="connsiteX49" fmla="*/ 1724 w 4008"/>
                  <a:gd name="connsiteY49" fmla="*/ 745 h 1039"/>
                  <a:gd name="connsiteX50" fmla="*/ 1685 w 4008"/>
                  <a:gd name="connsiteY50" fmla="*/ 797 h 1039"/>
                  <a:gd name="connsiteX51" fmla="*/ 1644 w 4008"/>
                  <a:gd name="connsiteY51" fmla="*/ 846 h 1039"/>
                  <a:gd name="connsiteX52" fmla="*/ 1600 w 4008"/>
                  <a:gd name="connsiteY52" fmla="*/ 892 h 1039"/>
                  <a:gd name="connsiteX53" fmla="*/ 1553 w 4008"/>
                  <a:gd name="connsiteY53" fmla="*/ 933 h 1039"/>
                  <a:gd name="connsiteX54" fmla="*/ 1503 w 4008"/>
                  <a:gd name="connsiteY54" fmla="*/ 969 h 1039"/>
                  <a:gd name="connsiteX55" fmla="*/ 1450 w 4008"/>
                  <a:gd name="connsiteY55" fmla="*/ 998 h 1039"/>
                  <a:gd name="connsiteX56" fmla="*/ 1394 w 4008"/>
                  <a:gd name="connsiteY56" fmla="*/ 1021 h 1039"/>
                  <a:gd name="connsiteX57" fmla="*/ 1330 w 4008"/>
                  <a:gd name="connsiteY57" fmla="*/ 1033 h 1039"/>
                  <a:gd name="connsiteX58" fmla="*/ 1264 w 4008"/>
                  <a:gd name="connsiteY58" fmla="*/ 1039 h 1039"/>
                  <a:gd name="connsiteX59" fmla="*/ 1258 w 4008"/>
                  <a:gd name="connsiteY59" fmla="*/ 1039 h 1039"/>
                  <a:gd name="connsiteX60" fmla="*/ 1190 w 4008"/>
                  <a:gd name="connsiteY60" fmla="*/ 1035 h 1039"/>
                  <a:gd name="connsiteX61" fmla="*/ 1128 w 4008"/>
                  <a:gd name="connsiteY61" fmla="*/ 1023 h 1039"/>
                  <a:gd name="connsiteX62" fmla="*/ 1070 w 4008"/>
                  <a:gd name="connsiteY62" fmla="*/ 1004 h 1039"/>
                  <a:gd name="connsiteX63" fmla="*/ 1018 w 4008"/>
                  <a:gd name="connsiteY63" fmla="*/ 979 h 1039"/>
                  <a:gd name="connsiteX64" fmla="*/ 971 w 4008"/>
                  <a:gd name="connsiteY64" fmla="*/ 948 h 1039"/>
                  <a:gd name="connsiteX65" fmla="*/ 925 w 4008"/>
                  <a:gd name="connsiteY65" fmla="*/ 911 h 1039"/>
                  <a:gd name="connsiteX66" fmla="*/ 884 w 4008"/>
                  <a:gd name="connsiteY66" fmla="*/ 869 h 1039"/>
                  <a:gd name="connsiteX67" fmla="*/ 847 w 4008"/>
                  <a:gd name="connsiteY67" fmla="*/ 824 h 1039"/>
                  <a:gd name="connsiteX68" fmla="*/ 810 w 4008"/>
                  <a:gd name="connsiteY68" fmla="*/ 776 h 1039"/>
                  <a:gd name="connsiteX69" fmla="*/ 777 w 4008"/>
                  <a:gd name="connsiteY69" fmla="*/ 724 h 1039"/>
                  <a:gd name="connsiteX70" fmla="*/ 742 w 4008"/>
                  <a:gd name="connsiteY70" fmla="*/ 670 h 1039"/>
                  <a:gd name="connsiteX71" fmla="*/ 711 w 4008"/>
                  <a:gd name="connsiteY71" fmla="*/ 614 h 1039"/>
                  <a:gd name="connsiteX72" fmla="*/ 678 w 4008"/>
                  <a:gd name="connsiteY72" fmla="*/ 556 h 1039"/>
                  <a:gd name="connsiteX73" fmla="*/ 616 w 4008"/>
                  <a:gd name="connsiteY73" fmla="*/ 444 h 1039"/>
                  <a:gd name="connsiteX74" fmla="*/ 547 w 4008"/>
                  <a:gd name="connsiteY74" fmla="*/ 336 h 1039"/>
                  <a:gd name="connsiteX75" fmla="*/ 504 w 4008"/>
                  <a:gd name="connsiteY75" fmla="*/ 280 h 1039"/>
                  <a:gd name="connsiteX76" fmla="*/ 457 w 4008"/>
                  <a:gd name="connsiteY76" fmla="*/ 235 h 1039"/>
                  <a:gd name="connsiteX77" fmla="*/ 409 w 4008"/>
                  <a:gd name="connsiteY77" fmla="*/ 195 h 1039"/>
                  <a:gd name="connsiteX78" fmla="*/ 358 w 4008"/>
                  <a:gd name="connsiteY78" fmla="*/ 164 h 1039"/>
                  <a:gd name="connsiteX79" fmla="*/ 308 w 4008"/>
                  <a:gd name="connsiteY79" fmla="*/ 141 h 1039"/>
                  <a:gd name="connsiteX80" fmla="*/ 256 w 4008"/>
                  <a:gd name="connsiteY80" fmla="*/ 123 h 1039"/>
                  <a:gd name="connsiteX81" fmla="*/ 209 w 4008"/>
                  <a:gd name="connsiteY81" fmla="*/ 108 h 1039"/>
                  <a:gd name="connsiteX82" fmla="*/ 163 w 4008"/>
                  <a:gd name="connsiteY82" fmla="*/ 100 h 1039"/>
                  <a:gd name="connsiteX83" fmla="*/ 122 w 4008"/>
                  <a:gd name="connsiteY83" fmla="*/ 96 h 1039"/>
                  <a:gd name="connsiteX84" fmla="*/ 85 w 4008"/>
                  <a:gd name="connsiteY84" fmla="*/ 91 h 1039"/>
                  <a:gd name="connsiteX85" fmla="*/ 31 w 4008"/>
                  <a:gd name="connsiteY85" fmla="*/ 91 h 1039"/>
                  <a:gd name="connsiteX86" fmla="*/ 17 w 4008"/>
                  <a:gd name="connsiteY86" fmla="*/ 94 h 1039"/>
                  <a:gd name="connsiteX87" fmla="*/ 11 w 4008"/>
                  <a:gd name="connsiteY87" fmla="*/ 94 h 1039"/>
                  <a:gd name="connsiteX88" fmla="*/ 0 w 4008"/>
                  <a:gd name="connsiteY88" fmla="*/ 9 h 1039"/>
                  <a:gd name="connsiteX89" fmla="*/ 9 w 4008"/>
                  <a:gd name="connsiteY89" fmla="*/ 9 h 1039"/>
                  <a:gd name="connsiteX90" fmla="*/ 29 w 4008"/>
                  <a:gd name="connsiteY90" fmla="*/ 6 h 1039"/>
                  <a:gd name="connsiteX91" fmla="*/ 91 w 4008"/>
                  <a:gd name="connsiteY91" fmla="*/ 6 h 1039"/>
                  <a:gd name="connsiteX92" fmla="*/ 135 w 4008"/>
                  <a:gd name="connsiteY92" fmla="*/ 9 h 1039"/>
                  <a:gd name="connsiteX93" fmla="*/ 182 w 4008"/>
                  <a:gd name="connsiteY93" fmla="*/ 15 h 1039"/>
                  <a:gd name="connsiteX94" fmla="*/ 234 w 4008"/>
                  <a:gd name="connsiteY94" fmla="*/ 25 h 1039"/>
                  <a:gd name="connsiteX95" fmla="*/ 287 w 4008"/>
                  <a:gd name="connsiteY95" fmla="*/ 42 h 1039"/>
                  <a:gd name="connsiteX96" fmla="*/ 345 w 4008"/>
                  <a:gd name="connsiteY96" fmla="*/ 62 h 1039"/>
                  <a:gd name="connsiteX97" fmla="*/ 403 w 4008"/>
                  <a:gd name="connsiteY97" fmla="*/ 89 h 1039"/>
                  <a:gd name="connsiteX98" fmla="*/ 459 w 4008"/>
                  <a:gd name="connsiteY98" fmla="*/ 127 h 1039"/>
                  <a:gd name="connsiteX99" fmla="*/ 514 w 4008"/>
                  <a:gd name="connsiteY99" fmla="*/ 170 h 1039"/>
                  <a:gd name="connsiteX100" fmla="*/ 568 w 4008"/>
                  <a:gd name="connsiteY100" fmla="*/ 224 h 1039"/>
                  <a:gd name="connsiteX101" fmla="*/ 618 w 4008"/>
                  <a:gd name="connsiteY101" fmla="*/ 288 h 1039"/>
                  <a:gd name="connsiteX102" fmla="*/ 667 w 4008"/>
                  <a:gd name="connsiteY102" fmla="*/ 363 h 1039"/>
                  <a:gd name="connsiteX103" fmla="*/ 754 w 4008"/>
                  <a:gd name="connsiteY103" fmla="*/ 512 h 1039"/>
                  <a:gd name="connsiteX104" fmla="*/ 787 w 4008"/>
                  <a:gd name="connsiteY104" fmla="*/ 571 h 1039"/>
                  <a:gd name="connsiteX105" fmla="*/ 820 w 4008"/>
                  <a:gd name="connsiteY105" fmla="*/ 627 h 1039"/>
                  <a:gd name="connsiteX106" fmla="*/ 853 w 4008"/>
                  <a:gd name="connsiteY106" fmla="*/ 680 h 1039"/>
                  <a:gd name="connsiteX107" fmla="*/ 886 w 4008"/>
                  <a:gd name="connsiteY107" fmla="*/ 732 h 1039"/>
                  <a:gd name="connsiteX108" fmla="*/ 921 w 4008"/>
                  <a:gd name="connsiteY108" fmla="*/ 778 h 1039"/>
                  <a:gd name="connsiteX109" fmla="*/ 958 w 4008"/>
                  <a:gd name="connsiteY109" fmla="*/ 821 h 1039"/>
                  <a:gd name="connsiteX110" fmla="*/ 1000 w 4008"/>
                  <a:gd name="connsiteY110" fmla="*/ 859 h 1039"/>
                  <a:gd name="connsiteX111" fmla="*/ 1043 w 4008"/>
                  <a:gd name="connsiteY111" fmla="*/ 890 h 1039"/>
                  <a:gd name="connsiteX112" fmla="*/ 1090 w 4008"/>
                  <a:gd name="connsiteY112" fmla="*/ 917 h 1039"/>
                  <a:gd name="connsiteX113" fmla="*/ 1140 w 4008"/>
                  <a:gd name="connsiteY113" fmla="*/ 935 h 1039"/>
                  <a:gd name="connsiteX114" fmla="*/ 1196 w 4008"/>
                  <a:gd name="connsiteY114" fmla="*/ 948 h 1039"/>
                  <a:gd name="connsiteX115" fmla="*/ 1258 w 4008"/>
                  <a:gd name="connsiteY115" fmla="*/ 952 h 1039"/>
                  <a:gd name="connsiteX116" fmla="*/ 1264 w 4008"/>
                  <a:gd name="connsiteY116" fmla="*/ 952 h 1039"/>
                  <a:gd name="connsiteX117" fmla="*/ 1324 w 4008"/>
                  <a:gd name="connsiteY117" fmla="*/ 946 h 1039"/>
                  <a:gd name="connsiteX118" fmla="*/ 1380 w 4008"/>
                  <a:gd name="connsiteY118" fmla="*/ 931 h 1039"/>
                  <a:gd name="connsiteX119" fmla="*/ 1433 w 4008"/>
                  <a:gd name="connsiteY119" fmla="*/ 909 h 1039"/>
                  <a:gd name="connsiteX120" fmla="*/ 1481 w 4008"/>
                  <a:gd name="connsiteY120" fmla="*/ 880 h 1039"/>
                  <a:gd name="connsiteX121" fmla="*/ 1526 w 4008"/>
                  <a:gd name="connsiteY121" fmla="*/ 842 h 1039"/>
                  <a:gd name="connsiteX122" fmla="*/ 1569 w 4008"/>
                  <a:gd name="connsiteY122" fmla="*/ 799 h 1039"/>
                  <a:gd name="connsiteX123" fmla="*/ 1609 w 4008"/>
                  <a:gd name="connsiteY123" fmla="*/ 751 h 1039"/>
                  <a:gd name="connsiteX124" fmla="*/ 1648 w 4008"/>
                  <a:gd name="connsiteY124" fmla="*/ 699 h 1039"/>
                  <a:gd name="connsiteX125" fmla="*/ 1687 w 4008"/>
                  <a:gd name="connsiteY125" fmla="*/ 645 h 1039"/>
                  <a:gd name="connsiteX126" fmla="*/ 1799 w 4008"/>
                  <a:gd name="connsiteY126" fmla="*/ 471 h 1039"/>
                  <a:gd name="connsiteX127" fmla="*/ 1838 w 4008"/>
                  <a:gd name="connsiteY127" fmla="*/ 411 h 1039"/>
                  <a:gd name="connsiteX128" fmla="*/ 1879 w 4008"/>
                  <a:gd name="connsiteY128" fmla="*/ 353 h 1039"/>
                  <a:gd name="connsiteX129" fmla="*/ 1923 w 4008"/>
                  <a:gd name="connsiteY129" fmla="*/ 295 h 1039"/>
                  <a:gd name="connsiteX130" fmla="*/ 1968 w 4008"/>
                  <a:gd name="connsiteY130" fmla="*/ 241 h 1039"/>
                  <a:gd name="connsiteX131" fmla="*/ 2015 w 4008"/>
                  <a:gd name="connsiteY131" fmla="*/ 189 h 1039"/>
                  <a:gd name="connsiteX132" fmla="*/ 2069 w 4008"/>
                  <a:gd name="connsiteY132" fmla="*/ 141 h 1039"/>
                  <a:gd name="connsiteX133" fmla="*/ 2125 w 4008"/>
                  <a:gd name="connsiteY133" fmla="*/ 100 h 1039"/>
                  <a:gd name="connsiteX134" fmla="*/ 2187 w 4008"/>
                  <a:gd name="connsiteY134" fmla="*/ 65 h 1039"/>
                  <a:gd name="connsiteX135" fmla="*/ 2253 w 4008"/>
                  <a:gd name="connsiteY135" fmla="*/ 35 h 1039"/>
                  <a:gd name="connsiteX136" fmla="*/ 2325 w 4008"/>
                  <a:gd name="connsiteY136" fmla="*/ 15 h 1039"/>
                  <a:gd name="connsiteX137" fmla="*/ 2404 w 4008"/>
                  <a:gd name="connsiteY137" fmla="*/ 2 h 1039"/>
                  <a:gd name="connsiteX138" fmla="*/ 2474 w 4008"/>
                  <a:gd name="connsiteY138" fmla="*/ 0 h 1039"/>
                  <a:gd name="connsiteX139" fmla="*/ 2540 w 4008"/>
                  <a:gd name="connsiteY139" fmla="*/ 9 h 1039"/>
                  <a:gd name="connsiteX140" fmla="*/ 2600 w 4008"/>
                  <a:gd name="connsiteY140" fmla="*/ 23 h 1039"/>
                  <a:gd name="connsiteX141" fmla="*/ 2658 w 4008"/>
                  <a:gd name="connsiteY141" fmla="*/ 46 h 1039"/>
                  <a:gd name="connsiteX142" fmla="*/ 2711 w 4008"/>
                  <a:gd name="connsiteY142" fmla="*/ 77 h 1039"/>
                  <a:gd name="connsiteX143" fmla="*/ 2761 w 4008"/>
                  <a:gd name="connsiteY143" fmla="*/ 112 h 1039"/>
                  <a:gd name="connsiteX144" fmla="*/ 2806 w 4008"/>
                  <a:gd name="connsiteY144" fmla="*/ 154 h 1039"/>
                  <a:gd name="connsiteX145" fmla="*/ 2852 w 4008"/>
                  <a:gd name="connsiteY145" fmla="*/ 199 h 1039"/>
                  <a:gd name="connsiteX146" fmla="*/ 2893 w 4008"/>
                  <a:gd name="connsiteY146" fmla="*/ 247 h 1039"/>
                  <a:gd name="connsiteX147" fmla="*/ 2932 w 4008"/>
                  <a:gd name="connsiteY147" fmla="*/ 299 h 1039"/>
                  <a:gd name="connsiteX148" fmla="*/ 2969 w 4008"/>
                  <a:gd name="connsiteY148" fmla="*/ 353 h 1039"/>
                  <a:gd name="connsiteX149" fmla="*/ 3004 w 4008"/>
                  <a:gd name="connsiteY149" fmla="*/ 409 h 1039"/>
                  <a:gd name="connsiteX150" fmla="*/ 3039 w 4008"/>
                  <a:gd name="connsiteY150" fmla="*/ 463 h 1039"/>
                  <a:gd name="connsiteX151" fmla="*/ 3073 w 4008"/>
                  <a:gd name="connsiteY151" fmla="*/ 519 h 1039"/>
                  <a:gd name="connsiteX152" fmla="*/ 3110 w 4008"/>
                  <a:gd name="connsiteY152" fmla="*/ 581 h 1039"/>
                  <a:gd name="connsiteX153" fmla="*/ 3147 w 4008"/>
                  <a:gd name="connsiteY153" fmla="*/ 639 h 1039"/>
                  <a:gd name="connsiteX154" fmla="*/ 3186 w 4008"/>
                  <a:gd name="connsiteY154" fmla="*/ 697 h 1039"/>
                  <a:gd name="connsiteX155" fmla="*/ 3265 w 4008"/>
                  <a:gd name="connsiteY155" fmla="*/ 801 h 1039"/>
                  <a:gd name="connsiteX156" fmla="*/ 3306 w 4008"/>
                  <a:gd name="connsiteY156" fmla="*/ 844 h 1039"/>
                  <a:gd name="connsiteX157" fmla="*/ 3395 w 4008"/>
                  <a:gd name="connsiteY157" fmla="*/ 913 h 1039"/>
                  <a:gd name="connsiteX158" fmla="*/ 3444 w 4008"/>
                  <a:gd name="connsiteY158" fmla="*/ 935 h 1039"/>
                  <a:gd name="connsiteX159" fmla="*/ 3554 w 4008"/>
                  <a:gd name="connsiteY159" fmla="*/ 952 h 1039"/>
                  <a:gd name="connsiteX160" fmla="*/ 3659 w 4008"/>
                  <a:gd name="connsiteY160" fmla="*/ 931 h 1039"/>
                  <a:gd name="connsiteX161" fmla="*/ 3789 w 4008"/>
                  <a:gd name="connsiteY161" fmla="*/ 844 h 1039"/>
                  <a:gd name="connsiteX162" fmla="*/ 3826 w 4008"/>
                  <a:gd name="connsiteY162" fmla="*/ 803 h 1039"/>
                  <a:gd name="connsiteX0" fmla="*/ 3826 w 4008"/>
                  <a:gd name="connsiteY0" fmla="*/ 803 h 1039"/>
                  <a:gd name="connsiteX1" fmla="*/ 4008 w 4008"/>
                  <a:gd name="connsiteY1" fmla="*/ 687 h 1039"/>
                  <a:gd name="connsiteX2" fmla="*/ 3975 w 4008"/>
                  <a:gd name="connsiteY2" fmla="*/ 743 h 1039"/>
                  <a:gd name="connsiteX3" fmla="*/ 3940 w 4008"/>
                  <a:gd name="connsiteY3" fmla="*/ 794 h 1039"/>
                  <a:gd name="connsiteX4" fmla="*/ 3905 w 4008"/>
                  <a:gd name="connsiteY4" fmla="*/ 844 h 1039"/>
                  <a:gd name="connsiteX5" fmla="*/ 3865 w 4008"/>
                  <a:gd name="connsiteY5" fmla="*/ 890 h 1039"/>
                  <a:gd name="connsiteX6" fmla="*/ 3824 w 4008"/>
                  <a:gd name="connsiteY6" fmla="*/ 931 h 1039"/>
                  <a:gd name="connsiteX7" fmla="*/ 3779 w 4008"/>
                  <a:gd name="connsiteY7" fmla="*/ 967 h 1039"/>
                  <a:gd name="connsiteX8" fmla="*/ 3729 w 4008"/>
                  <a:gd name="connsiteY8" fmla="*/ 996 h 1039"/>
                  <a:gd name="connsiteX9" fmla="*/ 3677 w 4008"/>
                  <a:gd name="connsiteY9" fmla="*/ 1018 h 1039"/>
                  <a:gd name="connsiteX10" fmla="*/ 3620 w 4008"/>
                  <a:gd name="connsiteY10" fmla="*/ 1033 h 1039"/>
                  <a:gd name="connsiteX11" fmla="*/ 3556 w 4008"/>
                  <a:gd name="connsiteY11" fmla="*/ 1039 h 1039"/>
                  <a:gd name="connsiteX12" fmla="*/ 3547 w 4008"/>
                  <a:gd name="connsiteY12" fmla="*/ 1039 h 1039"/>
                  <a:gd name="connsiteX13" fmla="*/ 3485 w 4008"/>
                  <a:gd name="connsiteY13" fmla="*/ 1035 h 1039"/>
                  <a:gd name="connsiteX14" fmla="*/ 3426 w 4008"/>
                  <a:gd name="connsiteY14" fmla="*/ 1021 h 1039"/>
                  <a:gd name="connsiteX15" fmla="*/ 3372 w 4008"/>
                  <a:gd name="connsiteY15" fmla="*/ 998 h 1039"/>
                  <a:gd name="connsiteX16" fmla="*/ 3320 w 4008"/>
                  <a:gd name="connsiteY16" fmla="*/ 969 h 1039"/>
                  <a:gd name="connsiteX17" fmla="*/ 3273 w 4008"/>
                  <a:gd name="connsiteY17" fmla="*/ 931 h 1039"/>
                  <a:gd name="connsiteX18" fmla="*/ 3229 w 4008"/>
                  <a:gd name="connsiteY18" fmla="*/ 890 h 1039"/>
                  <a:gd name="connsiteX19" fmla="*/ 3186 w 4008"/>
                  <a:gd name="connsiteY19" fmla="*/ 842 h 1039"/>
                  <a:gd name="connsiteX20" fmla="*/ 3147 w 4008"/>
                  <a:gd name="connsiteY20" fmla="*/ 792 h 1039"/>
                  <a:gd name="connsiteX21" fmla="*/ 3108 w 4008"/>
                  <a:gd name="connsiteY21" fmla="*/ 736 h 1039"/>
                  <a:gd name="connsiteX22" fmla="*/ 3070 w 4008"/>
                  <a:gd name="connsiteY22" fmla="*/ 680 h 1039"/>
                  <a:gd name="connsiteX23" fmla="*/ 2965 w 4008"/>
                  <a:gd name="connsiteY23" fmla="*/ 506 h 1039"/>
                  <a:gd name="connsiteX24" fmla="*/ 2928 w 4008"/>
                  <a:gd name="connsiteY24" fmla="*/ 448 h 1039"/>
                  <a:gd name="connsiteX25" fmla="*/ 2891 w 4008"/>
                  <a:gd name="connsiteY25" fmla="*/ 392 h 1039"/>
                  <a:gd name="connsiteX26" fmla="*/ 2854 w 4008"/>
                  <a:gd name="connsiteY26" fmla="*/ 338 h 1039"/>
                  <a:gd name="connsiteX27" fmla="*/ 2814 w 4008"/>
                  <a:gd name="connsiteY27" fmla="*/ 288 h 1039"/>
                  <a:gd name="connsiteX28" fmla="*/ 2773 w 4008"/>
                  <a:gd name="connsiteY28" fmla="*/ 243 h 1039"/>
                  <a:gd name="connsiteX29" fmla="*/ 2732 w 4008"/>
                  <a:gd name="connsiteY29" fmla="*/ 201 h 1039"/>
                  <a:gd name="connsiteX30" fmla="*/ 2686 w 4008"/>
                  <a:gd name="connsiteY30" fmla="*/ 164 h 1039"/>
                  <a:gd name="connsiteX31" fmla="*/ 2639 w 4008"/>
                  <a:gd name="connsiteY31" fmla="*/ 135 h 1039"/>
                  <a:gd name="connsiteX32" fmla="*/ 2587 w 4008"/>
                  <a:gd name="connsiteY32" fmla="*/ 112 h 1039"/>
                  <a:gd name="connsiteX33" fmla="*/ 2532 w 4008"/>
                  <a:gd name="connsiteY33" fmla="*/ 96 h 1039"/>
                  <a:gd name="connsiteX34" fmla="*/ 2474 w 4008"/>
                  <a:gd name="connsiteY34" fmla="*/ 87 h 1039"/>
                  <a:gd name="connsiteX35" fmla="*/ 2410 w 4008"/>
                  <a:gd name="connsiteY35" fmla="*/ 89 h 1039"/>
                  <a:gd name="connsiteX36" fmla="*/ 2342 w 4008"/>
                  <a:gd name="connsiteY36" fmla="*/ 100 h 1039"/>
                  <a:gd name="connsiteX37" fmla="*/ 2280 w 4008"/>
                  <a:gd name="connsiteY37" fmla="*/ 118 h 1039"/>
                  <a:gd name="connsiteX38" fmla="*/ 2222 w 4008"/>
                  <a:gd name="connsiteY38" fmla="*/ 143 h 1039"/>
                  <a:gd name="connsiteX39" fmla="*/ 2168 w 4008"/>
                  <a:gd name="connsiteY39" fmla="*/ 176 h 1039"/>
                  <a:gd name="connsiteX40" fmla="*/ 2117 w 4008"/>
                  <a:gd name="connsiteY40" fmla="*/ 214 h 1039"/>
                  <a:gd name="connsiteX41" fmla="*/ 2071 w 4008"/>
                  <a:gd name="connsiteY41" fmla="*/ 257 h 1039"/>
                  <a:gd name="connsiteX42" fmla="*/ 2026 w 4008"/>
                  <a:gd name="connsiteY42" fmla="*/ 303 h 1039"/>
                  <a:gd name="connsiteX43" fmla="*/ 1984 w 4008"/>
                  <a:gd name="connsiteY43" fmla="*/ 355 h 1039"/>
                  <a:gd name="connsiteX44" fmla="*/ 1945 w 4008"/>
                  <a:gd name="connsiteY44" fmla="*/ 409 h 1039"/>
                  <a:gd name="connsiteX45" fmla="*/ 1908 w 4008"/>
                  <a:gd name="connsiteY45" fmla="*/ 463 h 1039"/>
                  <a:gd name="connsiteX46" fmla="*/ 1871 w 4008"/>
                  <a:gd name="connsiteY46" fmla="*/ 519 h 1039"/>
                  <a:gd name="connsiteX47" fmla="*/ 1834 w 4008"/>
                  <a:gd name="connsiteY47" fmla="*/ 577 h 1039"/>
                  <a:gd name="connsiteX48" fmla="*/ 1799 w 4008"/>
                  <a:gd name="connsiteY48" fmla="*/ 633 h 1039"/>
                  <a:gd name="connsiteX49" fmla="*/ 1724 w 4008"/>
                  <a:gd name="connsiteY49" fmla="*/ 745 h 1039"/>
                  <a:gd name="connsiteX50" fmla="*/ 1685 w 4008"/>
                  <a:gd name="connsiteY50" fmla="*/ 797 h 1039"/>
                  <a:gd name="connsiteX51" fmla="*/ 1644 w 4008"/>
                  <a:gd name="connsiteY51" fmla="*/ 846 h 1039"/>
                  <a:gd name="connsiteX52" fmla="*/ 1600 w 4008"/>
                  <a:gd name="connsiteY52" fmla="*/ 892 h 1039"/>
                  <a:gd name="connsiteX53" fmla="*/ 1553 w 4008"/>
                  <a:gd name="connsiteY53" fmla="*/ 933 h 1039"/>
                  <a:gd name="connsiteX54" fmla="*/ 1503 w 4008"/>
                  <a:gd name="connsiteY54" fmla="*/ 969 h 1039"/>
                  <a:gd name="connsiteX55" fmla="*/ 1450 w 4008"/>
                  <a:gd name="connsiteY55" fmla="*/ 998 h 1039"/>
                  <a:gd name="connsiteX56" fmla="*/ 1394 w 4008"/>
                  <a:gd name="connsiteY56" fmla="*/ 1021 h 1039"/>
                  <a:gd name="connsiteX57" fmla="*/ 1330 w 4008"/>
                  <a:gd name="connsiteY57" fmla="*/ 1033 h 1039"/>
                  <a:gd name="connsiteX58" fmla="*/ 1264 w 4008"/>
                  <a:gd name="connsiteY58" fmla="*/ 1039 h 1039"/>
                  <a:gd name="connsiteX59" fmla="*/ 1258 w 4008"/>
                  <a:gd name="connsiteY59" fmla="*/ 1039 h 1039"/>
                  <a:gd name="connsiteX60" fmla="*/ 1190 w 4008"/>
                  <a:gd name="connsiteY60" fmla="*/ 1035 h 1039"/>
                  <a:gd name="connsiteX61" fmla="*/ 1128 w 4008"/>
                  <a:gd name="connsiteY61" fmla="*/ 1023 h 1039"/>
                  <a:gd name="connsiteX62" fmla="*/ 1070 w 4008"/>
                  <a:gd name="connsiteY62" fmla="*/ 1004 h 1039"/>
                  <a:gd name="connsiteX63" fmla="*/ 1018 w 4008"/>
                  <a:gd name="connsiteY63" fmla="*/ 979 h 1039"/>
                  <a:gd name="connsiteX64" fmla="*/ 971 w 4008"/>
                  <a:gd name="connsiteY64" fmla="*/ 948 h 1039"/>
                  <a:gd name="connsiteX65" fmla="*/ 925 w 4008"/>
                  <a:gd name="connsiteY65" fmla="*/ 911 h 1039"/>
                  <a:gd name="connsiteX66" fmla="*/ 884 w 4008"/>
                  <a:gd name="connsiteY66" fmla="*/ 869 h 1039"/>
                  <a:gd name="connsiteX67" fmla="*/ 847 w 4008"/>
                  <a:gd name="connsiteY67" fmla="*/ 824 h 1039"/>
                  <a:gd name="connsiteX68" fmla="*/ 810 w 4008"/>
                  <a:gd name="connsiteY68" fmla="*/ 776 h 1039"/>
                  <a:gd name="connsiteX69" fmla="*/ 777 w 4008"/>
                  <a:gd name="connsiteY69" fmla="*/ 724 h 1039"/>
                  <a:gd name="connsiteX70" fmla="*/ 742 w 4008"/>
                  <a:gd name="connsiteY70" fmla="*/ 670 h 1039"/>
                  <a:gd name="connsiteX71" fmla="*/ 711 w 4008"/>
                  <a:gd name="connsiteY71" fmla="*/ 614 h 1039"/>
                  <a:gd name="connsiteX72" fmla="*/ 678 w 4008"/>
                  <a:gd name="connsiteY72" fmla="*/ 556 h 1039"/>
                  <a:gd name="connsiteX73" fmla="*/ 616 w 4008"/>
                  <a:gd name="connsiteY73" fmla="*/ 444 h 1039"/>
                  <a:gd name="connsiteX74" fmla="*/ 547 w 4008"/>
                  <a:gd name="connsiteY74" fmla="*/ 336 h 1039"/>
                  <a:gd name="connsiteX75" fmla="*/ 504 w 4008"/>
                  <a:gd name="connsiteY75" fmla="*/ 280 h 1039"/>
                  <a:gd name="connsiteX76" fmla="*/ 457 w 4008"/>
                  <a:gd name="connsiteY76" fmla="*/ 235 h 1039"/>
                  <a:gd name="connsiteX77" fmla="*/ 409 w 4008"/>
                  <a:gd name="connsiteY77" fmla="*/ 195 h 1039"/>
                  <a:gd name="connsiteX78" fmla="*/ 358 w 4008"/>
                  <a:gd name="connsiteY78" fmla="*/ 164 h 1039"/>
                  <a:gd name="connsiteX79" fmla="*/ 308 w 4008"/>
                  <a:gd name="connsiteY79" fmla="*/ 141 h 1039"/>
                  <a:gd name="connsiteX80" fmla="*/ 256 w 4008"/>
                  <a:gd name="connsiteY80" fmla="*/ 123 h 1039"/>
                  <a:gd name="connsiteX81" fmla="*/ 209 w 4008"/>
                  <a:gd name="connsiteY81" fmla="*/ 108 h 1039"/>
                  <a:gd name="connsiteX82" fmla="*/ 163 w 4008"/>
                  <a:gd name="connsiteY82" fmla="*/ 100 h 1039"/>
                  <a:gd name="connsiteX83" fmla="*/ 122 w 4008"/>
                  <a:gd name="connsiteY83" fmla="*/ 96 h 1039"/>
                  <a:gd name="connsiteX84" fmla="*/ 85 w 4008"/>
                  <a:gd name="connsiteY84" fmla="*/ 91 h 1039"/>
                  <a:gd name="connsiteX85" fmla="*/ 31 w 4008"/>
                  <a:gd name="connsiteY85" fmla="*/ 91 h 1039"/>
                  <a:gd name="connsiteX86" fmla="*/ 17 w 4008"/>
                  <a:gd name="connsiteY86" fmla="*/ 94 h 1039"/>
                  <a:gd name="connsiteX87" fmla="*/ 11 w 4008"/>
                  <a:gd name="connsiteY87" fmla="*/ 94 h 1039"/>
                  <a:gd name="connsiteX88" fmla="*/ 0 w 4008"/>
                  <a:gd name="connsiteY88" fmla="*/ 9 h 1039"/>
                  <a:gd name="connsiteX89" fmla="*/ 9 w 4008"/>
                  <a:gd name="connsiteY89" fmla="*/ 9 h 1039"/>
                  <a:gd name="connsiteX90" fmla="*/ 29 w 4008"/>
                  <a:gd name="connsiteY90" fmla="*/ 6 h 1039"/>
                  <a:gd name="connsiteX91" fmla="*/ 91 w 4008"/>
                  <a:gd name="connsiteY91" fmla="*/ 6 h 1039"/>
                  <a:gd name="connsiteX92" fmla="*/ 135 w 4008"/>
                  <a:gd name="connsiteY92" fmla="*/ 9 h 1039"/>
                  <a:gd name="connsiteX93" fmla="*/ 182 w 4008"/>
                  <a:gd name="connsiteY93" fmla="*/ 15 h 1039"/>
                  <a:gd name="connsiteX94" fmla="*/ 234 w 4008"/>
                  <a:gd name="connsiteY94" fmla="*/ 25 h 1039"/>
                  <a:gd name="connsiteX95" fmla="*/ 287 w 4008"/>
                  <a:gd name="connsiteY95" fmla="*/ 42 h 1039"/>
                  <a:gd name="connsiteX96" fmla="*/ 345 w 4008"/>
                  <a:gd name="connsiteY96" fmla="*/ 62 h 1039"/>
                  <a:gd name="connsiteX97" fmla="*/ 403 w 4008"/>
                  <a:gd name="connsiteY97" fmla="*/ 89 h 1039"/>
                  <a:gd name="connsiteX98" fmla="*/ 459 w 4008"/>
                  <a:gd name="connsiteY98" fmla="*/ 127 h 1039"/>
                  <a:gd name="connsiteX99" fmla="*/ 514 w 4008"/>
                  <a:gd name="connsiteY99" fmla="*/ 170 h 1039"/>
                  <a:gd name="connsiteX100" fmla="*/ 568 w 4008"/>
                  <a:gd name="connsiteY100" fmla="*/ 224 h 1039"/>
                  <a:gd name="connsiteX101" fmla="*/ 618 w 4008"/>
                  <a:gd name="connsiteY101" fmla="*/ 288 h 1039"/>
                  <a:gd name="connsiteX102" fmla="*/ 667 w 4008"/>
                  <a:gd name="connsiteY102" fmla="*/ 363 h 1039"/>
                  <a:gd name="connsiteX103" fmla="*/ 754 w 4008"/>
                  <a:gd name="connsiteY103" fmla="*/ 512 h 1039"/>
                  <a:gd name="connsiteX104" fmla="*/ 787 w 4008"/>
                  <a:gd name="connsiteY104" fmla="*/ 571 h 1039"/>
                  <a:gd name="connsiteX105" fmla="*/ 820 w 4008"/>
                  <a:gd name="connsiteY105" fmla="*/ 627 h 1039"/>
                  <a:gd name="connsiteX106" fmla="*/ 853 w 4008"/>
                  <a:gd name="connsiteY106" fmla="*/ 680 h 1039"/>
                  <a:gd name="connsiteX107" fmla="*/ 886 w 4008"/>
                  <a:gd name="connsiteY107" fmla="*/ 732 h 1039"/>
                  <a:gd name="connsiteX108" fmla="*/ 921 w 4008"/>
                  <a:gd name="connsiteY108" fmla="*/ 778 h 1039"/>
                  <a:gd name="connsiteX109" fmla="*/ 958 w 4008"/>
                  <a:gd name="connsiteY109" fmla="*/ 821 h 1039"/>
                  <a:gd name="connsiteX110" fmla="*/ 1000 w 4008"/>
                  <a:gd name="connsiteY110" fmla="*/ 859 h 1039"/>
                  <a:gd name="connsiteX111" fmla="*/ 1043 w 4008"/>
                  <a:gd name="connsiteY111" fmla="*/ 890 h 1039"/>
                  <a:gd name="connsiteX112" fmla="*/ 1090 w 4008"/>
                  <a:gd name="connsiteY112" fmla="*/ 917 h 1039"/>
                  <a:gd name="connsiteX113" fmla="*/ 1140 w 4008"/>
                  <a:gd name="connsiteY113" fmla="*/ 935 h 1039"/>
                  <a:gd name="connsiteX114" fmla="*/ 1196 w 4008"/>
                  <a:gd name="connsiteY114" fmla="*/ 948 h 1039"/>
                  <a:gd name="connsiteX115" fmla="*/ 1258 w 4008"/>
                  <a:gd name="connsiteY115" fmla="*/ 952 h 1039"/>
                  <a:gd name="connsiteX116" fmla="*/ 1264 w 4008"/>
                  <a:gd name="connsiteY116" fmla="*/ 952 h 1039"/>
                  <a:gd name="connsiteX117" fmla="*/ 1324 w 4008"/>
                  <a:gd name="connsiteY117" fmla="*/ 946 h 1039"/>
                  <a:gd name="connsiteX118" fmla="*/ 1380 w 4008"/>
                  <a:gd name="connsiteY118" fmla="*/ 931 h 1039"/>
                  <a:gd name="connsiteX119" fmla="*/ 1433 w 4008"/>
                  <a:gd name="connsiteY119" fmla="*/ 909 h 1039"/>
                  <a:gd name="connsiteX120" fmla="*/ 1481 w 4008"/>
                  <a:gd name="connsiteY120" fmla="*/ 880 h 1039"/>
                  <a:gd name="connsiteX121" fmla="*/ 1526 w 4008"/>
                  <a:gd name="connsiteY121" fmla="*/ 842 h 1039"/>
                  <a:gd name="connsiteX122" fmla="*/ 1569 w 4008"/>
                  <a:gd name="connsiteY122" fmla="*/ 799 h 1039"/>
                  <a:gd name="connsiteX123" fmla="*/ 1609 w 4008"/>
                  <a:gd name="connsiteY123" fmla="*/ 751 h 1039"/>
                  <a:gd name="connsiteX124" fmla="*/ 1648 w 4008"/>
                  <a:gd name="connsiteY124" fmla="*/ 699 h 1039"/>
                  <a:gd name="connsiteX125" fmla="*/ 1687 w 4008"/>
                  <a:gd name="connsiteY125" fmla="*/ 645 h 1039"/>
                  <a:gd name="connsiteX126" fmla="*/ 1799 w 4008"/>
                  <a:gd name="connsiteY126" fmla="*/ 471 h 1039"/>
                  <a:gd name="connsiteX127" fmla="*/ 1838 w 4008"/>
                  <a:gd name="connsiteY127" fmla="*/ 411 h 1039"/>
                  <a:gd name="connsiteX128" fmla="*/ 1879 w 4008"/>
                  <a:gd name="connsiteY128" fmla="*/ 353 h 1039"/>
                  <a:gd name="connsiteX129" fmla="*/ 1923 w 4008"/>
                  <a:gd name="connsiteY129" fmla="*/ 295 h 1039"/>
                  <a:gd name="connsiteX130" fmla="*/ 1968 w 4008"/>
                  <a:gd name="connsiteY130" fmla="*/ 241 h 1039"/>
                  <a:gd name="connsiteX131" fmla="*/ 2015 w 4008"/>
                  <a:gd name="connsiteY131" fmla="*/ 189 h 1039"/>
                  <a:gd name="connsiteX132" fmla="*/ 2069 w 4008"/>
                  <a:gd name="connsiteY132" fmla="*/ 141 h 1039"/>
                  <a:gd name="connsiteX133" fmla="*/ 2125 w 4008"/>
                  <a:gd name="connsiteY133" fmla="*/ 100 h 1039"/>
                  <a:gd name="connsiteX134" fmla="*/ 2187 w 4008"/>
                  <a:gd name="connsiteY134" fmla="*/ 65 h 1039"/>
                  <a:gd name="connsiteX135" fmla="*/ 2253 w 4008"/>
                  <a:gd name="connsiteY135" fmla="*/ 35 h 1039"/>
                  <a:gd name="connsiteX136" fmla="*/ 2325 w 4008"/>
                  <a:gd name="connsiteY136" fmla="*/ 15 h 1039"/>
                  <a:gd name="connsiteX137" fmla="*/ 2404 w 4008"/>
                  <a:gd name="connsiteY137" fmla="*/ 2 h 1039"/>
                  <a:gd name="connsiteX138" fmla="*/ 2474 w 4008"/>
                  <a:gd name="connsiteY138" fmla="*/ 0 h 1039"/>
                  <a:gd name="connsiteX139" fmla="*/ 2540 w 4008"/>
                  <a:gd name="connsiteY139" fmla="*/ 9 h 1039"/>
                  <a:gd name="connsiteX140" fmla="*/ 2600 w 4008"/>
                  <a:gd name="connsiteY140" fmla="*/ 23 h 1039"/>
                  <a:gd name="connsiteX141" fmla="*/ 2658 w 4008"/>
                  <a:gd name="connsiteY141" fmla="*/ 46 h 1039"/>
                  <a:gd name="connsiteX142" fmla="*/ 2711 w 4008"/>
                  <a:gd name="connsiteY142" fmla="*/ 77 h 1039"/>
                  <a:gd name="connsiteX143" fmla="*/ 2761 w 4008"/>
                  <a:gd name="connsiteY143" fmla="*/ 112 h 1039"/>
                  <a:gd name="connsiteX144" fmla="*/ 2806 w 4008"/>
                  <a:gd name="connsiteY144" fmla="*/ 154 h 1039"/>
                  <a:gd name="connsiteX145" fmla="*/ 2852 w 4008"/>
                  <a:gd name="connsiteY145" fmla="*/ 199 h 1039"/>
                  <a:gd name="connsiteX146" fmla="*/ 2893 w 4008"/>
                  <a:gd name="connsiteY146" fmla="*/ 247 h 1039"/>
                  <a:gd name="connsiteX147" fmla="*/ 2932 w 4008"/>
                  <a:gd name="connsiteY147" fmla="*/ 299 h 1039"/>
                  <a:gd name="connsiteX148" fmla="*/ 2969 w 4008"/>
                  <a:gd name="connsiteY148" fmla="*/ 353 h 1039"/>
                  <a:gd name="connsiteX149" fmla="*/ 3004 w 4008"/>
                  <a:gd name="connsiteY149" fmla="*/ 409 h 1039"/>
                  <a:gd name="connsiteX150" fmla="*/ 3039 w 4008"/>
                  <a:gd name="connsiteY150" fmla="*/ 463 h 1039"/>
                  <a:gd name="connsiteX151" fmla="*/ 3073 w 4008"/>
                  <a:gd name="connsiteY151" fmla="*/ 519 h 1039"/>
                  <a:gd name="connsiteX152" fmla="*/ 3147 w 4008"/>
                  <a:gd name="connsiteY152" fmla="*/ 639 h 1039"/>
                  <a:gd name="connsiteX153" fmla="*/ 3186 w 4008"/>
                  <a:gd name="connsiteY153" fmla="*/ 697 h 1039"/>
                  <a:gd name="connsiteX154" fmla="*/ 3265 w 4008"/>
                  <a:gd name="connsiteY154" fmla="*/ 801 h 1039"/>
                  <a:gd name="connsiteX155" fmla="*/ 3306 w 4008"/>
                  <a:gd name="connsiteY155" fmla="*/ 844 h 1039"/>
                  <a:gd name="connsiteX156" fmla="*/ 3395 w 4008"/>
                  <a:gd name="connsiteY156" fmla="*/ 913 h 1039"/>
                  <a:gd name="connsiteX157" fmla="*/ 3444 w 4008"/>
                  <a:gd name="connsiteY157" fmla="*/ 935 h 1039"/>
                  <a:gd name="connsiteX158" fmla="*/ 3554 w 4008"/>
                  <a:gd name="connsiteY158" fmla="*/ 952 h 1039"/>
                  <a:gd name="connsiteX159" fmla="*/ 3659 w 4008"/>
                  <a:gd name="connsiteY159" fmla="*/ 931 h 1039"/>
                  <a:gd name="connsiteX160" fmla="*/ 3789 w 4008"/>
                  <a:gd name="connsiteY160" fmla="*/ 844 h 1039"/>
                  <a:gd name="connsiteX161" fmla="*/ 3826 w 4008"/>
                  <a:gd name="connsiteY161" fmla="*/ 803 h 1039"/>
                  <a:gd name="connsiteX0" fmla="*/ 3826 w 4008"/>
                  <a:gd name="connsiteY0" fmla="*/ 803 h 1039"/>
                  <a:gd name="connsiteX1" fmla="*/ 4008 w 4008"/>
                  <a:gd name="connsiteY1" fmla="*/ 687 h 1039"/>
                  <a:gd name="connsiteX2" fmla="*/ 3975 w 4008"/>
                  <a:gd name="connsiteY2" fmla="*/ 743 h 1039"/>
                  <a:gd name="connsiteX3" fmla="*/ 3940 w 4008"/>
                  <a:gd name="connsiteY3" fmla="*/ 794 h 1039"/>
                  <a:gd name="connsiteX4" fmla="*/ 3905 w 4008"/>
                  <a:gd name="connsiteY4" fmla="*/ 844 h 1039"/>
                  <a:gd name="connsiteX5" fmla="*/ 3865 w 4008"/>
                  <a:gd name="connsiteY5" fmla="*/ 890 h 1039"/>
                  <a:gd name="connsiteX6" fmla="*/ 3824 w 4008"/>
                  <a:gd name="connsiteY6" fmla="*/ 931 h 1039"/>
                  <a:gd name="connsiteX7" fmla="*/ 3779 w 4008"/>
                  <a:gd name="connsiteY7" fmla="*/ 967 h 1039"/>
                  <a:gd name="connsiteX8" fmla="*/ 3729 w 4008"/>
                  <a:gd name="connsiteY8" fmla="*/ 996 h 1039"/>
                  <a:gd name="connsiteX9" fmla="*/ 3677 w 4008"/>
                  <a:gd name="connsiteY9" fmla="*/ 1018 h 1039"/>
                  <a:gd name="connsiteX10" fmla="*/ 3620 w 4008"/>
                  <a:gd name="connsiteY10" fmla="*/ 1033 h 1039"/>
                  <a:gd name="connsiteX11" fmla="*/ 3556 w 4008"/>
                  <a:gd name="connsiteY11" fmla="*/ 1039 h 1039"/>
                  <a:gd name="connsiteX12" fmla="*/ 3547 w 4008"/>
                  <a:gd name="connsiteY12" fmla="*/ 1039 h 1039"/>
                  <a:gd name="connsiteX13" fmla="*/ 3485 w 4008"/>
                  <a:gd name="connsiteY13" fmla="*/ 1035 h 1039"/>
                  <a:gd name="connsiteX14" fmla="*/ 3426 w 4008"/>
                  <a:gd name="connsiteY14" fmla="*/ 1021 h 1039"/>
                  <a:gd name="connsiteX15" fmla="*/ 3372 w 4008"/>
                  <a:gd name="connsiteY15" fmla="*/ 998 h 1039"/>
                  <a:gd name="connsiteX16" fmla="*/ 3320 w 4008"/>
                  <a:gd name="connsiteY16" fmla="*/ 969 h 1039"/>
                  <a:gd name="connsiteX17" fmla="*/ 3273 w 4008"/>
                  <a:gd name="connsiteY17" fmla="*/ 931 h 1039"/>
                  <a:gd name="connsiteX18" fmla="*/ 3229 w 4008"/>
                  <a:gd name="connsiteY18" fmla="*/ 890 h 1039"/>
                  <a:gd name="connsiteX19" fmla="*/ 3186 w 4008"/>
                  <a:gd name="connsiteY19" fmla="*/ 842 h 1039"/>
                  <a:gd name="connsiteX20" fmla="*/ 3147 w 4008"/>
                  <a:gd name="connsiteY20" fmla="*/ 792 h 1039"/>
                  <a:gd name="connsiteX21" fmla="*/ 3108 w 4008"/>
                  <a:gd name="connsiteY21" fmla="*/ 736 h 1039"/>
                  <a:gd name="connsiteX22" fmla="*/ 3070 w 4008"/>
                  <a:gd name="connsiteY22" fmla="*/ 680 h 1039"/>
                  <a:gd name="connsiteX23" fmla="*/ 2965 w 4008"/>
                  <a:gd name="connsiteY23" fmla="*/ 506 h 1039"/>
                  <a:gd name="connsiteX24" fmla="*/ 2928 w 4008"/>
                  <a:gd name="connsiteY24" fmla="*/ 448 h 1039"/>
                  <a:gd name="connsiteX25" fmla="*/ 2891 w 4008"/>
                  <a:gd name="connsiteY25" fmla="*/ 392 h 1039"/>
                  <a:gd name="connsiteX26" fmla="*/ 2854 w 4008"/>
                  <a:gd name="connsiteY26" fmla="*/ 338 h 1039"/>
                  <a:gd name="connsiteX27" fmla="*/ 2814 w 4008"/>
                  <a:gd name="connsiteY27" fmla="*/ 288 h 1039"/>
                  <a:gd name="connsiteX28" fmla="*/ 2773 w 4008"/>
                  <a:gd name="connsiteY28" fmla="*/ 243 h 1039"/>
                  <a:gd name="connsiteX29" fmla="*/ 2732 w 4008"/>
                  <a:gd name="connsiteY29" fmla="*/ 201 h 1039"/>
                  <a:gd name="connsiteX30" fmla="*/ 2686 w 4008"/>
                  <a:gd name="connsiteY30" fmla="*/ 164 h 1039"/>
                  <a:gd name="connsiteX31" fmla="*/ 2639 w 4008"/>
                  <a:gd name="connsiteY31" fmla="*/ 135 h 1039"/>
                  <a:gd name="connsiteX32" fmla="*/ 2587 w 4008"/>
                  <a:gd name="connsiteY32" fmla="*/ 112 h 1039"/>
                  <a:gd name="connsiteX33" fmla="*/ 2532 w 4008"/>
                  <a:gd name="connsiteY33" fmla="*/ 96 h 1039"/>
                  <a:gd name="connsiteX34" fmla="*/ 2474 w 4008"/>
                  <a:gd name="connsiteY34" fmla="*/ 87 h 1039"/>
                  <a:gd name="connsiteX35" fmla="*/ 2410 w 4008"/>
                  <a:gd name="connsiteY35" fmla="*/ 89 h 1039"/>
                  <a:gd name="connsiteX36" fmla="*/ 2342 w 4008"/>
                  <a:gd name="connsiteY36" fmla="*/ 100 h 1039"/>
                  <a:gd name="connsiteX37" fmla="*/ 2280 w 4008"/>
                  <a:gd name="connsiteY37" fmla="*/ 118 h 1039"/>
                  <a:gd name="connsiteX38" fmla="*/ 2222 w 4008"/>
                  <a:gd name="connsiteY38" fmla="*/ 143 h 1039"/>
                  <a:gd name="connsiteX39" fmla="*/ 2168 w 4008"/>
                  <a:gd name="connsiteY39" fmla="*/ 176 h 1039"/>
                  <a:gd name="connsiteX40" fmla="*/ 2117 w 4008"/>
                  <a:gd name="connsiteY40" fmla="*/ 214 h 1039"/>
                  <a:gd name="connsiteX41" fmla="*/ 2071 w 4008"/>
                  <a:gd name="connsiteY41" fmla="*/ 257 h 1039"/>
                  <a:gd name="connsiteX42" fmla="*/ 2026 w 4008"/>
                  <a:gd name="connsiteY42" fmla="*/ 303 h 1039"/>
                  <a:gd name="connsiteX43" fmla="*/ 1984 w 4008"/>
                  <a:gd name="connsiteY43" fmla="*/ 355 h 1039"/>
                  <a:gd name="connsiteX44" fmla="*/ 1945 w 4008"/>
                  <a:gd name="connsiteY44" fmla="*/ 409 h 1039"/>
                  <a:gd name="connsiteX45" fmla="*/ 1908 w 4008"/>
                  <a:gd name="connsiteY45" fmla="*/ 463 h 1039"/>
                  <a:gd name="connsiteX46" fmla="*/ 1871 w 4008"/>
                  <a:gd name="connsiteY46" fmla="*/ 519 h 1039"/>
                  <a:gd name="connsiteX47" fmla="*/ 1834 w 4008"/>
                  <a:gd name="connsiteY47" fmla="*/ 577 h 1039"/>
                  <a:gd name="connsiteX48" fmla="*/ 1799 w 4008"/>
                  <a:gd name="connsiteY48" fmla="*/ 633 h 1039"/>
                  <a:gd name="connsiteX49" fmla="*/ 1724 w 4008"/>
                  <a:gd name="connsiteY49" fmla="*/ 745 h 1039"/>
                  <a:gd name="connsiteX50" fmla="*/ 1685 w 4008"/>
                  <a:gd name="connsiteY50" fmla="*/ 797 h 1039"/>
                  <a:gd name="connsiteX51" fmla="*/ 1644 w 4008"/>
                  <a:gd name="connsiteY51" fmla="*/ 846 h 1039"/>
                  <a:gd name="connsiteX52" fmla="*/ 1600 w 4008"/>
                  <a:gd name="connsiteY52" fmla="*/ 892 h 1039"/>
                  <a:gd name="connsiteX53" fmla="*/ 1553 w 4008"/>
                  <a:gd name="connsiteY53" fmla="*/ 933 h 1039"/>
                  <a:gd name="connsiteX54" fmla="*/ 1503 w 4008"/>
                  <a:gd name="connsiteY54" fmla="*/ 969 h 1039"/>
                  <a:gd name="connsiteX55" fmla="*/ 1450 w 4008"/>
                  <a:gd name="connsiteY55" fmla="*/ 998 h 1039"/>
                  <a:gd name="connsiteX56" fmla="*/ 1394 w 4008"/>
                  <a:gd name="connsiteY56" fmla="*/ 1021 h 1039"/>
                  <a:gd name="connsiteX57" fmla="*/ 1330 w 4008"/>
                  <a:gd name="connsiteY57" fmla="*/ 1033 h 1039"/>
                  <a:gd name="connsiteX58" fmla="*/ 1264 w 4008"/>
                  <a:gd name="connsiteY58" fmla="*/ 1039 h 1039"/>
                  <a:gd name="connsiteX59" fmla="*/ 1258 w 4008"/>
                  <a:gd name="connsiteY59" fmla="*/ 1039 h 1039"/>
                  <a:gd name="connsiteX60" fmla="*/ 1190 w 4008"/>
                  <a:gd name="connsiteY60" fmla="*/ 1035 h 1039"/>
                  <a:gd name="connsiteX61" fmla="*/ 1128 w 4008"/>
                  <a:gd name="connsiteY61" fmla="*/ 1023 h 1039"/>
                  <a:gd name="connsiteX62" fmla="*/ 1070 w 4008"/>
                  <a:gd name="connsiteY62" fmla="*/ 1004 h 1039"/>
                  <a:gd name="connsiteX63" fmla="*/ 1018 w 4008"/>
                  <a:gd name="connsiteY63" fmla="*/ 979 h 1039"/>
                  <a:gd name="connsiteX64" fmla="*/ 971 w 4008"/>
                  <a:gd name="connsiteY64" fmla="*/ 948 h 1039"/>
                  <a:gd name="connsiteX65" fmla="*/ 925 w 4008"/>
                  <a:gd name="connsiteY65" fmla="*/ 911 h 1039"/>
                  <a:gd name="connsiteX66" fmla="*/ 884 w 4008"/>
                  <a:gd name="connsiteY66" fmla="*/ 869 h 1039"/>
                  <a:gd name="connsiteX67" fmla="*/ 847 w 4008"/>
                  <a:gd name="connsiteY67" fmla="*/ 824 h 1039"/>
                  <a:gd name="connsiteX68" fmla="*/ 810 w 4008"/>
                  <a:gd name="connsiteY68" fmla="*/ 776 h 1039"/>
                  <a:gd name="connsiteX69" fmla="*/ 777 w 4008"/>
                  <a:gd name="connsiteY69" fmla="*/ 724 h 1039"/>
                  <a:gd name="connsiteX70" fmla="*/ 742 w 4008"/>
                  <a:gd name="connsiteY70" fmla="*/ 670 h 1039"/>
                  <a:gd name="connsiteX71" fmla="*/ 711 w 4008"/>
                  <a:gd name="connsiteY71" fmla="*/ 614 h 1039"/>
                  <a:gd name="connsiteX72" fmla="*/ 678 w 4008"/>
                  <a:gd name="connsiteY72" fmla="*/ 556 h 1039"/>
                  <a:gd name="connsiteX73" fmla="*/ 616 w 4008"/>
                  <a:gd name="connsiteY73" fmla="*/ 444 h 1039"/>
                  <a:gd name="connsiteX74" fmla="*/ 547 w 4008"/>
                  <a:gd name="connsiteY74" fmla="*/ 336 h 1039"/>
                  <a:gd name="connsiteX75" fmla="*/ 504 w 4008"/>
                  <a:gd name="connsiteY75" fmla="*/ 280 h 1039"/>
                  <a:gd name="connsiteX76" fmla="*/ 457 w 4008"/>
                  <a:gd name="connsiteY76" fmla="*/ 235 h 1039"/>
                  <a:gd name="connsiteX77" fmla="*/ 409 w 4008"/>
                  <a:gd name="connsiteY77" fmla="*/ 195 h 1039"/>
                  <a:gd name="connsiteX78" fmla="*/ 358 w 4008"/>
                  <a:gd name="connsiteY78" fmla="*/ 164 h 1039"/>
                  <a:gd name="connsiteX79" fmla="*/ 308 w 4008"/>
                  <a:gd name="connsiteY79" fmla="*/ 141 h 1039"/>
                  <a:gd name="connsiteX80" fmla="*/ 256 w 4008"/>
                  <a:gd name="connsiteY80" fmla="*/ 123 h 1039"/>
                  <a:gd name="connsiteX81" fmla="*/ 209 w 4008"/>
                  <a:gd name="connsiteY81" fmla="*/ 108 h 1039"/>
                  <a:gd name="connsiteX82" fmla="*/ 163 w 4008"/>
                  <a:gd name="connsiteY82" fmla="*/ 100 h 1039"/>
                  <a:gd name="connsiteX83" fmla="*/ 122 w 4008"/>
                  <a:gd name="connsiteY83" fmla="*/ 96 h 1039"/>
                  <a:gd name="connsiteX84" fmla="*/ 85 w 4008"/>
                  <a:gd name="connsiteY84" fmla="*/ 91 h 1039"/>
                  <a:gd name="connsiteX85" fmla="*/ 31 w 4008"/>
                  <a:gd name="connsiteY85" fmla="*/ 91 h 1039"/>
                  <a:gd name="connsiteX86" fmla="*/ 17 w 4008"/>
                  <a:gd name="connsiteY86" fmla="*/ 94 h 1039"/>
                  <a:gd name="connsiteX87" fmla="*/ 11 w 4008"/>
                  <a:gd name="connsiteY87" fmla="*/ 94 h 1039"/>
                  <a:gd name="connsiteX88" fmla="*/ 0 w 4008"/>
                  <a:gd name="connsiteY88" fmla="*/ 9 h 1039"/>
                  <a:gd name="connsiteX89" fmla="*/ 9 w 4008"/>
                  <a:gd name="connsiteY89" fmla="*/ 9 h 1039"/>
                  <a:gd name="connsiteX90" fmla="*/ 29 w 4008"/>
                  <a:gd name="connsiteY90" fmla="*/ 6 h 1039"/>
                  <a:gd name="connsiteX91" fmla="*/ 91 w 4008"/>
                  <a:gd name="connsiteY91" fmla="*/ 6 h 1039"/>
                  <a:gd name="connsiteX92" fmla="*/ 135 w 4008"/>
                  <a:gd name="connsiteY92" fmla="*/ 9 h 1039"/>
                  <a:gd name="connsiteX93" fmla="*/ 182 w 4008"/>
                  <a:gd name="connsiteY93" fmla="*/ 15 h 1039"/>
                  <a:gd name="connsiteX94" fmla="*/ 234 w 4008"/>
                  <a:gd name="connsiteY94" fmla="*/ 25 h 1039"/>
                  <a:gd name="connsiteX95" fmla="*/ 287 w 4008"/>
                  <a:gd name="connsiteY95" fmla="*/ 42 h 1039"/>
                  <a:gd name="connsiteX96" fmla="*/ 345 w 4008"/>
                  <a:gd name="connsiteY96" fmla="*/ 62 h 1039"/>
                  <a:gd name="connsiteX97" fmla="*/ 403 w 4008"/>
                  <a:gd name="connsiteY97" fmla="*/ 89 h 1039"/>
                  <a:gd name="connsiteX98" fmla="*/ 459 w 4008"/>
                  <a:gd name="connsiteY98" fmla="*/ 127 h 1039"/>
                  <a:gd name="connsiteX99" fmla="*/ 514 w 4008"/>
                  <a:gd name="connsiteY99" fmla="*/ 170 h 1039"/>
                  <a:gd name="connsiteX100" fmla="*/ 568 w 4008"/>
                  <a:gd name="connsiteY100" fmla="*/ 224 h 1039"/>
                  <a:gd name="connsiteX101" fmla="*/ 618 w 4008"/>
                  <a:gd name="connsiteY101" fmla="*/ 288 h 1039"/>
                  <a:gd name="connsiteX102" fmla="*/ 667 w 4008"/>
                  <a:gd name="connsiteY102" fmla="*/ 363 h 1039"/>
                  <a:gd name="connsiteX103" fmla="*/ 754 w 4008"/>
                  <a:gd name="connsiteY103" fmla="*/ 512 h 1039"/>
                  <a:gd name="connsiteX104" fmla="*/ 787 w 4008"/>
                  <a:gd name="connsiteY104" fmla="*/ 571 h 1039"/>
                  <a:gd name="connsiteX105" fmla="*/ 820 w 4008"/>
                  <a:gd name="connsiteY105" fmla="*/ 627 h 1039"/>
                  <a:gd name="connsiteX106" fmla="*/ 853 w 4008"/>
                  <a:gd name="connsiteY106" fmla="*/ 680 h 1039"/>
                  <a:gd name="connsiteX107" fmla="*/ 886 w 4008"/>
                  <a:gd name="connsiteY107" fmla="*/ 732 h 1039"/>
                  <a:gd name="connsiteX108" fmla="*/ 921 w 4008"/>
                  <a:gd name="connsiteY108" fmla="*/ 778 h 1039"/>
                  <a:gd name="connsiteX109" fmla="*/ 958 w 4008"/>
                  <a:gd name="connsiteY109" fmla="*/ 821 h 1039"/>
                  <a:gd name="connsiteX110" fmla="*/ 1000 w 4008"/>
                  <a:gd name="connsiteY110" fmla="*/ 859 h 1039"/>
                  <a:gd name="connsiteX111" fmla="*/ 1043 w 4008"/>
                  <a:gd name="connsiteY111" fmla="*/ 890 h 1039"/>
                  <a:gd name="connsiteX112" fmla="*/ 1090 w 4008"/>
                  <a:gd name="connsiteY112" fmla="*/ 917 h 1039"/>
                  <a:gd name="connsiteX113" fmla="*/ 1140 w 4008"/>
                  <a:gd name="connsiteY113" fmla="*/ 935 h 1039"/>
                  <a:gd name="connsiteX114" fmla="*/ 1196 w 4008"/>
                  <a:gd name="connsiteY114" fmla="*/ 948 h 1039"/>
                  <a:gd name="connsiteX115" fmla="*/ 1258 w 4008"/>
                  <a:gd name="connsiteY115" fmla="*/ 952 h 1039"/>
                  <a:gd name="connsiteX116" fmla="*/ 1264 w 4008"/>
                  <a:gd name="connsiteY116" fmla="*/ 952 h 1039"/>
                  <a:gd name="connsiteX117" fmla="*/ 1324 w 4008"/>
                  <a:gd name="connsiteY117" fmla="*/ 946 h 1039"/>
                  <a:gd name="connsiteX118" fmla="*/ 1380 w 4008"/>
                  <a:gd name="connsiteY118" fmla="*/ 931 h 1039"/>
                  <a:gd name="connsiteX119" fmla="*/ 1433 w 4008"/>
                  <a:gd name="connsiteY119" fmla="*/ 909 h 1039"/>
                  <a:gd name="connsiteX120" fmla="*/ 1481 w 4008"/>
                  <a:gd name="connsiteY120" fmla="*/ 880 h 1039"/>
                  <a:gd name="connsiteX121" fmla="*/ 1526 w 4008"/>
                  <a:gd name="connsiteY121" fmla="*/ 842 h 1039"/>
                  <a:gd name="connsiteX122" fmla="*/ 1569 w 4008"/>
                  <a:gd name="connsiteY122" fmla="*/ 799 h 1039"/>
                  <a:gd name="connsiteX123" fmla="*/ 1609 w 4008"/>
                  <a:gd name="connsiteY123" fmla="*/ 751 h 1039"/>
                  <a:gd name="connsiteX124" fmla="*/ 1648 w 4008"/>
                  <a:gd name="connsiteY124" fmla="*/ 699 h 1039"/>
                  <a:gd name="connsiteX125" fmla="*/ 1687 w 4008"/>
                  <a:gd name="connsiteY125" fmla="*/ 645 h 1039"/>
                  <a:gd name="connsiteX126" fmla="*/ 1799 w 4008"/>
                  <a:gd name="connsiteY126" fmla="*/ 471 h 1039"/>
                  <a:gd name="connsiteX127" fmla="*/ 1838 w 4008"/>
                  <a:gd name="connsiteY127" fmla="*/ 411 h 1039"/>
                  <a:gd name="connsiteX128" fmla="*/ 1879 w 4008"/>
                  <a:gd name="connsiteY128" fmla="*/ 353 h 1039"/>
                  <a:gd name="connsiteX129" fmla="*/ 1923 w 4008"/>
                  <a:gd name="connsiteY129" fmla="*/ 295 h 1039"/>
                  <a:gd name="connsiteX130" fmla="*/ 1968 w 4008"/>
                  <a:gd name="connsiteY130" fmla="*/ 241 h 1039"/>
                  <a:gd name="connsiteX131" fmla="*/ 2015 w 4008"/>
                  <a:gd name="connsiteY131" fmla="*/ 189 h 1039"/>
                  <a:gd name="connsiteX132" fmla="*/ 2069 w 4008"/>
                  <a:gd name="connsiteY132" fmla="*/ 141 h 1039"/>
                  <a:gd name="connsiteX133" fmla="*/ 2125 w 4008"/>
                  <a:gd name="connsiteY133" fmla="*/ 100 h 1039"/>
                  <a:gd name="connsiteX134" fmla="*/ 2187 w 4008"/>
                  <a:gd name="connsiteY134" fmla="*/ 65 h 1039"/>
                  <a:gd name="connsiteX135" fmla="*/ 2253 w 4008"/>
                  <a:gd name="connsiteY135" fmla="*/ 35 h 1039"/>
                  <a:gd name="connsiteX136" fmla="*/ 2325 w 4008"/>
                  <a:gd name="connsiteY136" fmla="*/ 15 h 1039"/>
                  <a:gd name="connsiteX137" fmla="*/ 2404 w 4008"/>
                  <a:gd name="connsiteY137" fmla="*/ 2 h 1039"/>
                  <a:gd name="connsiteX138" fmla="*/ 2474 w 4008"/>
                  <a:gd name="connsiteY138" fmla="*/ 0 h 1039"/>
                  <a:gd name="connsiteX139" fmla="*/ 2540 w 4008"/>
                  <a:gd name="connsiteY139" fmla="*/ 9 h 1039"/>
                  <a:gd name="connsiteX140" fmla="*/ 2600 w 4008"/>
                  <a:gd name="connsiteY140" fmla="*/ 23 h 1039"/>
                  <a:gd name="connsiteX141" fmla="*/ 2658 w 4008"/>
                  <a:gd name="connsiteY141" fmla="*/ 46 h 1039"/>
                  <a:gd name="connsiteX142" fmla="*/ 2711 w 4008"/>
                  <a:gd name="connsiteY142" fmla="*/ 77 h 1039"/>
                  <a:gd name="connsiteX143" fmla="*/ 2761 w 4008"/>
                  <a:gd name="connsiteY143" fmla="*/ 112 h 1039"/>
                  <a:gd name="connsiteX144" fmla="*/ 2806 w 4008"/>
                  <a:gd name="connsiteY144" fmla="*/ 154 h 1039"/>
                  <a:gd name="connsiteX145" fmla="*/ 2852 w 4008"/>
                  <a:gd name="connsiteY145" fmla="*/ 199 h 1039"/>
                  <a:gd name="connsiteX146" fmla="*/ 2893 w 4008"/>
                  <a:gd name="connsiteY146" fmla="*/ 247 h 1039"/>
                  <a:gd name="connsiteX147" fmla="*/ 2932 w 4008"/>
                  <a:gd name="connsiteY147" fmla="*/ 299 h 1039"/>
                  <a:gd name="connsiteX148" fmla="*/ 2969 w 4008"/>
                  <a:gd name="connsiteY148" fmla="*/ 353 h 1039"/>
                  <a:gd name="connsiteX149" fmla="*/ 3004 w 4008"/>
                  <a:gd name="connsiteY149" fmla="*/ 409 h 1039"/>
                  <a:gd name="connsiteX150" fmla="*/ 3039 w 4008"/>
                  <a:gd name="connsiteY150" fmla="*/ 463 h 1039"/>
                  <a:gd name="connsiteX151" fmla="*/ 3073 w 4008"/>
                  <a:gd name="connsiteY151" fmla="*/ 519 h 1039"/>
                  <a:gd name="connsiteX152" fmla="*/ 3186 w 4008"/>
                  <a:gd name="connsiteY152" fmla="*/ 697 h 1039"/>
                  <a:gd name="connsiteX153" fmla="*/ 3265 w 4008"/>
                  <a:gd name="connsiteY153" fmla="*/ 801 h 1039"/>
                  <a:gd name="connsiteX154" fmla="*/ 3306 w 4008"/>
                  <a:gd name="connsiteY154" fmla="*/ 844 h 1039"/>
                  <a:gd name="connsiteX155" fmla="*/ 3395 w 4008"/>
                  <a:gd name="connsiteY155" fmla="*/ 913 h 1039"/>
                  <a:gd name="connsiteX156" fmla="*/ 3444 w 4008"/>
                  <a:gd name="connsiteY156" fmla="*/ 935 h 1039"/>
                  <a:gd name="connsiteX157" fmla="*/ 3554 w 4008"/>
                  <a:gd name="connsiteY157" fmla="*/ 952 h 1039"/>
                  <a:gd name="connsiteX158" fmla="*/ 3659 w 4008"/>
                  <a:gd name="connsiteY158" fmla="*/ 931 h 1039"/>
                  <a:gd name="connsiteX159" fmla="*/ 3789 w 4008"/>
                  <a:gd name="connsiteY159" fmla="*/ 844 h 1039"/>
                  <a:gd name="connsiteX160" fmla="*/ 3826 w 4008"/>
                  <a:gd name="connsiteY160" fmla="*/ 803 h 1039"/>
                  <a:gd name="connsiteX0" fmla="*/ 3826 w 4008"/>
                  <a:gd name="connsiteY0" fmla="*/ 803 h 1039"/>
                  <a:gd name="connsiteX1" fmla="*/ 4008 w 4008"/>
                  <a:gd name="connsiteY1" fmla="*/ 687 h 1039"/>
                  <a:gd name="connsiteX2" fmla="*/ 3975 w 4008"/>
                  <a:gd name="connsiteY2" fmla="*/ 743 h 1039"/>
                  <a:gd name="connsiteX3" fmla="*/ 3940 w 4008"/>
                  <a:gd name="connsiteY3" fmla="*/ 794 h 1039"/>
                  <a:gd name="connsiteX4" fmla="*/ 3905 w 4008"/>
                  <a:gd name="connsiteY4" fmla="*/ 844 h 1039"/>
                  <a:gd name="connsiteX5" fmla="*/ 3865 w 4008"/>
                  <a:gd name="connsiteY5" fmla="*/ 890 h 1039"/>
                  <a:gd name="connsiteX6" fmla="*/ 3824 w 4008"/>
                  <a:gd name="connsiteY6" fmla="*/ 931 h 1039"/>
                  <a:gd name="connsiteX7" fmla="*/ 3779 w 4008"/>
                  <a:gd name="connsiteY7" fmla="*/ 967 h 1039"/>
                  <a:gd name="connsiteX8" fmla="*/ 3729 w 4008"/>
                  <a:gd name="connsiteY8" fmla="*/ 996 h 1039"/>
                  <a:gd name="connsiteX9" fmla="*/ 3677 w 4008"/>
                  <a:gd name="connsiteY9" fmla="*/ 1018 h 1039"/>
                  <a:gd name="connsiteX10" fmla="*/ 3620 w 4008"/>
                  <a:gd name="connsiteY10" fmla="*/ 1033 h 1039"/>
                  <a:gd name="connsiteX11" fmla="*/ 3556 w 4008"/>
                  <a:gd name="connsiteY11" fmla="*/ 1039 h 1039"/>
                  <a:gd name="connsiteX12" fmla="*/ 3547 w 4008"/>
                  <a:gd name="connsiteY12" fmla="*/ 1039 h 1039"/>
                  <a:gd name="connsiteX13" fmla="*/ 3485 w 4008"/>
                  <a:gd name="connsiteY13" fmla="*/ 1035 h 1039"/>
                  <a:gd name="connsiteX14" fmla="*/ 3426 w 4008"/>
                  <a:gd name="connsiteY14" fmla="*/ 1021 h 1039"/>
                  <a:gd name="connsiteX15" fmla="*/ 3372 w 4008"/>
                  <a:gd name="connsiteY15" fmla="*/ 998 h 1039"/>
                  <a:gd name="connsiteX16" fmla="*/ 3320 w 4008"/>
                  <a:gd name="connsiteY16" fmla="*/ 969 h 1039"/>
                  <a:gd name="connsiteX17" fmla="*/ 3273 w 4008"/>
                  <a:gd name="connsiteY17" fmla="*/ 931 h 1039"/>
                  <a:gd name="connsiteX18" fmla="*/ 3229 w 4008"/>
                  <a:gd name="connsiteY18" fmla="*/ 890 h 1039"/>
                  <a:gd name="connsiteX19" fmla="*/ 3186 w 4008"/>
                  <a:gd name="connsiteY19" fmla="*/ 842 h 1039"/>
                  <a:gd name="connsiteX20" fmla="*/ 3147 w 4008"/>
                  <a:gd name="connsiteY20" fmla="*/ 792 h 1039"/>
                  <a:gd name="connsiteX21" fmla="*/ 3108 w 4008"/>
                  <a:gd name="connsiteY21" fmla="*/ 736 h 1039"/>
                  <a:gd name="connsiteX22" fmla="*/ 3070 w 4008"/>
                  <a:gd name="connsiteY22" fmla="*/ 680 h 1039"/>
                  <a:gd name="connsiteX23" fmla="*/ 2965 w 4008"/>
                  <a:gd name="connsiteY23" fmla="*/ 506 h 1039"/>
                  <a:gd name="connsiteX24" fmla="*/ 2928 w 4008"/>
                  <a:gd name="connsiteY24" fmla="*/ 448 h 1039"/>
                  <a:gd name="connsiteX25" fmla="*/ 2891 w 4008"/>
                  <a:gd name="connsiteY25" fmla="*/ 392 h 1039"/>
                  <a:gd name="connsiteX26" fmla="*/ 2854 w 4008"/>
                  <a:gd name="connsiteY26" fmla="*/ 338 h 1039"/>
                  <a:gd name="connsiteX27" fmla="*/ 2814 w 4008"/>
                  <a:gd name="connsiteY27" fmla="*/ 288 h 1039"/>
                  <a:gd name="connsiteX28" fmla="*/ 2773 w 4008"/>
                  <a:gd name="connsiteY28" fmla="*/ 243 h 1039"/>
                  <a:gd name="connsiteX29" fmla="*/ 2732 w 4008"/>
                  <a:gd name="connsiteY29" fmla="*/ 201 h 1039"/>
                  <a:gd name="connsiteX30" fmla="*/ 2686 w 4008"/>
                  <a:gd name="connsiteY30" fmla="*/ 164 h 1039"/>
                  <a:gd name="connsiteX31" fmla="*/ 2639 w 4008"/>
                  <a:gd name="connsiteY31" fmla="*/ 135 h 1039"/>
                  <a:gd name="connsiteX32" fmla="*/ 2587 w 4008"/>
                  <a:gd name="connsiteY32" fmla="*/ 112 h 1039"/>
                  <a:gd name="connsiteX33" fmla="*/ 2532 w 4008"/>
                  <a:gd name="connsiteY33" fmla="*/ 96 h 1039"/>
                  <a:gd name="connsiteX34" fmla="*/ 2474 w 4008"/>
                  <a:gd name="connsiteY34" fmla="*/ 87 h 1039"/>
                  <a:gd name="connsiteX35" fmla="*/ 2410 w 4008"/>
                  <a:gd name="connsiteY35" fmla="*/ 89 h 1039"/>
                  <a:gd name="connsiteX36" fmla="*/ 2342 w 4008"/>
                  <a:gd name="connsiteY36" fmla="*/ 100 h 1039"/>
                  <a:gd name="connsiteX37" fmla="*/ 2280 w 4008"/>
                  <a:gd name="connsiteY37" fmla="*/ 118 h 1039"/>
                  <a:gd name="connsiteX38" fmla="*/ 2222 w 4008"/>
                  <a:gd name="connsiteY38" fmla="*/ 143 h 1039"/>
                  <a:gd name="connsiteX39" fmla="*/ 2168 w 4008"/>
                  <a:gd name="connsiteY39" fmla="*/ 176 h 1039"/>
                  <a:gd name="connsiteX40" fmla="*/ 2117 w 4008"/>
                  <a:gd name="connsiteY40" fmla="*/ 214 h 1039"/>
                  <a:gd name="connsiteX41" fmla="*/ 2071 w 4008"/>
                  <a:gd name="connsiteY41" fmla="*/ 257 h 1039"/>
                  <a:gd name="connsiteX42" fmla="*/ 2026 w 4008"/>
                  <a:gd name="connsiteY42" fmla="*/ 303 h 1039"/>
                  <a:gd name="connsiteX43" fmla="*/ 1984 w 4008"/>
                  <a:gd name="connsiteY43" fmla="*/ 355 h 1039"/>
                  <a:gd name="connsiteX44" fmla="*/ 1945 w 4008"/>
                  <a:gd name="connsiteY44" fmla="*/ 409 h 1039"/>
                  <a:gd name="connsiteX45" fmla="*/ 1908 w 4008"/>
                  <a:gd name="connsiteY45" fmla="*/ 463 h 1039"/>
                  <a:gd name="connsiteX46" fmla="*/ 1871 w 4008"/>
                  <a:gd name="connsiteY46" fmla="*/ 519 h 1039"/>
                  <a:gd name="connsiteX47" fmla="*/ 1834 w 4008"/>
                  <a:gd name="connsiteY47" fmla="*/ 577 h 1039"/>
                  <a:gd name="connsiteX48" fmla="*/ 1799 w 4008"/>
                  <a:gd name="connsiteY48" fmla="*/ 633 h 1039"/>
                  <a:gd name="connsiteX49" fmla="*/ 1724 w 4008"/>
                  <a:gd name="connsiteY49" fmla="*/ 745 h 1039"/>
                  <a:gd name="connsiteX50" fmla="*/ 1685 w 4008"/>
                  <a:gd name="connsiteY50" fmla="*/ 797 h 1039"/>
                  <a:gd name="connsiteX51" fmla="*/ 1644 w 4008"/>
                  <a:gd name="connsiteY51" fmla="*/ 846 h 1039"/>
                  <a:gd name="connsiteX52" fmla="*/ 1600 w 4008"/>
                  <a:gd name="connsiteY52" fmla="*/ 892 h 1039"/>
                  <a:gd name="connsiteX53" fmla="*/ 1553 w 4008"/>
                  <a:gd name="connsiteY53" fmla="*/ 933 h 1039"/>
                  <a:gd name="connsiteX54" fmla="*/ 1503 w 4008"/>
                  <a:gd name="connsiteY54" fmla="*/ 969 h 1039"/>
                  <a:gd name="connsiteX55" fmla="*/ 1450 w 4008"/>
                  <a:gd name="connsiteY55" fmla="*/ 998 h 1039"/>
                  <a:gd name="connsiteX56" fmla="*/ 1394 w 4008"/>
                  <a:gd name="connsiteY56" fmla="*/ 1021 h 1039"/>
                  <a:gd name="connsiteX57" fmla="*/ 1330 w 4008"/>
                  <a:gd name="connsiteY57" fmla="*/ 1033 h 1039"/>
                  <a:gd name="connsiteX58" fmla="*/ 1264 w 4008"/>
                  <a:gd name="connsiteY58" fmla="*/ 1039 h 1039"/>
                  <a:gd name="connsiteX59" fmla="*/ 1258 w 4008"/>
                  <a:gd name="connsiteY59" fmla="*/ 1039 h 1039"/>
                  <a:gd name="connsiteX60" fmla="*/ 1190 w 4008"/>
                  <a:gd name="connsiteY60" fmla="*/ 1035 h 1039"/>
                  <a:gd name="connsiteX61" fmla="*/ 1128 w 4008"/>
                  <a:gd name="connsiteY61" fmla="*/ 1023 h 1039"/>
                  <a:gd name="connsiteX62" fmla="*/ 1070 w 4008"/>
                  <a:gd name="connsiteY62" fmla="*/ 1004 h 1039"/>
                  <a:gd name="connsiteX63" fmla="*/ 1018 w 4008"/>
                  <a:gd name="connsiteY63" fmla="*/ 979 h 1039"/>
                  <a:gd name="connsiteX64" fmla="*/ 971 w 4008"/>
                  <a:gd name="connsiteY64" fmla="*/ 948 h 1039"/>
                  <a:gd name="connsiteX65" fmla="*/ 925 w 4008"/>
                  <a:gd name="connsiteY65" fmla="*/ 911 h 1039"/>
                  <a:gd name="connsiteX66" fmla="*/ 884 w 4008"/>
                  <a:gd name="connsiteY66" fmla="*/ 869 h 1039"/>
                  <a:gd name="connsiteX67" fmla="*/ 847 w 4008"/>
                  <a:gd name="connsiteY67" fmla="*/ 824 h 1039"/>
                  <a:gd name="connsiteX68" fmla="*/ 810 w 4008"/>
                  <a:gd name="connsiteY68" fmla="*/ 776 h 1039"/>
                  <a:gd name="connsiteX69" fmla="*/ 777 w 4008"/>
                  <a:gd name="connsiteY69" fmla="*/ 724 h 1039"/>
                  <a:gd name="connsiteX70" fmla="*/ 742 w 4008"/>
                  <a:gd name="connsiteY70" fmla="*/ 670 h 1039"/>
                  <a:gd name="connsiteX71" fmla="*/ 711 w 4008"/>
                  <a:gd name="connsiteY71" fmla="*/ 614 h 1039"/>
                  <a:gd name="connsiteX72" fmla="*/ 678 w 4008"/>
                  <a:gd name="connsiteY72" fmla="*/ 556 h 1039"/>
                  <a:gd name="connsiteX73" fmla="*/ 616 w 4008"/>
                  <a:gd name="connsiteY73" fmla="*/ 444 h 1039"/>
                  <a:gd name="connsiteX74" fmla="*/ 547 w 4008"/>
                  <a:gd name="connsiteY74" fmla="*/ 336 h 1039"/>
                  <a:gd name="connsiteX75" fmla="*/ 504 w 4008"/>
                  <a:gd name="connsiteY75" fmla="*/ 280 h 1039"/>
                  <a:gd name="connsiteX76" fmla="*/ 457 w 4008"/>
                  <a:gd name="connsiteY76" fmla="*/ 235 h 1039"/>
                  <a:gd name="connsiteX77" fmla="*/ 409 w 4008"/>
                  <a:gd name="connsiteY77" fmla="*/ 195 h 1039"/>
                  <a:gd name="connsiteX78" fmla="*/ 358 w 4008"/>
                  <a:gd name="connsiteY78" fmla="*/ 164 h 1039"/>
                  <a:gd name="connsiteX79" fmla="*/ 308 w 4008"/>
                  <a:gd name="connsiteY79" fmla="*/ 141 h 1039"/>
                  <a:gd name="connsiteX80" fmla="*/ 256 w 4008"/>
                  <a:gd name="connsiteY80" fmla="*/ 123 h 1039"/>
                  <a:gd name="connsiteX81" fmla="*/ 209 w 4008"/>
                  <a:gd name="connsiteY81" fmla="*/ 108 h 1039"/>
                  <a:gd name="connsiteX82" fmla="*/ 163 w 4008"/>
                  <a:gd name="connsiteY82" fmla="*/ 100 h 1039"/>
                  <a:gd name="connsiteX83" fmla="*/ 122 w 4008"/>
                  <a:gd name="connsiteY83" fmla="*/ 96 h 1039"/>
                  <a:gd name="connsiteX84" fmla="*/ 85 w 4008"/>
                  <a:gd name="connsiteY84" fmla="*/ 91 h 1039"/>
                  <a:gd name="connsiteX85" fmla="*/ 31 w 4008"/>
                  <a:gd name="connsiteY85" fmla="*/ 91 h 1039"/>
                  <a:gd name="connsiteX86" fmla="*/ 17 w 4008"/>
                  <a:gd name="connsiteY86" fmla="*/ 94 h 1039"/>
                  <a:gd name="connsiteX87" fmla="*/ 11 w 4008"/>
                  <a:gd name="connsiteY87" fmla="*/ 94 h 1039"/>
                  <a:gd name="connsiteX88" fmla="*/ 0 w 4008"/>
                  <a:gd name="connsiteY88" fmla="*/ 9 h 1039"/>
                  <a:gd name="connsiteX89" fmla="*/ 9 w 4008"/>
                  <a:gd name="connsiteY89" fmla="*/ 9 h 1039"/>
                  <a:gd name="connsiteX90" fmla="*/ 29 w 4008"/>
                  <a:gd name="connsiteY90" fmla="*/ 6 h 1039"/>
                  <a:gd name="connsiteX91" fmla="*/ 91 w 4008"/>
                  <a:gd name="connsiteY91" fmla="*/ 6 h 1039"/>
                  <a:gd name="connsiteX92" fmla="*/ 135 w 4008"/>
                  <a:gd name="connsiteY92" fmla="*/ 9 h 1039"/>
                  <a:gd name="connsiteX93" fmla="*/ 182 w 4008"/>
                  <a:gd name="connsiteY93" fmla="*/ 15 h 1039"/>
                  <a:gd name="connsiteX94" fmla="*/ 234 w 4008"/>
                  <a:gd name="connsiteY94" fmla="*/ 25 h 1039"/>
                  <a:gd name="connsiteX95" fmla="*/ 287 w 4008"/>
                  <a:gd name="connsiteY95" fmla="*/ 42 h 1039"/>
                  <a:gd name="connsiteX96" fmla="*/ 345 w 4008"/>
                  <a:gd name="connsiteY96" fmla="*/ 62 h 1039"/>
                  <a:gd name="connsiteX97" fmla="*/ 403 w 4008"/>
                  <a:gd name="connsiteY97" fmla="*/ 89 h 1039"/>
                  <a:gd name="connsiteX98" fmla="*/ 459 w 4008"/>
                  <a:gd name="connsiteY98" fmla="*/ 127 h 1039"/>
                  <a:gd name="connsiteX99" fmla="*/ 514 w 4008"/>
                  <a:gd name="connsiteY99" fmla="*/ 170 h 1039"/>
                  <a:gd name="connsiteX100" fmla="*/ 568 w 4008"/>
                  <a:gd name="connsiteY100" fmla="*/ 224 h 1039"/>
                  <a:gd name="connsiteX101" fmla="*/ 618 w 4008"/>
                  <a:gd name="connsiteY101" fmla="*/ 288 h 1039"/>
                  <a:gd name="connsiteX102" fmla="*/ 667 w 4008"/>
                  <a:gd name="connsiteY102" fmla="*/ 363 h 1039"/>
                  <a:gd name="connsiteX103" fmla="*/ 754 w 4008"/>
                  <a:gd name="connsiteY103" fmla="*/ 512 h 1039"/>
                  <a:gd name="connsiteX104" fmla="*/ 787 w 4008"/>
                  <a:gd name="connsiteY104" fmla="*/ 571 h 1039"/>
                  <a:gd name="connsiteX105" fmla="*/ 820 w 4008"/>
                  <a:gd name="connsiteY105" fmla="*/ 627 h 1039"/>
                  <a:gd name="connsiteX106" fmla="*/ 853 w 4008"/>
                  <a:gd name="connsiteY106" fmla="*/ 680 h 1039"/>
                  <a:gd name="connsiteX107" fmla="*/ 886 w 4008"/>
                  <a:gd name="connsiteY107" fmla="*/ 732 h 1039"/>
                  <a:gd name="connsiteX108" fmla="*/ 921 w 4008"/>
                  <a:gd name="connsiteY108" fmla="*/ 778 h 1039"/>
                  <a:gd name="connsiteX109" fmla="*/ 958 w 4008"/>
                  <a:gd name="connsiteY109" fmla="*/ 821 h 1039"/>
                  <a:gd name="connsiteX110" fmla="*/ 1000 w 4008"/>
                  <a:gd name="connsiteY110" fmla="*/ 859 h 1039"/>
                  <a:gd name="connsiteX111" fmla="*/ 1043 w 4008"/>
                  <a:gd name="connsiteY111" fmla="*/ 890 h 1039"/>
                  <a:gd name="connsiteX112" fmla="*/ 1090 w 4008"/>
                  <a:gd name="connsiteY112" fmla="*/ 917 h 1039"/>
                  <a:gd name="connsiteX113" fmla="*/ 1140 w 4008"/>
                  <a:gd name="connsiteY113" fmla="*/ 935 h 1039"/>
                  <a:gd name="connsiteX114" fmla="*/ 1196 w 4008"/>
                  <a:gd name="connsiteY114" fmla="*/ 948 h 1039"/>
                  <a:gd name="connsiteX115" fmla="*/ 1258 w 4008"/>
                  <a:gd name="connsiteY115" fmla="*/ 952 h 1039"/>
                  <a:gd name="connsiteX116" fmla="*/ 1264 w 4008"/>
                  <a:gd name="connsiteY116" fmla="*/ 952 h 1039"/>
                  <a:gd name="connsiteX117" fmla="*/ 1324 w 4008"/>
                  <a:gd name="connsiteY117" fmla="*/ 946 h 1039"/>
                  <a:gd name="connsiteX118" fmla="*/ 1380 w 4008"/>
                  <a:gd name="connsiteY118" fmla="*/ 931 h 1039"/>
                  <a:gd name="connsiteX119" fmla="*/ 1433 w 4008"/>
                  <a:gd name="connsiteY119" fmla="*/ 909 h 1039"/>
                  <a:gd name="connsiteX120" fmla="*/ 1481 w 4008"/>
                  <a:gd name="connsiteY120" fmla="*/ 880 h 1039"/>
                  <a:gd name="connsiteX121" fmla="*/ 1526 w 4008"/>
                  <a:gd name="connsiteY121" fmla="*/ 842 h 1039"/>
                  <a:gd name="connsiteX122" fmla="*/ 1569 w 4008"/>
                  <a:gd name="connsiteY122" fmla="*/ 799 h 1039"/>
                  <a:gd name="connsiteX123" fmla="*/ 1609 w 4008"/>
                  <a:gd name="connsiteY123" fmla="*/ 751 h 1039"/>
                  <a:gd name="connsiteX124" fmla="*/ 1648 w 4008"/>
                  <a:gd name="connsiteY124" fmla="*/ 699 h 1039"/>
                  <a:gd name="connsiteX125" fmla="*/ 1687 w 4008"/>
                  <a:gd name="connsiteY125" fmla="*/ 645 h 1039"/>
                  <a:gd name="connsiteX126" fmla="*/ 1799 w 4008"/>
                  <a:gd name="connsiteY126" fmla="*/ 471 h 1039"/>
                  <a:gd name="connsiteX127" fmla="*/ 1838 w 4008"/>
                  <a:gd name="connsiteY127" fmla="*/ 411 h 1039"/>
                  <a:gd name="connsiteX128" fmla="*/ 1879 w 4008"/>
                  <a:gd name="connsiteY128" fmla="*/ 353 h 1039"/>
                  <a:gd name="connsiteX129" fmla="*/ 1923 w 4008"/>
                  <a:gd name="connsiteY129" fmla="*/ 295 h 1039"/>
                  <a:gd name="connsiteX130" fmla="*/ 1968 w 4008"/>
                  <a:gd name="connsiteY130" fmla="*/ 241 h 1039"/>
                  <a:gd name="connsiteX131" fmla="*/ 2015 w 4008"/>
                  <a:gd name="connsiteY131" fmla="*/ 189 h 1039"/>
                  <a:gd name="connsiteX132" fmla="*/ 2069 w 4008"/>
                  <a:gd name="connsiteY132" fmla="*/ 141 h 1039"/>
                  <a:gd name="connsiteX133" fmla="*/ 2125 w 4008"/>
                  <a:gd name="connsiteY133" fmla="*/ 100 h 1039"/>
                  <a:gd name="connsiteX134" fmla="*/ 2187 w 4008"/>
                  <a:gd name="connsiteY134" fmla="*/ 65 h 1039"/>
                  <a:gd name="connsiteX135" fmla="*/ 2253 w 4008"/>
                  <a:gd name="connsiteY135" fmla="*/ 35 h 1039"/>
                  <a:gd name="connsiteX136" fmla="*/ 2325 w 4008"/>
                  <a:gd name="connsiteY136" fmla="*/ 15 h 1039"/>
                  <a:gd name="connsiteX137" fmla="*/ 2404 w 4008"/>
                  <a:gd name="connsiteY137" fmla="*/ 2 h 1039"/>
                  <a:gd name="connsiteX138" fmla="*/ 2474 w 4008"/>
                  <a:gd name="connsiteY138" fmla="*/ 0 h 1039"/>
                  <a:gd name="connsiteX139" fmla="*/ 2540 w 4008"/>
                  <a:gd name="connsiteY139" fmla="*/ 9 h 1039"/>
                  <a:gd name="connsiteX140" fmla="*/ 2600 w 4008"/>
                  <a:gd name="connsiteY140" fmla="*/ 23 h 1039"/>
                  <a:gd name="connsiteX141" fmla="*/ 2658 w 4008"/>
                  <a:gd name="connsiteY141" fmla="*/ 46 h 1039"/>
                  <a:gd name="connsiteX142" fmla="*/ 2711 w 4008"/>
                  <a:gd name="connsiteY142" fmla="*/ 77 h 1039"/>
                  <a:gd name="connsiteX143" fmla="*/ 2761 w 4008"/>
                  <a:gd name="connsiteY143" fmla="*/ 112 h 1039"/>
                  <a:gd name="connsiteX144" fmla="*/ 2806 w 4008"/>
                  <a:gd name="connsiteY144" fmla="*/ 154 h 1039"/>
                  <a:gd name="connsiteX145" fmla="*/ 2852 w 4008"/>
                  <a:gd name="connsiteY145" fmla="*/ 199 h 1039"/>
                  <a:gd name="connsiteX146" fmla="*/ 2893 w 4008"/>
                  <a:gd name="connsiteY146" fmla="*/ 247 h 1039"/>
                  <a:gd name="connsiteX147" fmla="*/ 2932 w 4008"/>
                  <a:gd name="connsiteY147" fmla="*/ 299 h 1039"/>
                  <a:gd name="connsiteX148" fmla="*/ 2969 w 4008"/>
                  <a:gd name="connsiteY148" fmla="*/ 353 h 1039"/>
                  <a:gd name="connsiteX149" fmla="*/ 3004 w 4008"/>
                  <a:gd name="connsiteY149" fmla="*/ 409 h 1039"/>
                  <a:gd name="connsiteX150" fmla="*/ 3039 w 4008"/>
                  <a:gd name="connsiteY150" fmla="*/ 463 h 1039"/>
                  <a:gd name="connsiteX151" fmla="*/ 3073 w 4008"/>
                  <a:gd name="connsiteY151" fmla="*/ 519 h 1039"/>
                  <a:gd name="connsiteX152" fmla="*/ 3186 w 4008"/>
                  <a:gd name="connsiteY152" fmla="*/ 697 h 1039"/>
                  <a:gd name="connsiteX153" fmla="*/ 3265 w 4008"/>
                  <a:gd name="connsiteY153" fmla="*/ 801 h 1039"/>
                  <a:gd name="connsiteX154" fmla="*/ 3306 w 4008"/>
                  <a:gd name="connsiteY154" fmla="*/ 844 h 1039"/>
                  <a:gd name="connsiteX155" fmla="*/ 3444 w 4008"/>
                  <a:gd name="connsiteY155" fmla="*/ 935 h 1039"/>
                  <a:gd name="connsiteX156" fmla="*/ 3554 w 4008"/>
                  <a:gd name="connsiteY156" fmla="*/ 952 h 1039"/>
                  <a:gd name="connsiteX157" fmla="*/ 3659 w 4008"/>
                  <a:gd name="connsiteY157" fmla="*/ 931 h 1039"/>
                  <a:gd name="connsiteX158" fmla="*/ 3789 w 4008"/>
                  <a:gd name="connsiteY158" fmla="*/ 844 h 1039"/>
                  <a:gd name="connsiteX159" fmla="*/ 3826 w 4008"/>
                  <a:gd name="connsiteY159" fmla="*/ 803 h 1039"/>
                  <a:gd name="connsiteX0" fmla="*/ 3826 w 4008"/>
                  <a:gd name="connsiteY0" fmla="*/ 803 h 1039"/>
                  <a:gd name="connsiteX1" fmla="*/ 4008 w 4008"/>
                  <a:gd name="connsiteY1" fmla="*/ 687 h 1039"/>
                  <a:gd name="connsiteX2" fmla="*/ 3975 w 4008"/>
                  <a:gd name="connsiteY2" fmla="*/ 743 h 1039"/>
                  <a:gd name="connsiteX3" fmla="*/ 3940 w 4008"/>
                  <a:gd name="connsiteY3" fmla="*/ 794 h 1039"/>
                  <a:gd name="connsiteX4" fmla="*/ 3905 w 4008"/>
                  <a:gd name="connsiteY4" fmla="*/ 844 h 1039"/>
                  <a:gd name="connsiteX5" fmla="*/ 3865 w 4008"/>
                  <a:gd name="connsiteY5" fmla="*/ 890 h 1039"/>
                  <a:gd name="connsiteX6" fmla="*/ 3824 w 4008"/>
                  <a:gd name="connsiteY6" fmla="*/ 931 h 1039"/>
                  <a:gd name="connsiteX7" fmla="*/ 3779 w 4008"/>
                  <a:gd name="connsiteY7" fmla="*/ 967 h 1039"/>
                  <a:gd name="connsiteX8" fmla="*/ 3729 w 4008"/>
                  <a:gd name="connsiteY8" fmla="*/ 996 h 1039"/>
                  <a:gd name="connsiteX9" fmla="*/ 3677 w 4008"/>
                  <a:gd name="connsiteY9" fmla="*/ 1018 h 1039"/>
                  <a:gd name="connsiteX10" fmla="*/ 3620 w 4008"/>
                  <a:gd name="connsiteY10" fmla="*/ 1033 h 1039"/>
                  <a:gd name="connsiteX11" fmla="*/ 3556 w 4008"/>
                  <a:gd name="connsiteY11" fmla="*/ 1039 h 1039"/>
                  <a:gd name="connsiteX12" fmla="*/ 3547 w 4008"/>
                  <a:gd name="connsiteY12" fmla="*/ 1039 h 1039"/>
                  <a:gd name="connsiteX13" fmla="*/ 3485 w 4008"/>
                  <a:gd name="connsiteY13" fmla="*/ 1035 h 1039"/>
                  <a:gd name="connsiteX14" fmla="*/ 3426 w 4008"/>
                  <a:gd name="connsiteY14" fmla="*/ 1021 h 1039"/>
                  <a:gd name="connsiteX15" fmla="*/ 3372 w 4008"/>
                  <a:gd name="connsiteY15" fmla="*/ 998 h 1039"/>
                  <a:gd name="connsiteX16" fmla="*/ 3320 w 4008"/>
                  <a:gd name="connsiteY16" fmla="*/ 969 h 1039"/>
                  <a:gd name="connsiteX17" fmla="*/ 3273 w 4008"/>
                  <a:gd name="connsiteY17" fmla="*/ 931 h 1039"/>
                  <a:gd name="connsiteX18" fmla="*/ 3229 w 4008"/>
                  <a:gd name="connsiteY18" fmla="*/ 890 h 1039"/>
                  <a:gd name="connsiteX19" fmla="*/ 3186 w 4008"/>
                  <a:gd name="connsiteY19" fmla="*/ 842 h 1039"/>
                  <a:gd name="connsiteX20" fmla="*/ 3147 w 4008"/>
                  <a:gd name="connsiteY20" fmla="*/ 792 h 1039"/>
                  <a:gd name="connsiteX21" fmla="*/ 3108 w 4008"/>
                  <a:gd name="connsiteY21" fmla="*/ 736 h 1039"/>
                  <a:gd name="connsiteX22" fmla="*/ 3070 w 4008"/>
                  <a:gd name="connsiteY22" fmla="*/ 680 h 1039"/>
                  <a:gd name="connsiteX23" fmla="*/ 2965 w 4008"/>
                  <a:gd name="connsiteY23" fmla="*/ 506 h 1039"/>
                  <a:gd name="connsiteX24" fmla="*/ 2928 w 4008"/>
                  <a:gd name="connsiteY24" fmla="*/ 448 h 1039"/>
                  <a:gd name="connsiteX25" fmla="*/ 2891 w 4008"/>
                  <a:gd name="connsiteY25" fmla="*/ 392 h 1039"/>
                  <a:gd name="connsiteX26" fmla="*/ 2854 w 4008"/>
                  <a:gd name="connsiteY26" fmla="*/ 338 h 1039"/>
                  <a:gd name="connsiteX27" fmla="*/ 2814 w 4008"/>
                  <a:gd name="connsiteY27" fmla="*/ 288 h 1039"/>
                  <a:gd name="connsiteX28" fmla="*/ 2773 w 4008"/>
                  <a:gd name="connsiteY28" fmla="*/ 243 h 1039"/>
                  <a:gd name="connsiteX29" fmla="*/ 2732 w 4008"/>
                  <a:gd name="connsiteY29" fmla="*/ 201 h 1039"/>
                  <a:gd name="connsiteX30" fmla="*/ 2686 w 4008"/>
                  <a:gd name="connsiteY30" fmla="*/ 164 h 1039"/>
                  <a:gd name="connsiteX31" fmla="*/ 2639 w 4008"/>
                  <a:gd name="connsiteY31" fmla="*/ 135 h 1039"/>
                  <a:gd name="connsiteX32" fmla="*/ 2587 w 4008"/>
                  <a:gd name="connsiteY32" fmla="*/ 112 h 1039"/>
                  <a:gd name="connsiteX33" fmla="*/ 2532 w 4008"/>
                  <a:gd name="connsiteY33" fmla="*/ 96 h 1039"/>
                  <a:gd name="connsiteX34" fmla="*/ 2474 w 4008"/>
                  <a:gd name="connsiteY34" fmla="*/ 87 h 1039"/>
                  <a:gd name="connsiteX35" fmla="*/ 2410 w 4008"/>
                  <a:gd name="connsiteY35" fmla="*/ 89 h 1039"/>
                  <a:gd name="connsiteX36" fmla="*/ 2342 w 4008"/>
                  <a:gd name="connsiteY36" fmla="*/ 100 h 1039"/>
                  <a:gd name="connsiteX37" fmla="*/ 2280 w 4008"/>
                  <a:gd name="connsiteY37" fmla="*/ 118 h 1039"/>
                  <a:gd name="connsiteX38" fmla="*/ 2222 w 4008"/>
                  <a:gd name="connsiteY38" fmla="*/ 143 h 1039"/>
                  <a:gd name="connsiteX39" fmla="*/ 2168 w 4008"/>
                  <a:gd name="connsiteY39" fmla="*/ 176 h 1039"/>
                  <a:gd name="connsiteX40" fmla="*/ 2117 w 4008"/>
                  <a:gd name="connsiteY40" fmla="*/ 214 h 1039"/>
                  <a:gd name="connsiteX41" fmla="*/ 2071 w 4008"/>
                  <a:gd name="connsiteY41" fmla="*/ 257 h 1039"/>
                  <a:gd name="connsiteX42" fmla="*/ 2026 w 4008"/>
                  <a:gd name="connsiteY42" fmla="*/ 303 h 1039"/>
                  <a:gd name="connsiteX43" fmla="*/ 1984 w 4008"/>
                  <a:gd name="connsiteY43" fmla="*/ 355 h 1039"/>
                  <a:gd name="connsiteX44" fmla="*/ 1945 w 4008"/>
                  <a:gd name="connsiteY44" fmla="*/ 409 h 1039"/>
                  <a:gd name="connsiteX45" fmla="*/ 1908 w 4008"/>
                  <a:gd name="connsiteY45" fmla="*/ 463 h 1039"/>
                  <a:gd name="connsiteX46" fmla="*/ 1871 w 4008"/>
                  <a:gd name="connsiteY46" fmla="*/ 519 h 1039"/>
                  <a:gd name="connsiteX47" fmla="*/ 1834 w 4008"/>
                  <a:gd name="connsiteY47" fmla="*/ 577 h 1039"/>
                  <a:gd name="connsiteX48" fmla="*/ 1799 w 4008"/>
                  <a:gd name="connsiteY48" fmla="*/ 633 h 1039"/>
                  <a:gd name="connsiteX49" fmla="*/ 1724 w 4008"/>
                  <a:gd name="connsiteY49" fmla="*/ 745 h 1039"/>
                  <a:gd name="connsiteX50" fmla="*/ 1685 w 4008"/>
                  <a:gd name="connsiteY50" fmla="*/ 797 h 1039"/>
                  <a:gd name="connsiteX51" fmla="*/ 1644 w 4008"/>
                  <a:gd name="connsiteY51" fmla="*/ 846 h 1039"/>
                  <a:gd name="connsiteX52" fmla="*/ 1600 w 4008"/>
                  <a:gd name="connsiteY52" fmla="*/ 892 h 1039"/>
                  <a:gd name="connsiteX53" fmla="*/ 1553 w 4008"/>
                  <a:gd name="connsiteY53" fmla="*/ 933 h 1039"/>
                  <a:gd name="connsiteX54" fmla="*/ 1503 w 4008"/>
                  <a:gd name="connsiteY54" fmla="*/ 969 h 1039"/>
                  <a:gd name="connsiteX55" fmla="*/ 1450 w 4008"/>
                  <a:gd name="connsiteY55" fmla="*/ 998 h 1039"/>
                  <a:gd name="connsiteX56" fmla="*/ 1394 w 4008"/>
                  <a:gd name="connsiteY56" fmla="*/ 1021 h 1039"/>
                  <a:gd name="connsiteX57" fmla="*/ 1330 w 4008"/>
                  <a:gd name="connsiteY57" fmla="*/ 1033 h 1039"/>
                  <a:gd name="connsiteX58" fmla="*/ 1264 w 4008"/>
                  <a:gd name="connsiteY58" fmla="*/ 1039 h 1039"/>
                  <a:gd name="connsiteX59" fmla="*/ 1258 w 4008"/>
                  <a:gd name="connsiteY59" fmla="*/ 1039 h 1039"/>
                  <a:gd name="connsiteX60" fmla="*/ 1190 w 4008"/>
                  <a:gd name="connsiteY60" fmla="*/ 1035 h 1039"/>
                  <a:gd name="connsiteX61" fmla="*/ 1128 w 4008"/>
                  <a:gd name="connsiteY61" fmla="*/ 1023 h 1039"/>
                  <a:gd name="connsiteX62" fmla="*/ 1070 w 4008"/>
                  <a:gd name="connsiteY62" fmla="*/ 1004 h 1039"/>
                  <a:gd name="connsiteX63" fmla="*/ 1018 w 4008"/>
                  <a:gd name="connsiteY63" fmla="*/ 979 h 1039"/>
                  <a:gd name="connsiteX64" fmla="*/ 971 w 4008"/>
                  <a:gd name="connsiteY64" fmla="*/ 948 h 1039"/>
                  <a:gd name="connsiteX65" fmla="*/ 925 w 4008"/>
                  <a:gd name="connsiteY65" fmla="*/ 911 h 1039"/>
                  <a:gd name="connsiteX66" fmla="*/ 884 w 4008"/>
                  <a:gd name="connsiteY66" fmla="*/ 869 h 1039"/>
                  <a:gd name="connsiteX67" fmla="*/ 847 w 4008"/>
                  <a:gd name="connsiteY67" fmla="*/ 824 h 1039"/>
                  <a:gd name="connsiteX68" fmla="*/ 810 w 4008"/>
                  <a:gd name="connsiteY68" fmla="*/ 776 h 1039"/>
                  <a:gd name="connsiteX69" fmla="*/ 777 w 4008"/>
                  <a:gd name="connsiteY69" fmla="*/ 724 h 1039"/>
                  <a:gd name="connsiteX70" fmla="*/ 742 w 4008"/>
                  <a:gd name="connsiteY70" fmla="*/ 670 h 1039"/>
                  <a:gd name="connsiteX71" fmla="*/ 711 w 4008"/>
                  <a:gd name="connsiteY71" fmla="*/ 614 h 1039"/>
                  <a:gd name="connsiteX72" fmla="*/ 678 w 4008"/>
                  <a:gd name="connsiteY72" fmla="*/ 556 h 1039"/>
                  <a:gd name="connsiteX73" fmla="*/ 616 w 4008"/>
                  <a:gd name="connsiteY73" fmla="*/ 444 h 1039"/>
                  <a:gd name="connsiteX74" fmla="*/ 547 w 4008"/>
                  <a:gd name="connsiteY74" fmla="*/ 336 h 1039"/>
                  <a:gd name="connsiteX75" fmla="*/ 504 w 4008"/>
                  <a:gd name="connsiteY75" fmla="*/ 280 h 1039"/>
                  <a:gd name="connsiteX76" fmla="*/ 457 w 4008"/>
                  <a:gd name="connsiteY76" fmla="*/ 235 h 1039"/>
                  <a:gd name="connsiteX77" fmla="*/ 409 w 4008"/>
                  <a:gd name="connsiteY77" fmla="*/ 195 h 1039"/>
                  <a:gd name="connsiteX78" fmla="*/ 358 w 4008"/>
                  <a:gd name="connsiteY78" fmla="*/ 164 h 1039"/>
                  <a:gd name="connsiteX79" fmla="*/ 308 w 4008"/>
                  <a:gd name="connsiteY79" fmla="*/ 141 h 1039"/>
                  <a:gd name="connsiteX80" fmla="*/ 256 w 4008"/>
                  <a:gd name="connsiteY80" fmla="*/ 123 h 1039"/>
                  <a:gd name="connsiteX81" fmla="*/ 209 w 4008"/>
                  <a:gd name="connsiteY81" fmla="*/ 108 h 1039"/>
                  <a:gd name="connsiteX82" fmla="*/ 163 w 4008"/>
                  <a:gd name="connsiteY82" fmla="*/ 100 h 1039"/>
                  <a:gd name="connsiteX83" fmla="*/ 122 w 4008"/>
                  <a:gd name="connsiteY83" fmla="*/ 96 h 1039"/>
                  <a:gd name="connsiteX84" fmla="*/ 85 w 4008"/>
                  <a:gd name="connsiteY84" fmla="*/ 91 h 1039"/>
                  <a:gd name="connsiteX85" fmla="*/ 31 w 4008"/>
                  <a:gd name="connsiteY85" fmla="*/ 91 h 1039"/>
                  <a:gd name="connsiteX86" fmla="*/ 17 w 4008"/>
                  <a:gd name="connsiteY86" fmla="*/ 94 h 1039"/>
                  <a:gd name="connsiteX87" fmla="*/ 11 w 4008"/>
                  <a:gd name="connsiteY87" fmla="*/ 94 h 1039"/>
                  <a:gd name="connsiteX88" fmla="*/ 0 w 4008"/>
                  <a:gd name="connsiteY88" fmla="*/ 9 h 1039"/>
                  <a:gd name="connsiteX89" fmla="*/ 9 w 4008"/>
                  <a:gd name="connsiteY89" fmla="*/ 9 h 1039"/>
                  <a:gd name="connsiteX90" fmla="*/ 29 w 4008"/>
                  <a:gd name="connsiteY90" fmla="*/ 6 h 1039"/>
                  <a:gd name="connsiteX91" fmla="*/ 91 w 4008"/>
                  <a:gd name="connsiteY91" fmla="*/ 6 h 1039"/>
                  <a:gd name="connsiteX92" fmla="*/ 135 w 4008"/>
                  <a:gd name="connsiteY92" fmla="*/ 9 h 1039"/>
                  <a:gd name="connsiteX93" fmla="*/ 182 w 4008"/>
                  <a:gd name="connsiteY93" fmla="*/ 15 h 1039"/>
                  <a:gd name="connsiteX94" fmla="*/ 234 w 4008"/>
                  <a:gd name="connsiteY94" fmla="*/ 25 h 1039"/>
                  <a:gd name="connsiteX95" fmla="*/ 287 w 4008"/>
                  <a:gd name="connsiteY95" fmla="*/ 42 h 1039"/>
                  <a:gd name="connsiteX96" fmla="*/ 345 w 4008"/>
                  <a:gd name="connsiteY96" fmla="*/ 62 h 1039"/>
                  <a:gd name="connsiteX97" fmla="*/ 403 w 4008"/>
                  <a:gd name="connsiteY97" fmla="*/ 89 h 1039"/>
                  <a:gd name="connsiteX98" fmla="*/ 459 w 4008"/>
                  <a:gd name="connsiteY98" fmla="*/ 127 h 1039"/>
                  <a:gd name="connsiteX99" fmla="*/ 514 w 4008"/>
                  <a:gd name="connsiteY99" fmla="*/ 170 h 1039"/>
                  <a:gd name="connsiteX100" fmla="*/ 568 w 4008"/>
                  <a:gd name="connsiteY100" fmla="*/ 224 h 1039"/>
                  <a:gd name="connsiteX101" fmla="*/ 618 w 4008"/>
                  <a:gd name="connsiteY101" fmla="*/ 288 h 1039"/>
                  <a:gd name="connsiteX102" fmla="*/ 667 w 4008"/>
                  <a:gd name="connsiteY102" fmla="*/ 363 h 1039"/>
                  <a:gd name="connsiteX103" fmla="*/ 754 w 4008"/>
                  <a:gd name="connsiteY103" fmla="*/ 512 h 1039"/>
                  <a:gd name="connsiteX104" fmla="*/ 787 w 4008"/>
                  <a:gd name="connsiteY104" fmla="*/ 571 h 1039"/>
                  <a:gd name="connsiteX105" fmla="*/ 820 w 4008"/>
                  <a:gd name="connsiteY105" fmla="*/ 627 h 1039"/>
                  <a:gd name="connsiteX106" fmla="*/ 853 w 4008"/>
                  <a:gd name="connsiteY106" fmla="*/ 680 h 1039"/>
                  <a:gd name="connsiteX107" fmla="*/ 886 w 4008"/>
                  <a:gd name="connsiteY107" fmla="*/ 732 h 1039"/>
                  <a:gd name="connsiteX108" fmla="*/ 921 w 4008"/>
                  <a:gd name="connsiteY108" fmla="*/ 778 h 1039"/>
                  <a:gd name="connsiteX109" fmla="*/ 958 w 4008"/>
                  <a:gd name="connsiteY109" fmla="*/ 821 h 1039"/>
                  <a:gd name="connsiteX110" fmla="*/ 1000 w 4008"/>
                  <a:gd name="connsiteY110" fmla="*/ 859 h 1039"/>
                  <a:gd name="connsiteX111" fmla="*/ 1043 w 4008"/>
                  <a:gd name="connsiteY111" fmla="*/ 890 h 1039"/>
                  <a:gd name="connsiteX112" fmla="*/ 1090 w 4008"/>
                  <a:gd name="connsiteY112" fmla="*/ 917 h 1039"/>
                  <a:gd name="connsiteX113" fmla="*/ 1140 w 4008"/>
                  <a:gd name="connsiteY113" fmla="*/ 935 h 1039"/>
                  <a:gd name="connsiteX114" fmla="*/ 1196 w 4008"/>
                  <a:gd name="connsiteY114" fmla="*/ 948 h 1039"/>
                  <a:gd name="connsiteX115" fmla="*/ 1258 w 4008"/>
                  <a:gd name="connsiteY115" fmla="*/ 952 h 1039"/>
                  <a:gd name="connsiteX116" fmla="*/ 1264 w 4008"/>
                  <a:gd name="connsiteY116" fmla="*/ 952 h 1039"/>
                  <a:gd name="connsiteX117" fmla="*/ 1324 w 4008"/>
                  <a:gd name="connsiteY117" fmla="*/ 946 h 1039"/>
                  <a:gd name="connsiteX118" fmla="*/ 1380 w 4008"/>
                  <a:gd name="connsiteY118" fmla="*/ 931 h 1039"/>
                  <a:gd name="connsiteX119" fmla="*/ 1433 w 4008"/>
                  <a:gd name="connsiteY119" fmla="*/ 909 h 1039"/>
                  <a:gd name="connsiteX120" fmla="*/ 1481 w 4008"/>
                  <a:gd name="connsiteY120" fmla="*/ 880 h 1039"/>
                  <a:gd name="connsiteX121" fmla="*/ 1526 w 4008"/>
                  <a:gd name="connsiteY121" fmla="*/ 842 h 1039"/>
                  <a:gd name="connsiteX122" fmla="*/ 1569 w 4008"/>
                  <a:gd name="connsiteY122" fmla="*/ 799 h 1039"/>
                  <a:gd name="connsiteX123" fmla="*/ 1609 w 4008"/>
                  <a:gd name="connsiteY123" fmla="*/ 751 h 1039"/>
                  <a:gd name="connsiteX124" fmla="*/ 1648 w 4008"/>
                  <a:gd name="connsiteY124" fmla="*/ 699 h 1039"/>
                  <a:gd name="connsiteX125" fmla="*/ 1687 w 4008"/>
                  <a:gd name="connsiteY125" fmla="*/ 645 h 1039"/>
                  <a:gd name="connsiteX126" fmla="*/ 1799 w 4008"/>
                  <a:gd name="connsiteY126" fmla="*/ 471 h 1039"/>
                  <a:gd name="connsiteX127" fmla="*/ 1838 w 4008"/>
                  <a:gd name="connsiteY127" fmla="*/ 411 h 1039"/>
                  <a:gd name="connsiteX128" fmla="*/ 1879 w 4008"/>
                  <a:gd name="connsiteY128" fmla="*/ 353 h 1039"/>
                  <a:gd name="connsiteX129" fmla="*/ 1923 w 4008"/>
                  <a:gd name="connsiteY129" fmla="*/ 295 h 1039"/>
                  <a:gd name="connsiteX130" fmla="*/ 1968 w 4008"/>
                  <a:gd name="connsiteY130" fmla="*/ 241 h 1039"/>
                  <a:gd name="connsiteX131" fmla="*/ 2015 w 4008"/>
                  <a:gd name="connsiteY131" fmla="*/ 189 h 1039"/>
                  <a:gd name="connsiteX132" fmla="*/ 2069 w 4008"/>
                  <a:gd name="connsiteY132" fmla="*/ 141 h 1039"/>
                  <a:gd name="connsiteX133" fmla="*/ 2125 w 4008"/>
                  <a:gd name="connsiteY133" fmla="*/ 100 h 1039"/>
                  <a:gd name="connsiteX134" fmla="*/ 2187 w 4008"/>
                  <a:gd name="connsiteY134" fmla="*/ 65 h 1039"/>
                  <a:gd name="connsiteX135" fmla="*/ 2253 w 4008"/>
                  <a:gd name="connsiteY135" fmla="*/ 35 h 1039"/>
                  <a:gd name="connsiteX136" fmla="*/ 2325 w 4008"/>
                  <a:gd name="connsiteY136" fmla="*/ 15 h 1039"/>
                  <a:gd name="connsiteX137" fmla="*/ 2404 w 4008"/>
                  <a:gd name="connsiteY137" fmla="*/ 2 h 1039"/>
                  <a:gd name="connsiteX138" fmla="*/ 2474 w 4008"/>
                  <a:gd name="connsiteY138" fmla="*/ 0 h 1039"/>
                  <a:gd name="connsiteX139" fmla="*/ 2540 w 4008"/>
                  <a:gd name="connsiteY139" fmla="*/ 9 h 1039"/>
                  <a:gd name="connsiteX140" fmla="*/ 2600 w 4008"/>
                  <a:gd name="connsiteY140" fmla="*/ 23 h 1039"/>
                  <a:gd name="connsiteX141" fmla="*/ 2658 w 4008"/>
                  <a:gd name="connsiteY141" fmla="*/ 46 h 1039"/>
                  <a:gd name="connsiteX142" fmla="*/ 2711 w 4008"/>
                  <a:gd name="connsiteY142" fmla="*/ 77 h 1039"/>
                  <a:gd name="connsiteX143" fmla="*/ 2761 w 4008"/>
                  <a:gd name="connsiteY143" fmla="*/ 112 h 1039"/>
                  <a:gd name="connsiteX144" fmla="*/ 2806 w 4008"/>
                  <a:gd name="connsiteY144" fmla="*/ 154 h 1039"/>
                  <a:gd name="connsiteX145" fmla="*/ 2852 w 4008"/>
                  <a:gd name="connsiteY145" fmla="*/ 199 h 1039"/>
                  <a:gd name="connsiteX146" fmla="*/ 2893 w 4008"/>
                  <a:gd name="connsiteY146" fmla="*/ 247 h 1039"/>
                  <a:gd name="connsiteX147" fmla="*/ 2932 w 4008"/>
                  <a:gd name="connsiteY147" fmla="*/ 299 h 1039"/>
                  <a:gd name="connsiteX148" fmla="*/ 2969 w 4008"/>
                  <a:gd name="connsiteY148" fmla="*/ 353 h 1039"/>
                  <a:gd name="connsiteX149" fmla="*/ 3004 w 4008"/>
                  <a:gd name="connsiteY149" fmla="*/ 409 h 1039"/>
                  <a:gd name="connsiteX150" fmla="*/ 3039 w 4008"/>
                  <a:gd name="connsiteY150" fmla="*/ 463 h 1039"/>
                  <a:gd name="connsiteX151" fmla="*/ 3073 w 4008"/>
                  <a:gd name="connsiteY151" fmla="*/ 519 h 1039"/>
                  <a:gd name="connsiteX152" fmla="*/ 3186 w 4008"/>
                  <a:gd name="connsiteY152" fmla="*/ 697 h 1039"/>
                  <a:gd name="connsiteX153" fmla="*/ 3306 w 4008"/>
                  <a:gd name="connsiteY153" fmla="*/ 844 h 1039"/>
                  <a:gd name="connsiteX154" fmla="*/ 3444 w 4008"/>
                  <a:gd name="connsiteY154" fmla="*/ 935 h 1039"/>
                  <a:gd name="connsiteX155" fmla="*/ 3554 w 4008"/>
                  <a:gd name="connsiteY155" fmla="*/ 952 h 1039"/>
                  <a:gd name="connsiteX156" fmla="*/ 3659 w 4008"/>
                  <a:gd name="connsiteY156" fmla="*/ 931 h 1039"/>
                  <a:gd name="connsiteX157" fmla="*/ 3789 w 4008"/>
                  <a:gd name="connsiteY157" fmla="*/ 844 h 1039"/>
                  <a:gd name="connsiteX158" fmla="*/ 3826 w 4008"/>
                  <a:gd name="connsiteY158" fmla="*/ 803 h 1039"/>
                  <a:gd name="connsiteX0" fmla="*/ 3826 w 4008"/>
                  <a:gd name="connsiteY0" fmla="*/ 803 h 1039"/>
                  <a:gd name="connsiteX1" fmla="*/ 4008 w 4008"/>
                  <a:gd name="connsiteY1" fmla="*/ 687 h 1039"/>
                  <a:gd name="connsiteX2" fmla="*/ 3975 w 4008"/>
                  <a:gd name="connsiteY2" fmla="*/ 743 h 1039"/>
                  <a:gd name="connsiteX3" fmla="*/ 3940 w 4008"/>
                  <a:gd name="connsiteY3" fmla="*/ 794 h 1039"/>
                  <a:gd name="connsiteX4" fmla="*/ 3905 w 4008"/>
                  <a:gd name="connsiteY4" fmla="*/ 844 h 1039"/>
                  <a:gd name="connsiteX5" fmla="*/ 3865 w 4008"/>
                  <a:gd name="connsiteY5" fmla="*/ 890 h 1039"/>
                  <a:gd name="connsiteX6" fmla="*/ 3824 w 4008"/>
                  <a:gd name="connsiteY6" fmla="*/ 931 h 1039"/>
                  <a:gd name="connsiteX7" fmla="*/ 3779 w 4008"/>
                  <a:gd name="connsiteY7" fmla="*/ 967 h 1039"/>
                  <a:gd name="connsiteX8" fmla="*/ 3729 w 4008"/>
                  <a:gd name="connsiteY8" fmla="*/ 996 h 1039"/>
                  <a:gd name="connsiteX9" fmla="*/ 3677 w 4008"/>
                  <a:gd name="connsiteY9" fmla="*/ 1018 h 1039"/>
                  <a:gd name="connsiteX10" fmla="*/ 3620 w 4008"/>
                  <a:gd name="connsiteY10" fmla="*/ 1033 h 1039"/>
                  <a:gd name="connsiteX11" fmla="*/ 3556 w 4008"/>
                  <a:gd name="connsiteY11" fmla="*/ 1039 h 1039"/>
                  <a:gd name="connsiteX12" fmla="*/ 3547 w 4008"/>
                  <a:gd name="connsiteY12" fmla="*/ 1039 h 1039"/>
                  <a:gd name="connsiteX13" fmla="*/ 3485 w 4008"/>
                  <a:gd name="connsiteY13" fmla="*/ 1035 h 1039"/>
                  <a:gd name="connsiteX14" fmla="*/ 3426 w 4008"/>
                  <a:gd name="connsiteY14" fmla="*/ 1021 h 1039"/>
                  <a:gd name="connsiteX15" fmla="*/ 3372 w 4008"/>
                  <a:gd name="connsiteY15" fmla="*/ 998 h 1039"/>
                  <a:gd name="connsiteX16" fmla="*/ 3320 w 4008"/>
                  <a:gd name="connsiteY16" fmla="*/ 969 h 1039"/>
                  <a:gd name="connsiteX17" fmla="*/ 3273 w 4008"/>
                  <a:gd name="connsiteY17" fmla="*/ 931 h 1039"/>
                  <a:gd name="connsiteX18" fmla="*/ 3229 w 4008"/>
                  <a:gd name="connsiteY18" fmla="*/ 890 h 1039"/>
                  <a:gd name="connsiteX19" fmla="*/ 3147 w 4008"/>
                  <a:gd name="connsiteY19" fmla="*/ 792 h 1039"/>
                  <a:gd name="connsiteX20" fmla="*/ 3108 w 4008"/>
                  <a:gd name="connsiteY20" fmla="*/ 736 h 1039"/>
                  <a:gd name="connsiteX21" fmla="*/ 3070 w 4008"/>
                  <a:gd name="connsiteY21" fmla="*/ 680 h 1039"/>
                  <a:gd name="connsiteX22" fmla="*/ 2965 w 4008"/>
                  <a:gd name="connsiteY22" fmla="*/ 506 h 1039"/>
                  <a:gd name="connsiteX23" fmla="*/ 2928 w 4008"/>
                  <a:gd name="connsiteY23" fmla="*/ 448 h 1039"/>
                  <a:gd name="connsiteX24" fmla="*/ 2891 w 4008"/>
                  <a:gd name="connsiteY24" fmla="*/ 392 h 1039"/>
                  <a:gd name="connsiteX25" fmla="*/ 2854 w 4008"/>
                  <a:gd name="connsiteY25" fmla="*/ 338 h 1039"/>
                  <a:gd name="connsiteX26" fmla="*/ 2814 w 4008"/>
                  <a:gd name="connsiteY26" fmla="*/ 288 h 1039"/>
                  <a:gd name="connsiteX27" fmla="*/ 2773 w 4008"/>
                  <a:gd name="connsiteY27" fmla="*/ 243 h 1039"/>
                  <a:gd name="connsiteX28" fmla="*/ 2732 w 4008"/>
                  <a:gd name="connsiteY28" fmla="*/ 201 h 1039"/>
                  <a:gd name="connsiteX29" fmla="*/ 2686 w 4008"/>
                  <a:gd name="connsiteY29" fmla="*/ 164 h 1039"/>
                  <a:gd name="connsiteX30" fmla="*/ 2639 w 4008"/>
                  <a:gd name="connsiteY30" fmla="*/ 135 h 1039"/>
                  <a:gd name="connsiteX31" fmla="*/ 2587 w 4008"/>
                  <a:gd name="connsiteY31" fmla="*/ 112 h 1039"/>
                  <a:gd name="connsiteX32" fmla="*/ 2532 w 4008"/>
                  <a:gd name="connsiteY32" fmla="*/ 96 h 1039"/>
                  <a:gd name="connsiteX33" fmla="*/ 2474 w 4008"/>
                  <a:gd name="connsiteY33" fmla="*/ 87 h 1039"/>
                  <a:gd name="connsiteX34" fmla="*/ 2410 w 4008"/>
                  <a:gd name="connsiteY34" fmla="*/ 89 h 1039"/>
                  <a:gd name="connsiteX35" fmla="*/ 2342 w 4008"/>
                  <a:gd name="connsiteY35" fmla="*/ 100 h 1039"/>
                  <a:gd name="connsiteX36" fmla="*/ 2280 w 4008"/>
                  <a:gd name="connsiteY36" fmla="*/ 118 h 1039"/>
                  <a:gd name="connsiteX37" fmla="*/ 2222 w 4008"/>
                  <a:gd name="connsiteY37" fmla="*/ 143 h 1039"/>
                  <a:gd name="connsiteX38" fmla="*/ 2168 w 4008"/>
                  <a:gd name="connsiteY38" fmla="*/ 176 h 1039"/>
                  <a:gd name="connsiteX39" fmla="*/ 2117 w 4008"/>
                  <a:gd name="connsiteY39" fmla="*/ 214 h 1039"/>
                  <a:gd name="connsiteX40" fmla="*/ 2071 w 4008"/>
                  <a:gd name="connsiteY40" fmla="*/ 257 h 1039"/>
                  <a:gd name="connsiteX41" fmla="*/ 2026 w 4008"/>
                  <a:gd name="connsiteY41" fmla="*/ 303 h 1039"/>
                  <a:gd name="connsiteX42" fmla="*/ 1984 w 4008"/>
                  <a:gd name="connsiteY42" fmla="*/ 355 h 1039"/>
                  <a:gd name="connsiteX43" fmla="*/ 1945 w 4008"/>
                  <a:gd name="connsiteY43" fmla="*/ 409 h 1039"/>
                  <a:gd name="connsiteX44" fmla="*/ 1908 w 4008"/>
                  <a:gd name="connsiteY44" fmla="*/ 463 h 1039"/>
                  <a:gd name="connsiteX45" fmla="*/ 1871 w 4008"/>
                  <a:gd name="connsiteY45" fmla="*/ 519 h 1039"/>
                  <a:gd name="connsiteX46" fmla="*/ 1834 w 4008"/>
                  <a:gd name="connsiteY46" fmla="*/ 577 h 1039"/>
                  <a:gd name="connsiteX47" fmla="*/ 1799 w 4008"/>
                  <a:gd name="connsiteY47" fmla="*/ 633 h 1039"/>
                  <a:gd name="connsiteX48" fmla="*/ 1724 w 4008"/>
                  <a:gd name="connsiteY48" fmla="*/ 745 h 1039"/>
                  <a:gd name="connsiteX49" fmla="*/ 1685 w 4008"/>
                  <a:gd name="connsiteY49" fmla="*/ 797 h 1039"/>
                  <a:gd name="connsiteX50" fmla="*/ 1644 w 4008"/>
                  <a:gd name="connsiteY50" fmla="*/ 846 h 1039"/>
                  <a:gd name="connsiteX51" fmla="*/ 1600 w 4008"/>
                  <a:gd name="connsiteY51" fmla="*/ 892 h 1039"/>
                  <a:gd name="connsiteX52" fmla="*/ 1553 w 4008"/>
                  <a:gd name="connsiteY52" fmla="*/ 933 h 1039"/>
                  <a:gd name="connsiteX53" fmla="*/ 1503 w 4008"/>
                  <a:gd name="connsiteY53" fmla="*/ 969 h 1039"/>
                  <a:gd name="connsiteX54" fmla="*/ 1450 w 4008"/>
                  <a:gd name="connsiteY54" fmla="*/ 998 h 1039"/>
                  <a:gd name="connsiteX55" fmla="*/ 1394 w 4008"/>
                  <a:gd name="connsiteY55" fmla="*/ 1021 h 1039"/>
                  <a:gd name="connsiteX56" fmla="*/ 1330 w 4008"/>
                  <a:gd name="connsiteY56" fmla="*/ 1033 h 1039"/>
                  <a:gd name="connsiteX57" fmla="*/ 1264 w 4008"/>
                  <a:gd name="connsiteY57" fmla="*/ 1039 h 1039"/>
                  <a:gd name="connsiteX58" fmla="*/ 1258 w 4008"/>
                  <a:gd name="connsiteY58" fmla="*/ 1039 h 1039"/>
                  <a:gd name="connsiteX59" fmla="*/ 1190 w 4008"/>
                  <a:gd name="connsiteY59" fmla="*/ 1035 h 1039"/>
                  <a:gd name="connsiteX60" fmla="*/ 1128 w 4008"/>
                  <a:gd name="connsiteY60" fmla="*/ 1023 h 1039"/>
                  <a:gd name="connsiteX61" fmla="*/ 1070 w 4008"/>
                  <a:gd name="connsiteY61" fmla="*/ 1004 h 1039"/>
                  <a:gd name="connsiteX62" fmla="*/ 1018 w 4008"/>
                  <a:gd name="connsiteY62" fmla="*/ 979 h 1039"/>
                  <a:gd name="connsiteX63" fmla="*/ 971 w 4008"/>
                  <a:gd name="connsiteY63" fmla="*/ 948 h 1039"/>
                  <a:gd name="connsiteX64" fmla="*/ 925 w 4008"/>
                  <a:gd name="connsiteY64" fmla="*/ 911 h 1039"/>
                  <a:gd name="connsiteX65" fmla="*/ 884 w 4008"/>
                  <a:gd name="connsiteY65" fmla="*/ 869 h 1039"/>
                  <a:gd name="connsiteX66" fmla="*/ 847 w 4008"/>
                  <a:gd name="connsiteY66" fmla="*/ 824 h 1039"/>
                  <a:gd name="connsiteX67" fmla="*/ 810 w 4008"/>
                  <a:gd name="connsiteY67" fmla="*/ 776 h 1039"/>
                  <a:gd name="connsiteX68" fmla="*/ 777 w 4008"/>
                  <a:gd name="connsiteY68" fmla="*/ 724 h 1039"/>
                  <a:gd name="connsiteX69" fmla="*/ 742 w 4008"/>
                  <a:gd name="connsiteY69" fmla="*/ 670 h 1039"/>
                  <a:gd name="connsiteX70" fmla="*/ 711 w 4008"/>
                  <a:gd name="connsiteY70" fmla="*/ 614 h 1039"/>
                  <a:gd name="connsiteX71" fmla="*/ 678 w 4008"/>
                  <a:gd name="connsiteY71" fmla="*/ 556 h 1039"/>
                  <a:gd name="connsiteX72" fmla="*/ 616 w 4008"/>
                  <a:gd name="connsiteY72" fmla="*/ 444 h 1039"/>
                  <a:gd name="connsiteX73" fmla="*/ 547 w 4008"/>
                  <a:gd name="connsiteY73" fmla="*/ 336 h 1039"/>
                  <a:gd name="connsiteX74" fmla="*/ 504 w 4008"/>
                  <a:gd name="connsiteY74" fmla="*/ 280 h 1039"/>
                  <a:gd name="connsiteX75" fmla="*/ 457 w 4008"/>
                  <a:gd name="connsiteY75" fmla="*/ 235 h 1039"/>
                  <a:gd name="connsiteX76" fmla="*/ 409 w 4008"/>
                  <a:gd name="connsiteY76" fmla="*/ 195 h 1039"/>
                  <a:gd name="connsiteX77" fmla="*/ 358 w 4008"/>
                  <a:gd name="connsiteY77" fmla="*/ 164 h 1039"/>
                  <a:gd name="connsiteX78" fmla="*/ 308 w 4008"/>
                  <a:gd name="connsiteY78" fmla="*/ 141 h 1039"/>
                  <a:gd name="connsiteX79" fmla="*/ 256 w 4008"/>
                  <a:gd name="connsiteY79" fmla="*/ 123 h 1039"/>
                  <a:gd name="connsiteX80" fmla="*/ 209 w 4008"/>
                  <a:gd name="connsiteY80" fmla="*/ 108 h 1039"/>
                  <a:gd name="connsiteX81" fmla="*/ 163 w 4008"/>
                  <a:gd name="connsiteY81" fmla="*/ 100 h 1039"/>
                  <a:gd name="connsiteX82" fmla="*/ 122 w 4008"/>
                  <a:gd name="connsiteY82" fmla="*/ 96 h 1039"/>
                  <a:gd name="connsiteX83" fmla="*/ 85 w 4008"/>
                  <a:gd name="connsiteY83" fmla="*/ 91 h 1039"/>
                  <a:gd name="connsiteX84" fmla="*/ 31 w 4008"/>
                  <a:gd name="connsiteY84" fmla="*/ 91 h 1039"/>
                  <a:gd name="connsiteX85" fmla="*/ 17 w 4008"/>
                  <a:gd name="connsiteY85" fmla="*/ 94 h 1039"/>
                  <a:gd name="connsiteX86" fmla="*/ 11 w 4008"/>
                  <a:gd name="connsiteY86" fmla="*/ 94 h 1039"/>
                  <a:gd name="connsiteX87" fmla="*/ 0 w 4008"/>
                  <a:gd name="connsiteY87" fmla="*/ 9 h 1039"/>
                  <a:gd name="connsiteX88" fmla="*/ 9 w 4008"/>
                  <a:gd name="connsiteY88" fmla="*/ 9 h 1039"/>
                  <a:gd name="connsiteX89" fmla="*/ 29 w 4008"/>
                  <a:gd name="connsiteY89" fmla="*/ 6 h 1039"/>
                  <a:gd name="connsiteX90" fmla="*/ 91 w 4008"/>
                  <a:gd name="connsiteY90" fmla="*/ 6 h 1039"/>
                  <a:gd name="connsiteX91" fmla="*/ 135 w 4008"/>
                  <a:gd name="connsiteY91" fmla="*/ 9 h 1039"/>
                  <a:gd name="connsiteX92" fmla="*/ 182 w 4008"/>
                  <a:gd name="connsiteY92" fmla="*/ 15 h 1039"/>
                  <a:gd name="connsiteX93" fmla="*/ 234 w 4008"/>
                  <a:gd name="connsiteY93" fmla="*/ 25 h 1039"/>
                  <a:gd name="connsiteX94" fmla="*/ 287 w 4008"/>
                  <a:gd name="connsiteY94" fmla="*/ 42 h 1039"/>
                  <a:gd name="connsiteX95" fmla="*/ 345 w 4008"/>
                  <a:gd name="connsiteY95" fmla="*/ 62 h 1039"/>
                  <a:gd name="connsiteX96" fmla="*/ 403 w 4008"/>
                  <a:gd name="connsiteY96" fmla="*/ 89 h 1039"/>
                  <a:gd name="connsiteX97" fmla="*/ 459 w 4008"/>
                  <a:gd name="connsiteY97" fmla="*/ 127 h 1039"/>
                  <a:gd name="connsiteX98" fmla="*/ 514 w 4008"/>
                  <a:gd name="connsiteY98" fmla="*/ 170 h 1039"/>
                  <a:gd name="connsiteX99" fmla="*/ 568 w 4008"/>
                  <a:gd name="connsiteY99" fmla="*/ 224 h 1039"/>
                  <a:gd name="connsiteX100" fmla="*/ 618 w 4008"/>
                  <a:gd name="connsiteY100" fmla="*/ 288 h 1039"/>
                  <a:gd name="connsiteX101" fmla="*/ 667 w 4008"/>
                  <a:gd name="connsiteY101" fmla="*/ 363 h 1039"/>
                  <a:gd name="connsiteX102" fmla="*/ 754 w 4008"/>
                  <a:gd name="connsiteY102" fmla="*/ 512 h 1039"/>
                  <a:gd name="connsiteX103" fmla="*/ 787 w 4008"/>
                  <a:gd name="connsiteY103" fmla="*/ 571 h 1039"/>
                  <a:gd name="connsiteX104" fmla="*/ 820 w 4008"/>
                  <a:gd name="connsiteY104" fmla="*/ 627 h 1039"/>
                  <a:gd name="connsiteX105" fmla="*/ 853 w 4008"/>
                  <a:gd name="connsiteY105" fmla="*/ 680 h 1039"/>
                  <a:gd name="connsiteX106" fmla="*/ 886 w 4008"/>
                  <a:gd name="connsiteY106" fmla="*/ 732 h 1039"/>
                  <a:gd name="connsiteX107" fmla="*/ 921 w 4008"/>
                  <a:gd name="connsiteY107" fmla="*/ 778 h 1039"/>
                  <a:gd name="connsiteX108" fmla="*/ 958 w 4008"/>
                  <a:gd name="connsiteY108" fmla="*/ 821 h 1039"/>
                  <a:gd name="connsiteX109" fmla="*/ 1000 w 4008"/>
                  <a:gd name="connsiteY109" fmla="*/ 859 h 1039"/>
                  <a:gd name="connsiteX110" fmla="*/ 1043 w 4008"/>
                  <a:gd name="connsiteY110" fmla="*/ 890 h 1039"/>
                  <a:gd name="connsiteX111" fmla="*/ 1090 w 4008"/>
                  <a:gd name="connsiteY111" fmla="*/ 917 h 1039"/>
                  <a:gd name="connsiteX112" fmla="*/ 1140 w 4008"/>
                  <a:gd name="connsiteY112" fmla="*/ 935 h 1039"/>
                  <a:gd name="connsiteX113" fmla="*/ 1196 w 4008"/>
                  <a:gd name="connsiteY113" fmla="*/ 948 h 1039"/>
                  <a:gd name="connsiteX114" fmla="*/ 1258 w 4008"/>
                  <a:gd name="connsiteY114" fmla="*/ 952 h 1039"/>
                  <a:gd name="connsiteX115" fmla="*/ 1264 w 4008"/>
                  <a:gd name="connsiteY115" fmla="*/ 952 h 1039"/>
                  <a:gd name="connsiteX116" fmla="*/ 1324 w 4008"/>
                  <a:gd name="connsiteY116" fmla="*/ 946 h 1039"/>
                  <a:gd name="connsiteX117" fmla="*/ 1380 w 4008"/>
                  <a:gd name="connsiteY117" fmla="*/ 931 h 1039"/>
                  <a:gd name="connsiteX118" fmla="*/ 1433 w 4008"/>
                  <a:gd name="connsiteY118" fmla="*/ 909 h 1039"/>
                  <a:gd name="connsiteX119" fmla="*/ 1481 w 4008"/>
                  <a:gd name="connsiteY119" fmla="*/ 880 h 1039"/>
                  <a:gd name="connsiteX120" fmla="*/ 1526 w 4008"/>
                  <a:gd name="connsiteY120" fmla="*/ 842 h 1039"/>
                  <a:gd name="connsiteX121" fmla="*/ 1569 w 4008"/>
                  <a:gd name="connsiteY121" fmla="*/ 799 h 1039"/>
                  <a:gd name="connsiteX122" fmla="*/ 1609 w 4008"/>
                  <a:gd name="connsiteY122" fmla="*/ 751 h 1039"/>
                  <a:gd name="connsiteX123" fmla="*/ 1648 w 4008"/>
                  <a:gd name="connsiteY123" fmla="*/ 699 h 1039"/>
                  <a:gd name="connsiteX124" fmla="*/ 1687 w 4008"/>
                  <a:gd name="connsiteY124" fmla="*/ 645 h 1039"/>
                  <a:gd name="connsiteX125" fmla="*/ 1799 w 4008"/>
                  <a:gd name="connsiteY125" fmla="*/ 471 h 1039"/>
                  <a:gd name="connsiteX126" fmla="*/ 1838 w 4008"/>
                  <a:gd name="connsiteY126" fmla="*/ 411 h 1039"/>
                  <a:gd name="connsiteX127" fmla="*/ 1879 w 4008"/>
                  <a:gd name="connsiteY127" fmla="*/ 353 h 1039"/>
                  <a:gd name="connsiteX128" fmla="*/ 1923 w 4008"/>
                  <a:gd name="connsiteY128" fmla="*/ 295 h 1039"/>
                  <a:gd name="connsiteX129" fmla="*/ 1968 w 4008"/>
                  <a:gd name="connsiteY129" fmla="*/ 241 h 1039"/>
                  <a:gd name="connsiteX130" fmla="*/ 2015 w 4008"/>
                  <a:gd name="connsiteY130" fmla="*/ 189 h 1039"/>
                  <a:gd name="connsiteX131" fmla="*/ 2069 w 4008"/>
                  <a:gd name="connsiteY131" fmla="*/ 141 h 1039"/>
                  <a:gd name="connsiteX132" fmla="*/ 2125 w 4008"/>
                  <a:gd name="connsiteY132" fmla="*/ 100 h 1039"/>
                  <a:gd name="connsiteX133" fmla="*/ 2187 w 4008"/>
                  <a:gd name="connsiteY133" fmla="*/ 65 h 1039"/>
                  <a:gd name="connsiteX134" fmla="*/ 2253 w 4008"/>
                  <a:gd name="connsiteY134" fmla="*/ 35 h 1039"/>
                  <a:gd name="connsiteX135" fmla="*/ 2325 w 4008"/>
                  <a:gd name="connsiteY135" fmla="*/ 15 h 1039"/>
                  <a:gd name="connsiteX136" fmla="*/ 2404 w 4008"/>
                  <a:gd name="connsiteY136" fmla="*/ 2 h 1039"/>
                  <a:gd name="connsiteX137" fmla="*/ 2474 w 4008"/>
                  <a:gd name="connsiteY137" fmla="*/ 0 h 1039"/>
                  <a:gd name="connsiteX138" fmla="*/ 2540 w 4008"/>
                  <a:gd name="connsiteY138" fmla="*/ 9 h 1039"/>
                  <a:gd name="connsiteX139" fmla="*/ 2600 w 4008"/>
                  <a:gd name="connsiteY139" fmla="*/ 23 h 1039"/>
                  <a:gd name="connsiteX140" fmla="*/ 2658 w 4008"/>
                  <a:gd name="connsiteY140" fmla="*/ 46 h 1039"/>
                  <a:gd name="connsiteX141" fmla="*/ 2711 w 4008"/>
                  <a:gd name="connsiteY141" fmla="*/ 77 h 1039"/>
                  <a:gd name="connsiteX142" fmla="*/ 2761 w 4008"/>
                  <a:gd name="connsiteY142" fmla="*/ 112 h 1039"/>
                  <a:gd name="connsiteX143" fmla="*/ 2806 w 4008"/>
                  <a:gd name="connsiteY143" fmla="*/ 154 h 1039"/>
                  <a:gd name="connsiteX144" fmla="*/ 2852 w 4008"/>
                  <a:gd name="connsiteY144" fmla="*/ 199 h 1039"/>
                  <a:gd name="connsiteX145" fmla="*/ 2893 w 4008"/>
                  <a:gd name="connsiteY145" fmla="*/ 247 h 1039"/>
                  <a:gd name="connsiteX146" fmla="*/ 2932 w 4008"/>
                  <a:gd name="connsiteY146" fmla="*/ 299 h 1039"/>
                  <a:gd name="connsiteX147" fmla="*/ 2969 w 4008"/>
                  <a:gd name="connsiteY147" fmla="*/ 353 h 1039"/>
                  <a:gd name="connsiteX148" fmla="*/ 3004 w 4008"/>
                  <a:gd name="connsiteY148" fmla="*/ 409 h 1039"/>
                  <a:gd name="connsiteX149" fmla="*/ 3039 w 4008"/>
                  <a:gd name="connsiteY149" fmla="*/ 463 h 1039"/>
                  <a:gd name="connsiteX150" fmla="*/ 3073 w 4008"/>
                  <a:gd name="connsiteY150" fmla="*/ 519 h 1039"/>
                  <a:gd name="connsiteX151" fmla="*/ 3186 w 4008"/>
                  <a:gd name="connsiteY151" fmla="*/ 697 h 1039"/>
                  <a:gd name="connsiteX152" fmla="*/ 3306 w 4008"/>
                  <a:gd name="connsiteY152" fmla="*/ 844 h 1039"/>
                  <a:gd name="connsiteX153" fmla="*/ 3444 w 4008"/>
                  <a:gd name="connsiteY153" fmla="*/ 935 h 1039"/>
                  <a:gd name="connsiteX154" fmla="*/ 3554 w 4008"/>
                  <a:gd name="connsiteY154" fmla="*/ 952 h 1039"/>
                  <a:gd name="connsiteX155" fmla="*/ 3659 w 4008"/>
                  <a:gd name="connsiteY155" fmla="*/ 931 h 1039"/>
                  <a:gd name="connsiteX156" fmla="*/ 3789 w 4008"/>
                  <a:gd name="connsiteY156" fmla="*/ 844 h 1039"/>
                  <a:gd name="connsiteX157" fmla="*/ 3826 w 4008"/>
                  <a:gd name="connsiteY157" fmla="*/ 803 h 1039"/>
                  <a:gd name="connsiteX0" fmla="*/ 3826 w 4008"/>
                  <a:gd name="connsiteY0" fmla="*/ 803 h 1039"/>
                  <a:gd name="connsiteX1" fmla="*/ 4008 w 4008"/>
                  <a:gd name="connsiteY1" fmla="*/ 687 h 1039"/>
                  <a:gd name="connsiteX2" fmla="*/ 3975 w 4008"/>
                  <a:gd name="connsiteY2" fmla="*/ 743 h 1039"/>
                  <a:gd name="connsiteX3" fmla="*/ 3940 w 4008"/>
                  <a:gd name="connsiteY3" fmla="*/ 794 h 1039"/>
                  <a:gd name="connsiteX4" fmla="*/ 3905 w 4008"/>
                  <a:gd name="connsiteY4" fmla="*/ 844 h 1039"/>
                  <a:gd name="connsiteX5" fmla="*/ 3865 w 4008"/>
                  <a:gd name="connsiteY5" fmla="*/ 890 h 1039"/>
                  <a:gd name="connsiteX6" fmla="*/ 3824 w 4008"/>
                  <a:gd name="connsiteY6" fmla="*/ 931 h 1039"/>
                  <a:gd name="connsiteX7" fmla="*/ 3779 w 4008"/>
                  <a:gd name="connsiteY7" fmla="*/ 967 h 1039"/>
                  <a:gd name="connsiteX8" fmla="*/ 3729 w 4008"/>
                  <a:gd name="connsiteY8" fmla="*/ 996 h 1039"/>
                  <a:gd name="connsiteX9" fmla="*/ 3677 w 4008"/>
                  <a:gd name="connsiteY9" fmla="*/ 1018 h 1039"/>
                  <a:gd name="connsiteX10" fmla="*/ 3620 w 4008"/>
                  <a:gd name="connsiteY10" fmla="*/ 1033 h 1039"/>
                  <a:gd name="connsiteX11" fmla="*/ 3556 w 4008"/>
                  <a:gd name="connsiteY11" fmla="*/ 1039 h 1039"/>
                  <a:gd name="connsiteX12" fmla="*/ 3547 w 4008"/>
                  <a:gd name="connsiteY12" fmla="*/ 1039 h 1039"/>
                  <a:gd name="connsiteX13" fmla="*/ 3485 w 4008"/>
                  <a:gd name="connsiteY13" fmla="*/ 1035 h 1039"/>
                  <a:gd name="connsiteX14" fmla="*/ 3426 w 4008"/>
                  <a:gd name="connsiteY14" fmla="*/ 1021 h 1039"/>
                  <a:gd name="connsiteX15" fmla="*/ 3372 w 4008"/>
                  <a:gd name="connsiteY15" fmla="*/ 998 h 1039"/>
                  <a:gd name="connsiteX16" fmla="*/ 3273 w 4008"/>
                  <a:gd name="connsiteY16" fmla="*/ 931 h 1039"/>
                  <a:gd name="connsiteX17" fmla="*/ 3229 w 4008"/>
                  <a:gd name="connsiteY17" fmla="*/ 890 h 1039"/>
                  <a:gd name="connsiteX18" fmla="*/ 3147 w 4008"/>
                  <a:gd name="connsiteY18" fmla="*/ 792 h 1039"/>
                  <a:gd name="connsiteX19" fmla="*/ 3108 w 4008"/>
                  <a:gd name="connsiteY19" fmla="*/ 736 h 1039"/>
                  <a:gd name="connsiteX20" fmla="*/ 3070 w 4008"/>
                  <a:gd name="connsiteY20" fmla="*/ 680 h 1039"/>
                  <a:gd name="connsiteX21" fmla="*/ 2965 w 4008"/>
                  <a:gd name="connsiteY21" fmla="*/ 506 h 1039"/>
                  <a:gd name="connsiteX22" fmla="*/ 2928 w 4008"/>
                  <a:gd name="connsiteY22" fmla="*/ 448 h 1039"/>
                  <a:gd name="connsiteX23" fmla="*/ 2891 w 4008"/>
                  <a:gd name="connsiteY23" fmla="*/ 392 h 1039"/>
                  <a:gd name="connsiteX24" fmla="*/ 2854 w 4008"/>
                  <a:gd name="connsiteY24" fmla="*/ 338 h 1039"/>
                  <a:gd name="connsiteX25" fmla="*/ 2814 w 4008"/>
                  <a:gd name="connsiteY25" fmla="*/ 288 h 1039"/>
                  <a:gd name="connsiteX26" fmla="*/ 2773 w 4008"/>
                  <a:gd name="connsiteY26" fmla="*/ 243 h 1039"/>
                  <a:gd name="connsiteX27" fmla="*/ 2732 w 4008"/>
                  <a:gd name="connsiteY27" fmla="*/ 201 h 1039"/>
                  <a:gd name="connsiteX28" fmla="*/ 2686 w 4008"/>
                  <a:gd name="connsiteY28" fmla="*/ 164 h 1039"/>
                  <a:gd name="connsiteX29" fmla="*/ 2639 w 4008"/>
                  <a:gd name="connsiteY29" fmla="*/ 135 h 1039"/>
                  <a:gd name="connsiteX30" fmla="*/ 2587 w 4008"/>
                  <a:gd name="connsiteY30" fmla="*/ 112 h 1039"/>
                  <a:gd name="connsiteX31" fmla="*/ 2532 w 4008"/>
                  <a:gd name="connsiteY31" fmla="*/ 96 h 1039"/>
                  <a:gd name="connsiteX32" fmla="*/ 2474 w 4008"/>
                  <a:gd name="connsiteY32" fmla="*/ 87 h 1039"/>
                  <a:gd name="connsiteX33" fmla="*/ 2410 w 4008"/>
                  <a:gd name="connsiteY33" fmla="*/ 89 h 1039"/>
                  <a:gd name="connsiteX34" fmla="*/ 2342 w 4008"/>
                  <a:gd name="connsiteY34" fmla="*/ 100 h 1039"/>
                  <a:gd name="connsiteX35" fmla="*/ 2280 w 4008"/>
                  <a:gd name="connsiteY35" fmla="*/ 118 h 1039"/>
                  <a:gd name="connsiteX36" fmla="*/ 2222 w 4008"/>
                  <a:gd name="connsiteY36" fmla="*/ 143 h 1039"/>
                  <a:gd name="connsiteX37" fmla="*/ 2168 w 4008"/>
                  <a:gd name="connsiteY37" fmla="*/ 176 h 1039"/>
                  <a:gd name="connsiteX38" fmla="*/ 2117 w 4008"/>
                  <a:gd name="connsiteY38" fmla="*/ 214 h 1039"/>
                  <a:gd name="connsiteX39" fmla="*/ 2071 w 4008"/>
                  <a:gd name="connsiteY39" fmla="*/ 257 h 1039"/>
                  <a:gd name="connsiteX40" fmla="*/ 2026 w 4008"/>
                  <a:gd name="connsiteY40" fmla="*/ 303 h 1039"/>
                  <a:gd name="connsiteX41" fmla="*/ 1984 w 4008"/>
                  <a:gd name="connsiteY41" fmla="*/ 355 h 1039"/>
                  <a:gd name="connsiteX42" fmla="*/ 1945 w 4008"/>
                  <a:gd name="connsiteY42" fmla="*/ 409 h 1039"/>
                  <a:gd name="connsiteX43" fmla="*/ 1908 w 4008"/>
                  <a:gd name="connsiteY43" fmla="*/ 463 h 1039"/>
                  <a:gd name="connsiteX44" fmla="*/ 1871 w 4008"/>
                  <a:gd name="connsiteY44" fmla="*/ 519 h 1039"/>
                  <a:gd name="connsiteX45" fmla="*/ 1834 w 4008"/>
                  <a:gd name="connsiteY45" fmla="*/ 577 h 1039"/>
                  <a:gd name="connsiteX46" fmla="*/ 1799 w 4008"/>
                  <a:gd name="connsiteY46" fmla="*/ 633 h 1039"/>
                  <a:gd name="connsiteX47" fmla="*/ 1724 w 4008"/>
                  <a:gd name="connsiteY47" fmla="*/ 745 h 1039"/>
                  <a:gd name="connsiteX48" fmla="*/ 1685 w 4008"/>
                  <a:gd name="connsiteY48" fmla="*/ 797 h 1039"/>
                  <a:gd name="connsiteX49" fmla="*/ 1644 w 4008"/>
                  <a:gd name="connsiteY49" fmla="*/ 846 h 1039"/>
                  <a:gd name="connsiteX50" fmla="*/ 1600 w 4008"/>
                  <a:gd name="connsiteY50" fmla="*/ 892 h 1039"/>
                  <a:gd name="connsiteX51" fmla="*/ 1553 w 4008"/>
                  <a:gd name="connsiteY51" fmla="*/ 933 h 1039"/>
                  <a:gd name="connsiteX52" fmla="*/ 1503 w 4008"/>
                  <a:gd name="connsiteY52" fmla="*/ 969 h 1039"/>
                  <a:gd name="connsiteX53" fmla="*/ 1450 w 4008"/>
                  <a:gd name="connsiteY53" fmla="*/ 998 h 1039"/>
                  <a:gd name="connsiteX54" fmla="*/ 1394 w 4008"/>
                  <a:gd name="connsiteY54" fmla="*/ 1021 h 1039"/>
                  <a:gd name="connsiteX55" fmla="*/ 1330 w 4008"/>
                  <a:gd name="connsiteY55" fmla="*/ 1033 h 1039"/>
                  <a:gd name="connsiteX56" fmla="*/ 1264 w 4008"/>
                  <a:gd name="connsiteY56" fmla="*/ 1039 h 1039"/>
                  <a:gd name="connsiteX57" fmla="*/ 1258 w 4008"/>
                  <a:gd name="connsiteY57" fmla="*/ 1039 h 1039"/>
                  <a:gd name="connsiteX58" fmla="*/ 1190 w 4008"/>
                  <a:gd name="connsiteY58" fmla="*/ 1035 h 1039"/>
                  <a:gd name="connsiteX59" fmla="*/ 1128 w 4008"/>
                  <a:gd name="connsiteY59" fmla="*/ 1023 h 1039"/>
                  <a:gd name="connsiteX60" fmla="*/ 1070 w 4008"/>
                  <a:gd name="connsiteY60" fmla="*/ 1004 h 1039"/>
                  <a:gd name="connsiteX61" fmla="*/ 1018 w 4008"/>
                  <a:gd name="connsiteY61" fmla="*/ 979 h 1039"/>
                  <a:gd name="connsiteX62" fmla="*/ 971 w 4008"/>
                  <a:gd name="connsiteY62" fmla="*/ 948 h 1039"/>
                  <a:gd name="connsiteX63" fmla="*/ 925 w 4008"/>
                  <a:gd name="connsiteY63" fmla="*/ 911 h 1039"/>
                  <a:gd name="connsiteX64" fmla="*/ 884 w 4008"/>
                  <a:gd name="connsiteY64" fmla="*/ 869 h 1039"/>
                  <a:gd name="connsiteX65" fmla="*/ 847 w 4008"/>
                  <a:gd name="connsiteY65" fmla="*/ 824 h 1039"/>
                  <a:gd name="connsiteX66" fmla="*/ 810 w 4008"/>
                  <a:gd name="connsiteY66" fmla="*/ 776 h 1039"/>
                  <a:gd name="connsiteX67" fmla="*/ 777 w 4008"/>
                  <a:gd name="connsiteY67" fmla="*/ 724 h 1039"/>
                  <a:gd name="connsiteX68" fmla="*/ 742 w 4008"/>
                  <a:gd name="connsiteY68" fmla="*/ 670 h 1039"/>
                  <a:gd name="connsiteX69" fmla="*/ 711 w 4008"/>
                  <a:gd name="connsiteY69" fmla="*/ 614 h 1039"/>
                  <a:gd name="connsiteX70" fmla="*/ 678 w 4008"/>
                  <a:gd name="connsiteY70" fmla="*/ 556 h 1039"/>
                  <a:gd name="connsiteX71" fmla="*/ 616 w 4008"/>
                  <a:gd name="connsiteY71" fmla="*/ 444 h 1039"/>
                  <a:gd name="connsiteX72" fmla="*/ 547 w 4008"/>
                  <a:gd name="connsiteY72" fmla="*/ 336 h 1039"/>
                  <a:gd name="connsiteX73" fmla="*/ 504 w 4008"/>
                  <a:gd name="connsiteY73" fmla="*/ 280 h 1039"/>
                  <a:gd name="connsiteX74" fmla="*/ 457 w 4008"/>
                  <a:gd name="connsiteY74" fmla="*/ 235 h 1039"/>
                  <a:gd name="connsiteX75" fmla="*/ 409 w 4008"/>
                  <a:gd name="connsiteY75" fmla="*/ 195 h 1039"/>
                  <a:gd name="connsiteX76" fmla="*/ 358 w 4008"/>
                  <a:gd name="connsiteY76" fmla="*/ 164 h 1039"/>
                  <a:gd name="connsiteX77" fmla="*/ 308 w 4008"/>
                  <a:gd name="connsiteY77" fmla="*/ 141 h 1039"/>
                  <a:gd name="connsiteX78" fmla="*/ 256 w 4008"/>
                  <a:gd name="connsiteY78" fmla="*/ 123 h 1039"/>
                  <a:gd name="connsiteX79" fmla="*/ 209 w 4008"/>
                  <a:gd name="connsiteY79" fmla="*/ 108 h 1039"/>
                  <a:gd name="connsiteX80" fmla="*/ 163 w 4008"/>
                  <a:gd name="connsiteY80" fmla="*/ 100 h 1039"/>
                  <a:gd name="connsiteX81" fmla="*/ 122 w 4008"/>
                  <a:gd name="connsiteY81" fmla="*/ 96 h 1039"/>
                  <a:gd name="connsiteX82" fmla="*/ 85 w 4008"/>
                  <a:gd name="connsiteY82" fmla="*/ 91 h 1039"/>
                  <a:gd name="connsiteX83" fmla="*/ 31 w 4008"/>
                  <a:gd name="connsiteY83" fmla="*/ 91 h 1039"/>
                  <a:gd name="connsiteX84" fmla="*/ 17 w 4008"/>
                  <a:gd name="connsiteY84" fmla="*/ 94 h 1039"/>
                  <a:gd name="connsiteX85" fmla="*/ 11 w 4008"/>
                  <a:gd name="connsiteY85" fmla="*/ 94 h 1039"/>
                  <a:gd name="connsiteX86" fmla="*/ 0 w 4008"/>
                  <a:gd name="connsiteY86" fmla="*/ 9 h 1039"/>
                  <a:gd name="connsiteX87" fmla="*/ 9 w 4008"/>
                  <a:gd name="connsiteY87" fmla="*/ 9 h 1039"/>
                  <a:gd name="connsiteX88" fmla="*/ 29 w 4008"/>
                  <a:gd name="connsiteY88" fmla="*/ 6 h 1039"/>
                  <a:gd name="connsiteX89" fmla="*/ 91 w 4008"/>
                  <a:gd name="connsiteY89" fmla="*/ 6 h 1039"/>
                  <a:gd name="connsiteX90" fmla="*/ 135 w 4008"/>
                  <a:gd name="connsiteY90" fmla="*/ 9 h 1039"/>
                  <a:gd name="connsiteX91" fmla="*/ 182 w 4008"/>
                  <a:gd name="connsiteY91" fmla="*/ 15 h 1039"/>
                  <a:gd name="connsiteX92" fmla="*/ 234 w 4008"/>
                  <a:gd name="connsiteY92" fmla="*/ 25 h 1039"/>
                  <a:gd name="connsiteX93" fmla="*/ 287 w 4008"/>
                  <a:gd name="connsiteY93" fmla="*/ 42 h 1039"/>
                  <a:gd name="connsiteX94" fmla="*/ 345 w 4008"/>
                  <a:gd name="connsiteY94" fmla="*/ 62 h 1039"/>
                  <a:gd name="connsiteX95" fmla="*/ 403 w 4008"/>
                  <a:gd name="connsiteY95" fmla="*/ 89 h 1039"/>
                  <a:gd name="connsiteX96" fmla="*/ 459 w 4008"/>
                  <a:gd name="connsiteY96" fmla="*/ 127 h 1039"/>
                  <a:gd name="connsiteX97" fmla="*/ 514 w 4008"/>
                  <a:gd name="connsiteY97" fmla="*/ 170 h 1039"/>
                  <a:gd name="connsiteX98" fmla="*/ 568 w 4008"/>
                  <a:gd name="connsiteY98" fmla="*/ 224 h 1039"/>
                  <a:gd name="connsiteX99" fmla="*/ 618 w 4008"/>
                  <a:gd name="connsiteY99" fmla="*/ 288 h 1039"/>
                  <a:gd name="connsiteX100" fmla="*/ 667 w 4008"/>
                  <a:gd name="connsiteY100" fmla="*/ 363 h 1039"/>
                  <a:gd name="connsiteX101" fmla="*/ 754 w 4008"/>
                  <a:gd name="connsiteY101" fmla="*/ 512 h 1039"/>
                  <a:gd name="connsiteX102" fmla="*/ 787 w 4008"/>
                  <a:gd name="connsiteY102" fmla="*/ 571 h 1039"/>
                  <a:gd name="connsiteX103" fmla="*/ 820 w 4008"/>
                  <a:gd name="connsiteY103" fmla="*/ 627 h 1039"/>
                  <a:gd name="connsiteX104" fmla="*/ 853 w 4008"/>
                  <a:gd name="connsiteY104" fmla="*/ 680 h 1039"/>
                  <a:gd name="connsiteX105" fmla="*/ 886 w 4008"/>
                  <a:gd name="connsiteY105" fmla="*/ 732 h 1039"/>
                  <a:gd name="connsiteX106" fmla="*/ 921 w 4008"/>
                  <a:gd name="connsiteY106" fmla="*/ 778 h 1039"/>
                  <a:gd name="connsiteX107" fmla="*/ 958 w 4008"/>
                  <a:gd name="connsiteY107" fmla="*/ 821 h 1039"/>
                  <a:gd name="connsiteX108" fmla="*/ 1000 w 4008"/>
                  <a:gd name="connsiteY108" fmla="*/ 859 h 1039"/>
                  <a:gd name="connsiteX109" fmla="*/ 1043 w 4008"/>
                  <a:gd name="connsiteY109" fmla="*/ 890 h 1039"/>
                  <a:gd name="connsiteX110" fmla="*/ 1090 w 4008"/>
                  <a:gd name="connsiteY110" fmla="*/ 917 h 1039"/>
                  <a:gd name="connsiteX111" fmla="*/ 1140 w 4008"/>
                  <a:gd name="connsiteY111" fmla="*/ 935 h 1039"/>
                  <a:gd name="connsiteX112" fmla="*/ 1196 w 4008"/>
                  <a:gd name="connsiteY112" fmla="*/ 948 h 1039"/>
                  <a:gd name="connsiteX113" fmla="*/ 1258 w 4008"/>
                  <a:gd name="connsiteY113" fmla="*/ 952 h 1039"/>
                  <a:gd name="connsiteX114" fmla="*/ 1264 w 4008"/>
                  <a:gd name="connsiteY114" fmla="*/ 952 h 1039"/>
                  <a:gd name="connsiteX115" fmla="*/ 1324 w 4008"/>
                  <a:gd name="connsiteY115" fmla="*/ 946 h 1039"/>
                  <a:gd name="connsiteX116" fmla="*/ 1380 w 4008"/>
                  <a:gd name="connsiteY116" fmla="*/ 931 h 1039"/>
                  <a:gd name="connsiteX117" fmla="*/ 1433 w 4008"/>
                  <a:gd name="connsiteY117" fmla="*/ 909 h 1039"/>
                  <a:gd name="connsiteX118" fmla="*/ 1481 w 4008"/>
                  <a:gd name="connsiteY118" fmla="*/ 880 h 1039"/>
                  <a:gd name="connsiteX119" fmla="*/ 1526 w 4008"/>
                  <a:gd name="connsiteY119" fmla="*/ 842 h 1039"/>
                  <a:gd name="connsiteX120" fmla="*/ 1569 w 4008"/>
                  <a:gd name="connsiteY120" fmla="*/ 799 h 1039"/>
                  <a:gd name="connsiteX121" fmla="*/ 1609 w 4008"/>
                  <a:gd name="connsiteY121" fmla="*/ 751 h 1039"/>
                  <a:gd name="connsiteX122" fmla="*/ 1648 w 4008"/>
                  <a:gd name="connsiteY122" fmla="*/ 699 h 1039"/>
                  <a:gd name="connsiteX123" fmla="*/ 1687 w 4008"/>
                  <a:gd name="connsiteY123" fmla="*/ 645 h 1039"/>
                  <a:gd name="connsiteX124" fmla="*/ 1799 w 4008"/>
                  <a:gd name="connsiteY124" fmla="*/ 471 h 1039"/>
                  <a:gd name="connsiteX125" fmla="*/ 1838 w 4008"/>
                  <a:gd name="connsiteY125" fmla="*/ 411 h 1039"/>
                  <a:gd name="connsiteX126" fmla="*/ 1879 w 4008"/>
                  <a:gd name="connsiteY126" fmla="*/ 353 h 1039"/>
                  <a:gd name="connsiteX127" fmla="*/ 1923 w 4008"/>
                  <a:gd name="connsiteY127" fmla="*/ 295 h 1039"/>
                  <a:gd name="connsiteX128" fmla="*/ 1968 w 4008"/>
                  <a:gd name="connsiteY128" fmla="*/ 241 h 1039"/>
                  <a:gd name="connsiteX129" fmla="*/ 2015 w 4008"/>
                  <a:gd name="connsiteY129" fmla="*/ 189 h 1039"/>
                  <a:gd name="connsiteX130" fmla="*/ 2069 w 4008"/>
                  <a:gd name="connsiteY130" fmla="*/ 141 h 1039"/>
                  <a:gd name="connsiteX131" fmla="*/ 2125 w 4008"/>
                  <a:gd name="connsiteY131" fmla="*/ 100 h 1039"/>
                  <a:gd name="connsiteX132" fmla="*/ 2187 w 4008"/>
                  <a:gd name="connsiteY132" fmla="*/ 65 h 1039"/>
                  <a:gd name="connsiteX133" fmla="*/ 2253 w 4008"/>
                  <a:gd name="connsiteY133" fmla="*/ 35 h 1039"/>
                  <a:gd name="connsiteX134" fmla="*/ 2325 w 4008"/>
                  <a:gd name="connsiteY134" fmla="*/ 15 h 1039"/>
                  <a:gd name="connsiteX135" fmla="*/ 2404 w 4008"/>
                  <a:gd name="connsiteY135" fmla="*/ 2 h 1039"/>
                  <a:gd name="connsiteX136" fmla="*/ 2474 w 4008"/>
                  <a:gd name="connsiteY136" fmla="*/ 0 h 1039"/>
                  <a:gd name="connsiteX137" fmla="*/ 2540 w 4008"/>
                  <a:gd name="connsiteY137" fmla="*/ 9 h 1039"/>
                  <a:gd name="connsiteX138" fmla="*/ 2600 w 4008"/>
                  <a:gd name="connsiteY138" fmla="*/ 23 h 1039"/>
                  <a:gd name="connsiteX139" fmla="*/ 2658 w 4008"/>
                  <a:gd name="connsiteY139" fmla="*/ 46 h 1039"/>
                  <a:gd name="connsiteX140" fmla="*/ 2711 w 4008"/>
                  <a:gd name="connsiteY140" fmla="*/ 77 h 1039"/>
                  <a:gd name="connsiteX141" fmla="*/ 2761 w 4008"/>
                  <a:gd name="connsiteY141" fmla="*/ 112 h 1039"/>
                  <a:gd name="connsiteX142" fmla="*/ 2806 w 4008"/>
                  <a:gd name="connsiteY142" fmla="*/ 154 h 1039"/>
                  <a:gd name="connsiteX143" fmla="*/ 2852 w 4008"/>
                  <a:gd name="connsiteY143" fmla="*/ 199 h 1039"/>
                  <a:gd name="connsiteX144" fmla="*/ 2893 w 4008"/>
                  <a:gd name="connsiteY144" fmla="*/ 247 h 1039"/>
                  <a:gd name="connsiteX145" fmla="*/ 2932 w 4008"/>
                  <a:gd name="connsiteY145" fmla="*/ 299 h 1039"/>
                  <a:gd name="connsiteX146" fmla="*/ 2969 w 4008"/>
                  <a:gd name="connsiteY146" fmla="*/ 353 h 1039"/>
                  <a:gd name="connsiteX147" fmla="*/ 3004 w 4008"/>
                  <a:gd name="connsiteY147" fmla="*/ 409 h 1039"/>
                  <a:gd name="connsiteX148" fmla="*/ 3039 w 4008"/>
                  <a:gd name="connsiteY148" fmla="*/ 463 h 1039"/>
                  <a:gd name="connsiteX149" fmla="*/ 3073 w 4008"/>
                  <a:gd name="connsiteY149" fmla="*/ 519 h 1039"/>
                  <a:gd name="connsiteX150" fmla="*/ 3186 w 4008"/>
                  <a:gd name="connsiteY150" fmla="*/ 697 h 1039"/>
                  <a:gd name="connsiteX151" fmla="*/ 3306 w 4008"/>
                  <a:gd name="connsiteY151" fmla="*/ 844 h 1039"/>
                  <a:gd name="connsiteX152" fmla="*/ 3444 w 4008"/>
                  <a:gd name="connsiteY152" fmla="*/ 935 h 1039"/>
                  <a:gd name="connsiteX153" fmla="*/ 3554 w 4008"/>
                  <a:gd name="connsiteY153" fmla="*/ 952 h 1039"/>
                  <a:gd name="connsiteX154" fmla="*/ 3659 w 4008"/>
                  <a:gd name="connsiteY154" fmla="*/ 931 h 1039"/>
                  <a:gd name="connsiteX155" fmla="*/ 3789 w 4008"/>
                  <a:gd name="connsiteY155" fmla="*/ 844 h 1039"/>
                  <a:gd name="connsiteX156" fmla="*/ 3826 w 4008"/>
                  <a:gd name="connsiteY156" fmla="*/ 803 h 1039"/>
                  <a:gd name="connsiteX0" fmla="*/ 3826 w 4008"/>
                  <a:gd name="connsiteY0" fmla="*/ 803 h 1039"/>
                  <a:gd name="connsiteX1" fmla="*/ 4008 w 4008"/>
                  <a:gd name="connsiteY1" fmla="*/ 687 h 1039"/>
                  <a:gd name="connsiteX2" fmla="*/ 3975 w 4008"/>
                  <a:gd name="connsiteY2" fmla="*/ 743 h 1039"/>
                  <a:gd name="connsiteX3" fmla="*/ 3940 w 4008"/>
                  <a:gd name="connsiteY3" fmla="*/ 794 h 1039"/>
                  <a:gd name="connsiteX4" fmla="*/ 3905 w 4008"/>
                  <a:gd name="connsiteY4" fmla="*/ 844 h 1039"/>
                  <a:gd name="connsiteX5" fmla="*/ 3865 w 4008"/>
                  <a:gd name="connsiteY5" fmla="*/ 890 h 1039"/>
                  <a:gd name="connsiteX6" fmla="*/ 3824 w 4008"/>
                  <a:gd name="connsiteY6" fmla="*/ 931 h 1039"/>
                  <a:gd name="connsiteX7" fmla="*/ 3779 w 4008"/>
                  <a:gd name="connsiteY7" fmla="*/ 967 h 1039"/>
                  <a:gd name="connsiteX8" fmla="*/ 3729 w 4008"/>
                  <a:gd name="connsiteY8" fmla="*/ 996 h 1039"/>
                  <a:gd name="connsiteX9" fmla="*/ 3677 w 4008"/>
                  <a:gd name="connsiteY9" fmla="*/ 1018 h 1039"/>
                  <a:gd name="connsiteX10" fmla="*/ 3620 w 4008"/>
                  <a:gd name="connsiteY10" fmla="*/ 1033 h 1039"/>
                  <a:gd name="connsiteX11" fmla="*/ 3556 w 4008"/>
                  <a:gd name="connsiteY11" fmla="*/ 1039 h 1039"/>
                  <a:gd name="connsiteX12" fmla="*/ 3547 w 4008"/>
                  <a:gd name="connsiteY12" fmla="*/ 1039 h 1039"/>
                  <a:gd name="connsiteX13" fmla="*/ 3485 w 4008"/>
                  <a:gd name="connsiteY13" fmla="*/ 1035 h 1039"/>
                  <a:gd name="connsiteX14" fmla="*/ 3372 w 4008"/>
                  <a:gd name="connsiteY14" fmla="*/ 998 h 1039"/>
                  <a:gd name="connsiteX15" fmla="*/ 3273 w 4008"/>
                  <a:gd name="connsiteY15" fmla="*/ 931 h 1039"/>
                  <a:gd name="connsiteX16" fmla="*/ 3229 w 4008"/>
                  <a:gd name="connsiteY16" fmla="*/ 890 h 1039"/>
                  <a:gd name="connsiteX17" fmla="*/ 3147 w 4008"/>
                  <a:gd name="connsiteY17" fmla="*/ 792 h 1039"/>
                  <a:gd name="connsiteX18" fmla="*/ 3108 w 4008"/>
                  <a:gd name="connsiteY18" fmla="*/ 736 h 1039"/>
                  <a:gd name="connsiteX19" fmla="*/ 3070 w 4008"/>
                  <a:gd name="connsiteY19" fmla="*/ 680 h 1039"/>
                  <a:gd name="connsiteX20" fmla="*/ 2965 w 4008"/>
                  <a:gd name="connsiteY20" fmla="*/ 506 h 1039"/>
                  <a:gd name="connsiteX21" fmla="*/ 2928 w 4008"/>
                  <a:gd name="connsiteY21" fmla="*/ 448 h 1039"/>
                  <a:gd name="connsiteX22" fmla="*/ 2891 w 4008"/>
                  <a:gd name="connsiteY22" fmla="*/ 392 h 1039"/>
                  <a:gd name="connsiteX23" fmla="*/ 2854 w 4008"/>
                  <a:gd name="connsiteY23" fmla="*/ 338 h 1039"/>
                  <a:gd name="connsiteX24" fmla="*/ 2814 w 4008"/>
                  <a:gd name="connsiteY24" fmla="*/ 288 h 1039"/>
                  <a:gd name="connsiteX25" fmla="*/ 2773 w 4008"/>
                  <a:gd name="connsiteY25" fmla="*/ 243 h 1039"/>
                  <a:gd name="connsiteX26" fmla="*/ 2732 w 4008"/>
                  <a:gd name="connsiteY26" fmla="*/ 201 h 1039"/>
                  <a:gd name="connsiteX27" fmla="*/ 2686 w 4008"/>
                  <a:gd name="connsiteY27" fmla="*/ 164 h 1039"/>
                  <a:gd name="connsiteX28" fmla="*/ 2639 w 4008"/>
                  <a:gd name="connsiteY28" fmla="*/ 135 h 1039"/>
                  <a:gd name="connsiteX29" fmla="*/ 2587 w 4008"/>
                  <a:gd name="connsiteY29" fmla="*/ 112 h 1039"/>
                  <a:gd name="connsiteX30" fmla="*/ 2532 w 4008"/>
                  <a:gd name="connsiteY30" fmla="*/ 96 h 1039"/>
                  <a:gd name="connsiteX31" fmla="*/ 2474 w 4008"/>
                  <a:gd name="connsiteY31" fmla="*/ 87 h 1039"/>
                  <a:gd name="connsiteX32" fmla="*/ 2410 w 4008"/>
                  <a:gd name="connsiteY32" fmla="*/ 89 h 1039"/>
                  <a:gd name="connsiteX33" fmla="*/ 2342 w 4008"/>
                  <a:gd name="connsiteY33" fmla="*/ 100 h 1039"/>
                  <a:gd name="connsiteX34" fmla="*/ 2280 w 4008"/>
                  <a:gd name="connsiteY34" fmla="*/ 118 h 1039"/>
                  <a:gd name="connsiteX35" fmla="*/ 2222 w 4008"/>
                  <a:gd name="connsiteY35" fmla="*/ 143 h 1039"/>
                  <a:gd name="connsiteX36" fmla="*/ 2168 w 4008"/>
                  <a:gd name="connsiteY36" fmla="*/ 176 h 1039"/>
                  <a:gd name="connsiteX37" fmla="*/ 2117 w 4008"/>
                  <a:gd name="connsiteY37" fmla="*/ 214 h 1039"/>
                  <a:gd name="connsiteX38" fmla="*/ 2071 w 4008"/>
                  <a:gd name="connsiteY38" fmla="*/ 257 h 1039"/>
                  <a:gd name="connsiteX39" fmla="*/ 2026 w 4008"/>
                  <a:gd name="connsiteY39" fmla="*/ 303 h 1039"/>
                  <a:gd name="connsiteX40" fmla="*/ 1984 w 4008"/>
                  <a:gd name="connsiteY40" fmla="*/ 355 h 1039"/>
                  <a:gd name="connsiteX41" fmla="*/ 1945 w 4008"/>
                  <a:gd name="connsiteY41" fmla="*/ 409 h 1039"/>
                  <a:gd name="connsiteX42" fmla="*/ 1908 w 4008"/>
                  <a:gd name="connsiteY42" fmla="*/ 463 h 1039"/>
                  <a:gd name="connsiteX43" fmla="*/ 1871 w 4008"/>
                  <a:gd name="connsiteY43" fmla="*/ 519 h 1039"/>
                  <a:gd name="connsiteX44" fmla="*/ 1834 w 4008"/>
                  <a:gd name="connsiteY44" fmla="*/ 577 h 1039"/>
                  <a:gd name="connsiteX45" fmla="*/ 1799 w 4008"/>
                  <a:gd name="connsiteY45" fmla="*/ 633 h 1039"/>
                  <a:gd name="connsiteX46" fmla="*/ 1724 w 4008"/>
                  <a:gd name="connsiteY46" fmla="*/ 745 h 1039"/>
                  <a:gd name="connsiteX47" fmla="*/ 1685 w 4008"/>
                  <a:gd name="connsiteY47" fmla="*/ 797 h 1039"/>
                  <a:gd name="connsiteX48" fmla="*/ 1644 w 4008"/>
                  <a:gd name="connsiteY48" fmla="*/ 846 h 1039"/>
                  <a:gd name="connsiteX49" fmla="*/ 1600 w 4008"/>
                  <a:gd name="connsiteY49" fmla="*/ 892 h 1039"/>
                  <a:gd name="connsiteX50" fmla="*/ 1553 w 4008"/>
                  <a:gd name="connsiteY50" fmla="*/ 933 h 1039"/>
                  <a:gd name="connsiteX51" fmla="*/ 1503 w 4008"/>
                  <a:gd name="connsiteY51" fmla="*/ 969 h 1039"/>
                  <a:gd name="connsiteX52" fmla="*/ 1450 w 4008"/>
                  <a:gd name="connsiteY52" fmla="*/ 998 h 1039"/>
                  <a:gd name="connsiteX53" fmla="*/ 1394 w 4008"/>
                  <a:gd name="connsiteY53" fmla="*/ 1021 h 1039"/>
                  <a:gd name="connsiteX54" fmla="*/ 1330 w 4008"/>
                  <a:gd name="connsiteY54" fmla="*/ 1033 h 1039"/>
                  <a:gd name="connsiteX55" fmla="*/ 1264 w 4008"/>
                  <a:gd name="connsiteY55" fmla="*/ 1039 h 1039"/>
                  <a:gd name="connsiteX56" fmla="*/ 1258 w 4008"/>
                  <a:gd name="connsiteY56" fmla="*/ 1039 h 1039"/>
                  <a:gd name="connsiteX57" fmla="*/ 1190 w 4008"/>
                  <a:gd name="connsiteY57" fmla="*/ 1035 h 1039"/>
                  <a:gd name="connsiteX58" fmla="*/ 1128 w 4008"/>
                  <a:gd name="connsiteY58" fmla="*/ 1023 h 1039"/>
                  <a:gd name="connsiteX59" fmla="*/ 1070 w 4008"/>
                  <a:gd name="connsiteY59" fmla="*/ 1004 h 1039"/>
                  <a:gd name="connsiteX60" fmla="*/ 1018 w 4008"/>
                  <a:gd name="connsiteY60" fmla="*/ 979 h 1039"/>
                  <a:gd name="connsiteX61" fmla="*/ 971 w 4008"/>
                  <a:gd name="connsiteY61" fmla="*/ 948 h 1039"/>
                  <a:gd name="connsiteX62" fmla="*/ 925 w 4008"/>
                  <a:gd name="connsiteY62" fmla="*/ 911 h 1039"/>
                  <a:gd name="connsiteX63" fmla="*/ 884 w 4008"/>
                  <a:gd name="connsiteY63" fmla="*/ 869 h 1039"/>
                  <a:gd name="connsiteX64" fmla="*/ 847 w 4008"/>
                  <a:gd name="connsiteY64" fmla="*/ 824 h 1039"/>
                  <a:gd name="connsiteX65" fmla="*/ 810 w 4008"/>
                  <a:gd name="connsiteY65" fmla="*/ 776 h 1039"/>
                  <a:gd name="connsiteX66" fmla="*/ 777 w 4008"/>
                  <a:gd name="connsiteY66" fmla="*/ 724 h 1039"/>
                  <a:gd name="connsiteX67" fmla="*/ 742 w 4008"/>
                  <a:gd name="connsiteY67" fmla="*/ 670 h 1039"/>
                  <a:gd name="connsiteX68" fmla="*/ 711 w 4008"/>
                  <a:gd name="connsiteY68" fmla="*/ 614 h 1039"/>
                  <a:gd name="connsiteX69" fmla="*/ 678 w 4008"/>
                  <a:gd name="connsiteY69" fmla="*/ 556 h 1039"/>
                  <a:gd name="connsiteX70" fmla="*/ 616 w 4008"/>
                  <a:gd name="connsiteY70" fmla="*/ 444 h 1039"/>
                  <a:gd name="connsiteX71" fmla="*/ 547 w 4008"/>
                  <a:gd name="connsiteY71" fmla="*/ 336 h 1039"/>
                  <a:gd name="connsiteX72" fmla="*/ 504 w 4008"/>
                  <a:gd name="connsiteY72" fmla="*/ 280 h 1039"/>
                  <a:gd name="connsiteX73" fmla="*/ 457 w 4008"/>
                  <a:gd name="connsiteY73" fmla="*/ 235 h 1039"/>
                  <a:gd name="connsiteX74" fmla="*/ 409 w 4008"/>
                  <a:gd name="connsiteY74" fmla="*/ 195 h 1039"/>
                  <a:gd name="connsiteX75" fmla="*/ 358 w 4008"/>
                  <a:gd name="connsiteY75" fmla="*/ 164 h 1039"/>
                  <a:gd name="connsiteX76" fmla="*/ 308 w 4008"/>
                  <a:gd name="connsiteY76" fmla="*/ 141 h 1039"/>
                  <a:gd name="connsiteX77" fmla="*/ 256 w 4008"/>
                  <a:gd name="connsiteY77" fmla="*/ 123 h 1039"/>
                  <a:gd name="connsiteX78" fmla="*/ 209 w 4008"/>
                  <a:gd name="connsiteY78" fmla="*/ 108 h 1039"/>
                  <a:gd name="connsiteX79" fmla="*/ 163 w 4008"/>
                  <a:gd name="connsiteY79" fmla="*/ 100 h 1039"/>
                  <a:gd name="connsiteX80" fmla="*/ 122 w 4008"/>
                  <a:gd name="connsiteY80" fmla="*/ 96 h 1039"/>
                  <a:gd name="connsiteX81" fmla="*/ 85 w 4008"/>
                  <a:gd name="connsiteY81" fmla="*/ 91 h 1039"/>
                  <a:gd name="connsiteX82" fmla="*/ 31 w 4008"/>
                  <a:gd name="connsiteY82" fmla="*/ 91 h 1039"/>
                  <a:gd name="connsiteX83" fmla="*/ 17 w 4008"/>
                  <a:gd name="connsiteY83" fmla="*/ 94 h 1039"/>
                  <a:gd name="connsiteX84" fmla="*/ 11 w 4008"/>
                  <a:gd name="connsiteY84" fmla="*/ 94 h 1039"/>
                  <a:gd name="connsiteX85" fmla="*/ 0 w 4008"/>
                  <a:gd name="connsiteY85" fmla="*/ 9 h 1039"/>
                  <a:gd name="connsiteX86" fmla="*/ 9 w 4008"/>
                  <a:gd name="connsiteY86" fmla="*/ 9 h 1039"/>
                  <a:gd name="connsiteX87" fmla="*/ 29 w 4008"/>
                  <a:gd name="connsiteY87" fmla="*/ 6 h 1039"/>
                  <a:gd name="connsiteX88" fmla="*/ 91 w 4008"/>
                  <a:gd name="connsiteY88" fmla="*/ 6 h 1039"/>
                  <a:gd name="connsiteX89" fmla="*/ 135 w 4008"/>
                  <a:gd name="connsiteY89" fmla="*/ 9 h 1039"/>
                  <a:gd name="connsiteX90" fmla="*/ 182 w 4008"/>
                  <a:gd name="connsiteY90" fmla="*/ 15 h 1039"/>
                  <a:gd name="connsiteX91" fmla="*/ 234 w 4008"/>
                  <a:gd name="connsiteY91" fmla="*/ 25 h 1039"/>
                  <a:gd name="connsiteX92" fmla="*/ 287 w 4008"/>
                  <a:gd name="connsiteY92" fmla="*/ 42 h 1039"/>
                  <a:gd name="connsiteX93" fmla="*/ 345 w 4008"/>
                  <a:gd name="connsiteY93" fmla="*/ 62 h 1039"/>
                  <a:gd name="connsiteX94" fmla="*/ 403 w 4008"/>
                  <a:gd name="connsiteY94" fmla="*/ 89 h 1039"/>
                  <a:gd name="connsiteX95" fmla="*/ 459 w 4008"/>
                  <a:gd name="connsiteY95" fmla="*/ 127 h 1039"/>
                  <a:gd name="connsiteX96" fmla="*/ 514 w 4008"/>
                  <a:gd name="connsiteY96" fmla="*/ 170 h 1039"/>
                  <a:gd name="connsiteX97" fmla="*/ 568 w 4008"/>
                  <a:gd name="connsiteY97" fmla="*/ 224 h 1039"/>
                  <a:gd name="connsiteX98" fmla="*/ 618 w 4008"/>
                  <a:gd name="connsiteY98" fmla="*/ 288 h 1039"/>
                  <a:gd name="connsiteX99" fmla="*/ 667 w 4008"/>
                  <a:gd name="connsiteY99" fmla="*/ 363 h 1039"/>
                  <a:gd name="connsiteX100" fmla="*/ 754 w 4008"/>
                  <a:gd name="connsiteY100" fmla="*/ 512 h 1039"/>
                  <a:gd name="connsiteX101" fmla="*/ 787 w 4008"/>
                  <a:gd name="connsiteY101" fmla="*/ 571 h 1039"/>
                  <a:gd name="connsiteX102" fmla="*/ 820 w 4008"/>
                  <a:gd name="connsiteY102" fmla="*/ 627 h 1039"/>
                  <a:gd name="connsiteX103" fmla="*/ 853 w 4008"/>
                  <a:gd name="connsiteY103" fmla="*/ 680 h 1039"/>
                  <a:gd name="connsiteX104" fmla="*/ 886 w 4008"/>
                  <a:gd name="connsiteY104" fmla="*/ 732 h 1039"/>
                  <a:gd name="connsiteX105" fmla="*/ 921 w 4008"/>
                  <a:gd name="connsiteY105" fmla="*/ 778 h 1039"/>
                  <a:gd name="connsiteX106" fmla="*/ 958 w 4008"/>
                  <a:gd name="connsiteY106" fmla="*/ 821 h 1039"/>
                  <a:gd name="connsiteX107" fmla="*/ 1000 w 4008"/>
                  <a:gd name="connsiteY107" fmla="*/ 859 h 1039"/>
                  <a:gd name="connsiteX108" fmla="*/ 1043 w 4008"/>
                  <a:gd name="connsiteY108" fmla="*/ 890 h 1039"/>
                  <a:gd name="connsiteX109" fmla="*/ 1090 w 4008"/>
                  <a:gd name="connsiteY109" fmla="*/ 917 h 1039"/>
                  <a:gd name="connsiteX110" fmla="*/ 1140 w 4008"/>
                  <a:gd name="connsiteY110" fmla="*/ 935 h 1039"/>
                  <a:gd name="connsiteX111" fmla="*/ 1196 w 4008"/>
                  <a:gd name="connsiteY111" fmla="*/ 948 h 1039"/>
                  <a:gd name="connsiteX112" fmla="*/ 1258 w 4008"/>
                  <a:gd name="connsiteY112" fmla="*/ 952 h 1039"/>
                  <a:gd name="connsiteX113" fmla="*/ 1264 w 4008"/>
                  <a:gd name="connsiteY113" fmla="*/ 952 h 1039"/>
                  <a:gd name="connsiteX114" fmla="*/ 1324 w 4008"/>
                  <a:gd name="connsiteY114" fmla="*/ 946 h 1039"/>
                  <a:gd name="connsiteX115" fmla="*/ 1380 w 4008"/>
                  <a:gd name="connsiteY115" fmla="*/ 931 h 1039"/>
                  <a:gd name="connsiteX116" fmla="*/ 1433 w 4008"/>
                  <a:gd name="connsiteY116" fmla="*/ 909 h 1039"/>
                  <a:gd name="connsiteX117" fmla="*/ 1481 w 4008"/>
                  <a:gd name="connsiteY117" fmla="*/ 880 h 1039"/>
                  <a:gd name="connsiteX118" fmla="*/ 1526 w 4008"/>
                  <a:gd name="connsiteY118" fmla="*/ 842 h 1039"/>
                  <a:gd name="connsiteX119" fmla="*/ 1569 w 4008"/>
                  <a:gd name="connsiteY119" fmla="*/ 799 h 1039"/>
                  <a:gd name="connsiteX120" fmla="*/ 1609 w 4008"/>
                  <a:gd name="connsiteY120" fmla="*/ 751 h 1039"/>
                  <a:gd name="connsiteX121" fmla="*/ 1648 w 4008"/>
                  <a:gd name="connsiteY121" fmla="*/ 699 h 1039"/>
                  <a:gd name="connsiteX122" fmla="*/ 1687 w 4008"/>
                  <a:gd name="connsiteY122" fmla="*/ 645 h 1039"/>
                  <a:gd name="connsiteX123" fmla="*/ 1799 w 4008"/>
                  <a:gd name="connsiteY123" fmla="*/ 471 h 1039"/>
                  <a:gd name="connsiteX124" fmla="*/ 1838 w 4008"/>
                  <a:gd name="connsiteY124" fmla="*/ 411 h 1039"/>
                  <a:gd name="connsiteX125" fmla="*/ 1879 w 4008"/>
                  <a:gd name="connsiteY125" fmla="*/ 353 h 1039"/>
                  <a:gd name="connsiteX126" fmla="*/ 1923 w 4008"/>
                  <a:gd name="connsiteY126" fmla="*/ 295 h 1039"/>
                  <a:gd name="connsiteX127" fmla="*/ 1968 w 4008"/>
                  <a:gd name="connsiteY127" fmla="*/ 241 h 1039"/>
                  <a:gd name="connsiteX128" fmla="*/ 2015 w 4008"/>
                  <a:gd name="connsiteY128" fmla="*/ 189 h 1039"/>
                  <a:gd name="connsiteX129" fmla="*/ 2069 w 4008"/>
                  <a:gd name="connsiteY129" fmla="*/ 141 h 1039"/>
                  <a:gd name="connsiteX130" fmla="*/ 2125 w 4008"/>
                  <a:gd name="connsiteY130" fmla="*/ 100 h 1039"/>
                  <a:gd name="connsiteX131" fmla="*/ 2187 w 4008"/>
                  <a:gd name="connsiteY131" fmla="*/ 65 h 1039"/>
                  <a:gd name="connsiteX132" fmla="*/ 2253 w 4008"/>
                  <a:gd name="connsiteY132" fmla="*/ 35 h 1039"/>
                  <a:gd name="connsiteX133" fmla="*/ 2325 w 4008"/>
                  <a:gd name="connsiteY133" fmla="*/ 15 h 1039"/>
                  <a:gd name="connsiteX134" fmla="*/ 2404 w 4008"/>
                  <a:gd name="connsiteY134" fmla="*/ 2 h 1039"/>
                  <a:gd name="connsiteX135" fmla="*/ 2474 w 4008"/>
                  <a:gd name="connsiteY135" fmla="*/ 0 h 1039"/>
                  <a:gd name="connsiteX136" fmla="*/ 2540 w 4008"/>
                  <a:gd name="connsiteY136" fmla="*/ 9 h 1039"/>
                  <a:gd name="connsiteX137" fmla="*/ 2600 w 4008"/>
                  <a:gd name="connsiteY137" fmla="*/ 23 h 1039"/>
                  <a:gd name="connsiteX138" fmla="*/ 2658 w 4008"/>
                  <a:gd name="connsiteY138" fmla="*/ 46 h 1039"/>
                  <a:gd name="connsiteX139" fmla="*/ 2711 w 4008"/>
                  <a:gd name="connsiteY139" fmla="*/ 77 h 1039"/>
                  <a:gd name="connsiteX140" fmla="*/ 2761 w 4008"/>
                  <a:gd name="connsiteY140" fmla="*/ 112 h 1039"/>
                  <a:gd name="connsiteX141" fmla="*/ 2806 w 4008"/>
                  <a:gd name="connsiteY141" fmla="*/ 154 h 1039"/>
                  <a:gd name="connsiteX142" fmla="*/ 2852 w 4008"/>
                  <a:gd name="connsiteY142" fmla="*/ 199 h 1039"/>
                  <a:gd name="connsiteX143" fmla="*/ 2893 w 4008"/>
                  <a:gd name="connsiteY143" fmla="*/ 247 h 1039"/>
                  <a:gd name="connsiteX144" fmla="*/ 2932 w 4008"/>
                  <a:gd name="connsiteY144" fmla="*/ 299 h 1039"/>
                  <a:gd name="connsiteX145" fmla="*/ 2969 w 4008"/>
                  <a:gd name="connsiteY145" fmla="*/ 353 h 1039"/>
                  <a:gd name="connsiteX146" fmla="*/ 3004 w 4008"/>
                  <a:gd name="connsiteY146" fmla="*/ 409 h 1039"/>
                  <a:gd name="connsiteX147" fmla="*/ 3039 w 4008"/>
                  <a:gd name="connsiteY147" fmla="*/ 463 h 1039"/>
                  <a:gd name="connsiteX148" fmla="*/ 3073 w 4008"/>
                  <a:gd name="connsiteY148" fmla="*/ 519 h 1039"/>
                  <a:gd name="connsiteX149" fmla="*/ 3186 w 4008"/>
                  <a:gd name="connsiteY149" fmla="*/ 697 h 1039"/>
                  <a:gd name="connsiteX150" fmla="*/ 3306 w 4008"/>
                  <a:gd name="connsiteY150" fmla="*/ 844 h 1039"/>
                  <a:gd name="connsiteX151" fmla="*/ 3444 w 4008"/>
                  <a:gd name="connsiteY151" fmla="*/ 935 h 1039"/>
                  <a:gd name="connsiteX152" fmla="*/ 3554 w 4008"/>
                  <a:gd name="connsiteY152" fmla="*/ 952 h 1039"/>
                  <a:gd name="connsiteX153" fmla="*/ 3659 w 4008"/>
                  <a:gd name="connsiteY153" fmla="*/ 931 h 1039"/>
                  <a:gd name="connsiteX154" fmla="*/ 3789 w 4008"/>
                  <a:gd name="connsiteY154" fmla="*/ 844 h 1039"/>
                  <a:gd name="connsiteX155" fmla="*/ 3826 w 4008"/>
                  <a:gd name="connsiteY155" fmla="*/ 803 h 1039"/>
                  <a:gd name="connsiteX0" fmla="*/ 3826 w 4008"/>
                  <a:gd name="connsiteY0" fmla="*/ 803 h 1039"/>
                  <a:gd name="connsiteX1" fmla="*/ 4008 w 4008"/>
                  <a:gd name="connsiteY1" fmla="*/ 687 h 1039"/>
                  <a:gd name="connsiteX2" fmla="*/ 3975 w 4008"/>
                  <a:gd name="connsiteY2" fmla="*/ 743 h 1039"/>
                  <a:gd name="connsiteX3" fmla="*/ 3940 w 4008"/>
                  <a:gd name="connsiteY3" fmla="*/ 794 h 1039"/>
                  <a:gd name="connsiteX4" fmla="*/ 3905 w 4008"/>
                  <a:gd name="connsiteY4" fmla="*/ 844 h 1039"/>
                  <a:gd name="connsiteX5" fmla="*/ 3865 w 4008"/>
                  <a:gd name="connsiteY5" fmla="*/ 890 h 1039"/>
                  <a:gd name="connsiteX6" fmla="*/ 3824 w 4008"/>
                  <a:gd name="connsiteY6" fmla="*/ 931 h 1039"/>
                  <a:gd name="connsiteX7" fmla="*/ 3779 w 4008"/>
                  <a:gd name="connsiteY7" fmla="*/ 967 h 1039"/>
                  <a:gd name="connsiteX8" fmla="*/ 3729 w 4008"/>
                  <a:gd name="connsiteY8" fmla="*/ 996 h 1039"/>
                  <a:gd name="connsiteX9" fmla="*/ 3620 w 4008"/>
                  <a:gd name="connsiteY9" fmla="*/ 1033 h 1039"/>
                  <a:gd name="connsiteX10" fmla="*/ 3556 w 4008"/>
                  <a:gd name="connsiteY10" fmla="*/ 1039 h 1039"/>
                  <a:gd name="connsiteX11" fmla="*/ 3547 w 4008"/>
                  <a:gd name="connsiteY11" fmla="*/ 1039 h 1039"/>
                  <a:gd name="connsiteX12" fmla="*/ 3485 w 4008"/>
                  <a:gd name="connsiteY12" fmla="*/ 1035 h 1039"/>
                  <a:gd name="connsiteX13" fmla="*/ 3372 w 4008"/>
                  <a:gd name="connsiteY13" fmla="*/ 998 h 1039"/>
                  <a:gd name="connsiteX14" fmla="*/ 3273 w 4008"/>
                  <a:gd name="connsiteY14" fmla="*/ 931 h 1039"/>
                  <a:gd name="connsiteX15" fmla="*/ 3229 w 4008"/>
                  <a:gd name="connsiteY15" fmla="*/ 890 h 1039"/>
                  <a:gd name="connsiteX16" fmla="*/ 3147 w 4008"/>
                  <a:gd name="connsiteY16" fmla="*/ 792 h 1039"/>
                  <a:gd name="connsiteX17" fmla="*/ 3108 w 4008"/>
                  <a:gd name="connsiteY17" fmla="*/ 736 h 1039"/>
                  <a:gd name="connsiteX18" fmla="*/ 3070 w 4008"/>
                  <a:gd name="connsiteY18" fmla="*/ 680 h 1039"/>
                  <a:gd name="connsiteX19" fmla="*/ 2965 w 4008"/>
                  <a:gd name="connsiteY19" fmla="*/ 506 h 1039"/>
                  <a:gd name="connsiteX20" fmla="*/ 2928 w 4008"/>
                  <a:gd name="connsiteY20" fmla="*/ 448 h 1039"/>
                  <a:gd name="connsiteX21" fmla="*/ 2891 w 4008"/>
                  <a:gd name="connsiteY21" fmla="*/ 392 h 1039"/>
                  <a:gd name="connsiteX22" fmla="*/ 2854 w 4008"/>
                  <a:gd name="connsiteY22" fmla="*/ 338 h 1039"/>
                  <a:gd name="connsiteX23" fmla="*/ 2814 w 4008"/>
                  <a:gd name="connsiteY23" fmla="*/ 288 h 1039"/>
                  <a:gd name="connsiteX24" fmla="*/ 2773 w 4008"/>
                  <a:gd name="connsiteY24" fmla="*/ 243 h 1039"/>
                  <a:gd name="connsiteX25" fmla="*/ 2732 w 4008"/>
                  <a:gd name="connsiteY25" fmla="*/ 201 h 1039"/>
                  <a:gd name="connsiteX26" fmla="*/ 2686 w 4008"/>
                  <a:gd name="connsiteY26" fmla="*/ 164 h 1039"/>
                  <a:gd name="connsiteX27" fmla="*/ 2639 w 4008"/>
                  <a:gd name="connsiteY27" fmla="*/ 135 h 1039"/>
                  <a:gd name="connsiteX28" fmla="*/ 2587 w 4008"/>
                  <a:gd name="connsiteY28" fmla="*/ 112 h 1039"/>
                  <a:gd name="connsiteX29" fmla="*/ 2532 w 4008"/>
                  <a:gd name="connsiteY29" fmla="*/ 96 h 1039"/>
                  <a:gd name="connsiteX30" fmla="*/ 2474 w 4008"/>
                  <a:gd name="connsiteY30" fmla="*/ 87 h 1039"/>
                  <a:gd name="connsiteX31" fmla="*/ 2410 w 4008"/>
                  <a:gd name="connsiteY31" fmla="*/ 89 h 1039"/>
                  <a:gd name="connsiteX32" fmla="*/ 2342 w 4008"/>
                  <a:gd name="connsiteY32" fmla="*/ 100 h 1039"/>
                  <a:gd name="connsiteX33" fmla="*/ 2280 w 4008"/>
                  <a:gd name="connsiteY33" fmla="*/ 118 h 1039"/>
                  <a:gd name="connsiteX34" fmla="*/ 2222 w 4008"/>
                  <a:gd name="connsiteY34" fmla="*/ 143 h 1039"/>
                  <a:gd name="connsiteX35" fmla="*/ 2168 w 4008"/>
                  <a:gd name="connsiteY35" fmla="*/ 176 h 1039"/>
                  <a:gd name="connsiteX36" fmla="*/ 2117 w 4008"/>
                  <a:gd name="connsiteY36" fmla="*/ 214 h 1039"/>
                  <a:gd name="connsiteX37" fmla="*/ 2071 w 4008"/>
                  <a:gd name="connsiteY37" fmla="*/ 257 h 1039"/>
                  <a:gd name="connsiteX38" fmla="*/ 2026 w 4008"/>
                  <a:gd name="connsiteY38" fmla="*/ 303 h 1039"/>
                  <a:gd name="connsiteX39" fmla="*/ 1984 w 4008"/>
                  <a:gd name="connsiteY39" fmla="*/ 355 h 1039"/>
                  <a:gd name="connsiteX40" fmla="*/ 1945 w 4008"/>
                  <a:gd name="connsiteY40" fmla="*/ 409 h 1039"/>
                  <a:gd name="connsiteX41" fmla="*/ 1908 w 4008"/>
                  <a:gd name="connsiteY41" fmla="*/ 463 h 1039"/>
                  <a:gd name="connsiteX42" fmla="*/ 1871 w 4008"/>
                  <a:gd name="connsiteY42" fmla="*/ 519 h 1039"/>
                  <a:gd name="connsiteX43" fmla="*/ 1834 w 4008"/>
                  <a:gd name="connsiteY43" fmla="*/ 577 h 1039"/>
                  <a:gd name="connsiteX44" fmla="*/ 1799 w 4008"/>
                  <a:gd name="connsiteY44" fmla="*/ 633 h 1039"/>
                  <a:gd name="connsiteX45" fmla="*/ 1724 w 4008"/>
                  <a:gd name="connsiteY45" fmla="*/ 745 h 1039"/>
                  <a:gd name="connsiteX46" fmla="*/ 1685 w 4008"/>
                  <a:gd name="connsiteY46" fmla="*/ 797 h 1039"/>
                  <a:gd name="connsiteX47" fmla="*/ 1644 w 4008"/>
                  <a:gd name="connsiteY47" fmla="*/ 846 h 1039"/>
                  <a:gd name="connsiteX48" fmla="*/ 1600 w 4008"/>
                  <a:gd name="connsiteY48" fmla="*/ 892 h 1039"/>
                  <a:gd name="connsiteX49" fmla="*/ 1553 w 4008"/>
                  <a:gd name="connsiteY49" fmla="*/ 933 h 1039"/>
                  <a:gd name="connsiteX50" fmla="*/ 1503 w 4008"/>
                  <a:gd name="connsiteY50" fmla="*/ 969 h 1039"/>
                  <a:gd name="connsiteX51" fmla="*/ 1450 w 4008"/>
                  <a:gd name="connsiteY51" fmla="*/ 998 h 1039"/>
                  <a:gd name="connsiteX52" fmla="*/ 1394 w 4008"/>
                  <a:gd name="connsiteY52" fmla="*/ 1021 h 1039"/>
                  <a:gd name="connsiteX53" fmla="*/ 1330 w 4008"/>
                  <a:gd name="connsiteY53" fmla="*/ 1033 h 1039"/>
                  <a:gd name="connsiteX54" fmla="*/ 1264 w 4008"/>
                  <a:gd name="connsiteY54" fmla="*/ 1039 h 1039"/>
                  <a:gd name="connsiteX55" fmla="*/ 1258 w 4008"/>
                  <a:gd name="connsiteY55" fmla="*/ 1039 h 1039"/>
                  <a:gd name="connsiteX56" fmla="*/ 1190 w 4008"/>
                  <a:gd name="connsiteY56" fmla="*/ 1035 h 1039"/>
                  <a:gd name="connsiteX57" fmla="*/ 1128 w 4008"/>
                  <a:gd name="connsiteY57" fmla="*/ 1023 h 1039"/>
                  <a:gd name="connsiteX58" fmla="*/ 1070 w 4008"/>
                  <a:gd name="connsiteY58" fmla="*/ 1004 h 1039"/>
                  <a:gd name="connsiteX59" fmla="*/ 1018 w 4008"/>
                  <a:gd name="connsiteY59" fmla="*/ 979 h 1039"/>
                  <a:gd name="connsiteX60" fmla="*/ 971 w 4008"/>
                  <a:gd name="connsiteY60" fmla="*/ 948 h 1039"/>
                  <a:gd name="connsiteX61" fmla="*/ 925 w 4008"/>
                  <a:gd name="connsiteY61" fmla="*/ 911 h 1039"/>
                  <a:gd name="connsiteX62" fmla="*/ 884 w 4008"/>
                  <a:gd name="connsiteY62" fmla="*/ 869 h 1039"/>
                  <a:gd name="connsiteX63" fmla="*/ 847 w 4008"/>
                  <a:gd name="connsiteY63" fmla="*/ 824 h 1039"/>
                  <a:gd name="connsiteX64" fmla="*/ 810 w 4008"/>
                  <a:gd name="connsiteY64" fmla="*/ 776 h 1039"/>
                  <a:gd name="connsiteX65" fmla="*/ 777 w 4008"/>
                  <a:gd name="connsiteY65" fmla="*/ 724 h 1039"/>
                  <a:gd name="connsiteX66" fmla="*/ 742 w 4008"/>
                  <a:gd name="connsiteY66" fmla="*/ 670 h 1039"/>
                  <a:gd name="connsiteX67" fmla="*/ 711 w 4008"/>
                  <a:gd name="connsiteY67" fmla="*/ 614 h 1039"/>
                  <a:gd name="connsiteX68" fmla="*/ 678 w 4008"/>
                  <a:gd name="connsiteY68" fmla="*/ 556 h 1039"/>
                  <a:gd name="connsiteX69" fmla="*/ 616 w 4008"/>
                  <a:gd name="connsiteY69" fmla="*/ 444 h 1039"/>
                  <a:gd name="connsiteX70" fmla="*/ 547 w 4008"/>
                  <a:gd name="connsiteY70" fmla="*/ 336 h 1039"/>
                  <a:gd name="connsiteX71" fmla="*/ 504 w 4008"/>
                  <a:gd name="connsiteY71" fmla="*/ 280 h 1039"/>
                  <a:gd name="connsiteX72" fmla="*/ 457 w 4008"/>
                  <a:gd name="connsiteY72" fmla="*/ 235 h 1039"/>
                  <a:gd name="connsiteX73" fmla="*/ 409 w 4008"/>
                  <a:gd name="connsiteY73" fmla="*/ 195 h 1039"/>
                  <a:gd name="connsiteX74" fmla="*/ 358 w 4008"/>
                  <a:gd name="connsiteY74" fmla="*/ 164 h 1039"/>
                  <a:gd name="connsiteX75" fmla="*/ 308 w 4008"/>
                  <a:gd name="connsiteY75" fmla="*/ 141 h 1039"/>
                  <a:gd name="connsiteX76" fmla="*/ 256 w 4008"/>
                  <a:gd name="connsiteY76" fmla="*/ 123 h 1039"/>
                  <a:gd name="connsiteX77" fmla="*/ 209 w 4008"/>
                  <a:gd name="connsiteY77" fmla="*/ 108 h 1039"/>
                  <a:gd name="connsiteX78" fmla="*/ 163 w 4008"/>
                  <a:gd name="connsiteY78" fmla="*/ 100 h 1039"/>
                  <a:gd name="connsiteX79" fmla="*/ 122 w 4008"/>
                  <a:gd name="connsiteY79" fmla="*/ 96 h 1039"/>
                  <a:gd name="connsiteX80" fmla="*/ 85 w 4008"/>
                  <a:gd name="connsiteY80" fmla="*/ 91 h 1039"/>
                  <a:gd name="connsiteX81" fmla="*/ 31 w 4008"/>
                  <a:gd name="connsiteY81" fmla="*/ 91 h 1039"/>
                  <a:gd name="connsiteX82" fmla="*/ 17 w 4008"/>
                  <a:gd name="connsiteY82" fmla="*/ 94 h 1039"/>
                  <a:gd name="connsiteX83" fmla="*/ 11 w 4008"/>
                  <a:gd name="connsiteY83" fmla="*/ 94 h 1039"/>
                  <a:gd name="connsiteX84" fmla="*/ 0 w 4008"/>
                  <a:gd name="connsiteY84" fmla="*/ 9 h 1039"/>
                  <a:gd name="connsiteX85" fmla="*/ 9 w 4008"/>
                  <a:gd name="connsiteY85" fmla="*/ 9 h 1039"/>
                  <a:gd name="connsiteX86" fmla="*/ 29 w 4008"/>
                  <a:gd name="connsiteY86" fmla="*/ 6 h 1039"/>
                  <a:gd name="connsiteX87" fmla="*/ 91 w 4008"/>
                  <a:gd name="connsiteY87" fmla="*/ 6 h 1039"/>
                  <a:gd name="connsiteX88" fmla="*/ 135 w 4008"/>
                  <a:gd name="connsiteY88" fmla="*/ 9 h 1039"/>
                  <a:gd name="connsiteX89" fmla="*/ 182 w 4008"/>
                  <a:gd name="connsiteY89" fmla="*/ 15 h 1039"/>
                  <a:gd name="connsiteX90" fmla="*/ 234 w 4008"/>
                  <a:gd name="connsiteY90" fmla="*/ 25 h 1039"/>
                  <a:gd name="connsiteX91" fmla="*/ 287 w 4008"/>
                  <a:gd name="connsiteY91" fmla="*/ 42 h 1039"/>
                  <a:gd name="connsiteX92" fmla="*/ 345 w 4008"/>
                  <a:gd name="connsiteY92" fmla="*/ 62 h 1039"/>
                  <a:gd name="connsiteX93" fmla="*/ 403 w 4008"/>
                  <a:gd name="connsiteY93" fmla="*/ 89 h 1039"/>
                  <a:gd name="connsiteX94" fmla="*/ 459 w 4008"/>
                  <a:gd name="connsiteY94" fmla="*/ 127 h 1039"/>
                  <a:gd name="connsiteX95" fmla="*/ 514 w 4008"/>
                  <a:gd name="connsiteY95" fmla="*/ 170 h 1039"/>
                  <a:gd name="connsiteX96" fmla="*/ 568 w 4008"/>
                  <a:gd name="connsiteY96" fmla="*/ 224 h 1039"/>
                  <a:gd name="connsiteX97" fmla="*/ 618 w 4008"/>
                  <a:gd name="connsiteY97" fmla="*/ 288 h 1039"/>
                  <a:gd name="connsiteX98" fmla="*/ 667 w 4008"/>
                  <a:gd name="connsiteY98" fmla="*/ 363 h 1039"/>
                  <a:gd name="connsiteX99" fmla="*/ 754 w 4008"/>
                  <a:gd name="connsiteY99" fmla="*/ 512 h 1039"/>
                  <a:gd name="connsiteX100" fmla="*/ 787 w 4008"/>
                  <a:gd name="connsiteY100" fmla="*/ 571 h 1039"/>
                  <a:gd name="connsiteX101" fmla="*/ 820 w 4008"/>
                  <a:gd name="connsiteY101" fmla="*/ 627 h 1039"/>
                  <a:gd name="connsiteX102" fmla="*/ 853 w 4008"/>
                  <a:gd name="connsiteY102" fmla="*/ 680 h 1039"/>
                  <a:gd name="connsiteX103" fmla="*/ 886 w 4008"/>
                  <a:gd name="connsiteY103" fmla="*/ 732 h 1039"/>
                  <a:gd name="connsiteX104" fmla="*/ 921 w 4008"/>
                  <a:gd name="connsiteY104" fmla="*/ 778 h 1039"/>
                  <a:gd name="connsiteX105" fmla="*/ 958 w 4008"/>
                  <a:gd name="connsiteY105" fmla="*/ 821 h 1039"/>
                  <a:gd name="connsiteX106" fmla="*/ 1000 w 4008"/>
                  <a:gd name="connsiteY106" fmla="*/ 859 h 1039"/>
                  <a:gd name="connsiteX107" fmla="*/ 1043 w 4008"/>
                  <a:gd name="connsiteY107" fmla="*/ 890 h 1039"/>
                  <a:gd name="connsiteX108" fmla="*/ 1090 w 4008"/>
                  <a:gd name="connsiteY108" fmla="*/ 917 h 1039"/>
                  <a:gd name="connsiteX109" fmla="*/ 1140 w 4008"/>
                  <a:gd name="connsiteY109" fmla="*/ 935 h 1039"/>
                  <a:gd name="connsiteX110" fmla="*/ 1196 w 4008"/>
                  <a:gd name="connsiteY110" fmla="*/ 948 h 1039"/>
                  <a:gd name="connsiteX111" fmla="*/ 1258 w 4008"/>
                  <a:gd name="connsiteY111" fmla="*/ 952 h 1039"/>
                  <a:gd name="connsiteX112" fmla="*/ 1264 w 4008"/>
                  <a:gd name="connsiteY112" fmla="*/ 952 h 1039"/>
                  <a:gd name="connsiteX113" fmla="*/ 1324 w 4008"/>
                  <a:gd name="connsiteY113" fmla="*/ 946 h 1039"/>
                  <a:gd name="connsiteX114" fmla="*/ 1380 w 4008"/>
                  <a:gd name="connsiteY114" fmla="*/ 931 h 1039"/>
                  <a:gd name="connsiteX115" fmla="*/ 1433 w 4008"/>
                  <a:gd name="connsiteY115" fmla="*/ 909 h 1039"/>
                  <a:gd name="connsiteX116" fmla="*/ 1481 w 4008"/>
                  <a:gd name="connsiteY116" fmla="*/ 880 h 1039"/>
                  <a:gd name="connsiteX117" fmla="*/ 1526 w 4008"/>
                  <a:gd name="connsiteY117" fmla="*/ 842 h 1039"/>
                  <a:gd name="connsiteX118" fmla="*/ 1569 w 4008"/>
                  <a:gd name="connsiteY118" fmla="*/ 799 h 1039"/>
                  <a:gd name="connsiteX119" fmla="*/ 1609 w 4008"/>
                  <a:gd name="connsiteY119" fmla="*/ 751 h 1039"/>
                  <a:gd name="connsiteX120" fmla="*/ 1648 w 4008"/>
                  <a:gd name="connsiteY120" fmla="*/ 699 h 1039"/>
                  <a:gd name="connsiteX121" fmla="*/ 1687 w 4008"/>
                  <a:gd name="connsiteY121" fmla="*/ 645 h 1039"/>
                  <a:gd name="connsiteX122" fmla="*/ 1799 w 4008"/>
                  <a:gd name="connsiteY122" fmla="*/ 471 h 1039"/>
                  <a:gd name="connsiteX123" fmla="*/ 1838 w 4008"/>
                  <a:gd name="connsiteY123" fmla="*/ 411 h 1039"/>
                  <a:gd name="connsiteX124" fmla="*/ 1879 w 4008"/>
                  <a:gd name="connsiteY124" fmla="*/ 353 h 1039"/>
                  <a:gd name="connsiteX125" fmla="*/ 1923 w 4008"/>
                  <a:gd name="connsiteY125" fmla="*/ 295 h 1039"/>
                  <a:gd name="connsiteX126" fmla="*/ 1968 w 4008"/>
                  <a:gd name="connsiteY126" fmla="*/ 241 h 1039"/>
                  <a:gd name="connsiteX127" fmla="*/ 2015 w 4008"/>
                  <a:gd name="connsiteY127" fmla="*/ 189 h 1039"/>
                  <a:gd name="connsiteX128" fmla="*/ 2069 w 4008"/>
                  <a:gd name="connsiteY128" fmla="*/ 141 h 1039"/>
                  <a:gd name="connsiteX129" fmla="*/ 2125 w 4008"/>
                  <a:gd name="connsiteY129" fmla="*/ 100 h 1039"/>
                  <a:gd name="connsiteX130" fmla="*/ 2187 w 4008"/>
                  <a:gd name="connsiteY130" fmla="*/ 65 h 1039"/>
                  <a:gd name="connsiteX131" fmla="*/ 2253 w 4008"/>
                  <a:gd name="connsiteY131" fmla="*/ 35 h 1039"/>
                  <a:gd name="connsiteX132" fmla="*/ 2325 w 4008"/>
                  <a:gd name="connsiteY132" fmla="*/ 15 h 1039"/>
                  <a:gd name="connsiteX133" fmla="*/ 2404 w 4008"/>
                  <a:gd name="connsiteY133" fmla="*/ 2 h 1039"/>
                  <a:gd name="connsiteX134" fmla="*/ 2474 w 4008"/>
                  <a:gd name="connsiteY134" fmla="*/ 0 h 1039"/>
                  <a:gd name="connsiteX135" fmla="*/ 2540 w 4008"/>
                  <a:gd name="connsiteY135" fmla="*/ 9 h 1039"/>
                  <a:gd name="connsiteX136" fmla="*/ 2600 w 4008"/>
                  <a:gd name="connsiteY136" fmla="*/ 23 h 1039"/>
                  <a:gd name="connsiteX137" fmla="*/ 2658 w 4008"/>
                  <a:gd name="connsiteY137" fmla="*/ 46 h 1039"/>
                  <a:gd name="connsiteX138" fmla="*/ 2711 w 4008"/>
                  <a:gd name="connsiteY138" fmla="*/ 77 h 1039"/>
                  <a:gd name="connsiteX139" fmla="*/ 2761 w 4008"/>
                  <a:gd name="connsiteY139" fmla="*/ 112 h 1039"/>
                  <a:gd name="connsiteX140" fmla="*/ 2806 w 4008"/>
                  <a:gd name="connsiteY140" fmla="*/ 154 h 1039"/>
                  <a:gd name="connsiteX141" fmla="*/ 2852 w 4008"/>
                  <a:gd name="connsiteY141" fmla="*/ 199 h 1039"/>
                  <a:gd name="connsiteX142" fmla="*/ 2893 w 4008"/>
                  <a:gd name="connsiteY142" fmla="*/ 247 h 1039"/>
                  <a:gd name="connsiteX143" fmla="*/ 2932 w 4008"/>
                  <a:gd name="connsiteY143" fmla="*/ 299 h 1039"/>
                  <a:gd name="connsiteX144" fmla="*/ 2969 w 4008"/>
                  <a:gd name="connsiteY144" fmla="*/ 353 h 1039"/>
                  <a:gd name="connsiteX145" fmla="*/ 3004 w 4008"/>
                  <a:gd name="connsiteY145" fmla="*/ 409 h 1039"/>
                  <a:gd name="connsiteX146" fmla="*/ 3039 w 4008"/>
                  <a:gd name="connsiteY146" fmla="*/ 463 h 1039"/>
                  <a:gd name="connsiteX147" fmla="*/ 3073 w 4008"/>
                  <a:gd name="connsiteY147" fmla="*/ 519 h 1039"/>
                  <a:gd name="connsiteX148" fmla="*/ 3186 w 4008"/>
                  <a:gd name="connsiteY148" fmla="*/ 697 h 1039"/>
                  <a:gd name="connsiteX149" fmla="*/ 3306 w 4008"/>
                  <a:gd name="connsiteY149" fmla="*/ 844 h 1039"/>
                  <a:gd name="connsiteX150" fmla="*/ 3444 w 4008"/>
                  <a:gd name="connsiteY150" fmla="*/ 935 h 1039"/>
                  <a:gd name="connsiteX151" fmla="*/ 3554 w 4008"/>
                  <a:gd name="connsiteY151" fmla="*/ 952 h 1039"/>
                  <a:gd name="connsiteX152" fmla="*/ 3659 w 4008"/>
                  <a:gd name="connsiteY152" fmla="*/ 931 h 1039"/>
                  <a:gd name="connsiteX153" fmla="*/ 3789 w 4008"/>
                  <a:gd name="connsiteY153" fmla="*/ 844 h 1039"/>
                  <a:gd name="connsiteX154" fmla="*/ 3826 w 4008"/>
                  <a:gd name="connsiteY154" fmla="*/ 803 h 1039"/>
                  <a:gd name="connsiteX0" fmla="*/ 3826 w 4008"/>
                  <a:gd name="connsiteY0" fmla="*/ 803 h 1039"/>
                  <a:gd name="connsiteX1" fmla="*/ 4008 w 4008"/>
                  <a:gd name="connsiteY1" fmla="*/ 687 h 1039"/>
                  <a:gd name="connsiteX2" fmla="*/ 3975 w 4008"/>
                  <a:gd name="connsiteY2" fmla="*/ 743 h 1039"/>
                  <a:gd name="connsiteX3" fmla="*/ 3940 w 4008"/>
                  <a:gd name="connsiteY3" fmla="*/ 794 h 1039"/>
                  <a:gd name="connsiteX4" fmla="*/ 3905 w 4008"/>
                  <a:gd name="connsiteY4" fmla="*/ 844 h 1039"/>
                  <a:gd name="connsiteX5" fmla="*/ 3865 w 4008"/>
                  <a:gd name="connsiteY5" fmla="*/ 890 h 1039"/>
                  <a:gd name="connsiteX6" fmla="*/ 3779 w 4008"/>
                  <a:gd name="connsiteY6" fmla="*/ 967 h 1039"/>
                  <a:gd name="connsiteX7" fmla="*/ 3729 w 4008"/>
                  <a:gd name="connsiteY7" fmla="*/ 996 h 1039"/>
                  <a:gd name="connsiteX8" fmla="*/ 3620 w 4008"/>
                  <a:gd name="connsiteY8" fmla="*/ 1033 h 1039"/>
                  <a:gd name="connsiteX9" fmla="*/ 3556 w 4008"/>
                  <a:gd name="connsiteY9" fmla="*/ 1039 h 1039"/>
                  <a:gd name="connsiteX10" fmla="*/ 3547 w 4008"/>
                  <a:gd name="connsiteY10" fmla="*/ 1039 h 1039"/>
                  <a:gd name="connsiteX11" fmla="*/ 3485 w 4008"/>
                  <a:gd name="connsiteY11" fmla="*/ 1035 h 1039"/>
                  <a:gd name="connsiteX12" fmla="*/ 3372 w 4008"/>
                  <a:gd name="connsiteY12" fmla="*/ 998 h 1039"/>
                  <a:gd name="connsiteX13" fmla="*/ 3273 w 4008"/>
                  <a:gd name="connsiteY13" fmla="*/ 931 h 1039"/>
                  <a:gd name="connsiteX14" fmla="*/ 3229 w 4008"/>
                  <a:gd name="connsiteY14" fmla="*/ 890 h 1039"/>
                  <a:gd name="connsiteX15" fmla="*/ 3147 w 4008"/>
                  <a:gd name="connsiteY15" fmla="*/ 792 h 1039"/>
                  <a:gd name="connsiteX16" fmla="*/ 3108 w 4008"/>
                  <a:gd name="connsiteY16" fmla="*/ 736 h 1039"/>
                  <a:gd name="connsiteX17" fmla="*/ 3070 w 4008"/>
                  <a:gd name="connsiteY17" fmla="*/ 680 h 1039"/>
                  <a:gd name="connsiteX18" fmla="*/ 2965 w 4008"/>
                  <a:gd name="connsiteY18" fmla="*/ 506 h 1039"/>
                  <a:gd name="connsiteX19" fmla="*/ 2928 w 4008"/>
                  <a:gd name="connsiteY19" fmla="*/ 448 h 1039"/>
                  <a:gd name="connsiteX20" fmla="*/ 2891 w 4008"/>
                  <a:gd name="connsiteY20" fmla="*/ 392 h 1039"/>
                  <a:gd name="connsiteX21" fmla="*/ 2854 w 4008"/>
                  <a:gd name="connsiteY21" fmla="*/ 338 h 1039"/>
                  <a:gd name="connsiteX22" fmla="*/ 2814 w 4008"/>
                  <a:gd name="connsiteY22" fmla="*/ 288 h 1039"/>
                  <a:gd name="connsiteX23" fmla="*/ 2773 w 4008"/>
                  <a:gd name="connsiteY23" fmla="*/ 243 h 1039"/>
                  <a:gd name="connsiteX24" fmla="*/ 2732 w 4008"/>
                  <a:gd name="connsiteY24" fmla="*/ 201 h 1039"/>
                  <a:gd name="connsiteX25" fmla="*/ 2686 w 4008"/>
                  <a:gd name="connsiteY25" fmla="*/ 164 h 1039"/>
                  <a:gd name="connsiteX26" fmla="*/ 2639 w 4008"/>
                  <a:gd name="connsiteY26" fmla="*/ 135 h 1039"/>
                  <a:gd name="connsiteX27" fmla="*/ 2587 w 4008"/>
                  <a:gd name="connsiteY27" fmla="*/ 112 h 1039"/>
                  <a:gd name="connsiteX28" fmla="*/ 2532 w 4008"/>
                  <a:gd name="connsiteY28" fmla="*/ 96 h 1039"/>
                  <a:gd name="connsiteX29" fmla="*/ 2474 w 4008"/>
                  <a:gd name="connsiteY29" fmla="*/ 87 h 1039"/>
                  <a:gd name="connsiteX30" fmla="*/ 2410 w 4008"/>
                  <a:gd name="connsiteY30" fmla="*/ 89 h 1039"/>
                  <a:gd name="connsiteX31" fmla="*/ 2342 w 4008"/>
                  <a:gd name="connsiteY31" fmla="*/ 100 h 1039"/>
                  <a:gd name="connsiteX32" fmla="*/ 2280 w 4008"/>
                  <a:gd name="connsiteY32" fmla="*/ 118 h 1039"/>
                  <a:gd name="connsiteX33" fmla="*/ 2222 w 4008"/>
                  <a:gd name="connsiteY33" fmla="*/ 143 h 1039"/>
                  <a:gd name="connsiteX34" fmla="*/ 2168 w 4008"/>
                  <a:gd name="connsiteY34" fmla="*/ 176 h 1039"/>
                  <a:gd name="connsiteX35" fmla="*/ 2117 w 4008"/>
                  <a:gd name="connsiteY35" fmla="*/ 214 h 1039"/>
                  <a:gd name="connsiteX36" fmla="*/ 2071 w 4008"/>
                  <a:gd name="connsiteY36" fmla="*/ 257 h 1039"/>
                  <a:gd name="connsiteX37" fmla="*/ 2026 w 4008"/>
                  <a:gd name="connsiteY37" fmla="*/ 303 h 1039"/>
                  <a:gd name="connsiteX38" fmla="*/ 1984 w 4008"/>
                  <a:gd name="connsiteY38" fmla="*/ 355 h 1039"/>
                  <a:gd name="connsiteX39" fmla="*/ 1945 w 4008"/>
                  <a:gd name="connsiteY39" fmla="*/ 409 h 1039"/>
                  <a:gd name="connsiteX40" fmla="*/ 1908 w 4008"/>
                  <a:gd name="connsiteY40" fmla="*/ 463 h 1039"/>
                  <a:gd name="connsiteX41" fmla="*/ 1871 w 4008"/>
                  <a:gd name="connsiteY41" fmla="*/ 519 h 1039"/>
                  <a:gd name="connsiteX42" fmla="*/ 1834 w 4008"/>
                  <a:gd name="connsiteY42" fmla="*/ 577 h 1039"/>
                  <a:gd name="connsiteX43" fmla="*/ 1799 w 4008"/>
                  <a:gd name="connsiteY43" fmla="*/ 633 h 1039"/>
                  <a:gd name="connsiteX44" fmla="*/ 1724 w 4008"/>
                  <a:gd name="connsiteY44" fmla="*/ 745 h 1039"/>
                  <a:gd name="connsiteX45" fmla="*/ 1685 w 4008"/>
                  <a:gd name="connsiteY45" fmla="*/ 797 h 1039"/>
                  <a:gd name="connsiteX46" fmla="*/ 1644 w 4008"/>
                  <a:gd name="connsiteY46" fmla="*/ 846 h 1039"/>
                  <a:gd name="connsiteX47" fmla="*/ 1600 w 4008"/>
                  <a:gd name="connsiteY47" fmla="*/ 892 h 1039"/>
                  <a:gd name="connsiteX48" fmla="*/ 1553 w 4008"/>
                  <a:gd name="connsiteY48" fmla="*/ 933 h 1039"/>
                  <a:gd name="connsiteX49" fmla="*/ 1503 w 4008"/>
                  <a:gd name="connsiteY49" fmla="*/ 969 h 1039"/>
                  <a:gd name="connsiteX50" fmla="*/ 1450 w 4008"/>
                  <a:gd name="connsiteY50" fmla="*/ 998 h 1039"/>
                  <a:gd name="connsiteX51" fmla="*/ 1394 w 4008"/>
                  <a:gd name="connsiteY51" fmla="*/ 1021 h 1039"/>
                  <a:gd name="connsiteX52" fmla="*/ 1330 w 4008"/>
                  <a:gd name="connsiteY52" fmla="*/ 1033 h 1039"/>
                  <a:gd name="connsiteX53" fmla="*/ 1264 w 4008"/>
                  <a:gd name="connsiteY53" fmla="*/ 1039 h 1039"/>
                  <a:gd name="connsiteX54" fmla="*/ 1258 w 4008"/>
                  <a:gd name="connsiteY54" fmla="*/ 1039 h 1039"/>
                  <a:gd name="connsiteX55" fmla="*/ 1190 w 4008"/>
                  <a:gd name="connsiteY55" fmla="*/ 1035 h 1039"/>
                  <a:gd name="connsiteX56" fmla="*/ 1128 w 4008"/>
                  <a:gd name="connsiteY56" fmla="*/ 1023 h 1039"/>
                  <a:gd name="connsiteX57" fmla="*/ 1070 w 4008"/>
                  <a:gd name="connsiteY57" fmla="*/ 1004 h 1039"/>
                  <a:gd name="connsiteX58" fmla="*/ 1018 w 4008"/>
                  <a:gd name="connsiteY58" fmla="*/ 979 h 1039"/>
                  <a:gd name="connsiteX59" fmla="*/ 971 w 4008"/>
                  <a:gd name="connsiteY59" fmla="*/ 948 h 1039"/>
                  <a:gd name="connsiteX60" fmla="*/ 925 w 4008"/>
                  <a:gd name="connsiteY60" fmla="*/ 911 h 1039"/>
                  <a:gd name="connsiteX61" fmla="*/ 884 w 4008"/>
                  <a:gd name="connsiteY61" fmla="*/ 869 h 1039"/>
                  <a:gd name="connsiteX62" fmla="*/ 847 w 4008"/>
                  <a:gd name="connsiteY62" fmla="*/ 824 h 1039"/>
                  <a:gd name="connsiteX63" fmla="*/ 810 w 4008"/>
                  <a:gd name="connsiteY63" fmla="*/ 776 h 1039"/>
                  <a:gd name="connsiteX64" fmla="*/ 777 w 4008"/>
                  <a:gd name="connsiteY64" fmla="*/ 724 h 1039"/>
                  <a:gd name="connsiteX65" fmla="*/ 742 w 4008"/>
                  <a:gd name="connsiteY65" fmla="*/ 670 h 1039"/>
                  <a:gd name="connsiteX66" fmla="*/ 711 w 4008"/>
                  <a:gd name="connsiteY66" fmla="*/ 614 h 1039"/>
                  <a:gd name="connsiteX67" fmla="*/ 678 w 4008"/>
                  <a:gd name="connsiteY67" fmla="*/ 556 h 1039"/>
                  <a:gd name="connsiteX68" fmla="*/ 616 w 4008"/>
                  <a:gd name="connsiteY68" fmla="*/ 444 h 1039"/>
                  <a:gd name="connsiteX69" fmla="*/ 547 w 4008"/>
                  <a:gd name="connsiteY69" fmla="*/ 336 h 1039"/>
                  <a:gd name="connsiteX70" fmla="*/ 504 w 4008"/>
                  <a:gd name="connsiteY70" fmla="*/ 280 h 1039"/>
                  <a:gd name="connsiteX71" fmla="*/ 457 w 4008"/>
                  <a:gd name="connsiteY71" fmla="*/ 235 h 1039"/>
                  <a:gd name="connsiteX72" fmla="*/ 409 w 4008"/>
                  <a:gd name="connsiteY72" fmla="*/ 195 h 1039"/>
                  <a:gd name="connsiteX73" fmla="*/ 358 w 4008"/>
                  <a:gd name="connsiteY73" fmla="*/ 164 h 1039"/>
                  <a:gd name="connsiteX74" fmla="*/ 308 w 4008"/>
                  <a:gd name="connsiteY74" fmla="*/ 141 h 1039"/>
                  <a:gd name="connsiteX75" fmla="*/ 256 w 4008"/>
                  <a:gd name="connsiteY75" fmla="*/ 123 h 1039"/>
                  <a:gd name="connsiteX76" fmla="*/ 209 w 4008"/>
                  <a:gd name="connsiteY76" fmla="*/ 108 h 1039"/>
                  <a:gd name="connsiteX77" fmla="*/ 163 w 4008"/>
                  <a:gd name="connsiteY77" fmla="*/ 100 h 1039"/>
                  <a:gd name="connsiteX78" fmla="*/ 122 w 4008"/>
                  <a:gd name="connsiteY78" fmla="*/ 96 h 1039"/>
                  <a:gd name="connsiteX79" fmla="*/ 85 w 4008"/>
                  <a:gd name="connsiteY79" fmla="*/ 91 h 1039"/>
                  <a:gd name="connsiteX80" fmla="*/ 31 w 4008"/>
                  <a:gd name="connsiteY80" fmla="*/ 91 h 1039"/>
                  <a:gd name="connsiteX81" fmla="*/ 17 w 4008"/>
                  <a:gd name="connsiteY81" fmla="*/ 94 h 1039"/>
                  <a:gd name="connsiteX82" fmla="*/ 11 w 4008"/>
                  <a:gd name="connsiteY82" fmla="*/ 94 h 1039"/>
                  <a:gd name="connsiteX83" fmla="*/ 0 w 4008"/>
                  <a:gd name="connsiteY83" fmla="*/ 9 h 1039"/>
                  <a:gd name="connsiteX84" fmla="*/ 9 w 4008"/>
                  <a:gd name="connsiteY84" fmla="*/ 9 h 1039"/>
                  <a:gd name="connsiteX85" fmla="*/ 29 w 4008"/>
                  <a:gd name="connsiteY85" fmla="*/ 6 h 1039"/>
                  <a:gd name="connsiteX86" fmla="*/ 91 w 4008"/>
                  <a:gd name="connsiteY86" fmla="*/ 6 h 1039"/>
                  <a:gd name="connsiteX87" fmla="*/ 135 w 4008"/>
                  <a:gd name="connsiteY87" fmla="*/ 9 h 1039"/>
                  <a:gd name="connsiteX88" fmla="*/ 182 w 4008"/>
                  <a:gd name="connsiteY88" fmla="*/ 15 h 1039"/>
                  <a:gd name="connsiteX89" fmla="*/ 234 w 4008"/>
                  <a:gd name="connsiteY89" fmla="*/ 25 h 1039"/>
                  <a:gd name="connsiteX90" fmla="*/ 287 w 4008"/>
                  <a:gd name="connsiteY90" fmla="*/ 42 h 1039"/>
                  <a:gd name="connsiteX91" fmla="*/ 345 w 4008"/>
                  <a:gd name="connsiteY91" fmla="*/ 62 h 1039"/>
                  <a:gd name="connsiteX92" fmla="*/ 403 w 4008"/>
                  <a:gd name="connsiteY92" fmla="*/ 89 h 1039"/>
                  <a:gd name="connsiteX93" fmla="*/ 459 w 4008"/>
                  <a:gd name="connsiteY93" fmla="*/ 127 h 1039"/>
                  <a:gd name="connsiteX94" fmla="*/ 514 w 4008"/>
                  <a:gd name="connsiteY94" fmla="*/ 170 h 1039"/>
                  <a:gd name="connsiteX95" fmla="*/ 568 w 4008"/>
                  <a:gd name="connsiteY95" fmla="*/ 224 h 1039"/>
                  <a:gd name="connsiteX96" fmla="*/ 618 w 4008"/>
                  <a:gd name="connsiteY96" fmla="*/ 288 h 1039"/>
                  <a:gd name="connsiteX97" fmla="*/ 667 w 4008"/>
                  <a:gd name="connsiteY97" fmla="*/ 363 h 1039"/>
                  <a:gd name="connsiteX98" fmla="*/ 754 w 4008"/>
                  <a:gd name="connsiteY98" fmla="*/ 512 h 1039"/>
                  <a:gd name="connsiteX99" fmla="*/ 787 w 4008"/>
                  <a:gd name="connsiteY99" fmla="*/ 571 h 1039"/>
                  <a:gd name="connsiteX100" fmla="*/ 820 w 4008"/>
                  <a:gd name="connsiteY100" fmla="*/ 627 h 1039"/>
                  <a:gd name="connsiteX101" fmla="*/ 853 w 4008"/>
                  <a:gd name="connsiteY101" fmla="*/ 680 h 1039"/>
                  <a:gd name="connsiteX102" fmla="*/ 886 w 4008"/>
                  <a:gd name="connsiteY102" fmla="*/ 732 h 1039"/>
                  <a:gd name="connsiteX103" fmla="*/ 921 w 4008"/>
                  <a:gd name="connsiteY103" fmla="*/ 778 h 1039"/>
                  <a:gd name="connsiteX104" fmla="*/ 958 w 4008"/>
                  <a:gd name="connsiteY104" fmla="*/ 821 h 1039"/>
                  <a:gd name="connsiteX105" fmla="*/ 1000 w 4008"/>
                  <a:gd name="connsiteY105" fmla="*/ 859 h 1039"/>
                  <a:gd name="connsiteX106" fmla="*/ 1043 w 4008"/>
                  <a:gd name="connsiteY106" fmla="*/ 890 h 1039"/>
                  <a:gd name="connsiteX107" fmla="*/ 1090 w 4008"/>
                  <a:gd name="connsiteY107" fmla="*/ 917 h 1039"/>
                  <a:gd name="connsiteX108" fmla="*/ 1140 w 4008"/>
                  <a:gd name="connsiteY108" fmla="*/ 935 h 1039"/>
                  <a:gd name="connsiteX109" fmla="*/ 1196 w 4008"/>
                  <a:gd name="connsiteY109" fmla="*/ 948 h 1039"/>
                  <a:gd name="connsiteX110" fmla="*/ 1258 w 4008"/>
                  <a:gd name="connsiteY110" fmla="*/ 952 h 1039"/>
                  <a:gd name="connsiteX111" fmla="*/ 1264 w 4008"/>
                  <a:gd name="connsiteY111" fmla="*/ 952 h 1039"/>
                  <a:gd name="connsiteX112" fmla="*/ 1324 w 4008"/>
                  <a:gd name="connsiteY112" fmla="*/ 946 h 1039"/>
                  <a:gd name="connsiteX113" fmla="*/ 1380 w 4008"/>
                  <a:gd name="connsiteY113" fmla="*/ 931 h 1039"/>
                  <a:gd name="connsiteX114" fmla="*/ 1433 w 4008"/>
                  <a:gd name="connsiteY114" fmla="*/ 909 h 1039"/>
                  <a:gd name="connsiteX115" fmla="*/ 1481 w 4008"/>
                  <a:gd name="connsiteY115" fmla="*/ 880 h 1039"/>
                  <a:gd name="connsiteX116" fmla="*/ 1526 w 4008"/>
                  <a:gd name="connsiteY116" fmla="*/ 842 h 1039"/>
                  <a:gd name="connsiteX117" fmla="*/ 1569 w 4008"/>
                  <a:gd name="connsiteY117" fmla="*/ 799 h 1039"/>
                  <a:gd name="connsiteX118" fmla="*/ 1609 w 4008"/>
                  <a:gd name="connsiteY118" fmla="*/ 751 h 1039"/>
                  <a:gd name="connsiteX119" fmla="*/ 1648 w 4008"/>
                  <a:gd name="connsiteY119" fmla="*/ 699 h 1039"/>
                  <a:gd name="connsiteX120" fmla="*/ 1687 w 4008"/>
                  <a:gd name="connsiteY120" fmla="*/ 645 h 1039"/>
                  <a:gd name="connsiteX121" fmla="*/ 1799 w 4008"/>
                  <a:gd name="connsiteY121" fmla="*/ 471 h 1039"/>
                  <a:gd name="connsiteX122" fmla="*/ 1838 w 4008"/>
                  <a:gd name="connsiteY122" fmla="*/ 411 h 1039"/>
                  <a:gd name="connsiteX123" fmla="*/ 1879 w 4008"/>
                  <a:gd name="connsiteY123" fmla="*/ 353 h 1039"/>
                  <a:gd name="connsiteX124" fmla="*/ 1923 w 4008"/>
                  <a:gd name="connsiteY124" fmla="*/ 295 h 1039"/>
                  <a:gd name="connsiteX125" fmla="*/ 1968 w 4008"/>
                  <a:gd name="connsiteY125" fmla="*/ 241 h 1039"/>
                  <a:gd name="connsiteX126" fmla="*/ 2015 w 4008"/>
                  <a:gd name="connsiteY126" fmla="*/ 189 h 1039"/>
                  <a:gd name="connsiteX127" fmla="*/ 2069 w 4008"/>
                  <a:gd name="connsiteY127" fmla="*/ 141 h 1039"/>
                  <a:gd name="connsiteX128" fmla="*/ 2125 w 4008"/>
                  <a:gd name="connsiteY128" fmla="*/ 100 h 1039"/>
                  <a:gd name="connsiteX129" fmla="*/ 2187 w 4008"/>
                  <a:gd name="connsiteY129" fmla="*/ 65 h 1039"/>
                  <a:gd name="connsiteX130" fmla="*/ 2253 w 4008"/>
                  <a:gd name="connsiteY130" fmla="*/ 35 h 1039"/>
                  <a:gd name="connsiteX131" fmla="*/ 2325 w 4008"/>
                  <a:gd name="connsiteY131" fmla="*/ 15 h 1039"/>
                  <a:gd name="connsiteX132" fmla="*/ 2404 w 4008"/>
                  <a:gd name="connsiteY132" fmla="*/ 2 h 1039"/>
                  <a:gd name="connsiteX133" fmla="*/ 2474 w 4008"/>
                  <a:gd name="connsiteY133" fmla="*/ 0 h 1039"/>
                  <a:gd name="connsiteX134" fmla="*/ 2540 w 4008"/>
                  <a:gd name="connsiteY134" fmla="*/ 9 h 1039"/>
                  <a:gd name="connsiteX135" fmla="*/ 2600 w 4008"/>
                  <a:gd name="connsiteY135" fmla="*/ 23 h 1039"/>
                  <a:gd name="connsiteX136" fmla="*/ 2658 w 4008"/>
                  <a:gd name="connsiteY136" fmla="*/ 46 h 1039"/>
                  <a:gd name="connsiteX137" fmla="*/ 2711 w 4008"/>
                  <a:gd name="connsiteY137" fmla="*/ 77 h 1039"/>
                  <a:gd name="connsiteX138" fmla="*/ 2761 w 4008"/>
                  <a:gd name="connsiteY138" fmla="*/ 112 h 1039"/>
                  <a:gd name="connsiteX139" fmla="*/ 2806 w 4008"/>
                  <a:gd name="connsiteY139" fmla="*/ 154 h 1039"/>
                  <a:gd name="connsiteX140" fmla="*/ 2852 w 4008"/>
                  <a:gd name="connsiteY140" fmla="*/ 199 h 1039"/>
                  <a:gd name="connsiteX141" fmla="*/ 2893 w 4008"/>
                  <a:gd name="connsiteY141" fmla="*/ 247 h 1039"/>
                  <a:gd name="connsiteX142" fmla="*/ 2932 w 4008"/>
                  <a:gd name="connsiteY142" fmla="*/ 299 h 1039"/>
                  <a:gd name="connsiteX143" fmla="*/ 2969 w 4008"/>
                  <a:gd name="connsiteY143" fmla="*/ 353 h 1039"/>
                  <a:gd name="connsiteX144" fmla="*/ 3004 w 4008"/>
                  <a:gd name="connsiteY144" fmla="*/ 409 h 1039"/>
                  <a:gd name="connsiteX145" fmla="*/ 3039 w 4008"/>
                  <a:gd name="connsiteY145" fmla="*/ 463 h 1039"/>
                  <a:gd name="connsiteX146" fmla="*/ 3073 w 4008"/>
                  <a:gd name="connsiteY146" fmla="*/ 519 h 1039"/>
                  <a:gd name="connsiteX147" fmla="*/ 3186 w 4008"/>
                  <a:gd name="connsiteY147" fmla="*/ 697 h 1039"/>
                  <a:gd name="connsiteX148" fmla="*/ 3306 w 4008"/>
                  <a:gd name="connsiteY148" fmla="*/ 844 h 1039"/>
                  <a:gd name="connsiteX149" fmla="*/ 3444 w 4008"/>
                  <a:gd name="connsiteY149" fmla="*/ 935 h 1039"/>
                  <a:gd name="connsiteX150" fmla="*/ 3554 w 4008"/>
                  <a:gd name="connsiteY150" fmla="*/ 952 h 1039"/>
                  <a:gd name="connsiteX151" fmla="*/ 3659 w 4008"/>
                  <a:gd name="connsiteY151" fmla="*/ 931 h 1039"/>
                  <a:gd name="connsiteX152" fmla="*/ 3789 w 4008"/>
                  <a:gd name="connsiteY152" fmla="*/ 844 h 1039"/>
                  <a:gd name="connsiteX153" fmla="*/ 3826 w 4008"/>
                  <a:gd name="connsiteY153" fmla="*/ 803 h 1039"/>
                  <a:gd name="connsiteX0" fmla="*/ 3826 w 4008"/>
                  <a:gd name="connsiteY0" fmla="*/ 803 h 1039"/>
                  <a:gd name="connsiteX1" fmla="*/ 4008 w 4008"/>
                  <a:gd name="connsiteY1" fmla="*/ 687 h 1039"/>
                  <a:gd name="connsiteX2" fmla="*/ 3975 w 4008"/>
                  <a:gd name="connsiteY2" fmla="*/ 743 h 1039"/>
                  <a:gd name="connsiteX3" fmla="*/ 3940 w 4008"/>
                  <a:gd name="connsiteY3" fmla="*/ 794 h 1039"/>
                  <a:gd name="connsiteX4" fmla="*/ 3865 w 4008"/>
                  <a:gd name="connsiteY4" fmla="*/ 890 h 1039"/>
                  <a:gd name="connsiteX5" fmla="*/ 3779 w 4008"/>
                  <a:gd name="connsiteY5" fmla="*/ 967 h 1039"/>
                  <a:gd name="connsiteX6" fmla="*/ 3729 w 4008"/>
                  <a:gd name="connsiteY6" fmla="*/ 996 h 1039"/>
                  <a:gd name="connsiteX7" fmla="*/ 3620 w 4008"/>
                  <a:gd name="connsiteY7" fmla="*/ 1033 h 1039"/>
                  <a:gd name="connsiteX8" fmla="*/ 3556 w 4008"/>
                  <a:gd name="connsiteY8" fmla="*/ 1039 h 1039"/>
                  <a:gd name="connsiteX9" fmla="*/ 3547 w 4008"/>
                  <a:gd name="connsiteY9" fmla="*/ 1039 h 1039"/>
                  <a:gd name="connsiteX10" fmla="*/ 3485 w 4008"/>
                  <a:gd name="connsiteY10" fmla="*/ 1035 h 1039"/>
                  <a:gd name="connsiteX11" fmla="*/ 3372 w 4008"/>
                  <a:gd name="connsiteY11" fmla="*/ 998 h 1039"/>
                  <a:gd name="connsiteX12" fmla="*/ 3273 w 4008"/>
                  <a:gd name="connsiteY12" fmla="*/ 931 h 1039"/>
                  <a:gd name="connsiteX13" fmla="*/ 3229 w 4008"/>
                  <a:gd name="connsiteY13" fmla="*/ 890 h 1039"/>
                  <a:gd name="connsiteX14" fmla="*/ 3147 w 4008"/>
                  <a:gd name="connsiteY14" fmla="*/ 792 h 1039"/>
                  <a:gd name="connsiteX15" fmla="*/ 3108 w 4008"/>
                  <a:gd name="connsiteY15" fmla="*/ 736 h 1039"/>
                  <a:gd name="connsiteX16" fmla="*/ 3070 w 4008"/>
                  <a:gd name="connsiteY16" fmla="*/ 680 h 1039"/>
                  <a:gd name="connsiteX17" fmla="*/ 2965 w 4008"/>
                  <a:gd name="connsiteY17" fmla="*/ 506 h 1039"/>
                  <a:gd name="connsiteX18" fmla="*/ 2928 w 4008"/>
                  <a:gd name="connsiteY18" fmla="*/ 448 h 1039"/>
                  <a:gd name="connsiteX19" fmla="*/ 2891 w 4008"/>
                  <a:gd name="connsiteY19" fmla="*/ 392 h 1039"/>
                  <a:gd name="connsiteX20" fmla="*/ 2854 w 4008"/>
                  <a:gd name="connsiteY20" fmla="*/ 338 h 1039"/>
                  <a:gd name="connsiteX21" fmla="*/ 2814 w 4008"/>
                  <a:gd name="connsiteY21" fmla="*/ 288 h 1039"/>
                  <a:gd name="connsiteX22" fmla="*/ 2773 w 4008"/>
                  <a:gd name="connsiteY22" fmla="*/ 243 h 1039"/>
                  <a:gd name="connsiteX23" fmla="*/ 2732 w 4008"/>
                  <a:gd name="connsiteY23" fmla="*/ 201 h 1039"/>
                  <a:gd name="connsiteX24" fmla="*/ 2686 w 4008"/>
                  <a:gd name="connsiteY24" fmla="*/ 164 h 1039"/>
                  <a:gd name="connsiteX25" fmla="*/ 2639 w 4008"/>
                  <a:gd name="connsiteY25" fmla="*/ 135 h 1039"/>
                  <a:gd name="connsiteX26" fmla="*/ 2587 w 4008"/>
                  <a:gd name="connsiteY26" fmla="*/ 112 h 1039"/>
                  <a:gd name="connsiteX27" fmla="*/ 2532 w 4008"/>
                  <a:gd name="connsiteY27" fmla="*/ 96 h 1039"/>
                  <a:gd name="connsiteX28" fmla="*/ 2474 w 4008"/>
                  <a:gd name="connsiteY28" fmla="*/ 87 h 1039"/>
                  <a:gd name="connsiteX29" fmla="*/ 2410 w 4008"/>
                  <a:gd name="connsiteY29" fmla="*/ 89 h 1039"/>
                  <a:gd name="connsiteX30" fmla="*/ 2342 w 4008"/>
                  <a:gd name="connsiteY30" fmla="*/ 100 h 1039"/>
                  <a:gd name="connsiteX31" fmla="*/ 2280 w 4008"/>
                  <a:gd name="connsiteY31" fmla="*/ 118 h 1039"/>
                  <a:gd name="connsiteX32" fmla="*/ 2222 w 4008"/>
                  <a:gd name="connsiteY32" fmla="*/ 143 h 1039"/>
                  <a:gd name="connsiteX33" fmla="*/ 2168 w 4008"/>
                  <a:gd name="connsiteY33" fmla="*/ 176 h 1039"/>
                  <a:gd name="connsiteX34" fmla="*/ 2117 w 4008"/>
                  <a:gd name="connsiteY34" fmla="*/ 214 h 1039"/>
                  <a:gd name="connsiteX35" fmla="*/ 2071 w 4008"/>
                  <a:gd name="connsiteY35" fmla="*/ 257 h 1039"/>
                  <a:gd name="connsiteX36" fmla="*/ 2026 w 4008"/>
                  <a:gd name="connsiteY36" fmla="*/ 303 h 1039"/>
                  <a:gd name="connsiteX37" fmla="*/ 1984 w 4008"/>
                  <a:gd name="connsiteY37" fmla="*/ 355 h 1039"/>
                  <a:gd name="connsiteX38" fmla="*/ 1945 w 4008"/>
                  <a:gd name="connsiteY38" fmla="*/ 409 h 1039"/>
                  <a:gd name="connsiteX39" fmla="*/ 1908 w 4008"/>
                  <a:gd name="connsiteY39" fmla="*/ 463 h 1039"/>
                  <a:gd name="connsiteX40" fmla="*/ 1871 w 4008"/>
                  <a:gd name="connsiteY40" fmla="*/ 519 h 1039"/>
                  <a:gd name="connsiteX41" fmla="*/ 1834 w 4008"/>
                  <a:gd name="connsiteY41" fmla="*/ 577 h 1039"/>
                  <a:gd name="connsiteX42" fmla="*/ 1799 w 4008"/>
                  <a:gd name="connsiteY42" fmla="*/ 633 h 1039"/>
                  <a:gd name="connsiteX43" fmla="*/ 1724 w 4008"/>
                  <a:gd name="connsiteY43" fmla="*/ 745 h 1039"/>
                  <a:gd name="connsiteX44" fmla="*/ 1685 w 4008"/>
                  <a:gd name="connsiteY44" fmla="*/ 797 h 1039"/>
                  <a:gd name="connsiteX45" fmla="*/ 1644 w 4008"/>
                  <a:gd name="connsiteY45" fmla="*/ 846 h 1039"/>
                  <a:gd name="connsiteX46" fmla="*/ 1600 w 4008"/>
                  <a:gd name="connsiteY46" fmla="*/ 892 h 1039"/>
                  <a:gd name="connsiteX47" fmla="*/ 1553 w 4008"/>
                  <a:gd name="connsiteY47" fmla="*/ 933 h 1039"/>
                  <a:gd name="connsiteX48" fmla="*/ 1503 w 4008"/>
                  <a:gd name="connsiteY48" fmla="*/ 969 h 1039"/>
                  <a:gd name="connsiteX49" fmla="*/ 1450 w 4008"/>
                  <a:gd name="connsiteY49" fmla="*/ 998 h 1039"/>
                  <a:gd name="connsiteX50" fmla="*/ 1394 w 4008"/>
                  <a:gd name="connsiteY50" fmla="*/ 1021 h 1039"/>
                  <a:gd name="connsiteX51" fmla="*/ 1330 w 4008"/>
                  <a:gd name="connsiteY51" fmla="*/ 1033 h 1039"/>
                  <a:gd name="connsiteX52" fmla="*/ 1264 w 4008"/>
                  <a:gd name="connsiteY52" fmla="*/ 1039 h 1039"/>
                  <a:gd name="connsiteX53" fmla="*/ 1258 w 4008"/>
                  <a:gd name="connsiteY53" fmla="*/ 1039 h 1039"/>
                  <a:gd name="connsiteX54" fmla="*/ 1190 w 4008"/>
                  <a:gd name="connsiteY54" fmla="*/ 1035 h 1039"/>
                  <a:gd name="connsiteX55" fmla="*/ 1128 w 4008"/>
                  <a:gd name="connsiteY55" fmla="*/ 1023 h 1039"/>
                  <a:gd name="connsiteX56" fmla="*/ 1070 w 4008"/>
                  <a:gd name="connsiteY56" fmla="*/ 1004 h 1039"/>
                  <a:gd name="connsiteX57" fmla="*/ 1018 w 4008"/>
                  <a:gd name="connsiteY57" fmla="*/ 979 h 1039"/>
                  <a:gd name="connsiteX58" fmla="*/ 971 w 4008"/>
                  <a:gd name="connsiteY58" fmla="*/ 948 h 1039"/>
                  <a:gd name="connsiteX59" fmla="*/ 925 w 4008"/>
                  <a:gd name="connsiteY59" fmla="*/ 911 h 1039"/>
                  <a:gd name="connsiteX60" fmla="*/ 884 w 4008"/>
                  <a:gd name="connsiteY60" fmla="*/ 869 h 1039"/>
                  <a:gd name="connsiteX61" fmla="*/ 847 w 4008"/>
                  <a:gd name="connsiteY61" fmla="*/ 824 h 1039"/>
                  <a:gd name="connsiteX62" fmla="*/ 810 w 4008"/>
                  <a:gd name="connsiteY62" fmla="*/ 776 h 1039"/>
                  <a:gd name="connsiteX63" fmla="*/ 777 w 4008"/>
                  <a:gd name="connsiteY63" fmla="*/ 724 h 1039"/>
                  <a:gd name="connsiteX64" fmla="*/ 742 w 4008"/>
                  <a:gd name="connsiteY64" fmla="*/ 670 h 1039"/>
                  <a:gd name="connsiteX65" fmla="*/ 711 w 4008"/>
                  <a:gd name="connsiteY65" fmla="*/ 614 h 1039"/>
                  <a:gd name="connsiteX66" fmla="*/ 678 w 4008"/>
                  <a:gd name="connsiteY66" fmla="*/ 556 h 1039"/>
                  <a:gd name="connsiteX67" fmla="*/ 616 w 4008"/>
                  <a:gd name="connsiteY67" fmla="*/ 444 h 1039"/>
                  <a:gd name="connsiteX68" fmla="*/ 547 w 4008"/>
                  <a:gd name="connsiteY68" fmla="*/ 336 h 1039"/>
                  <a:gd name="connsiteX69" fmla="*/ 504 w 4008"/>
                  <a:gd name="connsiteY69" fmla="*/ 280 h 1039"/>
                  <a:gd name="connsiteX70" fmla="*/ 457 w 4008"/>
                  <a:gd name="connsiteY70" fmla="*/ 235 h 1039"/>
                  <a:gd name="connsiteX71" fmla="*/ 409 w 4008"/>
                  <a:gd name="connsiteY71" fmla="*/ 195 h 1039"/>
                  <a:gd name="connsiteX72" fmla="*/ 358 w 4008"/>
                  <a:gd name="connsiteY72" fmla="*/ 164 h 1039"/>
                  <a:gd name="connsiteX73" fmla="*/ 308 w 4008"/>
                  <a:gd name="connsiteY73" fmla="*/ 141 h 1039"/>
                  <a:gd name="connsiteX74" fmla="*/ 256 w 4008"/>
                  <a:gd name="connsiteY74" fmla="*/ 123 h 1039"/>
                  <a:gd name="connsiteX75" fmla="*/ 209 w 4008"/>
                  <a:gd name="connsiteY75" fmla="*/ 108 h 1039"/>
                  <a:gd name="connsiteX76" fmla="*/ 163 w 4008"/>
                  <a:gd name="connsiteY76" fmla="*/ 100 h 1039"/>
                  <a:gd name="connsiteX77" fmla="*/ 122 w 4008"/>
                  <a:gd name="connsiteY77" fmla="*/ 96 h 1039"/>
                  <a:gd name="connsiteX78" fmla="*/ 85 w 4008"/>
                  <a:gd name="connsiteY78" fmla="*/ 91 h 1039"/>
                  <a:gd name="connsiteX79" fmla="*/ 31 w 4008"/>
                  <a:gd name="connsiteY79" fmla="*/ 91 h 1039"/>
                  <a:gd name="connsiteX80" fmla="*/ 17 w 4008"/>
                  <a:gd name="connsiteY80" fmla="*/ 94 h 1039"/>
                  <a:gd name="connsiteX81" fmla="*/ 11 w 4008"/>
                  <a:gd name="connsiteY81" fmla="*/ 94 h 1039"/>
                  <a:gd name="connsiteX82" fmla="*/ 0 w 4008"/>
                  <a:gd name="connsiteY82" fmla="*/ 9 h 1039"/>
                  <a:gd name="connsiteX83" fmla="*/ 9 w 4008"/>
                  <a:gd name="connsiteY83" fmla="*/ 9 h 1039"/>
                  <a:gd name="connsiteX84" fmla="*/ 29 w 4008"/>
                  <a:gd name="connsiteY84" fmla="*/ 6 h 1039"/>
                  <a:gd name="connsiteX85" fmla="*/ 91 w 4008"/>
                  <a:gd name="connsiteY85" fmla="*/ 6 h 1039"/>
                  <a:gd name="connsiteX86" fmla="*/ 135 w 4008"/>
                  <a:gd name="connsiteY86" fmla="*/ 9 h 1039"/>
                  <a:gd name="connsiteX87" fmla="*/ 182 w 4008"/>
                  <a:gd name="connsiteY87" fmla="*/ 15 h 1039"/>
                  <a:gd name="connsiteX88" fmla="*/ 234 w 4008"/>
                  <a:gd name="connsiteY88" fmla="*/ 25 h 1039"/>
                  <a:gd name="connsiteX89" fmla="*/ 287 w 4008"/>
                  <a:gd name="connsiteY89" fmla="*/ 42 h 1039"/>
                  <a:gd name="connsiteX90" fmla="*/ 345 w 4008"/>
                  <a:gd name="connsiteY90" fmla="*/ 62 h 1039"/>
                  <a:gd name="connsiteX91" fmla="*/ 403 w 4008"/>
                  <a:gd name="connsiteY91" fmla="*/ 89 h 1039"/>
                  <a:gd name="connsiteX92" fmla="*/ 459 w 4008"/>
                  <a:gd name="connsiteY92" fmla="*/ 127 h 1039"/>
                  <a:gd name="connsiteX93" fmla="*/ 514 w 4008"/>
                  <a:gd name="connsiteY93" fmla="*/ 170 h 1039"/>
                  <a:gd name="connsiteX94" fmla="*/ 568 w 4008"/>
                  <a:gd name="connsiteY94" fmla="*/ 224 h 1039"/>
                  <a:gd name="connsiteX95" fmla="*/ 618 w 4008"/>
                  <a:gd name="connsiteY95" fmla="*/ 288 h 1039"/>
                  <a:gd name="connsiteX96" fmla="*/ 667 w 4008"/>
                  <a:gd name="connsiteY96" fmla="*/ 363 h 1039"/>
                  <a:gd name="connsiteX97" fmla="*/ 754 w 4008"/>
                  <a:gd name="connsiteY97" fmla="*/ 512 h 1039"/>
                  <a:gd name="connsiteX98" fmla="*/ 787 w 4008"/>
                  <a:gd name="connsiteY98" fmla="*/ 571 h 1039"/>
                  <a:gd name="connsiteX99" fmla="*/ 820 w 4008"/>
                  <a:gd name="connsiteY99" fmla="*/ 627 h 1039"/>
                  <a:gd name="connsiteX100" fmla="*/ 853 w 4008"/>
                  <a:gd name="connsiteY100" fmla="*/ 680 h 1039"/>
                  <a:gd name="connsiteX101" fmla="*/ 886 w 4008"/>
                  <a:gd name="connsiteY101" fmla="*/ 732 h 1039"/>
                  <a:gd name="connsiteX102" fmla="*/ 921 w 4008"/>
                  <a:gd name="connsiteY102" fmla="*/ 778 h 1039"/>
                  <a:gd name="connsiteX103" fmla="*/ 958 w 4008"/>
                  <a:gd name="connsiteY103" fmla="*/ 821 h 1039"/>
                  <a:gd name="connsiteX104" fmla="*/ 1000 w 4008"/>
                  <a:gd name="connsiteY104" fmla="*/ 859 h 1039"/>
                  <a:gd name="connsiteX105" fmla="*/ 1043 w 4008"/>
                  <a:gd name="connsiteY105" fmla="*/ 890 h 1039"/>
                  <a:gd name="connsiteX106" fmla="*/ 1090 w 4008"/>
                  <a:gd name="connsiteY106" fmla="*/ 917 h 1039"/>
                  <a:gd name="connsiteX107" fmla="*/ 1140 w 4008"/>
                  <a:gd name="connsiteY107" fmla="*/ 935 h 1039"/>
                  <a:gd name="connsiteX108" fmla="*/ 1196 w 4008"/>
                  <a:gd name="connsiteY108" fmla="*/ 948 h 1039"/>
                  <a:gd name="connsiteX109" fmla="*/ 1258 w 4008"/>
                  <a:gd name="connsiteY109" fmla="*/ 952 h 1039"/>
                  <a:gd name="connsiteX110" fmla="*/ 1264 w 4008"/>
                  <a:gd name="connsiteY110" fmla="*/ 952 h 1039"/>
                  <a:gd name="connsiteX111" fmla="*/ 1324 w 4008"/>
                  <a:gd name="connsiteY111" fmla="*/ 946 h 1039"/>
                  <a:gd name="connsiteX112" fmla="*/ 1380 w 4008"/>
                  <a:gd name="connsiteY112" fmla="*/ 931 h 1039"/>
                  <a:gd name="connsiteX113" fmla="*/ 1433 w 4008"/>
                  <a:gd name="connsiteY113" fmla="*/ 909 h 1039"/>
                  <a:gd name="connsiteX114" fmla="*/ 1481 w 4008"/>
                  <a:gd name="connsiteY114" fmla="*/ 880 h 1039"/>
                  <a:gd name="connsiteX115" fmla="*/ 1526 w 4008"/>
                  <a:gd name="connsiteY115" fmla="*/ 842 h 1039"/>
                  <a:gd name="connsiteX116" fmla="*/ 1569 w 4008"/>
                  <a:gd name="connsiteY116" fmla="*/ 799 h 1039"/>
                  <a:gd name="connsiteX117" fmla="*/ 1609 w 4008"/>
                  <a:gd name="connsiteY117" fmla="*/ 751 h 1039"/>
                  <a:gd name="connsiteX118" fmla="*/ 1648 w 4008"/>
                  <a:gd name="connsiteY118" fmla="*/ 699 h 1039"/>
                  <a:gd name="connsiteX119" fmla="*/ 1687 w 4008"/>
                  <a:gd name="connsiteY119" fmla="*/ 645 h 1039"/>
                  <a:gd name="connsiteX120" fmla="*/ 1799 w 4008"/>
                  <a:gd name="connsiteY120" fmla="*/ 471 h 1039"/>
                  <a:gd name="connsiteX121" fmla="*/ 1838 w 4008"/>
                  <a:gd name="connsiteY121" fmla="*/ 411 h 1039"/>
                  <a:gd name="connsiteX122" fmla="*/ 1879 w 4008"/>
                  <a:gd name="connsiteY122" fmla="*/ 353 h 1039"/>
                  <a:gd name="connsiteX123" fmla="*/ 1923 w 4008"/>
                  <a:gd name="connsiteY123" fmla="*/ 295 h 1039"/>
                  <a:gd name="connsiteX124" fmla="*/ 1968 w 4008"/>
                  <a:gd name="connsiteY124" fmla="*/ 241 h 1039"/>
                  <a:gd name="connsiteX125" fmla="*/ 2015 w 4008"/>
                  <a:gd name="connsiteY125" fmla="*/ 189 h 1039"/>
                  <a:gd name="connsiteX126" fmla="*/ 2069 w 4008"/>
                  <a:gd name="connsiteY126" fmla="*/ 141 h 1039"/>
                  <a:gd name="connsiteX127" fmla="*/ 2125 w 4008"/>
                  <a:gd name="connsiteY127" fmla="*/ 100 h 1039"/>
                  <a:gd name="connsiteX128" fmla="*/ 2187 w 4008"/>
                  <a:gd name="connsiteY128" fmla="*/ 65 h 1039"/>
                  <a:gd name="connsiteX129" fmla="*/ 2253 w 4008"/>
                  <a:gd name="connsiteY129" fmla="*/ 35 h 1039"/>
                  <a:gd name="connsiteX130" fmla="*/ 2325 w 4008"/>
                  <a:gd name="connsiteY130" fmla="*/ 15 h 1039"/>
                  <a:gd name="connsiteX131" fmla="*/ 2404 w 4008"/>
                  <a:gd name="connsiteY131" fmla="*/ 2 h 1039"/>
                  <a:gd name="connsiteX132" fmla="*/ 2474 w 4008"/>
                  <a:gd name="connsiteY132" fmla="*/ 0 h 1039"/>
                  <a:gd name="connsiteX133" fmla="*/ 2540 w 4008"/>
                  <a:gd name="connsiteY133" fmla="*/ 9 h 1039"/>
                  <a:gd name="connsiteX134" fmla="*/ 2600 w 4008"/>
                  <a:gd name="connsiteY134" fmla="*/ 23 h 1039"/>
                  <a:gd name="connsiteX135" fmla="*/ 2658 w 4008"/>
                  <a:gd name="connsiteY135" fmla="*/ 46 h 1039"/>
                  <a:gd name="connsiteX136" fmla="*/ 2711 w 4008"/>
                  <a:gd name="connsiteY136" fmla="*/ 77 h 1039"/>
                  <a:gd name="connsiteX137" fmla="*/ 2761 w 4008"/>
                  <a:gd name="connsiteY137" fmla="*/ 112 h 1039"/>
                  <a:gd name="connsiteX138" fmla="*/ 2806 w 4008"/>
                  <a:gd name="connsiteY138" fmla="*/ 154 h 1039"/>
                  <a:gd name="connsiteX139" fmla="*/ 2852 w 4008"/>
                  <a:gd name="connsiteY139" fmla="*/ 199 h 1039"/>
                  <a:gd name="connsiteX140" fmla="*/ 2893 w 4008"/>
                  <a:gd name="connsiteY140" fmla="*/ 247 h 1039"/>
                  <a:gd name="connsiteX141" fmla="*/ 2932 w 4008"/>
                  <a:gd name="connsiteY141" fmla="*/ 299 h 1039"/>
                  <a:gd name="connsiteX142" fmla="*/ 2969 w 4008"/>
                  <a:gd name="connsiteY142" fmla="*/ 353 h 1039"/>
                  <a:gd name="connsiteX143" fmla="*/ 3004 w 4008"/>
                  <a:gd name="connsiteY143" fmla="*/ 409 h 1039"/>
                  <a:gd name="connsiteX144" fmla="*/ 3039 w 4008"/>
                  <a:gd name="connsiteY144" fmla="*/ 463 h 1039"/>
                  <a:gd name="connsiteX145" fmla="*/ 3073 w 4008"/>
                  <a:gd name="connsiteY145" fmla="*/ 519 h 1039"/>
                  <a:gd name="connsiteX146" fmla="*/ 3186 w 4008"/>
                  <a:gd name="connsiteY146" fmla="*/ 697 h 1039"/>
                  <a:gd name="connsiteX147" fmla="*/ 3306 w 4008"/>
                  <a:gd name="connsiteY147" fmla="*/ 844 h 1039"/>
                  <a:gd name="connsiteX148" fmla="*/ 3444 w 4008"/>
                  <a:gd name="connsiteY148" fmla="*/ 935 h 1039"/>
                  <a:gd name="connsiteX149" fmla="*/ 3554 w 4008"/>
                  <a:gd name="connsiteY149" fmla="*/ 952 h 1039"/>
                  <a:gd name="connsiteX150" fmla="*/ 3659 w 4008"/>
                  <a:gd name="connsiteY150" fmla="*/ 931 h 1039"/>
                  <a:gd name="connsiteX151" fmla="*/ 3789 w 4008"/>
                  <a:gd name="connsiteY151" fmla="*/ 844 h 1039"/>
                  <a:gd name="connsiteX152" fmla="*/ 3826 w 4008"/>
                  <a:gd name="connsiteY152" fmla="*/ 803 h 1039"/>
                  <a:gd name="connsiteX0" fmla="*/ 3826 w 4027"/>
                  <a:gd name="connsiteY0" fmla="*/ 803 h 1039"/>
                  <a:gd name="connsiteX1" fmla="*/ 4008 w 4027"/>
                  <a:gd name="connsiteY1" fmla="*/ 687 h 1039"/>
                  <a:gd name="connsiteX2" fmla="*/ 3940 w 4027"/>
                  <a:gd name="connsiteY2" fmla="*/ 794 h 1039"/>
                  <a:gd name="connsiteX3" fmla="*/ 3865 w 4027"/>
                  <a:gd name="connsiteY3" fmla="*/ 890 h 1039"/>
                  <a:gd name="connsiteX4" fmla="*/ 3779 w 4027"/>
                  <a:gd name="connsiteY4" fmla="*/ 967 h 1039"/>
                  <a:gd name="connsiteX5" fmla="*/ 3729 w 4027"/>
                  <a:gd name="connsiteY5" fmla="*/ 996 h 1039"/>
                  <a:gd name="connsiteX6" fmla="*/ 3620 w 4027"/>
                  <a:gd name="connsiteY6" fmla="*/ 1033 h 1039"/>
                  <a:gd name="connsiteX7" fmla="*/ 3556 w 4027"/>
                  <a:gd name="connsiteY7" fmla="*/ 1039 h 1039"/>
                  <a:gd name="connsiteX8" fmla="*/ 3547 w 4027"/>
                  <a:gd name="connsiteY8" fmla="*/ 1039 h 1039"/>
                  <a:gd name="connsiteX9" fmla="*/ 3485 w 4027"/>
                  <a:gd name="connsiteY9" fmla="*/ 1035 h 1039"/>
                  <a:gd name="connsiteX10" fmla="*/ 3372 w 4027"/>
                  <a:gd name="connsiteY10" fmla="*/ 998 h 1039"/>
                  <a:gd name="connsiteX11" fmla="*/ 3273 w 4027"/>
                  <a:gd name="connsiteY11" fmla="*/ 931 h 1039"/>
                  <a:gd name="connsiteX12" fmla="*/ 3229 w 4027"/>
                  <a:gd name="connsiteY12" fmla="*/ 890 h 1039"/>
                  <a:gd name="connsiteX13" fmla="*/ 3147 w 4027"/>
                  <a:gd name="connsiteY13" fmla="*/ 792 h 1039"/>
                  <a:gd name="connsiteX14" fmla="*/ 3108 w 4027"/>
                  <a:gd name="connsiteY14" fmla="*/ 736 h 1039"/>
                  <a:gd name="connsiteX15" fmla="*/ 3070 w 4027"/>
                  <a:gd name="connsiteY15" fmla="*/ 680 h 1039"/>
                  <a:gd name="connsiteX16" fmla="*/ 2965 w 4027"/>
                  <a:gd name="connsiteY16" fmla="*/ 506 h 1039"/>
                  <a:gd name="connsiteX17" fmla="*/ 2928 w 4027"/>
                  <a:gd name="connsiteY17" fmla="*/ 448 h 1039"/>
                  <a:gd name="connsiteX18" fmla="*/ 2891 w 4027"/>
                  <a:gd name="connsiteY18" fmla="*/ 392 h 1039"/>
                  <a:gd name="connsiteX19" fmla="*/ 2854 w 4027"/>
                  <a:gd name="connsiteY19" fmla="*/ 338 h 1039"/>
                  <a:gd name="connsiteX20" fmla="*/ 2814 w 4027"/>
                  <a:gd name="connsiteY20" fmla="*/ 288 h 1039"/>
                  <a:gd name="connsiteX21" fmla="*/ 2773 w 4027"/>
                  <a:gd name="connsiteY21" fmla="*/ 243 h 1039"/>
                  <a:gd name="connsiteX22" fmla="*/ 2732 w 4027"/>
                  <a:gd name="connsiteY22" fmla="*/ 201 h 1039"/>
                  <a:gd name="connsiteX23" fmla="*/ 2686 w 4027"/>
                  <a:gd name="connsiteY23" fmla="*/ 164 h 1039"/>
                  <a:gd name="connsiteX24" fmla="*/ 2639 w 4027"/>
                  <a:gd name="connsiteY24" fmla="*/ 135 h 1039"/>
                  <a:gd name="connsiteX25" fmla="*/ 2587 w 4027"/>
                  <a:gd name="connsiteY25" fmla="*/ 112 h 1039"/>
                  <a:gd name="connsiteX26" fmla="*/ 2532 w 4027"/>
                  <a:gd name="connsiteY26" fmla="*/ 96 h 1039"/>
                  <a:gd name="connsiteX27" fmla="*/ 2474 w 4027"/>
                  <a:gd name="connsiteY27" fmla="*/ 87 h 1039"/>
                  <a:gd name="connsiteX28" fmla="*/ 2410 w 4027"/>
                  <a:gd name="connsiteY28" fmla="*/ 89 h 1039"/>
                  <a:gd name="connsiteX29" fmla="*/ 2342 w 4027"/>
                  <a:gd name="connsiteY29" fmla="*/ 100 h 1039"/>
                  <a:gd name="connsiteX30" fmla="*/ 2280 w 4027"/>
                  <a:gd name="connsiteY30" fmla="*/ 118 h 1039"/>
                  <a:gd name="connsiteX31" fmla="*/ 2222 w 4027"/>
                  <a:gd name="connsiteY31" fmla="*/ 143 h 1039"/>
                  <a:gd name="connsiteX32" fmla="*/ 2168 w 4027"/>
                  <a:gd name="connsiteY32" fmla="*/ 176 h 1039"/>
                  <a:gd name="connsiteX33" fmla="*/ 2117 w 4027"/>
                  <a:gd name="connsiteY33" fmla="*/ 214 h 1039"/>
                  <a:gd name="connsiteX34" fmla="*/ 2071 w 4027"/>
                  <a:gd name="connsiteY34" fmla="*/ 257 h 1039"/>
                  <a:gd name="connsiteX35" fmla="*/ 2026 w 4027"/>
                  <a:gd name="connsiteY35" fmla="*/ 303 h 1039"/>
                  <a:gd name="connsiteX36" fmla="*/ 1984 w 4027"/>
                  <a:gd name="connsiteY36" fmla="*/ 355 h 1039"/>
                  <a:gd name="connsiteX37" fmla="*/ 1945 w 4027"/>
                  <a:gd name="connsiteY37" fmla="*/ 409 h 1039"/>
                  <a:gd name="connsiteX38" fmla="*/ 1908 w 4027"/>
                  <a:gd name="connsiteY38" fmla="*/ 463 h 1039"/>
                  <a:gd name="connsiteX39" fmla="*/ 1871 w 4027"/>
                  <a:gd name="connsiteY39" fmla="*/ 519 h 1039"/>
                  <a:gd name="connsiteX40" fmla="*/ 1834 w 4027"/>
                  <a:gd name="connsiteY40" fmla="*/ 577 h 1039"/>
                  <a:gd name="connsiteX41" fmla="*/ 1799 w 4027"/>
                  <a:gd name="connsiteY41" fmla="*/ 633 h 1039"/>
                  <a:gd name="connsiteX42" fmla="*/ 1724 w 4027"/>
                  <a:gd name="connsiteY42" fmla="*/ 745 h 1039"/>
                  <a:gd name="connsiteX43" fmla="*/ 1685 w 4027"/>
                  <a:gd name="connsiteY43" fmla="*/ 797 h 1039"/>
                  <a:gd name="connsiteX44" fmla="*/ 1644 w 4027"/>
                  <a:gd name="connsiteY44" fmla="*/ 846 h 1039"/>
                  <a:gd name="connsiteX45" fmla="*/ 1600 w 4027"/>
                  <a:gd name="connsiteY45" fmla="*/ 892 h 1039"/>
                  <a:gd name="connsiteX46" fmla="*/ 1553 w 4027"/>
                  <a:gd name="connsiteY46" fmla="*/ 933 h 1039"/>
                  <a:gd name="connsiteX47" fmla="*/ 1503 w 4027"/>
                  <a:gd name="connsiteY47" fmla="*/ 969 h 1039"/>
                  <a:gd name="connsiteX48" fmla="*/ 1450 w 4027"/>
                  <a:gd name="connsiteY48" fmla="*/ 998 h 1039"/>
                  <a:gd name="connsiteX49" fmla="*/ 1394 w 4027"/>
                  <a:gd name="connsiteY49" fmla="*/ 1021 h 1039"/>
                  <a:gd name="connsiteX50" fmla="*/ 1330 w 4027"/>
                  <a:gd name="connsiteY50" fmla="*/ 1033 h 1039"/>
                  <a:gd name="connsiteX51" fmla="*/ 1264 w 4027"/>
                  <a:gd name="connsiteY51" fmla="*/ 1039 h 1039"/>
                  <a:gd name="connsiteX52" fmla="*/ 1258 w 4027"/>
                  <a:gd name="connsiteY52" fmla="*/ 1039 h 1039"/>
                  <a:gd name="connsiteX53" fmla="*/ 1190 w 4027"/>
                  <a:gd name="connsiteY53" fmla="*/ 1035 h 1039"/>
                  <a:gd name="connsiteX54" fmla="*/ 1128 w 4027"/>
                  <a:gd name="connsiteY54" fmla="*/ 1023 h 1039"/>
                  <a:gd name="connsiteX55" fmla="*/ 1070 w 4027"/>
                  <a:gd name="connsiteY55" fmla="*/ 1004 h 1039"/>
                  <a:gd name="connsiteX56" fmla="*/ 1018 w 4027"/>
                  <a:gd name="connsiteY56" fmla="*/ 979 h 1039"/>
                  <a:gd name="connsiteX57" fmla="*/ 971 w 4027"/>
                  <a:gd name="connsiteY57" fmla="*/ 948 h 1039"/>
                  <a:gd name="connsiteX58" fmla="*/ 925 w 4027"/>
                  <a:gd name="connsiteY58" fmla="*/ 911 h 1039"/>
                  <a:gd name="connsiteX59" fmla="*/ 884 w 4027"/>
                  <a:gd name="connsiteY59" fmla="*/ 869 h 1039"/>
                  <a:gd name="connsiteX60" fmla="*/ 847 w 4027"/>
                  <a:gd name="connsiteY60" fmla="*/ 824 h 1039"/>
                  <a:gd name="connsiteX61" fmla="*/ 810 w 4027"/>
                  <a:gd name="connsiteY61" fmla="*/ 776 h 1039"/>
                  <a:gd name="connsiteX62" fmla="*/ 777 w 4027"/>
                  <a:gd name="connsiteY62" fmla="*/ 724 h 1039"/>
                  <a:gd name="connsiteX63" fmla="*/ 742 w 4027"/>
                  <a:gd name="connsiteY63" fmla="*/ 670 h 1039"/>
                  <a:gd name="connsiteX64" fmla="*/ 711 w 4027"/>
                  <a:gd name="connsiteY64" fmla="*/ 614 h 1039"/>
                  <a:gd name="connsiteX65" fmla="*/ 678 w 4027"/>
                  <a:gd name="connsiteY65" fmla="*/ 556 h 1039"/>
                  <a:gd name="connsiteX66" fmla="*/ 616 w 4027"/>
                  <a:gd name="connsiteY66" fmla="*/ 444 h 1039"/>
                  <a:gd name="connsiteX67" fmla="*/ 547 w 4027"/>
                  <a:gd name="connsiteY67" fmla="*/ 336 h 1039"/>
                  <a:gd name="connsiteX68" fmla="*/ 504 w 4027"/>
                  <a:gd name="connsiteY68" fmla="*/ 280 h 1039"/>
                  <a:gd name="connsiteX69" fmla="*/ 457 w 4027"/>
                  <a:gd name="connsiteY69" fmla="*/ 235 h 1039"/>
                  <a:gd name="connsiteX70" fmla="*/ 409 w 4027"/>
                  <a:gd name="connsiteY70" fmla="*/ 195 h 1039"/>
                  <a:gd name="connsiteX71" fmla="*/ 358 w 4027"/>
                  <a:gd name="connsiteY71" fmla="*/ 164 h 1039"/>
                  <a:gd name="connsiteX72" fmla="*/ 308 w 4027"/>
                  <a:gd name="connsiteY72" fmla="*/ 141 h 1039"/>
                  <a:gd name="connsiteX73" fmla="*/ 256 w 4027"/>
                  <a:gd name="connsiteY73" fmla="*/ 123 h 1039"/>
                  <a:gd name="connsiteX74" fmla="*/ 209 w 4027"/>
                  <a:gd name="connsiteY74" fmla="*/ 108 h 1039"/>
                  <a:gd name="connsiteX75" fmla="*/ 163 w 4027"/>
                  <a:gd name="connsiteY75" fmla="*/ 100 h 1039"/>
                  <a:gd name="connsiteX76" fmla="*/ 122 w 4027"/>
                  <a:gd name="connsiteY76" fmla="*/ 96 h 1039"/>
                  <a:gd name="connsiteX77" fmla="*/ 85 w 4027"/>
                  <a:gd name="connsiteY77" fmla="*/ 91 h 1039"/>
                  <a:gd name="connsiteX78" fmla="*/ 31 w 4027"/>
                  <a:gd name="connsiteY78" fmla="*/ 91 h 1039"/>
                  <a:gd name="connsiteX79" fmla="*/ 17 w 4027"/>
                  <a:gd name="connsiteY79" fmla="*/ 94 h 1039"/>
                  <a:gd name="connsiteX80" fmla="*/ 11 w 4027"/>
                  <a:gd name="connsiteY80" fmla="*/ 94 h 1039"/>
                  <a:gd name="connsiteX81" fmla="*/ 0 w 4027"/>
                  <a:gd name="connsiteY81" fmla="*/ 9 h 1039"/>
                  <a:gd name="connsiteX82" fmla="*/ 9 w 4027"/>
                  <a:gd name="connsiteY82" fmla="*/ 9 h 1039"/>
                  <a:gd name="connsiteX83" fmla="*/ 29 w 4027"/>
                  <a:gd name="connsiteY83" fmla="*/ 6 h 1039"/>
                  <a:gd name="connsiteX84" fmla="*/ 91 w 4027"/>
                  <a:gd name="connsiteY84" fmla="*/ 6 h 1039"/>
                  <a:gd name="connsiteX85" fmla="*/ 135 w 4027"/>
                  <a:gd name="connsiteY85" fmla="*/ 9 h 1039"/>
                  <a:gd name="connsiteX86" fmla="*/ 182 w 4027"/>
                  <a:gd name="connsiteY86" fmla="*/ 15 h 1039"/>
                  <a:gd name="connsiteX87" fmla="*/ 234 w 4027"/>
                  <a:gd name="connsiteY87" fmla="*/ 25 h 1039"/>
                  <a:gd name="connsiteX88" fmla="*/ 287 w 4027"/>
                  <a:gd name="connsiteY88" fmla="*/ 42 h 1039"/>
                  <a:gd name="connsiteX89" fmla="*/ 345 w 4027"/>
                  <a:gd name="connsiteY89" fmla="*/ 62 h 1039"/>
                  <a:gd name="connsiteX90" fmla="*/ 403 w 4027"/>
                  <a:gd name="connsiteY90" fmla="*/ 89 h 1039"/>
                  <a:gd name="connsiteX91" fmla="*/ 459 w 4027"/>
                  <a:gd name="connsiteY91" fmla="*/ 127 h 1039"/>
                  <a:gd name="connsiteX92" fmla="*/ 514 w 4027"/>
                  <a:gd name="connsiteY92" fmla="*/ 170 h 1039"/>
                  <a:gd name="connsiteX93" fmla="*/ 568 w 4027"/>
                  <a:gd name="connsiteY93" fmla="*/ 224 h 1039"/>
                  <a:gd name="connsiteX94" fmla="*/ 618 w 4027"/>
                  <a:gd name="connsiteY94" fmla="*/ 288 h 1039"/>
                  <a:gd name="connsiteX95" fmla="*/ 667 w 4027"/>
                  <a:gd name="connsiteY95" fmla="*/ 363 h 1039"/>
                  <a:gd name="connsiteX96" fmla="*/ 754 w 4027"/>
                  <a:gd name="connsiteY96" fmla="*/ 512 h 1039"/>
                  <a:gd name="connsiteX97" fmla="*/ 787 w 4027"/>
                  <a:gd name="connsiteY97" fmla="*/ 571 h 1039"/>
                  <a:gd name="connsiteX98" fmla="*/ 820 w 4027"/>
                  <a:gd name="connsiteY98" fmla="*/ 627 h 1039"/>
                  <a:gd name="connsiteX99" fmla="*/ 853 w 4027"/>
                  <a:gd name="connsiteY99" fmla="*/ 680 h 1039"/>
                  <a:gd name="connsiteX100" fmla="*/ 886 w 4027"/>
                  <a:gd name="connsiteY100" fmla="*/ 732 h 1039"/>
                  <a:gd name="connsiteX101" fmla="*/ 921 w 4027"/>
                  <a:gd name="connsiteY101" fmla="*/ 778 h 1039"/>
                  <a:gd name="connsiteX102" fmla="*/ 958 w 4027"/>
                  <a:gd name="connsiteY102" fmla="*/ 821 h 1039"/>
                  <a:gd name="connsiteX103" fmla="*/ 1000 w 4027"/>
                  <a:gd name="connsiteY103" fmla="*/ 859 h 1039"/>
                  <a:gd name="connsiteX104" fmla="*/ 1043 w 4027"/>
                  <a:gd name="connsiteY104" fmla="*/ 890 h 1039"/>
                  <a:gd name="connsiteX105" fmla="*/ 1090 w 4027"/>
                  <a:gd name="connsiteY105" fmla="*/ 917 h 1039"/>
                  <a:gd name="connsiteX106" fmla="*/ 1140 w 4027"/>
                  <a:gd name="connsiteY106" fmla="*/ 935 h 1039"/>
                  <a:gd name="connsiteX107" fmla="*/ 1196 w 4027"/>
                  <a:gd name="connsiteY107" fmla="*/ 948 h 1039"/>
                  <a:gd name="connsiteX108" fmla="*/ 1258 w 4027"/>
                  <a:gd name="connsiteY108" fmla="*/ 952 h 1039"/>
                  <a:gd name="connsiteX109" fmla="*/ 1264 w 4027"/>
                  <a:gd name="connsiteY109" fmla="*/ 952 h 1039"/>
                  <a:gd name="connsiteX110" fmla="*/ 1324 w 4027"/>
                  <a:gd name="connsiteY110" fmla="*/ 946 h 1039"/>
                  <a:gd name="connsiteX111" fmla="*/ 1380 w 4027"/>
                  <a:gd name="connsiteY111" fmla="*/ 931 h 1039"/>
                  <a:gd name="connsiteX112" fmla="*/ 1433 w 4027"/>
                  <a:gd name="connsiteY112" fmla="*/ 909 h 1039"/>
                  <a:gd name="connsiteX113" fmla="*/ 1481 w 4027"/>
                  <a:gd name="connsiteY113" fmla="*/ 880 h 1039"/>
                  <a:gd name="connsiteX114" fmla="*/ 1526 w 4027"/>
                  <a:gd name="connsiteY114" fmla="*/ 842 h 1039"/>
                  <a:gd name="connsiteX115" fmla="*/ 1569 w 4027"/>
                  <a:gd name="connsiteY115" fmla="*/ 799 h 1039"/>
                  <a:gd name="connsiteX116" fmla="*/ 1609 w 4027"/>
                  <a:gd name="connsiteY116" fmla="*/ 751 h 1039"/>
                  <a:gd name="connsiteX117" fmla="*/ 1648 w 4027"/>
                  <a:gd name="connsiteY117" fmla="*/ 699 h 1039"/>
                  <a:gd name="connsiteX118" fmla="*/ 1687 w 4027"/>
                  <a:gd name="connsiteY118" fmla="*/ 645 h 1039"/>
                  <a:gd name="connsiteX119" fmla="*/ 1799 w 4027"/>
                  <a:gd name="connsiteY119" fmla="*/ 471 h 1039"/>
                  <a:gd name="connsiteX120" fmla="*/ 1838 w 4027"/>
                  <a:gd name="connsiteY120" fmla="*/ 411 h 1039"/>
                  <a:gd name="connsiteX121" fmla="*/ 1879 w 4027"/>
                  <a:gd name="connsiteY121" fmla="*/ 353 h 1039"/>
                  <a:gd name="connsiteX122" fmla="*/ 1923 w 4027"/>
                  <a:gd name="connsiteY122" fmla="*/ 295 h 1039"/>
                  <a:gd name="connsiteX123" fmla="*/ 1968 w 4027"/>
                  <a:gd name="connsiteY123" fmla="*/ 241 h 1039"/>
                  <a:gd name="connsiteX124" fmla="*/ 2015 w 4027"/>
                  <a:gd name="connsiteY124" fmla="*/ 189 h 1039"/>
                  <a:gd name="connsiteX125" fmla="*/ 2069 w 4027"/>
                  <a:gd name="connsiteY125" fmla="*/ 141 h 1039"/>
                  <a:gd name="connsiteX126" fmla="*/ 2125 w 4027"/>
                  <a:gd name="connsiteY126" fmla="*/ 100 h 1039"/>
                  <a:gd name="connsiteX127" fmla="*/ 2187 w 4027"/>
                  <a:gd name="connsiteY127" fmla="*/ 65 h 1039"/>
                  <a:gd name="connsiteX128" fmla="*/ 2253 w 4027"/>
                  <a:gd name="connsiteY128" fmla="*/ 35 h 1039"/>
                  <a:gd name="connsiteX129" fmla="*/ 2325 w 4027"/>
                  <a:gd name="connsiteY129" fmla="*/ 15 h 1039"/>
                  <a:gd name="connsiteX130" fmla="*/ 2404 w 4027"/>
                  <a:gd name="connsiteY130" fmla="*/ 2 h 1039"/>
                  <a:gd name="connsiteX131" fmla="*/ 2474 w 4027"/>
                  <a:gd name="connsiteY131" fmla="*/ 0 h 1039"/>
                  <a:gd name="connsiteX132" fmla="*/ 2540 w 4027"/>
                  <a:gd name="connsiteY132" fmla="*/ 9 h 1039"/>
                  <a:gd name="connsiteX133" fmla="*/ 2600 w 4027"/>
                  <a:gd name="connsiteY133" fmla="*/ 23 h 1039"/>
                  <a:gd name="connsiteX134" fmla="*/ 2658 w 4027"/>
                  <a:gd name="connsiteY134" fmla="*/ 46 h 1039"/>
                  <a:gd name="connsiteX135" fmla="*/ 2711 w 4027"/>
                  <a:gd name="connsiteY135" fmla="*/ 77 h 1039"/>
                  <a:gd name="connsiteX136" fmla="*/ 2761 w 4027"/>
                  <a:gd name="connsiteY136" fmla="*/ 112 h 1039"/>
                  <a:gd name="connsiteX137" fmla="*/ 2806 w 4027"/>
                  <a:gd name="connsiteY137" fmla="*/ 154 h 1039"/>
                  <a:gd name="connsiteX138" fmla="*/ 2852 w 4027"/>
                  <a:gd name="connsiteY138" fmla="*/ 199 h 1039"/>
                  <a:gd name="connsiteX139" fmla="*/ 2893 w 4027"/>
                  <a:gd name="connsiteY139" fmla="*/ 247 h 1039"/>
                  <a:gd name="connsiteX140" fmla="*/ 2932 w 4027"/>
                  <a:gd name="connsiteY140" fmla="*/ 299 h 1039"/>
                  <a:gd name="connsiteX141" fmla="*/ 2969 w 4027"/>
                  <a:gd name="connsiteY141" fmla="*/ 353 h 1039"/>
                  <a:gd name="connsiteX142" fmla="*/ 3004 w 4027"/>
                  <a:gd name="connsiteY142" fmla="*/ 409 h 1039"/>
                  <a:gd name="connsiteX143" fmla="*/ 3039 w 4027"/>
                  <a:gd name="connsiteY143" fmla="*/ 463 h 1039"/>
                  <a:gd name="connsiteX144" fmla="*/ 3073 w 4027"/>
                  <a:gd name="connsiteY144" fmla="*/ 519 h 1039"/>
                  <a:gd name="connsiteX145" fmla="*/ 3186 w 4027"/>
                  <a:gd name="connsiteY145" fmla="*/ 697 h 1039"/>
                  <a:gd name="connsiteX146" fmla="*/ 3306 w 4027"/>
                  <a:gd name="connsiteY146" fmla="*/ 844 h 1039"/>
                  <a:gd name="connsiteX147" fmla="*/ 3444 w 4027"/>
                  <a:gd name="connsiteY147" fmla="*/ 935 h 1039"/>
                  <a:gd name="connsiteX148" fmla="*/ 3554 w 4027"/>
                  <a:gd name="connsiteY148" fmla="*/ 952 h 1039"/>
                  <a:gd name="connsiteX149" fmla="*/ 3659 w 4027"/>
                  <a:gd name="connsiteY149" fmla="*/ 931 h 1039"/>
                  <a:gd name="connsiteX150" fmla="*/ 3789 w 4027"/>
                  <a:gd name="connsiteY150" fmla="*/ 844 h 1039"/>
                  <a:gd name="connsiteX151" fmla="*/ 3826 w 4027"/>
                  <a:gd name="connsiteY151" fmla="*/ 803 h 1039"/>
                  <a:gd name="connsiteX0" fmla="*/ 3826 w 3940"/>
                  <a:gd name="connsiteY0" fmla="*/ 803 h 1039"/>
                  <a:gd name="connsiteX1" fmla="*/ 3940 w 3940"/>
                  <a:gd name="connsiteY1" fmla="*/ 794 h 1039"/>
                  <a:gd name="connsiteX2" fmla="*/ 3865 w 3940"/>
                  <a:gd name="connsiteY2" fmla="*/ 890 h 1039"/>
                  <a:gd name="connsiteX3" fmla="*/ 3779 w 3940"/>
                  <a:gd name="connsiteY3" fmla="*/ 967 h 1039"/>
                  <a:gd name="connsiteX4" fmla="*/ 3729 w 3940"/>
                  <a:gd name="connsiteY4" fmla="*/ 996 h 1039"/>
                  <a:gd name="connsiteX5" fmla="*/ 3620 w 3940"/>
                  <a:gd name="connsiteY5" fmla="*/ 1033 h 1039"/>
                  <a:gd name="connsiteX6" fmla="*/ 3556 w 3940"/>
                  <a:gd name="connsiteY6" fmla="*/ 1039 h 1039"/>
                  <a:gd name="connsiteX7" fmla="*/ 3547 w 3940"/>
                  <a:gd name="connsiteY7" fmla="*/ 1039 h 1039"/>
                  <a:gd name="connsiteX8" fmla="*/ 3485 w 3940"/>
                  <a:gd name="connsiteY8" fmla="*/ 1035 h 1039"/>
                  <a:gd name="connsiteX9" fmla="*/ 3372 w 3940"/>
                  <a:gd name="connsiteY9" fmla="*/ 998 h 1039"/>
                  <a:gd name="connsiteX10" fmla="*/ 3273 w 3940"/>
                  <a:gd name="connsiteY10" fmla="*/ 931 h 1039"/>
                  <a:gd name="connsiteX11" fmla="*/ 3229 w 3940"/>
                  <a:gd name="connsiteY11" fmla="*/ 890 h 1039"/>
                  <a:gd name="connsiteX12" fmla="*/ 3147 w 3940"/>
                  <a:gd name="connsiteY12" fmla="*/ 792 h 1039"/>
                  <a:gd name="connsiteX13" fmla="*/ 3108 w 3940"/>
                  <a:gd name="connsiteY13" fmla="*/ 736 h 1039"/>
                  <a:gd name="connsiteX14" fmla="*/ 3070 w 3940"/>
                  <a:gd name="connsiteY14" fmla="*/ 680 h 1039"/>
                  <a:gd name="connsiteX15" fmla="*/ 2965 w 3940"/>
                  <a:gd name="connsiteY15" fmla="*/ 506 h 1039"/>
                  <a:gd name="connsiteX16" fmla="*/ 2928 w 3940"/>
                  <a:gd name="connsiteY16" fmla="*/ 448 h 1039"/>
                  <a:gd name="connsiteX17" fmla="*/ 2891 w 3940"/>
                  <a:gd name="connsiteY17" fmla="*/ 392 h 1039"/>
                  <a:gd name="connsiteX18" fmla="*/ 2854 w 3940"/>
                  <a:gd name="connsiteY18" fmla="*/ 338 h 1039"/>
                  <a:gd name="connsiteX19" fmla="*/ 2814 w 3940"/>
                  <a:gd name="connsiteY19" fmla="*/ 288 h 1039"/>
                  <a:gd name="connsiteX20" fmla="*/ 2773 w 3940"/>
                  <a:gd name="connsiteY20" fmla="*/ 243 h 1039"/>
                  <a:gd name="connsiteX21" fmla="*/ 2732 w 3940"/>
                  <a:gd name="connsiteY21" fmla="*/ 201 h 1039"/>
                  <a:gd name="connsiteX22" fmla="*/ 2686 w 3940"/>
                  <a:gd name="connsiteY22" fmla="*/ 164 h 1039"/>
                  <a:gd name="connsiteX23" fmla="*/ 2639 w 3940"/>
                  <a:gd name="connsiteY23" fmla="*/ 135 h 1039"/>
                  <a:gd name="connsiteX24" fmla="*/ 2587 w 3940"/>
                  <a:gd name="connsiteY24" fmla="*/ 112 h 1039"/>
                  <a:gd name="connsiteX25" fmla="*/ 2532 w 3940"/>
                  <a:gd name="connsiteY25" fmla="*/ 96 h 1039"/>
                  <a:gd name="connsiteX26" fmla="*/ 2474 w 3940"/>
                  <a:gd name="connsiteY26" fmla="*/ 87 h 1039"/>
                  <a:gd name="connsiteX27" fmla="*/ 2410 w 3940"/>
                  <a:gd name="connsiteY27" fmla="*/ 89 h 1039"/>
                  <a:gd name="connsiteX28" fmla="*/ 2342 w 3940"/>
                  <a:gd name="connsiteY28" fmla="*/ 100 h 1039"/>
                  <a:gd name="connsiteX29" fmla="*/ 2280 w 3940"/>
                  <a:gd name="connsiteY29" fmla="*/ 118 h 1039"/>
                  <a:gd name="connsiteX30" fmla="*/ 2222 w 3940"/>
                  <a:gd name="connsiteY30" fmla="*/ 143 h 1039"/>
                  <a:gd name="connsiteX31" fmla="*/ 2168 w 3940"/>
                  <a:gd name="connsiteY31" fmla="*/ 176 h 1039"/>
                  <a:gd name="connsiteX32" fmla="*/ 2117 w 3940"/>
                  <a:gd name="connsiteY32" fmla="*/ 214 h 1039"/>
                  <a:gd name="connsiteX33" fmla="*/ 2071 w 3940"/>
                  <a:gd name="connsiteY33" fmla="*/ 257 h 1039"/>
                  <a:gd name="connsiteX34" fmla="*/ 2026 w 3940"/>
                  <a:gd name="connsiteY34" fmla="*/ 303 h 1039"/>
                  <a:gd name="connsiteX35" fmla="*/ 1984 w 3940"/>
                  <a:gd name="connsiteY35" fmla="*/ 355 h 1039"/>
                  <a:gd name="connsiteX36" fmla="*/ 1945 w 3940"/>
                  <a:gd name="connsiteY36" fmla="*/ 409 h 1039"/>
                  <a:gd name="connsiteX37" fmla="*/ 1908 w 3940"/>
                  <a:gd name="connsiteY37" fmla="*/ 463 h 1039"/>
                  <a:gd name="connsiteX38" fmla="*/ 1871 w 3940"/>
                  <a:gd name="connsiteY38" fmla="*/ 519 h 1039"/>
                  <a:gd name="connsiteX39" fmla="*/ 1834 w 3940"/>
                  <a:gd name="connsiteY39" fmla="*/ 577 h 1039"/>
                  <a:gd name="connsiteX40" fmla="*/ 1799 w 3940"/>
                  <a:gd name="connsiteY40" fmla="*/ 633 h 1039"/>
                  <a:gd name="connsiteX41" fmla="*/ 1724 w 3940"/>
                  <a:gd name="connsiteY41" fmla="*/ 745 h 1039"/>
                  <a:gd name="connsiteX42" fmla="*/ 1685 w 3940"/>
                  <a:gd name="connsiteY42" fmla="*/ 797 h 1039"/>
                  <a:gd name="connsiteX43" fmla="*/ 1644 w 3940"/>
                  <a:gd name="connsiteY43" fmla="*/ 846 h 1039"/>
                  <a:gd name="connsiteX44" fmla="*/ 1600 w 3940"/>
                  <a:gd name="connsiteY44" fmla="*/ 892 h 1039"/>
                  <a:gd name="connsiteX45" fmla="*/ 1553 w 3940"/>
                  <a:gd name="connsiteY45" fmla="*/ 933 h 1039"/>
                  <a:gd name="connsiteX46" fmla="*/ 1503 w 3940"/>
                  <a:gd name="connsiteY46" fmla="*/ 969 h 1039"/>
                  <a:gd name="connsiteX47" fmla="*/ 1450 w 3940"/>
                  <a:gd name="connsiteY47" fmla="*/ 998 h 1039"/>
                  <a:gd name="connsiteX48" fmla="*/ 1394 w 3940"/>
                  <a:gd name="connsiteY48" fmla="*/ 1021 h 1039"/>
                  <a:gd name="connsiteX49" fmla="*/ 1330 w 3940"/>
                  <a:gd name="connsiteY49" fmla="*/ 1033 h 1039"/>
                  <a:gd name="connsiteX50" fmla="*/ 1264 w 3940"/>
                  <a:gd name="connsiteY50" fmla="*/ 1039 h 1039"/>
                  <a:gd name="connsiteX51" fmla="*/ 1258 w 3940"/>
                  <a:gd name="connsiteY51" fmla="*/ 1039 h 1039"/>
                  <a:gd name="connsiteX52" fmla="*/ 1190 w 3940"/>
                  <a:gd name="connsiteY52" fmla="*/ 1035 h 1039"/>
                  <a:gd name="connsiteX53" fmla="*/ 1128 w 3940"/>
                  <a:gd name="connsiteY53" fmla="*/ 1023 h 1039"/>
                  <a:gd name="connsiteX54" fmla="*/ 1070 w 3940"/>
                  <a:gd name="connsiteY54" fmla="*/ 1004 h 1039"/>
                  <a:gd name="connsiteX55" fmla="*/ 1018 w 3940"/>
                  <a:gd name="connsiteY55" fmla="*/ 979 h 1039"/>
                  <a:gd name="connsiteX56" fmla="*/ 971 w 3940"/>
                  <a:gd name="connsiteY56" fmla="*/ 948 h 1039"/>
                  <a:gd name="connsiteX57" fmla="*/ 925 w 3940"/>
                  <a:gd name="connsiteY57" fmla="*/ 911 h 1039"/>
                  <a:gd name="connsiteX58" fmla="*/ 884 w 3940"/>
                  <a:gd name="connsiteY58" fmla="*/ 869 h 1039"/>
                  <a:gd name="connsiteX59" fmla="*/ 847 w 3940"/>
                  <a:gd name="connsiteY59" fmla="*/ 824 h 1039"/>
                  <a:gd name="connsiteX60" fmla="*/ 810 w 3940"/>
                  <a:gd name="connsiteY60" fmla="*/ 776 h 1039"/>
                  <a:gd name="connsiteX61" fmla="*/ 777 w 3940"/>
                  <a:gd name="connsiteY61" fmla="*/ 724 h 1039"/>
                  <a:gd name="connsiteX62" fmla="*/ 742 w 3940"/>
                  <a:gd name="connsiteY62" fmla="*/ 670 h 1039"/>
                  <a:gd name="connsiteX63" fmla="*/ 711 w 3940"/>
                  <a:gd name="connsiteY63" fmla="*/ 614 h 1039"/>
                  <a:gd name="connsiteX64" fmla="*/ 678 w 3940"/>
                  <a:gd name="connsiteY64" fmla="*/ 556 h 1039"/>
                  <a:gd name="connsiteX65" fmla="*/ 616 w 3940"/>
                  <a:gd name="connsiteY65" fmla="*/ 444 h 1039"/>
                  <a:gd name="connsiteX66" fmla="*/ 547 w 3940"/>
                  <a:gd name="connsiteY66" fmla="*/ 336 h 1039"/>
                  <a:gd name="connsiteX67" fmla="*/ 504 w 3940"/>
                  <a:gd name="connsiteY67" fmla="*/ 280 h 1039"/>
                  <a:gd name="connsiteX68" fmla="*/ 457 w 3940"/>
                  <a:gd name="connsiteY68" fmla="*/ 235 h 1039"/>
                  <a:gd name="connsiteX69" fmla="*/ 409 w 3940"/>
                  <a:gd name="connsiteY69" fmla="*/ 195 h 1039"/>
                  <a:gd name="connsiteX70" fmla="*/ 358 w 3940"/>
                  <a:gd name="connsiteY70" fmla="*/ 164 h 1039"/>
                  <a:gd name="connsiteX71" fmla="*/ 308 w 3940"/>
                  <a:gd name="connsiteY71" fmla="*/ 141 h 1039"/>
                  <a:gd name="connsiteX72" fmla="*/ 256 w 3940"/>
                  <a:gd name="connsiteY72" fmla="*/ 123 h 1039"/>
                  <a:gd name="connsiteX73" fmla="*/ 209 w 3940"/>
                  <a:gd name="connsiteY73" fmla="*/ 108 h 1039"/>
                  <a:gd name="connsiteX74" fmla="*/ 163 w 3940"/>
                  <a:gd name="connsiteY74" fmla="*/ 100 h 1039"/>
                  <a:gd name="connsiteX75" fmla="*/ 122 w 3940"/>
                  <a:gd name="connsiteY75" fmla="*/ 96 h 1039"/>
                  <a:gd name="connsiteX76" fmla="*/ 85 w 3940"/>
                  <a:gd name="connsiteY76" fmla="*/ 91 h 1039"/>
                  <a:gd name="connsiteX77" fmla="*/ 31 w 3940"/>
                  <a:gd name="connsiteY77" fmla="*/ 91 h 1039"/>
                  <a:gd name="connsiteX78" fmla="*/ 17 w 3940"/>
                  <a:gd name="connsiteY78" fmla="*/ 94 h 1039"/>
                  <a:gd name="connsiteX79" fmla="*/ 11 w 3940"/>
                  <a:gd name="connsiteY79" fmla="*/ 94 h 1039"/>
                  <a:gd name="connsiteX80" fmla="*/ 0 w 3940"/>
                  <a:gd name="connsiteY80" fmla="*/ 9 h 1039"/>
                  <a:gd name="connsiteX81" fmla="*/ 9 w 3940"/>
                  <a:gd name="connsiteY81" fmla="*/ 9 h 1039"/>
                  <a:gd name="connsiteX82" fmla="*/ 29 w 3940"/>
                  <a:gd name="connsiteY82" fmla="*/ 6 h 1039"/>
                  <a:gd name="connsiteX83" fmla="*/ 91 w 3940"/>
                  <a:gd name="connsiteY83" fmla="*/ 6 h 1039"/>
                  <a:gd name="connsiteX84" fmla="*/ 135 w 3940"/>
                  <a:gd name="connsiteY84" fmla="*/ 9 h 1039"/>
                  <a:gd name="connsiteX85" fmla="*/ 182 w 3940"/>
                  <a:gd name="connsiteY85" fmla="*/ 15 h 1039"/>
                  <a:gd name="connsiteX86" fmla="*/ 234 w 3940"/>
                  <a:gd name="connsiteY86" fmla="*/ 25 h 1039"/>
                  <a:gd name="connsiteX87" fmla="*/ 287 w 3940"/>
                  <a:gd name="connsiteY87" fmla="*/ 42 h 1039"/>
                  <a:gd name="connsiteX88" fmla="*/ 345 w 3940"/>
                  <a:gd name="connsiteY88" fmla="*/ 62 h 1039"/>
                  <a:gd name="connsiteX89" fmla="*/ 403 w 3940"/>
                  <a:gd name="connsiteY89" fmla="*/ 89 h 1039"/>
                  <a:gd name="connsiteX90" fmla="*/ 459 w 3940"/>
                  <a:gd name="connsiteY90" fmla="*/ 127 h 1039"/>
                  <a:gd name="connsiteX91" fmla="*/ 514 w 3940"/>
                  <a:gd name="connsiteY91" fmla="*/ 170 h 1039"/>
                  <a:gd name="connsiteX92" fmla="*/ 568 w 3940"/>
                  <a:gd name="connsiteY92" fmla="*/ 224 h 1039"/>
                  <a:gd name="connsiteX93" fmla="*/ 618 w 3940"/>
                  <a:gd name="connsiteY93" fmla="*/ 288 h 1039"/>
                  <a:gd name="connsiteX94" fmla="*/ 667 w 3940"/>
                  <a:gd name="connsiteY94" fmla="*/ 363 h 1039"/>
                  <a:gd name="connsiteX95" fmla="*/ 754 w 3940"/>
                  <a:gd name="connsiteY95" fmla="*/ 512 h 1039"/>
                  <a:gd name="connsiteX96" fmla="*/ 787 w 3940"/>
                  <a:gd name="connsiteY96" fmla="*/ 571 h 1039"/>
                  <a:gd name="connsiteX97" fmla="*/ 820 w 3940"/>
                  <a:gd name="connsiteY97" fmla="*/ 627 h 1039"/>
                  <a:gd name="connsiteX98" fmla="*/ 853 w 3940"/>
                  <a:gd name="connsiteY98" fmla="*/ 680 h 1039"/>
                  <a:gd name="connsiteX99" fmla="*/ 886 w 3940"/>
                  <a:gd name="connsiteY99" fmla="*/ 732 h 1039"/>
                  <a:gd name="connsiteX100" fmla="*/ 921 w 3940"/>
                  <a:gd name="connsiteY100" fmla="*/ 778 h 1039"/>
                  <a:gd name="connsiteX101" fmla="*/ 958 w 3940"/>
                  <a:gd name="connsiteY101" fmla="*/ 821 h 1039"/>
                  <a:gd name="connsiteX102" fmla="*/ 1000 w 3940"/>
                  <a:gd name="connsiteY102" fmla="*/ 859 h 1039"/>
                  <a:gd name="connsiteX103" fmla="*/ 1043 w 3940"/>
                  <a:gd name="connsiteY103" fmla="*/ 890 h 1039"/>
                  <a:gd name="connsiteX104" fmla="*/ 1090 w 3940"/>
                  <a:gd name="connsiteY104" fmla="*/ 917 h 1039"/>
                  <a:gd name="connsiteX105" fmla="*/ 1140 w 3940"/>
                  <a:gd name="connsiteY105" fmla="*/ 935 h 1039"/>
                  <a:gd name="connsiteX106" fmla="*/ 1196 w 3940"/>
                  <a:gd name="connsiteY106" fmla="*/ 948 h 1039"/>
                  <a:gd name="connsiteX107" fmla="*/ 1258 w 3940"/>
                  <a:gd name="connsiteY107" fmla="*/ 952 h 1039"/>
                  <a:gd name="connsiteX108" fmla="*/ 1264 w 3940"/>
                  <a:gd name="connsiteY108" fmla="*/ 952 h 1039"/>
                  <a:gd name="connsiteX109" fmla="*/ 1324 w 3940"/>
                  <a:gd name="connsiteY109" fmla="*/ 946 h 1039"/>
                  <a:gd name="connsiteX110" fmla="*/ 1380 w 3940"/>
                  <a:gd name="connsiteY110" fmla="*/ 931 h 1039"/>
                  <a:gd name="connsiteX111" fmla="*/ 1433 w 3940"/>
                  <a:gd name="connsiteY111" fmla="*/ 909 h 1039"/>
                  <a:gd name="connsiteX112" fmla="*/ 1481 w 3940"/>
                  <a:gd name="connsiteY112" fmla="*/ 880 h 1039"/>
                  <a:gd name="connsiteX113" fmla="*/ 1526 w 3940"/>
                  <a:gd name="connsiteY113" fmla="*/ 842 h 1039"/>
                  <a:gd name="connsiteX114" fmla="*/ 1569 w 3940"/>
                  <a:gd name="connsiteY114" fmla="*/ 799 h 1039"/>
                  <a:gd name="connsiteX115" fmla="*/ 1609 w 3940"/>
                  <a:gd name="connsiteY115" fmla="*/ 751 h 1039"/>
                  <a:gd name="connsiteX116" fmla="*/ 1648 w 3940"/>
                  <a:gd name="connsiteY116" fmla="*/ 699 h 1039"/>
                  <a:gd name="connsiteX117" fmla="*/ 1687 w 3940"/>
                  <a:gd name="connsiteY117" fmla="*/ 645 h 1039"/>
                  <a:gd name="connsiteX118" fmla="*/ 1799 w 3940"/>
                  <a:gd name="connsiteY118" fmla="*/ 471 h 1039"/>
                  <a:gd name="connsiteX119" fmla="*/ 1838 w 3940"/>
                  <a:gd name="connsiteY119" fmla="*/ 411 h 1039"/>
                  <a:gd name="connsiteX120" fmla="*/ 1879 w 3940"/>
                  <a:gd name="connsiteY120" fmla="*/ 353 h 1039"/>
                  <a:gd name="connsiteX121" fmla="*/ 1923 w 3940"/>
                  <a:gd name="connsiteY121" fmla="*/ 295 h 1039"/>
                  <a:gd name="connsiteX122" fmla="*/ 1968 w 3940"/>
                  <a:gd name="connsiteY122" fmla="*/ 241 h 1039"/>
                  <a:gd name="connsiteX123" fmla="*/ 2015 w 3940"/>
                  <a:gd name="connsiteY123" fmla="*/ 189 h 1039"/>
                  <a:gd name="connsiteX124" fmla="*/ 2069 w 3940"/>
                  <a:gd name="connsiteY124" fmla="*/ 141 h 1039"/>
                  <a:gd name="connsiteX125" fmla="*/ 2125 w 3940"/>
                  <a:gd name="connsiteY125" fmla="*/ 100 h 1039"/>
                  <a:gd name="connsiteX126" fmla="*/ 2187 w 3940"/>
                  <a:gd name="connsiteY126" fmla="*/ 65 h 1039"/>
                  <a:gd name="connsiteX127" fmla="*/ 2253 w 3940"/>
                  <a:gd name="connsiteY127" fmla="*/ 35 h 1039"/>
                  <a:gd name="connsiteX128" fmla="*/ 2325 w 3940"/>
                  <a:gd name="connsiteY128" fmla="*/ 15 h 1039"/>
                  <a:gd name="connsiteX129" fmla="*/ 2404 w 3940"/>
                  <a:gd name="connsiteY129" fmla="*/ 2 h 1039"/>
                  <a:gd name="connsiteX130" fmla="*/ 2474 w 3940"/>
                  <a:gd name="connsiteY130" fmla="*/ 0 h 1039"/>
                  <a:gd name="connsiteX131" fmla="*/ 2540 w 3940"/>
                  <a:gd name="connsiteY131" fmla="*/ 9 h 1039"/>
                  <a:gd name="connsiteX132" fmla="*/ 2600 w 3940"/>
                  <a:gd name="connsiteY132" fmla="*/ 23 h 1039"/>
                  <a:gd name="connsiteX133" fmla="*/ 2658 w 3940"/>
                  <a:gd name="connsiteY133" fmla="*/ 46 h 1039"/>
                  <a:gd name="connsiteX134" fmla="*/ 2711 w 3940"/>
                  <a:gd name="connsiteY134" fmla="*/ 77 h 1039"/>
                  <a:gd name="connsiteX135" fmla="*/ 2761 w 3940"/>
                  <a:gd name="connsiteY135" fmla="*/ 112 h 1039"/>
                  <a:gd name="connsiteX136" fmla="*/ 2806 w 3940"/>
                  <a:gd name="connsiteY136" fmla="*/ 154 h 1039"/>
                  <a:gd name="connsiteX137" fmla="*/ 2852 w 3940"/>
                  <a:gd name="connsiteY137" fmla="*/ 199 h 1039"/>
                  <a:gd name="connsiteX138" fmla="*/ 2893 w 3940"/>
                  <a:gd name="connsiteY138" fmla="*/ 247 h 1039"/>
                  <a:gd name="connsiteX139" fmla="*/ 2932 w 3940"/>
                  <a:gd name="connsiteY139" fmla="*/ 299 h 1039"/>
                  <a:gd name="connsiteX140" fmla="*/ 2969 w 3940"/>
                  <a:gd name="connsiteY140" fmla="*/ 353 h 1039"/>
                  <a:gd name="connsiteX141" fmla="*/ 3004 w 3940"/>
                  <a:gd name="connsiteY141" fmla="*/ 409 h 1039"/>
                  <a:gd name="connsiteX142" fmla="*/ 3039 w 3940"/>
                  <a:gd name="connsiteY142" fmla="*/ 463 h 1039"/>
                  <a:gd name="connsiteX143" fmla="*/ 3073 w 3940"/>
                  <a:gd name="connsiteY143" fmla="*/ 519 h 1039"/>
                  <a:gd name="connsiteX144" fmla="*/ 3186 w 3940"/>
                  <a:gd name="connsiteY144" fmla="*/ 697 h 1039"/>
                  <a:gd name="connsiteX145" fmla="*/ 3306 w 3940"/>
                  <a:gd name="connsiteY145" fmla="*/ 844 h 1039"/>
                  <a:gd name="connsiteX146" fmla="*/ 3444 w 3940"/>
                  <a:gd name="connsiteY146" fmla="*/ 935 h 1039"/>
                  <a:gd name="connsiteX147" fmla="*/ 3554 w 3940"/>
                  <a:gd name="connsiteY147" fmla="*/ 952 h 1039"/>
                  <a:gd name="connsiteX148" fmla="*/ 3659 w 3940"/>
                  <a:gd name="connsiteY148" fmla="*/ 931 h 1039"/>
                  <a:gd name="connsiteX149" fmla="*/ 3789 w 3940"/>
                  <a:gd name="connsiteY149" fmla="*/ 844 h 1039"/>
                  <a:gd name="connsiteX150" fmla="*/ 3826 w 3940"/>
                  <a:gd name="connsiteY150" fmla="*/ 803 h 1039"/>
                  <a:gd name="connsiteX0" fmla="*/ 3826 w 3940"/>
                  <a:gd name="connsiteY0" fmla="*/ 803 h 1039"/>
                  <a:gd name="connsiteX1" fmla="*/ 3940 w 3940"/>
                  <a:gd name="connsiteY1" fmla="*/ 794 h 1039"/>
                  <a:gd name="connsiteX2" fmla="*/ 3779 w 3940"/>
                  <a:gd name="connsiteY2" fmla="*/ 967 h 1039"/>
                  <a:gd name="connsiteX3" fmla="*/ 3729 w 3940"/>
                  <a:gd name="connsiteY3" fmla="*/ 996 h 1039"/>
                  <a:gd name="connsiteX4" fmla="*/ 3620 w 3940"/>
                  <a:gd name="connsiteY4" fmla="*/ 1033 h 1039"/>
                  <a:gd name="connsiteX5" fmla="*/ 3556 w 3940"/>
                  <a:gd name="connsiteY5" fmla="*/ 1039 h 1039"/>
                  <a:gd name="connsiteX6" fmla="*/ 3547 w 3940"/>
                  <a:gd name="connsiteY6" fmla="*/ 1039 h 1039"/>
                  <a:gd name="connsiteX7" fmla="*/ 3485 w 3940"/>
                  <a:gd name="connsiteY7" fmla="*/ 1035 h 1039"/>
                  <a:gd name="connsiteX8" fmla="*/ 3372 w 3940"/>
                  <a:gd name="connsiteY8" fmla="*/ 998 h 1039"/>
                  <a:gd name="connsiteX9" fmla="*/ 3273 w 3940"/>
                  <a:gd name="connsiteY9" fmla="*/ 931 h 1039"/>
                  <a:gd name="connsiteX10" fmla="*/ 3229 w 3940"/>
                  <a:gd name="connsiteY10" fmla="*/ 890 h 1039"/>
                  <a:gd name="connsiteX11" fmla="*/ 3147 w 3940"/>
                  <a:gd name="connsiteY11" fmla="*/ 792 h 1039"/>
                  <a:gd name="connsiteX12" fmla="*/ 3108 w 3940"/>
                  <a:gd name="connsiteY12" fmla="*/ 736 h 1039"/>
                  <a:gd name="connsiteX13" fmla="*/ 3070 w 3940"/>
                  <a:gd name="connsiteY13" fmla="*/ 680 h 1039"/>
                  <a:gd name="connsiteX14" fmla="*/ 2965 w 3940"/>
                  <a:gd name="connsiteY14" fmla="*/ 506 h 1039"/>
                  <a:gd name="connsiteX15" fmla="*/ 2928 w 3940"/>
                  <a:gd name="connsiteY15" fmla="*/ 448 h 1039"/>
                  <a:gd name="connsiteX16" fmla="*/ 2891 w 3940"/>
                  <a:gd name="connsiteY16" fmla="*/ 392 h 1039"/>
                  <a:gd name="connsiteX17" fmla="*/ 2854 w 3940"/>
                  <a:gd name="connsiteY17" fmla="*/ 338 h 1039"/>
                  <a:gd name="connsiteX18" fmla="*/ 2814 w 3940"/>
                  <a:gd name="connsiteY18" fmla="*/ 288 h 1039"/>
                  <a:gd name="connsiteX19" fmla="*/ 2773 w 3940"/>
                  <a:gd name="connsiteY19" fmla="*/ 243 h 1039"/>
                  <a:gd name="connsiteX20" fmla="*/ 2732 w 3940"/>
                  <a:gd name="connsiteY20" fmla="*/ 201 h 1039"/>
                  <a:gd name="connsiteX21" fmla="*/ 2686 w 3940"/>
                  <a:gd name="connsiteY21" fmla="*/ 164 h 1039"/>
                  <a:gd name="connsiteX22" fmla="*/ 2639 w 3940"/>
                  <a:gd name="connsiteY22" fmla="*/ 135 h 1039"/>
                  <a:gd name="connsiteX23" fmla="*/ 2587 w 3940"/>
                  <a:gd name="connsiteY23" fmla="*/ 112 h 1039"/>
                  <a:gd name="connsiteX24" fmla="*/ 2532 w 3940"/>
                  <a:gd name="connsiteY24" fmla="*/ 96 h 1039"/>
                  <a:gd name="connsiteX25" fmla="*/ 2474 w 3940"/>
                  <a:gd name="connsiteY25" fmla="*/ 87 h 1039"/>
                  <a:gd name="connsiteX26" fmla="*/ 2410 w 3940"/>
                  <a:gd name="connsiteY26" fmla="*/ 89 h 1039"/>
                  <a:gd name="connsiteX27" fmla="*/ 2342 w 3940"/>
                  <a:gd name="connsiteY27" fmla="*/ 100 h 1039"/>
                  <a:gd name="connsiteX28" fmla="*/ 2280 w 3940"/>
                  <a:gd name="connsiteY28" fmla="*/ 118 h 1039"/>
                  <a:gd name="connsiteX29" fmla="*/ 2222 w 3940"/>
                  <a:gd name="connsiteY29" fmla="*/ 143 h 1039"/>
                  <a:gd name="connsiteX30" fmla="*/ 2168 w 3940"/>
                  <a:gd name="connsiteY30" fmla="*/ 176 h 1039"/>
                  <a:gd name="connsiteX31" fmla="*/ 2117 w 3940"/>
                  <a:gd name="connsiteY31" fmla="*/ 214 h 1039"/>
                  <a:gd name="connsiteX32" fmla="*/ 2071 w 3940"/>
                  <a:gd name="connsiteY32" fmla="*/ 257 h 1039"/>
                  <a:gd name="connsiteX33" fmla="*/ 2026 w 3940"/>
                  <a:gd name="connsiteY33" fmla="*/ 303 h 1039"/>
                  <a:gd name="connsiteX34" fmla="*/ 1984 w 3940"/>
                  <a:gd name="connsiteY34" fmla="*/ 355 h 1039"/>
                  <a:gd name="connsiteX35" fmla="*/ 1945 w 3940"/>
                  <a:gd name="connsiteY35" fmla="*/ 409 h 1039"/>
                  <a:gd name="connsiteX36" fmla="*/ 1908 w 3940"/>
                  <a:gd name="connsiteY36" fmla="*/ 463 h 1039"/>
                  <a:gd name="connsiteX37" fmla="*/ 1871 w 3940"/>
                  <a:gd name="connsiteY37" fmla="*/ 519 h 1039"/>
                  <a:gd name="connsiteX38" fmla="*/ 1834 w 3940"/>
                  <a:gd name="connsiteY38" fmla="*/ 577 h 1039"/>
                  <a:gd name="connsiteX39" fmla="*/ 1799 w 3940"/>
                  <a:gd name="connsiteY39" fmla="*/ 633 h 1039"/>
                  <a:gd name="connsiteX40" fmla="*/ 1724 w 3940"/>
                  <a:gd name="connsiteY40" fmla="*/ 745 h 1039"/>
                  <a:gd name="connsiteX41" fmla="*/ 1685 w 3940"/>
                  <a:gd name="connsiteY41" fmla="*/ 797 h 1039"/>
                  <a:gd name="connsiteX42" fmla="*/ 1644 w 3940"/>
                  <a:gd name="connsiteY42" fmla="*/ 846 h 1039"/>
                  <a:gd name="connsiteX43" fmla="*/ 1600 w 3940"/>
                  <a:gd name="connsiteY43" fmla="*/ 892 h 1039"/>
                  <a:gd name="connsiteX44" fmla="*/ 1553 w 3940"/>
                  <a:gd name="connsiteY44" fmla="*/ 933 h 1039"/>
                  <a:gd name="connsiteX45" fmla="*/ 1503 w 3940"/>
                  <a:gd name="connsiteY45" fmla="*/ 969 h 1039"/>
                  <a:gd name="connsiteX46" fmla="*/ 1450 w 3940"/>
                  <a:gd name="connsiteY46" fmla="*/ 998 h 1039"/>
                  <a:gd name="connsiteX47" fmla="*/ 1394 w 3940"/>
                  <a:gd name="connsiteY47" fmla="*/ 1021 h 1039"/>
                  <a:gd name="connsiteX48" fmla="*/ 1330 w 3940"/>
                  <a:gd name="connsiteY48" fmla="*/ 1033 h 1039"/>
                  <a:gd name="connsiteX49" fmla="*/ 1264 w 3940"/>
                  <a:gd name="connsiteY49" fmla="*/ 1039 h 1039"/>
                  <a:gd name="connsiteX50" fmla="*/ 1258 w 3940"/>
                  <a:gd name="connsiteY50" fmla="*/ 1039 h 1039"/>
                  <a:gd name="connsiteX51" fmla="*/ 1190 w 3940"/>
                  <a:gd name="connsiteY51" fmla="*/ 1035 h 1039"/>
                  <a:gd name="connsiteX52" fmla="*/ 1128 w 3940"/>
                  <a:gd name="connsiteY52" fmla="*/ 1023 h 1039"/>
                  <a:gd name="connsiteX53" fmla="*/ 1070 w 3940"/>
                  <a:gd name="connsiteY53" fmla="*/ 1004 h 1039"/>
                  <a:gd name="connsiteX54" fmla="*/ 1018 w 3940"/>
                  <a:gd name="connsiteY54" fmla="*/ 979 h 1039"/>
                  <a:gd name="connsiteX55" fmla="*/ 971 w 3940"/>
                  <a:gd name="connsiteY55" fmla="*/ 948 h 1039"/>
                  <a:gd name="connsiteX56" fmla="*/ 925 w 3940"/>
                  <a:gd name="connsiteY56" fmla="*/ 911 h 1039"/>
                  <a:gd name="connsiteX57" fmla="*/ 884 w 3940"/>
                  <a:gd name="connsiteY57" fmla="*/ 869 h 1039"/>
                  <a:gd name="connsiteX58" fmla="*/ 847 w 3940"/>
                  <a:gd name="connsiteY58" fmla="*/ 824 h 1039"/>
                  <a:gd name="connsiteX59" fmla="*/ 810 w 3940"/>
                  <a:gd name="connsiteY59" fmla="*/ 776 h 1039"/>
                  <a:gd name="connsiteX60" fmla="*/ 777 w 3940"/>
                  <a:gd name="connsiteY60" fmla="*/ 724 h 1039"/>
                  <a:gd name="connsiteX61" fmla="*/ 742 w 3940"/>
                  <a:gd name="connsiteY61" fmla="*/ 670 h 1039"/>
                  <a:gd name="connsiteX62" fmla="*/ 711 w 3940"/>
                  <a:gd name="connsiteY62" fmla="*/ 614 h 1039"/>
                  <a:gd name="connsiteX63" fmla="*/ 678 w 3940"/>
                  <a:gd name="connsiteY63" fmla="*/ 556 h 1039"/>
                  <a:gd name="connsiteX64" fmla="*/ 616 w 3940"/>
                  <a:gd name="connsiteY64" fmla="*/ 444 h 1039"/>
                  <a:gd name="connsiteX65" fmla="*/ 547 w 3940"/>
                  <a:gd name="connsiteY65" fmla="*/ 336 h 1039"/>
                  <a:gd name="connsiteX66" fmla="*/ 504 w 3940"/>
                  <a:gd name="connsiteY66" fmla="*/ 280 h 1039"/>
                  <a:gd name="connsiteX67" fmla="*/ 457 w 3940"/>
                  <a:gd name="connsiteY67" fmla="*/ 235 h 1039"/>
                  <a:gd name="connsiteX68" fmla="*/ 409 w 3940"/>
                  <a:gd name="connsiteY68" fmla="*/ 195 h 1039"/>
                  <a:gd name="connsiteX69" fmla="*/ 358 w 3940"/>
                  <a:gd name="connsiteY69" fmla="*/ 164 h 1039"/>
                  <a:gd name="connsiteX70" fmla="*/ 308 w 3940"/>
                  <a:gd name="connsiteY70" fmla="*/ 141 h 1039"/>
                  <a:gd name="connsiteX71" fmla="*/ 256 w 3940"/>
                  <a:gd name="connsiteY71" fmla="*/ 123 h 1039"/>
                  <a:gd name="connsiteX72" fmla="*/ 209 w 3940"/>
                  <a:gd name="connsiteY72" fmla="*/ 108 h 1039"/>
                  <a:gd name="connsiteX73" fmla="*/ 163 w 3940"/>
                  <a:gd name="connsiteY73" fmla="*/ 100 h 1039"/>
                  <a:gd name="connsiteX74" fmla="*/ 122 w 3940"/>
                  <a:gd name="connsiteY74" fmla="*/ 96 h 1039"/>
                  <a:gd name="connsiteX75" fmla="*/ 85 w 3940"/>
                  <a:gd name="connsiteY75" fmla="*/ 91 h 1039"/>
                  <a:gd name="connsiteX76" fmla="*/ 31 w 3940"/>
                  <a:gd name="connsiteY76" fmla="*/ 91 h 1039"/>
                  <a:gd name="connsiteX77" fmla="*/ 17 w 3940"/>
                  <a:gd name="connsiteY77" fmla="*/ 94 h 1039"/>
                  <a:gd name="connsiteX78" fmla="*/ 11 w 3940"/>
                  <a:gd name="connsiteY78" fmla="*/ 94 h 1039"/>
                  <a:gd name="connsiteX79" fmla="*/ 0 w 3940"/>
                  <a:gd name="connsiteY79" fmla="*/ 9 h 1039"/>
                  <a:gd name="connsiteX80" fmla="*/ 9 w 3940"/>
                  <a:gd name="connsiteY80" fmla="*/ 9 h 1039"/>
                  <a:gd name="connsiteX81" fmla="*/ 29 w 3940"/>
                  <a:gd name="connsiteY81" fmla="*/ 6 h 1039"/>
                  <a:gd name="connsiteX82" fmla="*/ 91 w 3940"/>
                  <a:gd name="connsiteY82" fmla="*/ 6 h 1039"/>
                  <a:gd name="connsiteX83" fmla="*/ 135 w 3940"/>
                  <a:gd name="connsiteY83" fmla="*/ 9 h 1039"/>
                  <a:gd name="connsiteX84" fmla="*/ 182 w 3940"/>
                  <a:gd name="connsiteY84" fmla="*/ 15 h 1039"/>
                  <a:gd name="connsiteX85" fmla="*/ 234 w 3940"/>
                  <a:gd name="connsiteY85" fmla="*/ 25 h 1039"/>
                  <a:gd name="connsiteX86" fmla="*/ 287 w 3940"/>
                  <a:gd name="connsiteY86" fmla="*/ 42 h 1039"/>
                  <a:gd name="connsiteX87" fmla="*/ 345 w 3940"/>
                  <a:gd name="connsiteY87" fmla="*/ 62 h 1039"/>
                  <a:gd name="connsiteX88" fmla="*/ 403 w 3940"/>
                  <a:gd name="connsiteY88" fmla="*/ 89 h 1039"/>
                  <a:gd name="connsiteX89" fmla="*/ 459 w 3940"/>
                  <a:gd name="connsiteY89" fmla="*/ 127 h 1039"/>
                  <a:gd name="connsiteX90" fmla="*/ 514 w 3940"/>
                  <a:gd name="connsiteY90" fmla="*/ 170 h 1039"/>
                  <a:gd name="connsiteX91" fmla="*/ 568 w 3940"/>
                  <a:gd name="connsiteY91" fmla="*/ 224 h 1039"/>
                  <a:gd name="connsiteX92" fmla="*/ 618 w 3940"/>
                  <a:gd name="connsiteY92" fmla="*/ 288 h 1039"/>
                  <a:gd name="connsiteX93" fmla="*/ 667 w 3940"/>
                  <a:gd name="connsiteY93" fmla="*/ 363 h 1039"/>
                  <a:gd name="connsiteX94" fmla="*/ 754 w 3940"/>
                  <a:gd name="connsiteY94" fmla="*/ 512 h 1039"/>
                  <a:gd name="connsiteX95" fmla="*/ 787 w 3940"/>
                  <a:gd name="connsiteY95" fmla="*/ 571 h 1039"/>
                  <a:gd name="connsiteX96" fmla="*/ 820 w 3940"/>
                  <a:gd name="connsiteY96" fmla="*/ 627 h 1039"/>
                  <a:gd name="connsiteX97" fmla="*/ 853 w 3940"/>
                  <a:gd name="connsiteY97" fmla="*/ 680 h 1039"/>
                  <a:gd name="connsiteX98" fmla="*/ 886 w 3940"/>
                  <a:gd name="connsiteY98" fmla="*/ 732 h 1039"/>
                  <a:gd name="connsiteX99" fmla="*/ 921 w 3940"/>
                  <a:gd name="connsiteY99" fmla="*/ 778 h 1039"/>
                  <a:gd name="connsiteX100" fmla="*/ 958 w 3940"/>
                  <a:gd name="connsiteY100" fmla="*/ 821 h 1039"/>
                  <a:gd name="connsiteX101" fmla="*/ 1000 w 3940"/>
                  <a:gd name="connsiteY101" fmla="*/ 859 h 1039"/>
                  <a:gd name="connsiteX102" fmla="*/ 1043 w 3940"/>
                  <a:gd name="connsiteY102" fmla="*/ 890 h 1039"/>
                  <a:gd name="connsiteX103" fmla="*/ 1090 w 3940"/>
                  <a:gd name="connsiteY103" fmla="*/ 917 h 1039"/>
                  <a:gd name="connsiteX104" fmla="*/ 1140 w 3940"/>
                  <a:gd name="connsiteY104" fmla="*/ 935 h 1039"/>
                  <a:gd name="connsiteX105" fmla="*/ 1196 w 3940"/>
                  <a:gd name="connsiteY105" fmla="*/ 948 h 1039"/>
                  <a:gd name="connsiteX106" fmla="*/ 1258 w 3940"/>
                  <a:gd name="connsiteY106" fmla="*/ 952 h 1039"/>
                  <a:gd name="connsiteX107" fmla="*/ 1264 w 3940"/>
                  <a:gd name="connsiteY107" fmla="*/ 952 h 1039"/>
                  <a:gd name="connsiteX108" fmla="*/ 1324 w 3940"/>
                  <a:gd name="connsiteY108" fmla="*/ 946 h 1039"/>
                  <a:gd name="connsiteX109" fmla="*/ 1380 w 3940"/>
                  <a:gd name="connsiteY109" fmla="*/ 931 h 1039"/>
                  <a:gd name="connsiteX110" fmla="*/ 1433 w 3940"/>
                  <a:gd name="connsiteY110" fmla="*/ 909 h 1039"/>
                  <a:gd name="connsiteX111" fmla="*/ 1481 w 3940"/>
                  <a:gd name="connsiteY111" fmla="*/ 880 h 1039"/>
                  <a:gd name="connsiteX112" fmla="*/ 1526 w 3940"/>
                  <a:gd name="connsiteY112" fmla="*/ 842 h 1039"/>
                  <a:gd name="connsiteX113" fmla="*/ 1569 w 3940"/>
                  <a:gd name="connsiteY113" fmla="*/ 799 h 1039"/>
                  <a:gd name="connsiteX114" fmla="*/ 1609 w 3940"/>
                  <a:gd name="connsiteY114" fmla="*/ 751 h 1039"/>
                  <a:gd name="connsiteX115" fmla="*/ 1648 w 3940"/>
                  <a:gd name="connsiteY115" fmla="*/ 699 h 1039"/>
                  <a:gd name="connsiteX116" fmla="*/ 1687 w 3940"/>
                  <a:gd name="connsiteY116" fmla="*/ 645 h 1039"/>
                  <a:gd name="connsiteX117" fmla="*/ 1799 w 3940"/>
                  <a:gd name="connsiteY117" fmla="*/ 471 h 1039"/>
                  <a:gd name="connsiteX118" fmla="*/ 1838 w 3940"/>
                  <a:gd name="connsiteY118" fmla="*/ 411 h 1039"/>
                  <a:gd name="connsiteX119" fmla="*/ 1879 w 3940"/>
                  <a:gd name="connsiteY119" fmla="*/ 353 h 1039"/>
                  <a:gd name="connsiteX120" fmla="*/ 1923 w 3940"/>
                  <a:gd name="connsiteY120" fmla="*/ 295 h 1039"/>
                  <a:gd name="connsiteX121" fmla="*/ 1968 w 3940"/>
                  <a:gd name="connsiteY121" fmla="*/ 241 h 1039"/>
                  <a:gd name="connsiteX122" fmla="*/ 2015 w 3940"/>
                  <a:gd name="connsiteY122" fmla="*/ 189 h 1039"/>
                  <a:gd name="connsiteX123" fmla="*/ 2069 w 3940"/>
                  <a:gd name="connsiteY123" fmla="*/ 141 h 1039"/>
                  <a:gd name="connsiteX124" fmla="*/ 2125 w 3940"/>
                  <a:gd name="connsiteY124" fmla="*/ 100 h 1039"/>
                  <a:gd name="connsiteX125" fmla="*/ 2187 w 3940"/>
                  <a:gd name="connsiteY125" fmla="*/ 65 h 1039"/>
                  <a:gd name="connsiteX126" fmla="*/ 2253 w 3940"/>
                  <a:gd name="connsiteY126" fmla="*/ 35 h 1039"/>
                  <a:gd name="connsiteX127" fmla="*/ 2325 w 3940"/>
                  <a:gd name="connsiteY127" fmla="*/ 15 h 1039"/>
                  <a:gd name="connsiteX128" fmla="*/ 2404 w 3940"/>
                  <a:gd name="connsiteY128" fmla="*/ 2 h 1039"/>
                  <a:gd name="connsiteX129" fmla="*/ 2474 w 3940"/>
                  <a:gd name="connsiteY129" fmla="*/ 0 h 1039"/>
                  <a:gd name="connsiteX130" fmla="*/ 2540 w 3940"/>
                  <a:gd name="connsiteY130" fmla="*/ 9 h 1039"/>
                  <a:gd name="connsiteX131" fmla="*/ 2600 w 3940"/>
                  <a:gd name="connsiteY131" fmla="*/ 23 h 1039"/>
                  <a:gd name="connsiteX132" fmla="*/ 2658 w 3940"/>
                  <a:gd name="connsiteY132" fmla="*/ 46 h 1039"/>
                  <a:gd name="connsiteX133" fmla="*/ 2711 w 3940"/>
                  <a:gd name="connsiteY133" fmla="*/ 77 h 1039"/>
                  <a:gd name="connsiteX134" fmla="*/ 2761 w 3940"/>
                  <a:gd name="connsiteY134" fmla="*/ 112 h 1039"/>
                  <a:gd name="connsiteX135" fmla="*/ 2806 w 3940"/>
                  <a:gd name="connsiteY135" fmla="*/ 154 h 1039"/>
                  <a:gd name="connsiteX136" fmla="*/ 2852 w 3940"/>
                  <a:gd name="connsiteY136" fmla="*/ 199 h 1039"/>
                  <a:gd name="connsiteX137" fmla="*/ 2893 w 3940"/>
                  <a:gd name="connsiteY137" fmla="*/ 247 h 1039"/>
                  <a:gd name="connsiteX138" fmla="*/ 2932 w 3940"/>
                  <a:gd name="connsiteY138" fmla="*/ 299 h 1039"/>
                  <a:gd name="connsiteX139" fmla="*/ 2969 w 3940"/>
                  <a:gd name="connsiteY139" fmla="*/ 353 h 1039"/>
                  <a:gd name="connsiteX140" fmla="*/ 3004 w 3940"/>
                  <a:gd name="connsiteY140" fmla="*/ 409 h 1039"/>
                  <a:gd name="connsiteX141" fmla="*/ 3039 w 3940"/>
                  <a:gd name="connsiteY141" fmla="*/ 463 h 1039"/>
                  <a:gd name="connsiteX142" fmla="*/ 3073 w 3940"/>
                  <a:gd name="connsiteY142" fmla="*/ 519 h 1039"/>
                  <a:gd name="connsiteX143" fmla="*/ 3186 w 3940"/>
                  <a:gd name="connsiteY143" fmla="*/ 697 h 1039"/>
                  <a:gd name="connsiteX144" fmla="*/ 3306 w 3940"/>
                  <a:gd name="connsiteY144" fmla="*/ 844 h 1039"/>
                  <a:gd name="connsiteX145" fmla="*/ 3444 w 3940"/>
                  <a:gd name="connsiteY145" fmla="*/ 935 h 1039"/>
                  <a:gd name="connsiteX146" fmla="*/ 3554 w 3940"/>
                  <a:gd name="connsiteY146" fmla="*/ 952 h 1039"/>
                  <a:gd name="connsiteX147" fmla="*/ 3659 w 3940"/>
                  <a:gd name="connsiteY147" fmla="*/ 931 h 1039"/>
                  <a:gd name="connsiteX148" fmla="*/ 3789 w 3940"/>
                  <a:gd name="connsiteY148" fmla="*/ 844 h 1039"/>
                  <a:gd name="connsiteX149" fmla="*/ 3826 w 3940"/>
                  <a:gd name="connsiteY149" fmla="*/ 803 h 1039"/>
                  <a:gd name="connsiteX0" fmla="*/ 3826 w 3940"/>
                  <a:gd name="connsiteY0" fmla="*/ 803 h 1039"/>
                  <a:gd name="connsiteX1" fmla="*/ 3940 w 3940"/>
                  <a:gd name="connsiteY1" fmla="*/ 794 h 1039"/>
                  <a:gd name="connsiteX2" fmla="*/ 3779 w 3940"/>
                  <a:gd name="connsiteY2" fmla="*/ 967 h 1039"/>
                  <a:gd name="connsiteX3" fmla="*/ 3620 w 3940"/>
                  <a:gd name="connsiteY3" fmla="*/ 1033 h 1039"/>
                  <a:gd name="connsiteX4" fmla="*/ 3556 w 3940"/>
                  <a:gd name="connsiteY4" fmla="*/ 1039 h 1039"/>
                  <a:gd name="connsiteX5" fmla="*/ 3547 w 3940"/>
                  <a:gd name="connsiteY5" fmla="*/ 1039 h 1039"/>
                  <a:gd name="connsiteX6" fmla="*/ 3485 w 3940"/>
                  <a:gd name="connsiteY6" fmla="*/ 1035 h 1039"/>
                  <a:gd name="connsiteX7" fmla="*/ 3372 w 3940"/>
                  <a:gd name="connsiteY7" fmla="*/ 998 h 1039"/>
                  <a:gd name="connsiteX8" fmla="*/ 3273 w 3940"/>
                  <a:gd name="connsiteY8" fmla="*/ 931 h 1039"/>
                  <a:gd name="connsiteX9" fmla="*/ 3229 w 3940"/>
                  <a:gd name="connsiteY9" fmla="*/ 890 h 1039"/>
                  <a:gd name="connsiteX10" fmla="*/ 3147 w 3940"/>
                  <a:gd name="connsiteY10" fmla="*/ 792 h 1039"/>
                  <a:gd name="connsiteX11" fmla="*/ 3108 w 3940"/>
                  <a:gd name="connsiteY11" fmla="*/ 736 h 1039"/>
                  <a:gd name="connsiteX12" fmla="*/ 3070 w 3940"/>
                  <a:gd name="connsiteY12" fmla="*/ 680 h 1039"/>
                  <a:gd name="connsiteX13" fmla="*/ 2965 w 3940"/>
                  <a:gd name="connsiteY13" fmla="*/ 506 h 1039"/>
                  <a:gd name="connsiteX14" fmla="*/ 2928 w 3940"/>
                  <a:gd name="connsiteY14" fmla="*/ 448 h 1039"/>
                  <a:gd name="connsiteX15" fmla="*/ 2891 w 3940"/>
                  <a:gd name="connsiteY15" fmla="*/ 392 h 1039"/>
                  <a:gd name="connsiteX16" fmla="*/ 2854 w 3940"/>
                  <a:gd name="connsiteY16" fmla="*/ 338 h 1039"/>
                  <a:gd name="connsiteX17" fmla="*/ 2814 w 3940"/>
                  <a:gd name="connsiteY17" fmla="*/ 288 h 1039"/>
                  <a:gd name="connsiteX18" fmla="*/ 2773 w 3940"/>
                  <a:gd name="connsiteY18" fmla="*/ 243 h 1039"/>
                  <a:gd name="connsiteX19" fmla="*/ 2732 w 3940"/>
                  <a:gd name="connsiteY19" fmla="*/ 201 h 1039"/>
                  <a:gd name="connsiteX20" fmla="*/ 2686 w 3940"/>
                  <a:gd name="connsiteY20" fmla="*/ 164 h 1039"/>
                  <a:gd name="connsiteX21" fmla="*/ 2639 w 3940"/>
                  <a:gd name="connsiteY21" fmla="*/ 135 h 1039"/>
                  <a:gd name="connsiteX22" fmla="*/ 2587 w 3940"/>
                  <a:gd name="connsiteY22" fmla="*/ 112 h 1039"/>
                  <a:gd name="connsiteX23" fmla="*/ 2532 w 3940"/>
                  <a:gd name="connsiteY23" fmla="*/ 96 h 1039"/>
                  <a:gd name="connsiteX24" fmla="*/ 2474 w 3940"/>
                  <a:gd name="connsiteY24" fmla="*/ 87 h 1039"/>
                  <a:gd name="connsiteX25" fmla="*/ 2410 w 3940"/>
                  <a:gd name="connsiteY25" fmla="*/ 89 h 1039"/>
                  <a:gd name="connsiteX26" fmla="*/ 2342 w 3940"/>
                  <a:gd name="connsiteY26" fmla="*/ 100 h 1039"/>
                  <a:gd name="connsiteX27" fmla="*/ 2280 w 3940"/>
                  <a:gd name="connsiteY27" fmla="*/ 118 h 1039"/>
                  <a:gd name="connsiteX28" fmla="*/ 2222 w 3940"/>
                  <a:gd name="connsiteY28" fmla="*/ 143 h 1039"/>
                  <a:gd name="connsiteX29" fmla="*/ 2168 w 3940"/>
                  <a:gd name="connsiteY29" fmla="*/ 176 h 1039"/>
                  <a:gd name="connsiteX30" fmla="*/ 2117 w 3940"/>
                  <a:gd name="connsiteY30" fmla="*/ 214 h 1039"/>
                  <a:gd name="connsiteX31" fmla="*/ 2071 w 3940"/>
                  <a:gd name="connsiteY31" fmla="*/ 257 h 1039"/>
                  <a:gd name="connsiteX32" fmla="*/ 2026 w 3940"/>
                  <a:gd name="connsiteY32" fmla="*/ 303 h 1039"/>
                  <a:gd name="connsiteX33" fmla="*/ 1984 w 3940"/>
                  <a:gd name="connsiteY33" fmla="*/ 355 h 1039"/>
                  <a:gd name="connsiteX34" fmla="*/ 1945 w 3940"/>
                  <a:gd name="connsiteY34" fmla="*/ 409 h 1039"/>
                  <a:gd name="connsiteX35" fmla="*/ 1908 w 3940"/>
                  <a:gd name="connsiteY35" fmla="*/ 463 h 1039"/>
                  <a:gd name="connsiteX36" fmla="*/ 1871 w 3940"/>
                  <a:gd name="connsiteY36" fmla="*/ 519 h 1039"/>
                  <a:gd name="connsiteX37" fmla="*/ 1834 w 3940"/>
                  <a:gd name="connsiteY37" fmla="*/ 577 h 1039"/>
                  <a:gd name="connsiteX38" fmla="*/ 1799 w 3940"/>
                  <a:gd name="connsiteY38" fmla="*/ 633 h 1039"/>
                  <a:gd name="connsiteX39" fmla="*/ 1724 w 3940"/>
                  <a:gd name="connsiteY39" fmla="*/ 745 h 1039"/>
                  <a:gd name="connsiteX40" fmla="*/ 1685 w 3940"/>
                  <a:gd name="connsiteY40" fmla="*/ 797 h 1039"/>
                  <a:gd name="connsiteX41" fmla="*/ 1644 w 3940"/>
                  <a:gd name="connsiteY41" fmla="*/ 846 h 1039"/>
                  <a:gd name="connsiteX42" fmla="*/ 1600 w 3940"/>
                  <a:gd name="connsiteY42" fmla="*/ 892 h 1039"/>
                  <a:gd name="connsiteX43" fmla="*/ 1553 w 3940"/>
                  <a:gd name="connsiteY43" fmla="*/ 933 h 1039"/>
                  <a:gd name="connsiteX44" fmla="*/ 1503 w 3940"/>
                  <a:gd name="connsiteY44" fmla="*/ 969 h 1039"/>
                  <a:gd name="connsiteX45" fmla="*/ 1450 w 3940"/>
                  <a:gd name="connsiteY45" fmla="*/ 998 h 1039"/>
                  <a:gd name="connsiteX46" fmla="*/ 1394 w 3940"/>
                  <a:gd name="connsiteY46" fmla="*/ 1021 h 1039"/>
                  <a:gd name="connsiteX47" fmla="*/ 1330 w 3940"/>
                  <a:gd name="connsiteY47" fmla="*/ 1033 h 1039"/>
                  <a:gd name="connsiteX48" fmla="*/ 1264 w 3940"/>
                  <a:gd name="connsiteY48" fmla="*/ 1039 h 1039"/>
                  <a:gd name="connsiteX49" fmla="*/ 1258 w 3940"/>
                  <a:gd name="connsiteY49" fmla="*/ 1039 h 1039"/>
                  <a:gd name="connsiteX50" fmla="*/ 1190 w 3940"/>
                  <a:gd name="connsiteY50" fmla="*/ 1035 h 1039"/>
                  <a:gd name="connsiteX51" fmla="*/ 1128 w 3940"/>
                  <a:gd name="connsiteY51" fmla="*/ 1023 h 1039"/>
                  <a:gd name="connsiteX52" fmla="*/ 1070 w 3940"/>
                  <a:gd name="connsiteY52" fmla="*/ 1004 h 1039"/>
                  <a:gd name="connsiteX53" fmla="*/ 1018 w 3940"/>
                  <a:gd name="connsiteY53" fmla="*/ 979 h 1039"/>
                  <a:gd name="connsiteX54" fmla="*/ 971 w 3940"/>
                  <a:gd name="connsiteY54" fmla="*/ 948 h 1039"/>
                  <a:gd name="connsiteX55" fmla="*/ 925 w 3940"/>
                  <a:gd name="connsiteY55" fmla="*/ 911 h 1039"/>
                  <a:gd name="connsiteX56" fmla="*/ 884 w 3940"/>
                  <a:gd name="connsiteY56" fmla="*/ 869 h 1039"/>
                  <a:gd name="connsiteX57" fmla="*/ 847 w 3940"/>
                  <a:gd name="connsiteY57" fmla="*/ 824 h 1039"/>
                  <a:gd name="connsiteX58" fmla="*/ 810 w 3940"/>
                  <a:gd name="connsiteY58" fmla="*/ 776 h 1039"/>
                  <a:gd name="connsiteX59" fmla="*/ 777 w 3940"/>
                  <a:gd name="connsiteY59" fmla="*/ 724 h 1039"/>
                  <a:gd name="connsiteX60" fmla="*/ 742 w 3940"/>
                  <a:gd name="connsiteY60" fmla="*/ 670 h 1039"/>
                  <a:gd name="connsiteX61" fmla="*/ 711 w 3940"/>
                  <a:gd name="connsiteY61" fmla="*/ 614 h 1039"/>
                  <a:gd name="connsiteX62" fmla="*/ 678 w 3940"/>
                  <a:gd name="connsiteY62" fmla="*/ 556 h 1039"/>
                  <a:gd name="connsiteX63" fmla="*/ 616 w 3940"/>
                  <a:gd name="connsiteY63" fmla="*/ 444 h 1039"/>
                  <a:gd name="connsiteX64" fmla="*/ 547 w 3940"/>
                  <a:gd name="connsiteY64" fmla="*/ 336 h 1039"/>
                  <a:gd name="connsiteX65" fmla="*/ 504 w 3940"/>
                  <a:gd name="connsiteY65" fmla="*/ 280 h 1039"/>
                  <a:gd name="connsiteX66" fmla="*/ 457 w 3940"/>
                  <a:gd name="connsiteY66" fmla="*/ 235 h 1039"/>
                  <a:gd name="connsiteX67" fmla="*/ 409 w 3940"/>
                  <a:gd name="connsiteY67" fmla="*/ 195 h 1039"/>
                  <a:gd name="connsiteX68" fmla="*/ 358 w 3940"/>
                  <a:gd name="connsiteY68" fmla="*/ 164 h 1039"/>
                  <a:gd name="connsiteX69" fmla="*/ 308 w 3940"/>
                  <a:gd name="connsiteY69" fmla="*/ 141 h 1039"/>
                  <a:gd name="connsiteX70" fmla="*/ 256 w 3940"/>
                  <a:gd name="connsiteY70" fmla="*/ 123 h 1039"/>
                  <a:gd name="connsiteX71" fmla="*/ 209 w 3940"/>
                  <a:gd name="connsiteY71" fmla="*/ 108 h 1039"/>
                  <a:gd name="connsiteX72" fmla="*/ 163 w 3940"/>
                  <a:gd name="connsiteY72" fmla="*/ 100 h 1039"/>
                  <a:gd name="connsiteX73" fmla="*/ 122 w 3940"/>
                  <a:gd name="connsiteY73" fmla="*/ 96 h 1039"/>
                  <a:gd name="connsiteX74" fmla="*/ 85 w 3940"/>
                  <a:gd name="connsiteY74" fmla="*/ 91 h 1039"/>
                  <a:gd name="connsiteX75" fmla="*/ 31 w 3940"/>
                  <a:gd name="connsiteY75" fmla="*/ 91 h 1039"/>
                  <a:gd name="connsiteX76" fmla="*/ 17 w 3940"/>
                  <a:gd name="connsiteY76" fmla="*/ 94 h 1039"/>
                  <a:gd name="connsiteX77" fmla="*/ 11 w 3940"/>
                  <a:gd name="connsiteY77" fmla="*/ 94 h 1039"/>
                  <a:gd name="connsiteX78" fmla="*/ 0 w 3940"/>
                  <a:gd name="connsiteY78" fmla="*/ 9 h 1039"/>
                  <a:gd name="connsiteX79" fmla="*/ 9 w 3940"/>
                  <a:gd name="connsiteY79" fmla="*/ 9 h 1039"/>
                  <a:gd name="connsiteX80" fmla="*/ 29 w 3940"/>
                  <a:gd name="connsiteY80" fmla="*/ 6 h 1039"/>
                  <a:gd name="connsiteX81" fmla="*/ 91 w 3940"/>
                  <a:gd name="connsiteY81" fmla="*/ 6 h 1039"/>
                  <a:gd name="connsiteX82" fmla="*/ 135 w 3940"/>
                  <a:gd name="connsiteY82" fmla="*/ 9 h 1039"/>
                  <a:gd name="connsiteX83" fmla="*/ 182 w 3940"/>
                  <a:gd name="connsiteY83" fmla="*/ 15 h 1039"/>
                  <a:gd name="connsiteX84" fmla="*/ 234 w 3940"/>
                  <a:gd name="connsiteY84" fmla="*/ 25 h 1039"/>
                  <a:gd name="connsiteX85" fmla="*/ 287 w 3940"/>
                  <a:gd name="connsiteY85" fmla="*/ 42 h 1039"/>
                  <a:gd name="connsiteX86" fmla="*/ 345 w 3940"/>
                  <a:gd name="connsiteY86" fmla="*/ 62 h 1039"/>
                  <a:gd name="connsiteX87" fmla="*/ 403 w 3940"/>
                  <a:gd name="connsiteY87" fmla="*/ 89 h 1039"/>
                  <a:gd name="connsiteX88" fmla="*/ 459 w 3940"/>
                  <a:gd name="connsiteY88" fmla="*/ 127 h 1039"/>
                  <a:gd name="connsiteX89" fmla="*/ 514 w 3940"/>
                  <a:gd name="connsiteY89" fmla="*/ 170 h 1039"/>
                  <a:gd name="connsiteX90" fmla="*/ 568 w 3940"/>
                  <a:gd name="connsiteY90" fmla="*/ 224 h 1039"/>
                  <a:gd name="connsiteX91" fmla="*/ 618 w 3940"/>
                  <a:gd name="connsiteY91" fmla="*/ 288 h 1039"/>
                  <a:gd name="connsiteX92" fmla="*/ 667 w 3940"/>
                  <a:gd name="connsiteY92" fmla="*/ 363 h 1039"/>
                  <a:gd name="connsiteX93" fmla="*/ 754 w 3940"/>
                  <a:gd name="connsiteY93" fmla="*/ 512 h 1039"/>
                  <a:gd name="connsiteX94" fmla="*/ 787 w 3940"/>
                  <a:gd name="connsiteY94" fmla="*/ 571 h 1039"/>
                  <a:gd name="connsiteX95" fmla="*/ 820 w 3940"/>
                  <a:gd name="connsiteY95" fmla="*/ 627 h 1039"/>
                  <a:gd name="connsiteX96" fmla="*/ 853 w 3940"/>
                  <a:gd name="connsiteY96" fmla="*/ 680 h 1039"/>
                  <a:gd name="connsiteX97" fmla="*/ 886 w 3940"/>
                  <a:gd name="connsiteY97" fmla="*/ 732 h 1039"/>
                  <a:gd name="connsiteX98" fmla="*/ 921 w 3940"/>
                  <a:gd name="connsiteY98" fmla="*/ 778 h 1039"/>
                  <a:gd name="connsiteX99" fmla="*/ 958 w 3940"/>
                  <a:gd name="connsiteY99" fmla="*/ 821 h 1039"/>
                  <a:gd name="connsiteX100" fmla="*/ 1000 w 3940"/>
                  <a:gd name="connsiteY100" fmla="*/ 859 h 1039"/>
                  <a:gd name="connsiteX101" fmla="*/ 1043 w 3940"/>
                  <a:gd name="connsiteY101" fmla="*/ 890 h 1039"/>
                  <a:gd name="connsiteX102" fmla="*/ 1090 w 3940"/>
                  <a:gd name="connsiteY102" fmla="*/ 917 h 1039"/>
                  <a:gd name="connsiteX103" fmla="*/ 1140 w 3940"/>
                  <a:gd name="connsiteY103" fmla="*/ 935 h 1039"/>
                  <a:gd name="connsiteX104" fmla="*/ 1196 w 3940"/>
                  <a:gd name="connsiteY104" fmla="*/ 948 h 1039"/>
                  <a:gd name="connsiteX105" fmla="*/ 1258 w 3940"/>
                  <a:gd name="connsiteY105" fmla="*/ 952 h 1039"/>
                  <a:gd name="connsiteX106" fmla="*/ 1264 w 3940"/>
                  <a:gd name="connsiteY106" fmla="*/ 952 h 1039"/>
                  <a:gd name="connsiteX107" fmla="*/ 1324 w 3940"/>
                  <a:gd name="connsiteY107" fmla="*/ 946 h 1039"/>
                  <a:gd name="connsiteX108" fmla="*/ 1380 w 3940"/>
                  <a:gd name="connsiteY108" fmla="*/ 931 h 1039"/>
                  <a:gd name="connsiteX109" fmla="*/ 1433 w 3940"/>
                  <a:gd name="connsiteY109" fmla="*/ 909 h 1039"/>
                  <a:gd name="connsiteX110" fmla="*/ 1481 w 3940"/>
                  <a:gd name="connsiteY110" fmla="*/ 880 h 1039"/>
                  <a:gd name="connsiteX111" fmla="*/ 1526 w 3940"/>
                  <a:gd name="connsiteY111" fmla="*/ 842 h 1039"/>
                  <a:gd name="connsiteX112" fmla="*/ 1569 w 3940"/>
                  <a:gd name="connsiteY112" fmla="*/ 799 h 1039"/>
                  <a:gd name="connsiteX113" fmla="*/ 1609 w 3940"/>
                  <a:gd name="connsiteY113" fmla="*/ 751 h 1039"/>
                  <a:gd name="connsiteX114" fmla="*/ 1648 w 3940"/>
                  <a:gd name="connsiteY114" fmla="*/ 699 h 1039"/>
                  <a:gd name="connsiteX115" fmla="*/ 1687 w 3940"/>
                  <a:gd name="connsiteY115" fmla="*/ 645 h 1039"/>
                  <a:gd name="connsiteX116" fmla="*/ 1799 w 3940"/>
                  <a:gd name="connsiteY116" fmla="*/ 471 h 1039"/>
                  <a:gd name="connsiteX117" fmla="*/ 1838 w 3940"/>
                  <a:gd name="connsiteY117" fmla="*/ 411 h 1039"/>
                  <a:gd name="connsiteX118" fmla="*/ 1879 w 3940"/>
                  <a:gd name="connsiteY118" fmla="*/ 353 h 1039"/>
                  <a:gd name="connsiteX119" fmla="*/ 1923 w 3940"/>
                  <a:gd name="connsiteY119" fmla="*/ 295 h 1039"/>
                  <a:gd name="connsiteX120" fmla="*/ 1968 w 3940"/>
                  <a:gd name="connsiteY120" fmla="*/ 241 h 1039"/>
                  <a:gd name="connsiteX121" fmla="*/ 2015 w 3940"/>
                  <a:gd name="connsiteY121" fmla="*/ 189 h 1039"/>
                  <a:gd name="connsiteX122" fmla="*/ 2069 w 3940"/>
                  <a:gd name="connsiteY122" fmla="*/ 141 h 1039"/>
                  <a:gd name="connsiteX123" fmla="*/ 2125 w 3940"/>
                  <a:gd name="connsiteY123" fmla="*/ 100 h 1039"/>
                  <a:gd name="connsiteX124" fmla="*/ 2187 w 3940"/>
                  <a:gd name="connsiteY124" fmla="*/ 65 h 1039"/>
                  <a:gd name="connsiteX125" fmla="*/ 2253 w 3940"/>
                  <a:gd name="connsiteY125" fmla="*/ 35 h 1039"/>
                  <a:gd name="connsiteX126" fmla="*/ 2325 w 3940"/>
                  <a:gd name="connsiteY126" fmla="*/ 15 h 1039"/>
                  <a:gd name="connsiteX127" fmla="*/ 2404 w 3940"/>
                  <a:gd name="connsiteY127" fmla="*/ 2 h 1039"/>
                  <a:gd name="connsiteX128" fmla="*/ 2474 w 3940"/>
                  <a:gd name="connsiteY128" fmla="*/ 0 h 1039"/>
                  <a:gd name="connsiteX129" fmla="*/ 2540 w 3940"/>
                  <a:gd name="connsiteY129" fmla="*/ 9 h 1039"/>
                  <a:gd name="connsiteX130" fmla="*/ 2600 w 3940"/>
                  <a:gd name="connsiteY130" fmla="*/ 23 h 1039"/>
                  <a:gd name="connsiteX131" fmla="*/ 2658 w 3940"/>
                  <a:gd name="connsiteY131" fmla="*/ 46 h 1039"/>
                  <a:gd name="connsiteX132" fmla="*/ 2711 w 3940"/>
                  <a:gd name="connsiteY132" fmla="*/ 77 h 1039"/>
                  <a:gd name="connsiteX133" fmla="*/ 2761 w 3940"/>
                  <a:gd name="connsiteY133" fmla="*/ 112 h 1039"/>
                  <a:gd name="connsiteX134" fmla="*/ 2806 w 3940"/>
                  <a:gd name="connsiteY134" fmla="*/ 154 h 1039"/>
                  <a:gd name="connsiteX135" fmla="*/ 2852 w 3940"/>
                  <a:gd name="connsiteY135" fmla="*/ 199 h 1039"/>
                  <a:gd name="connsiteX136" fmla="*/ 2893 w 3940"/>
                  <a:gd name="connsiteY136" fmla="*/ 247 h 1039"/>
                  <a:gd name="connsiteX137" fmla="*/ 2932 w 3940"/>
                  <a:gd name="connsiteY137" fmla="*/ 299 h 1039"/>
                  <a:gd name="connsiteX138" fmla="*/ 2969 w 3940"/>
                  <a:gd name="connsiteY138" fmla="*/ 353 h 1039"/>
                  <a:gd name="connsiteX139" fmla="*/ 3004 w 3940"/>
                  <a:gd name="connsiteY139" fmla="*/ 409 h 1039"/>
                  <a:gd name="connsiteX140" fmla="*/ 3039 w 3940"/>
                  <a:gd name="connsiteY140" fmla="*/ 463 h 1039"/>
                  <a:gd name="connsiteX141" fmla="*/ 3073 w 3940"/>
                  <a:gd name="connsiteY141" fmla="*/ 519 h 1039"/>
                  <a:gd name="connsiteX142" fmla="*/ 3186 w 3940"/>
                  <a:gd name="connsiteY142" fmla="*/ 697 h 1039"/>
                  <a:gd name="connsiteX143" fmla="*/ 3306 w 3940"/>
                  <a:gd name="connsiteY143" fmla="*/ 844 h 1039"/>
                  <a:gd name="connsiteX144" fmla="*/ 3444 w 3940"/>
                  <a:gd name="connsiteY144" fmla="*/ 935 h 1039"/>
                  <a:gd name="connsiteX145" fmla="*/ 3554 w 3940"/>
                  <a:gd name="connsiteY145" fmla="*/ 952 h 1039"/>
                  <a:gd name="connsiteX146" fmla="*/ 3659 w 3940"/>
                  <a:gd name="connsiteY146" fmla="*/ 931 h 1039"/>
                  <a:gd name="connsiteX147" fmla="*/ 3789 w 3940"/>
                  <a:gd name="connsiteY147" fmla="*/ 844 h 1039"/>
                  <a:gd name="connsiteX148" fmla="*/ 3826 w 3940"/>
                  <a:gd name="connsiteY148" fmla="*/ 803 h 1039"/>
                  <a:gd name="connsiteX0" fmla="*/ 3826 w 3940"/>
                  <a:gd name="connsiteY0" fmla="*/ 803 h 1039"/>
                  <a:gd name="connsiteX1" fmla="*/ 3940 w 3940"/>
                  <a:gd name="connsiteY1" fmla="*/ 794 h 1039"/>
                  <a:gd name="connsiteX2" fmla="*/ 3779 w 3940"/>
                  <a:gd name="connsiteY2" fmla="*/ 967 h 1039"/>
                  <a:gd name="connsiteX3" fmla="*/ 3620 w 3940"/>
                  <a:gd name="connsiteY3" fmla="*/ 1033 h 1039"/>
                  <a:gd name="connsiteX4" fmla="*/ 3556 w 3940"/>
                  <a:gd name="connsiteY4" fmla="*/ 1039 h 1039"/>
                  <a:gd name="connsiteX5" fmla="*/ 3547 w 3940"/>
                  <a:gd name="connsiteY5" fmla="*/ 1039 h 1039"/>
                  <a:gd name="connsiteX6" fmla="*/ 3372 w 3940"/>
                  <a:gd name="connsiteY6" fmla="*/ 998 h 1039"/>
                  <a:gd name="connsiteX7" fmla="*/ 3273 w 3940"/>
                  <a:gd name="connsiteY7" fmla="*/ 931 h 1039"/>
                  <a:gd name="connsiteX8" fmla="*/ 3229 w 3940"/>
                  <a:gd name="connsiteY8" fmla="*/ 890 h 1039"/>
                  <a:gd name="connsiteX9" fmla="*/ 3147 w 3940"/>
                  <a:gd name="connsiteY9" fmla="*/ 792 h 1039"/>
                  <a:gd name="connsiteX10" fmla="*/ 3108 w 3940"/>
                  <a:gd name="connsiteY10" fmla="*/ 736 h 1039"/>
                  <a:gd name="connsiteX11" fmla="*/ 3070 w 3940"/>
                  <a:gd name="connsiteY11" fmla="*/ 680 h 1039"/>
                  <a:gd name="connsiteX12" fmla="*/ 2965 w 3940"/>
                  <a:gd name="connsiteY12" fmla="*/ 506 h 1039"/>
                  <a:gd name="connsiteX13" fmla="*/ 2928 w 3940"/>
                  <a:gd name="connsiteY13" fmla="*/ 448 h 1039"/>
                  <a:gd name="connsiteX14" fmla="*/ 2891 w 3940"/>
                  <a:gd name="connsiteY14" fmla="*/ 392 h 1039"/>
                  <a:gd name="connsiteX15" fmla="*/ 2854 w 3940"/>
                  <a:gd name="connsiteY15" fmla="*/ 338 h 1039"/>
                  <a:gd name="connsiteX16" fmla="*/ 2814 w 3940"/>
                  <a:gd name="connsiteY16" fmla="*/ 288 h 1039"/>
                  <a:gd name="connsiteX17" fmla="*/ 2773 w 3940"/>
                  <a:gd name="connsiteY17" fmla="*/ 243 h 1039"/>
                  <a:gd name="connsiteX18" fmla="*/ 2732 w 3940"/>
                  <a:gd name="connsiteY18" fmla="*/ 201 h 1039"/>
                  <a:gd name="connsiteX19" fmla="*/ 2686 w 3940"/>
                  <a:gd name="connsiteY19" fmla="*/ 164 h 1039"/>
                  <a:gd name="connsiteX20" fmla="*/ 2639 w 3940"/>
                  <a:gd name="connsiteY20" fmla="*/ 135 h 1039"/>
                  <a:gd name="connsiteX21" fmla="*/ 2587 w 3940"/>
                  <a:gd name="connsiteY21" fmla="*/ 112 h 1039"/>
                  <a:gd name="connsiteX22" fmla="*/ 2532 w 3940"/>
                  <a:gd name="connsiteY22" fmla="*/ 96 h 1039"/>
                  <a:gd name="connsiteX23" fmla="*/ 2474 w 3940"/>
                  <a:gd name="connsiteY23" fmla="*/ 87 h 1039"/>
                  <a:gd name="connsiteX24" fmla="*/ 2410 w 3940"/>
                  <a:gd name="connsiteY24" fmla="*/ 89 h 1039"/>
                  <a:gd name="connsiteX25" fmla="*/ 2342 w 3940"/>
                  <a:gd name="connsiteY25" fmla="*/ 100 h 1039"/>
                  <a:gd name="connsiteX26" fmla="*/ 2280 w 3940"/>
                  <a:gd name="connsiteY26" fmla="*/ 118 h 1039"/>
                  <a:gd name="connsiteX27" fmla="*/ 2222 w 3940"/>
                  <a:gd name="connsiteY27" fmla="*/ 143 h 1039"/>
                  <a:gd name="connsiteX28" fmla="*/ 2168 w 3940"/>
                  <a:gd name="connsiteY28" fmla="*/ 176 h 1039"/>
                  <a:gd name="connsiteX29" fmla="*/ 2117 w 3940"/>
                  <a:gd name="connsiteY29" fmla="*/ 214 h 1039"/>
                  <a:gd name="connsiteX30" fmla="*/ 2071 w 3940"/>
                  <a:gd name="connsiteY30" fmla="*/ 257 h 1039"/>
                  <a:gd name="connsiteX31" fmla="*/ 2026 w 3940"/>
                  <a:gd name="connsiteY31" fmla="*/ 303 h 1039"/>
                  <a:gd name="connsiteX32" fmla="*/ 1984 w 3940"/>
                  <a:gd name="connsiteY32" fmla="*/ 355 h 1039"/>
                  <a:gd name="connsiteX33" fmla="*/ 1945 w 3940"/>
                  <a:gd name="connsiteY33" fmla="*/ 409 h 1039"/>
                  <a:gd name="connsiteX34" fmla="*/ 1908 w 3940"/>
                  <a:gd name="connsiteY34" fmla="*/ 463 h 1039"/>
                  <a:gd name="connsiteX35" fmla="*/ 1871 w 3940"/>
                  <a:gd name="connsiteY35" fmla="*/ 519 h 1039"/>
                  <a:gd name="connsiteX36" fmla="*/ 1834 w 3940"/>
                  <a:gd name="connsiteY36" fmla="*/ 577 h 1039"/>
                  <a:gd name="connsiteX37" fmla="*/ 1799 w 3940"/>
                  <a:gd name="connsiteY37" fmla="*/ 633 h 1039"/>
                  <a:gd name="connsiteX38" fmla="*/ 1724 w 3940"/>
                  <a:gd name="connsiteY38" fmla="*/ 745 h 1039"/>
                  <a:gd name="connsiteX39" fmla="*/ 1685 w 3940"/>
                  <a:gd name="connsiteY39" fmla="*/ 797 h 1039"/>
                  <a:gd name="connsiteX40" fmla="*/ 1644 w 3940"/>
                  <a:gd name="connsiteY40" fmla="*/ 846 h 1039"/>
                  <a:gd name="connsiteX41" fmla="*/ 1600 w 3940"/>
                  <a:gd name="connsiteY41" fmla="*/ 892 h 1039"/>
                  <a:gd name="connsiteX42" fmla="*/ 1553 w 3940"/>
                  <a:gd name="connsiteY42" fmla="*/ 933 h 1039"/>
                  <a:gd name="connsiteX43" fmla="*/ 1503 w 3940"/>
                  <a:gd name="connsiteY43" fmla="*/ 969 h 1039"/>
                  <a:gd name="connsiteX44" fmla="*/ 1450 w 3940"/>
                  <a:gd name="connsiteY44" fmla="*/ 998 h 1039"/>
                  <a:gd name="connsiteX45" fmla="*/ 1394 w 3940"/>
                  <a:gd name="connsiteY45" fmla="*/ 1021 h 1039"/>
                  <a:gd name="connsiteX46" fmla="*/ 1330 w 3940"/>
                  <a:gd name="connsiteY46" fmla="*/ 1033 h 1039"/>
                  <a:gd name="connsiteX47" fmla="*/ 1264 w 3940"/>
                  <a:gd name="connsiteY47" fmla="*/ 1039 h 1039"/>
                  <a:gd name="connsiteX48" fmla="*/ 1258 w 3940"/>
                  <a:gd name="connsiteY48" fmla="*/ 1039 h 1039"/>
                  <a:gd name="connsiteX49" fmla="*/ 1190 w 3940"/>
                  <a:gd name="connsiteY49" fmla="*/ 1035 h 1039"/>
                  <a:gd name="connsiteX50" fmla="*/ 1128 w 3940"/>
                  <a:gd name="connsiteY50" fmla="*/ 1023 h 1039"/>
                  <a:gd name="connsiteX51" fmla="*/ 1070 w 3940"/>
                  <a:gd name="connsiteY51" fmla="*/ 1004 h 1039"/>
                  <a:gd name="connsiteX52" fmla="*/ 1018 w 3940"/>
                  <a:gd name="connsiteY52" fmla="*/ 979 h 1039"/>
                  <a:gd name="connsiteX53" fmla="*/ 971 w 3940"/>
                  <a:gd name="connsiteY53" fmla="*/ 948 h 1039"/>
                  <a:gd name="connsiteX54" fmla="*/ 925 w 3940"/>
                  <a:gd name="connsiteY54" fmla="*/ 911 h 1039"/>
                  <a:gd name="connsiteX55" fmla="*/ 884 w 3940"/>
                  <a:gd name="connsiteY55" fmla="*/ 869 h 1039"/>
                  <a:gd name="connsiteX56" fmla="*/ 847 w 3940"/>
                  <a:gd name="connsiteY56" fmla="*/ 824 h 1039"/>
                  <a:gd name="connsiteX57" fmla="*/ 810 w 3940"/>
                  <a:gd name="connsiteY57" fmla="*/ 776 h 1039"/>
                  <a:gd name="connsiteX58" fmla="*/ 777 w 3940"/>
                  <a:gd name="connsiteY58" fmla="*/ 724 h 1039"/>
                  <a:gd name="connsiteX59" fmla="*/ 742 w 3940"/>
                  <a:gd name="connsiteY59" fmla="*/ 670 h 1039"/>
                  <a:gd name="connsiteX60" fmla="*/ 711 w 3940"/>
                  <a:gd name="connsiteY60" fmla="*/ 614 h 1039"/>
                  <a:gd name="connsiteX61" fmla="*/ 678 w 3940"/>
                  <a:gd name="connsiteY61" fmla="*/ 556 h 1039"/>
                  <a:gd name="connsiteX62" fmla="*/ 616 w 3940"/>
                  <a:gd name="connsiteY62" fmla="*/ 444 h 1039"/>
                  <a:gd name="connsiteX63" fmla="*/ 547 w 3940"/>
                  <a:gd name="connsiteY63" fmla="*/ 336 h 1039"/>
                  <a:gd name="connsiteX64" fmla="*/ 504 w 3940"/>
                  <a:gd name="connsiteY64" fmla="*/ 280 h 1039"/>
                  <a:gd name="connsiteX65" fmla="*/ 457 w 3940"/>
                  <a:gd name="connsiteY65" fmla="*/ 235 h 1039"/>
                  <a:gd name="connsiteX66" fmla="*/ 409 w 3940"/>
                  <a:gd name="connsiteY66" fmla="*/ 195 h 1039"/>
                  <a:gd name="connsiteX67" fmla="*/ 358 w 3940"/>
                  <a:gd name="connsiteY67" fmla="*/ 164 h 1039"/>
                  <a:gd name="connsiteX68" fmla="*/ 308 w 3940"/>
                  <a:gd name="connsiteY68" fmla="*/ 141 h 1039"/>
                  <a:gd name="connsiteX69" fmla="*/ 256 w 3940"/>
                  <a:gd name="connsiteY69" fmla="*/ 123 h 1039"/>
                  <a:gd name="connsiteX70" fmla="*/ 209 w 3940"/>
                  <a:gd name="connsiteY70" fmla="*/ 108 h 1039"/>
                  <a:gd name="connsiteX71" fmla="*/ 163 w 3940"/>
                  <a:gd name="connsiteY71" fmla="*/ 100 h 1039"/>
                  <a:gd name="connsiteX72" fmla="*/ 122 w 3940"/>
                  <a:gd name="connsiteY72" fmla="*/ 96 h 1039"/>
                  <a:gd name="connsiteX73" fmla="*/ 85 w 3940"/>
                  <a:gd name="connsiteY73" fmla="*/ 91 h 1039"/>
                  <a:gd name="connsiteX74" fmla="*/ 31 w 3940"/>
                  <a:gd name="connsiteY74" fmla="*/ 91 h 1039"/>
                  <a:gd name="connsiteX75" fmla="*/ 17 w 3940"/>
                  <a:gd name="connsiteY75" fmla="*/ 94 h 1039"/>
                  <a:gd name="connsiteX76" fmla="*/ 11 w 3940"/>
                  <a:gd name="connsiteY76" fmla="*/ 94 h 1039"/>
                  <a:gd name="connsiteX77" fmla="*/ 0 w 3940"/>
                  <a:gd name="connsiteY77" fmla="*/ 9 h 1039"/>
                  <a:gd name="connsiteX78" fmla="*/ 9 w 3940"/>
                  <a:gd name="connsiteY78" fmla="*/ 9 h 1039"/>
                  <a:gd name="connsiteX79" fmla="*/ 29 w 3940"/>
                  <a:gd name="connsiteY79" fmla="*/ 6 h 1039"/>
                  <a:gd name="connsiteX80" fmla="*/ 91 w 3940"/>
                  <a:gd name="connsiteY80" fmla="*/ 6 h 1039"/>
                  <a:gd name="connsiteX81" fmla="*/ 135 w 3940"/>
                  <a:gd name="connsiteY81" fmla="*/ 9 h 1039"/>
                  <a:gd name="connsiteX82" fmla="*/ 182 w 3940"/>
                  <a:gd name="connsiteY82" fmla="*/ 15 h 1039"/>
                  <a:gd name="connsiteX83" fmla="*/ 234 w 3940"/>
                  <a:gd name="connsiteY83" fmla="*/ 25 h 1039"/>
                  <a:gd name="connsiteX84" fmla="*/ 287 w 3940"/>
                  <a:gd name="connsiteY84" fmla="*/ 42 h 1039"/>
                  <a:gd name="connsiteX85" fmla="*/ 345 w 3940"/>
                  <a:gd name="connsiteY85" fmla="*/ 62 h 1039"/>
                  <a:gd name="connsiteX86" fmla="*/ 403 w 3940"/>
                  <a:gd name="connsiteY86" fmla="*/ 89 h 1039"/>
                  <a:gd name="connsiteX87" fmla="*/ 459 w 3940"/>
                  <a:gd name="connsiteY87" fmla="*/ 127 h 1039"/>
                  <a:gd name="connsiteX88" fmla="*/ 514 w 3940"/>
                  <a:gd name="connsiteY88" fmla="*/ 170 h 1039"/>
                  <a:gd name="connsiteX89" fmla="*/ 568 w 3940"/>
                  <a:gd name="connsiteY89" fmla="*/ 224 h 1039"/>
                  <a:gd name="connsiteX90" fmla="*/ 618 w 3940"/>
                  <a:gd name="connsiteY90" fmla="*/ 288 h 1039"/>
                  <a:gd name="connsiteX91" fmla="*/ 667 w 3940"/>
                  <a:gd name="connsiteY91" fmla="*/ 363 h 1039"/>
                  <a:gd name="connsiteX92" fmla="*/ 754 w 3940"/>
                  <a:gd name="connsiteY92" fmla="*/ 512 h 1039"/>
                  <a:gd name="connsiteX93" fmla="*/ 787 w 3940"/>
                  <a:gd name="connsiteY93" fmla="*/ 571 h 1039"/>
                  <a:gd name="connsiteX94" fmla="*/ 820 w 3940"/>
                  <a:gd name="connsiteY94" fmla="*/ 627 h 1039"/>
                  <a:gd name="connsiteX95" fmla="*/ 853 w 3940"/>
                  <a:gd name="connsiteY95" fmla="*/ 680 h 1039"/>
                  <a:gd name="connsiteX96" fmla="*/ 886 w 3940"/>
                  <a:gd name="connsiteY96" fmla="*/ 732 h 1039"/>
                  <a:gd name="connsiteX97" fmla="*/ 921 w 3940"/>
                  <a:gd name="connsiteY97" fmla="*/ 778 h 1039"/>
                  <a:gd name="connsiteX98" fmla="*/ 958 w 3940"/>
                  <a:gd name="connsiteY98" fmla="*/ 821 h 1039"/>
                  <a:gd name="connsiteX99" fmla="*/ 1000 w 3940"/>
                  <a:gd name="connsiteY99" fmla="*/ 859 h 1039"/>
                  <a:gd name="connsiteX100" fmla="*/ 1043 w 3940"/>
                  <a:gd name="connsiteY100" fmla="*/ 890 h 1039"/>
                  <a:gd name="connsiteX101" fmla="*/ 1090 w 3940"/>
                  <a:gd name="connsiteY101" fmla="*/ 917 h 1039"/>
                  <a:gd name="connsiteX102" fmla="*/ 1140 w 3940"/>
                  <a:gd name="connsiteY102" fmla="*/ 935 h 1039"/>
                  <a:gd name="connsiteX103" fmla="*/ 1196 w 3940"/>
                  <a:gd name="connsiteY103" fmla="*/ 948 h 1039"/>
                  <a:gd name="connsiteX104" fmla="*/ 1258 w 3940"/>
                  <a:gd name="connsiteY104" fmla="*/ 952 h 1039"/>
                  <a:gd name="connsiteX105" fmla="*/ 1264 w 3940"/>
                  <a:gd name="connsiteY105" fmla="*/ 952 h 1039"/>
                  <a:gd name="connsiteX106" fmla="*/ 1324 w 3940"/>
                  <a:gd name="connsiteY106" fmla="*/ 946 h 1039"/>
                  <a:gd name="connsiteX107" fmla="*/ 1380 w 3940"/>
                  <a:gd name="connsiteY107" fmla="*/ 931 h 1039"/>
                  <a:gd name="connsiteX108" fmla="*/ 1433 w 3940"/>
                  <a:gd name="connsiteY108" fmla="*/ 909 h 1039"/>
                  <a:gd name="connsiteX109" fmla="*/ 1481 w 3940"/>
                  <a:gd name="connsiteY109" fmla="*/ 880 h 1039"/>
                  <a:gd name="connsiteX110" fmla="*/ 1526 w 3940"/>
                  <a:gd name="connsiteY110" fmla="*/ 842 h 1039"/>
                  <a:gd name="connsiteX111" fmla="*/ 1569 w 3940"/>
                  <a:gd name="connsiteY111" fmla="*/ 799 h 1039"/>
                  <a:gd name="connsiteX112" fmla="*/ 1609 w 3940"/>
                  <a:gd name="connsiteY112" fmla="*/ 751 h 1039"/>
                  <a:gd name="connsiteX113" fmla="*/ 1648 w 3940"/>
                  <a:gd name="connsiteY113" fmla="*/ 699 h 1039"/>
                  <a:gd name="connsiteX114" fmla="*/ 1687 w 3940"/>
                  <a:gd name="connsiteY114" fmla="*/ 645 h 1039"/>
                  <a:gd name="connsiteX115" fmla="*/ 1799 w 3940"/>
                  <a:gd name="connsiteY115" fmla="*/ 471 h 1039"/>
                  <a:gd name="connsiteX116" fmla="*/ 1838 w 3940"/>
                  <a:gd name="connsiteY116" fmla="*/ 411 h 1039"/>
                  <a:gd name="connsiteX117" fmla="*/ 1879 w 3940"/>
                  <a:gd name="connsiteY117" fmla="*/ 353 h 1039"/>
                  <a:gd name="connsiteX118" fmla="*/ 1923 w 3940"/>
                  <a:gd name="connsiteY118" fmla="*/ 295 h 1039"/>
                  <a:gd name="connsiteX119" fmla="*/ 1968 w 3940"/>
                  <a:gd name="connsiteY119" fmla="*/ 241 h 1039"/>
                  <a:gd name="connsiteX120" fmla="*/ 2015 w 3940"/>
                  <a:gd name="connsiteY120" fmla="*/ 189 h 1039"/>
                  <a:gd name="connsiteX121" fmla="*/ 2069 w 3940"/>
                  <a:gd name="connsiteY121" fmla="*/ 141 h 1039"/>
                  <a:gd name="connsiteX122" fmla="*/ 2125 w 3940"/>
                  <a:gd name="connsiteY122" fmla="*/ 100 h 1039"/>
                  <a:gd name="connsiteX123" fmla="*/ 2187 w 3940"/>
                  <a:gd name="connsiteY123" fmla="*/ 65 h 1039"/>
                  <a:gd name="connsiteX124" fmla="*/ 2253 w 3940"/>
                  <a:gd name="connsiteY124" fmla="*/ 35 h 1039"/>
                  <a:gd name="connsiteX125" fmla="*/ 2325 w 3940"/>
                  <a:gd name="connsiteY125" fmla="*/ 15 h 1039"/>
                  <a:gd name="connsiteX126" fmla="*/ 2404 w 3940"/>
                  <a:gd name="connsiteY126" fmla="*/ 2 h 1039"/>
                  <a:gd name="connsiteX127" fmla="*/ 2474 w 3940"/>
                  <a:gd name="connsiteY127" fmla="*/ 0 h 1039"/>
                  <a:gd name="connsiteX128" fmla="*/ 2540 w 3940"/>
                  <a:gd name="connsiteY128" fmla="*/ 9 h 1039"/>
                  <a:gd name="connsiteX129" fmla="*/ 2600 w 3940"/>
                  <a:gd name="connsiteY129" fmla="*/ 23 h 1039"/>
                  <a:gd name="connsiteX130" fmla="*/ 2658 w 3940"/>
                  <a:gd name="connsiteY130" fmla="*/ 46 h 1039"/>
                  <a:gd name="connsiteX131" fmla="*/ 2711 w 3940"/>
                  <a:gd name="connsiteY131" fmla="*/ 77 h 1039"/>
                  <a:gd name="connsiteX132" fmla="*/ 2761 w 3940"/>
                  <a:gd name="connsiteY132" fmla="*/ 112 h 1039"/>
                  <a:gd name="connsiteX133" fmla="*/ 2806 w 3940"/>
                  <a:gd name="connsiteY133" fmla="*/ 154 h 1039"/>
                  <a:gd name="connsiteX134" fmla="*/ 2852 w 3940"/>
                  <a:gd name="connsiteY134" fmla="*/ 199 h 1039"/>
                  <a:gd name="connsiteX135" fmla="*/ 2893 w 3940"/>
                  <a:gd name="connsiteY135" fmla="*/ 247 h 1039"/>
                  <a:gd name="connsiteX136" fmla="*/ 2932 w 3940"/>
                  <a:gd name="connsiteY136" fmla="*/ 299 h 1039"/>
                  <a:gd name="connsiteX137" fmla="*/ 2969 w 3940"/>
                  <a:gd name="connsiteY137" fmla="*/ 353 h 1039"/>
                  <a:gd name="connsiteX138" fmla="*/ 3004 w 3940"/>
                  <a:gd name="connsiteY138" fmla="*/ 409 h 1039"/>
                  <a:gd name="connsiteX139" fmla="*/ 3039 w 3940"/>
                  <a:gd name="connsiteY139" fmla="*/ 463 h 1039"/>
                  <a:gd name="connsiteX140" fmla="*/ 3073 w 3940"/>
                  <a:gd name="connsiteY140" fmla="*/ 519 h 1039"/>
                  <a:gd name="connsiteX141" fmla="*/ 3186 w 3940"/>
                  <a:gd name="connsiteY141" fmla="*/ 697 h 1039"/>
                  <a:gd name="connsiteX142" fmla="*/ 3306 w 3940"/>
                  <a:gd name="connsiteY142" fmla="*/ 844 h 1039"/>
                  <a:gd name="connsiteX143" fmla="*/ 3444 w 3940"/>
                  <a:gd name="connsiteY143" fmla="*/ 935 h 1039"/>
                  <a:gd name="connsiteX144" fmla="*/ 3554 w 3940"/>
                  <a:gd name="connsiteY144" fmla="*/ 952 h 1039"/>
                  <a:gd name="connsiteX145" fmla="*/ 3659 w 3940"/>
                  <a:gd name="connsiteY145" fmla="*/ 931 h 1039"/>
                  <a:gd name="connsiteX146" fmla="*/ 3789 w 3940"/>
                  <a:gd name="connsiteY146" fmla="*/ 844 h 1039"/>
                  <a:gd name="connsiteX147" fmla="*/ 3826 w 3940"/>
                  <a:gd name="connsiteY147" fmla="*/ 803 h 1039"/>
                  <a:gd name="connsiteX0" fmla="*/ 3826 w 3940"/>
                  <a:gd name="connsiteY0" fmla="*/ 803 h 1039"/>
                  <a:gd name="connsiteX1" fmla="*/ 3940 w 3940"/>
                  <a:gd name="connsiteY1" fmla="*/ 794 h 1039"/>
                  <a:gd name="connsiteX2" fmla="*/ 3779 w 3940"/>
                  <a:gd name="connsiteY2" fmla="*/ 967 h 1039"/>
                  <a:gd name="connsiteX3" fmla="*/ 3620 w 3940"/>
                  <a:gd name="connsiteY3" fmla="*/ 1033 h 1039"/>
                  <a:gd name="connsiteX4" fmla="*/ 3556 w 3940"/>
                  <a:gd name="connsiteY4" fmla="*/ 1039 h 1039"/>
                  <a:gd name="connsiteX5" fmla="*/ 3547 w 3940"/>
                  <a:gd name="connsiteY5" fmla="*/ 1039 h 1039"/>
                  <a:gd name="connsiteX6" fmla="*/ 3273 w 3940"/>
                  <a:gd name="connsiteY6" fmla="*/ 931 h 1039"/>
                  <a:gd name="connsiteX7" fmla="*/ 3229 w 3940"/>
                  <a:gd name="connsiteY7" fmla="*/ 890 h 1039"/>
                  <a:gd name="connsiteX8" fmla="*/ 3147 w 3940"/>
                  <a:gd name="connsiteY8" fmla="*/ 792 h 1039"/>
                  <a:gd name="connsiteX9" fmla="*/ 3108 w 3940"/>
                  <a:gd name="connsiteY9" fmla="*/ 736 h 1039"/>
                  <a:gd name="connsiteX10" fmla="*/ 3070 w 3940"/>
                  <a:gd name="connsiteY10" fmla="*/ 680 h 1039"/>
                  <a:gd name="connsiteX11" fmla="*/ 2965 w 3940"/>
                  <a:gd name="connsiteY11" fmla="*/ 506 h 1039"/>
                  <a:gd name="connsiteX12" fmla="*/ 2928 w 3940"/>
                  <a:gd name="connsiteY12" fmla="*/ 448 h 1039"/>
                  <a:gd name="connsiteX13" fmla="*/ 2891 w 3940"/>
                  <a:gd name="connsiteY13" fmla="*/ 392 h 1039"/>
                  <a:gd name="connsiteX14" fmla="*/ 2854 w 3940"/>
                  <a:gd name="connsiteY14" fmla="*/ 338 h 1039"/>
                  <a:gd name="connsiteX15" fmla="*/ 2814 w 3940"/>
                  <a:gd name="connsiteY15" fmla="*/ 288 h 1039"/>
                  <a:gd name="connsiteX16" fmla="*/ 2773 w 3940"/>
                  <a:gd name="connsiteY16" fmla="*/ 243 h 1039"/>
                  <a:gd name="connsiteX17" fmla="*/ 2732 w 3940"/>
                  <a:gd name="connsiteY17" fmla="*/ 201 h 1039"/>
                  <a:gd name="connsiteX18" fmla="*/ 2686 w 3940"/>
                  <a:gd name="connsiteY18" fmla="*/ 164 h 1039"/>
                  <a:gd name="connsiteX19" fmla="*/ 2639 w 3940"/>
                  <a:gd name="connsiteY19" fmla="*/ 135 h 1039"/>
                  <a:gd name="connsiteX20" fmla="*/ 2587 w 3940"/>
                  <a:gd name="connsiteY20" fmla="*/ 112 h 1039"/>
                  <a:gd name="connsiteX21" fmla="*/ 2532 w 3940"/>
                  <a:gd name="connsiteY21" fmla="*/ 96 h 1039"/>
                  <a:gd name="connsiteX22" fmla="*/ 2474 w 3940"/>
                  <a:gd name="connsiteY22" fmla="*/ 87 h 1039"/>
                  <a:gd name="connsiteX23" fmla="*/ 2410 w 3940"/>
                  <a:gd name="connsiteY23" fmla="*/ 89 h 1039"/>
                  <a:gd name="connsiteX24" fmla="*/ 2342 w 3940"/>
                  <a:gd name="connsiteY24" fmla="*/ 100 h 1039"/>
                  <a:gd name="connsiteX25" fmla="*/ 2280 w 3940"/>
                  <a:gd name="connsiteY25" fmla="*/ 118 h 1039"/>
                  <a:gd name="connsiteX26" fmla="*/ 2222 w 3940"/>
                  <a:gd name="connsiteY26" fmla="*/ 143 h 1039"/>
                  <a:gd name="connsiteX27" fmla="*/ 2168 w 3940"/>
                  <a:gd name="connsiteY27" fmla="*/ 176 h 1039"/>
                  <a:gd name="connsiteX28" fmla="*/ 2117 w 3940"/>
                  <a:gd name="connsiteY28" fmla="*/ 214 h 1039"/>
                  <a:gd name="connsiteX29" fmla="*/ 2071 w 3940"/>
                  <a:gd name="connsiteY29" fmla="*/ 257 h 1039"/>
                  <a:gd name="connsiteX30" fmla="*/ 2026 w 3940"/>
                  <a:gd name="connsiteY30" fmla="*/ 303 h 1039"/>
                  <a:gd name="connsiteX31" fmla="*/ 1984 w 3940"/>
                  <a:gd name="connsiteY31" fmla="*/ 355 h 1039"/>
                  <a:gd name="connsiteX32" fmla="*/ 1945 w 3940"/>
                  <a:gd name="connsiteY32" fmla="*/ 409 h 1039"/>
                  <a:gd name="connsiteX33" fmla="*/ 1908 w 3940"/>
                  <a:gd name="connsiteY33" fmla="*/ 463 h 1039"/>
                  <a:gd name="connsiteX34" fmla="*/ 1871 w 3940"/>
                  <a:gd name="connsiteY34" fmla="*/ 519 h 1039"/>
                  <a:gd name="connsiteX35" fmla="*/ 1834 w 3940"/>
                  <a:gd name="connsiteY35" fmla="*/ 577 h 1039"/>
                  <a:gd name="connsiteX36" fmla="*/ 1799 w 3940"/>
                  <a:gd name="connsiteY36" fmla="*/ 633 h 1039"/>
                  <a:gd name="connsiteX37" fmla="*/ 1724 w 3940"/>
                  <a:gd name="connsiteY37" fmla="*/ 745 h 1039"/>
                  <a:gd name="connsiteX38" fmla="*/ 1685 w 3940"/>
                  <a:gd name="connsiteY38" fmla="*/ 797 h 1039"/>
                  <a:gd name="connsiteX39" fmla="*/ 1644 w 3940"/>
                  <a:gd name="connsiteY39" fmla="*/ 846 h 1039"/>
                  <a:gd name="connsiteX40" fmla="*/ 1600 w 3940"/>
                  <a:gd name="connsiteY40" fmla="*/ 892 h 1039"/>
                  <a:gd name="connsiteX41" fmla="*/ 1553 w 3940"/>
                  <a:gd name="connsiteY41" fmla="*/ 933 h 1039"/>
                  <a:gd name="connsiteX42" fmla="*/ 1503 w 3940"/>
                  <a:gd name="connsiteY42" fmla="*/ 969 h 1039"/>
                  <a:gd name="connsiteX43" fmla="*/ 1450 w 3940"/>
                  <a:gd name="connsiteY43" fmla="*/ 998 h 1039"/>
                  <a:gd name="connsiteX44" fmla="*/ 1394 w 3940"/>
                  <a:gd name="connsiteY44" fmla="*/ 1021 h 1039"/>
                  <a:gd name="connsiteX45" fmla="*/ 1330 w 3940"/>
                  <a:gd name="connsiteY45" fmla="*/ 1033 h 1039"/>
                  <a:gd name="connsiteX46" fmla="*/ 1264 w 3940"/>
                  <a:gd name="connsiteY46" fmla="*/ 1039 h 1039"/>
                  <a:gd name="connsiteX47" fmla="*/ 1258 w 3940"/>
                  <a:gd name="connsiteY47" fmla="*/ 1039 h 1039"/>
                  <a:gd name="connsiteX48" fmla="*/ 1190 w 3940"/>
                  <a:gd name="connsiteY48" fmla="*/ 1035 h 1039"/>
                  <a:gd name="connsiteX49" fmla="*/ 1128 w 3940"/>
                  <a:gd name="connsiteY49" fmla="*/ 1023 h 1039"/>
                  <a:gd name="connsiteX50" fmla="*/ 1070 w 3940"/>
                  <a:gd name="connsiteY50" fmla="*/ 1004 h 1039"/>
                  <a:gd name="connsiteX51" fmla="*/ 1018 w 3940"/>
                  <a:gd name="connsiteY51" fmla="*/ 979 h 1039"/>
                  <a:gd name="connsiteX52" fmla="*/ 971 w 3940"/>
                  <a:gd name="connsiteY52" fmla="*/ 948 h 1039"/>
                  <a:gd name="connsiteX53" fmla="*/ 925 w 3940"/>
                  <a:gd name="connsiteY53" fmla="*/ 911 h 1039"/>
                  <a:gd name="connsiteX54" fmla="*/ 884 w 3940"/>
                  <a:gd name="connsiteY54" fmla="*/ 869 h 1039"/>
                  <a:gd name="connsiteX55" fmla="*/ 847 w 3940"/>
                  <a:gd name="connsiteY55" fmla="*/ 824 h 1039"/>
                  <a:gd name="connsiteX56" fmla="*/ 810 w 3940"/>
                  <a:gd name="connsiteY56" fmla="*/ 776 h 1039"/>
                  <a:gd name="connsiteX57" fmla="*/ 777 w 3940"/>
                  <a:gd name="connsiteY57" fmla="*/ 724 h 1039"/>
                  <a:gd name="connsiteX58" fmla="*/ 742 w 3940"/>
                  <a:gd name="connsiteY58" fmla="*/ 670 h 1039"/>
                  <a:gd name="connsiteX59" fmla="*/ 711 w 3940"/>
                  <a:gd name="connsiteY59" fmla="*/ 614 h 1039"/>
                  <a:gd name="connsiteX60" fmla="*/ 678 w 3940"/>
                  <a:gd name="connsiteY60" fmla="*/ 556 h 1039"/>
                  <a:gd name="connsiteX61" fmla="*/ 616 w 3940"/>
                  <a:gd name="connsiteY61" fmla="*/ 444 h 1039"/>
                  <a:gd name="connsiteX62" fmla="*/ 547 w 3940"/>
                  <a:gd name="connsiteY62" fmla="*/ 336 h 1039"/>
                  <a:gd name="connsiteX63" fmla="*/ 504 w 3940"/>
                  <a:gd name="connsiteY63" fmla="*/ 280 h 1039"/>
                  <a:gd name="connsiteX64" fmla="*/ 457 w 3940"/>
                  <a:gd name="connsiteY64" fmla="*/ 235 h 1039"/>
                  <a:gd name="connsiteX65" fmla="*/ 409 w 3940"/>
                  <a:gd name="connsiteY65" fmla="*/ 195 h 1039"/>
                  <a:gd name="connsiteX66" fmla="*/ 358 w 3940"/>
                  <a:gd name="connsiteY66" fmla="*/ 164 h 1039"/>
                  <a:gd name="connsiteX67" fmla="*/ 308 w 3940"/>
                  <a:gd name="connsiteY67" fmla="*/ 141 h 1039"/>
                  <a:gd name="connsiteX68" fmla="*/ 256 w 3940"/>
                  <a:gd name="connsiteY68" fmla="*/ 123 h 1039"/>
                  <a:gd name="connsiteX69" fmla="*/ 209 w 3940"/>
                  <a:gd name="connsiteY69" fmla="*/ 108 h 1039"/>
                  <a:gd name="connsiteX70" fmla="*/ 163 w 3940"/>
                  <a:gd name="connsiteY70" fmla="*/ 100 h 1039"/>
                  <a:gd name="connsiteX71" fmla="*/ 122 w 3940"/>
                  <a:gd name="connsiteY71" fmla="*/ 96 h 1039"/>
                  <a:gd name="connsiteX72" fmla="*/ 85 w 3940"/>
                  <a:gd name="connsiteY72" fmla="*/ 91 h 1039"/>
                  <a:gd name="connsiteX73" fmla="*/ 31 w 3940"/>
                  <a:gd name="connsiteY73" fmla="*/ 91 h 1039"/>
                  <a:gd name="connsiteX74" fmla="*/ 17 w 3940"/>
                  <a:gd name="connsiteY74" fmla="*/ 94 h 1039"/>
                  <a:gd name="connsiteX75" fmla="*/ 11 w 3940"/>
                  <a:gd name="connsiteY75" fmla="*/ 94 h 1039"/>
                  <a:gd name="connsiteX76" fmla="*/ 0 w 3940"/>
                  <a:gd name="connsiteY76" fmla="*/ 9 h 1039"/>
                  <a:gd name="connsiteX77" fmla="*/ 9 w 3940"/>
                  <a:gd name="connsiteY77" fmla="*/ 9 h 1039"/>
                  <a:gd name="connsiteX78" fmla="*/ 29 w 3940"/>
                  <a:gd name="connsiteY78" fmla="*/ 6 h 1039"/>
                  <a:gd name="connsiteX79" fmla="*/ 91 w 3940"/>
                  <a:gd name="connsiteY79" fmla="*/ 6 h 1039"/>
                  <a:gd name="connsiteX80" fmla="*/ 135 w 3940"/>
                  <a:gd name="connsiteY80" fmla="*/ 9 h 1039"/>
                  <a:gd name="connsiteX81" fmla="*/ 182 w 3940"/>
                  <a:gd name="connsiteY81" fmla="*/ 15 h 1039"/>
                  <a:gd name="connsiteX82" fmla="*/ 234 w 3940"/>
                  <a:gd name="connsiteY82" fmla="*/ 25 h 1039"/>
                  <a:gd name="connsiteX83" fmla="*/ 287 w 3940"/>
                  <a:gd name="connsiteY83" fmla="*/ 42 h 1039"/>
                  <a:gd name="connsiteX84" fmla="*/ 345 w 3940"/>
                  <a:gd name="connsiteY84" fmla="*/ 62 h 1039"/>
                  <a:gd name="connsiteX85" fmla="*/ 403 w 3940"/>
                  <a:gd name="connsiteY85" fmla="*/ 89 h 1039"/>
                  <a:gd name="connsiteX86" fmla="*/ 459 w 3940"/>
                  <a:gd name="connsiteY86" fmla="*/ 127 h 1039"/>
                  <a:gd name="connsiteX87" fmla="*/ 514 w 3940"/>
                  <a:gd name="connsiteY87" fmla="*/ 170 h 1039"/>
                  <a:gd name="connsiteX88" fmla="*/ 568 w 3940"/>
                  <a:gd name="connsiteY88" fmla="*/ 224 h 1039"/>
                  <a:gd name="connsiteX89" fmla="*/ 618 w 3940"/>
                  <a:gd name="connsiteY89" fmla="*/ 288 h 1039"/>
                  <a:gd name="connsiteX90" fmla="*/ 667 w 3940"/>
                  <a:gd name="connsiteY90" fmla="*/ 363 h 1039"/>
                  <a:gd name="connsiteX91" fmla="*/ 754 w 3940"/>
                  <a:gd name="connsiteY91" fmla="*/ 512 h 1039"/>
                  <a:gd name="connsiteX92" fmla="*/ 787 w 3940"/>
                  <a:gd name="connsiteY92" fmla="*/ 571 h 1039"/>
                  <a:gd name="connsiteX93" fmla="*/ 820 w 3940"/>
                  <a:gd name="connsiteY93" fmla="*/ 627 h 1039"/>
                  <a:gd name="connsiteX94" fmla="*/ 853 w 3940"/>
                  <a:gd name="connsiteY94" fmla="*/ 680 h 1039"/>
                  <a:gd name="connsiteX95" fmla="*/ 886 w 3940"/>
                  <a:gd name="connsiteY95" fmla="*/ 732 h 1039"/>
                  <a:gd name="connsiteX96" fmla="*/ 921 w 3940"/>
                  <a:gd name="connsiteY96" fmla="*/ 778 h 1039"/>
                  <a:gd name="connsiteX97" fmla="*/ 958 w 3940"/>
                  <a:gd name="connsiteY97" fmla="*/ 821 h 1039"/>
                  <a:gd name="connsiteX98" fmla="*/ 1000 w 3940"/>
                  <a:gd name="connsiteY98" fmla="*/ 859 h 1039"/>
                  <a:gd name="connsiteX99" fmla="*/ 1043 w 3940"/>
                  <a:gd name="connsiteY99" fmla="*/ 890 h 1039"/>
                  <a:gd name="connsiteX100" fmla="*/ 1090 w 3940"/>
                  <a:gd name="connsiteY100" fmla="*/ 917 h 1039"/>
                  <a:gd name="connsiteX101" fmla="*/ 1140 w 3940"/>
                  <a:gd name="connsiteY101" fmla="*/ 935 h 1039"/>
                  <a:gd name="connsiteX102" fmla="*/ 1196 w 3940"/>
                  <a:gd name="connsiteY102" fmla="*/ 948 h 1039"/>
                  <a:gd name="connsiteX103" fmla="*/ 1258 w 3940"/>
                  <a:gd name="connsiteY103" fmla="*/ 952 h 1039"/>
                  <a:gd name="connsiteX104" fmla="*/ 1264 w 3940"/>
                  <a:gd name="connsiteY104" fmla="*/ 952 h 1039"/>
                  <a:gd name="connsiteX105" fmla="*/ 1324 w 3940"/>
                  <a:gd name="connsiteY105" fmla="*/ 946 h 1039"/>
                  <a:gd name="connsiteX106" fmla="*/ 1380 w 3940"/>
                  <a:gd name="connsiteY106" fmla="*/ 931 h 1039"/>
                  <a:gd name="connsiteX107" fmla="*/ 1433 w 3940"/>
                  <a:gd name="connsiteY107" fmla="*/ 909 h 1039"/>
                  <a:gd name="connsiteX108" fmla="*/ 1481 w 3940"/>
                  <a:gd name="connsiteY108" fmla="*/ 880 h 1039"/>
                  <a:gd name="connsiteX109" fmla="*/ 1526 w 3940"/>
                  <a:gd name="connsiteY109" fmla="*/ 842 h 1039"/>
                  <a:gd name="connsiteX110" fmla="*/ 1569 w 3940"/>
                  <a:gd name="connsiteY110" fmla="*/ 799 h 1039"/>
                  <a:gd name="connsiteX111" fmla="*/ 1609 w 3940"/>
                  <a:gd name="connsiteY111" fmla="*/ 751 h 1039"/>
                  <a:gd name="connsiteX112" fmla="*/ 1648 w 3940"/>
                  <a:gd name="connsiteY112" fmla="*/ 699 h 1039"/>
                  <a:gd name="connsiteX113" fmla="*/ 1687 w 3940"/>
                  <a:gd name="connsiteY113" fmla="*/ 645 h 1039"/>
                  <a:gd name="connsiteX114" fmla="*/ 1799 w 3940"/>
                  <a:gd name="connsiteY114" fmla="*/ 471 h 1039"/>
                  <a:gd name="connsiteX115" fmla="*/ 1838 w 3940"/>
                  <a:gd name="connsiteY115" fmla="*/ 411 h 1039"/>
                  <a:gd name="connsiteX116" fmla="*/ 1879 w 3940"/>
                  <a:gd name="connsiteY116" fmla="*/ 353 h 1039"/>
                  <a:gd name="connsiteX117" fmla="*/ 1923 w 3940"/>
                  <a:gd name="connsiteY117" fmla="*/ 295 h 1039"/>
                  <a:gd name="connsiteX118" fmla="*/ 1968 w 3940"/>
                  <a:gd name="connsiteY118" fmla="*/ 241 h 1039"/>
                  <a:gd name="connsiteX119" fmla="*/ 2015 w 3940"/>
                  <a:gd name="connsiteY119" fmla="*/ 189 h 1039"/>
                  <a:gd name="connsiteX120" fmla="*/ 2069 w 3940"/>
                  <a:gd name="connsiteY120" fmla="*/ 141 h 1039"/>
                  <a:gd name="connsiteX121" fmla="*/ 2125 w 3940"/>
                  <a:gd name="connsiteY121" fmla="*/ 100 h 1039"/>
                  <a:gd name="connsiteX122" fmla="*/ 2187 w 3940"/>
                  <a:gd name="connsiteY122" fmla="*/ 65 h 1039"/>
                  <a:gd name="connsiteX123" fmla="*/ 2253 w 3940"/>
                  <a:gd name="connsiteY123" fmla="*/ 35 h 1039"/>
                  <a:gd name="connsiteX124" fmla="*/ 2325 w 3940"/>
                  <a:gd name="connsiteY124" fmla="*/ 15 h 1039"/>
                  <a:gd name="connsiteX125" fmla="*/ 2404 w 3940"/>
                  <a:gd name="connsiteY125" fmla="*/ 2 h 1039"/>
                  <a:gd name="connsiteX126" fmla="*/ 2474 w 3940"/>
                  <a:gd name="connsiteY126" fmla="*/ 0 h 1039"/>
                  <a:gd name="connsiteX127" fmla="*/ 2540 w 3940"/>
                  <a:gd name="connsiteY127" fmla="*/ 9 h 1039"/>
                  <a:gd name="connsiteX128" fmla="*/ 2600 w 3940"/>
                  <a:gd name="connsiteY128" fmla="*/ 23 h 1039"/>
                  <a:gd name="connsiteX129" fmla="*/ 2658 w 3940"/>
                  <a:gd name="connsiteY129" fmla="*/ 46 h 1039"/>
                  <a:gd name="connsiteX130" fmla="*/ 2711 w 3940"/>
                  <a:gd name="connsiteY130" fmla="*/ 77 h 1039"/>
                  <a:gd name="connsiteX131" fmla="*/ 2761 w 3940"/>
                  <a:gd name="connsiteY131" fmla="*/ 112 h 1039"/>
                  <a:gd name="connsiteX132" fmla="*/ 2806 w 3940"/>
                  <a:gd name="connsiteY132" fmla="*/ 154 h 1039"/>
                  <a:gd name="connsiteX133" fmla="*/ 2852 w 3940"/>
                  <a:gd name="connsiteY133" fmla="*/ 199 h 1039"/>
                  <a:gd name="connsiteX134" fmla="*/ 2893 w 3940"/>
                  <a:gd name="connsiteY134" fmla="*/ 247 h 1039"/>
                  <a:gd name="connsiteX135" fmla="*/ 2932 w 3940"/>
                  <a:gd name="connsiteY135" fmla="*/ 299 h 1039"/>
                  <a:gd name="connsiteX136" fmla="*/ 2969 w 3940"/>
                  <a:gd name="connsiteY136" fmla="*/ 353 h 1039"/>
                  <a:gd name="connsiteX137" fmla="*/ 3004 w 3940"/>
                  <a:gd name="connsiteY137" fmla="*/ 409 h 1039"/>
                  <a:gd name="connsiteX138" fmla="*/ 3039 w 3940"/>
                  <a:gd name="connsiteY138" fmla="*/ 463 h 1039"/>
                  <a:gd name="connsiteX139" fmla="*/ 3073 w 3940"/>
                  <a:gd name="connsiteY139" fmla="*/ 519 h 1039"/>
                  <a:gd name="connsiteX140" fmla="*/ 3186 w 3940"/>
                  <a:gd name="connsiteY140" fmla="*/ 697 h 1039"/>
                  <a:gd name="connsiteX141" fmla="*/ 3306 w 3940"/>
                  <a:gd name="connsiteY141" fmla="*/ 844 h 1039"/>
                  <a:gd name="connsiteX142" fmla="*/ 3444 w 3940"/>
                  <a:gd name="connsiteY142" fmla="*/ 935 h 1039"/>
                  <a:gd name="connsiteX143" fmla="*/ 3554 w 3940"/>
                  <a:gd name="connsiteY143" fmla="*/ 952 h 1039"/>
                  <a:gd name="connsiteX144" fmla="*/ 3659 w 3940"/>
                  <a:gd name="connsiteY144" fmla="*/ 931 h 1039"/>
                  <a:gd name="connsiteX145" fmla="*/ 3789 w 3940"/>
                  <a:gd name="connsiteY145" fmla="*/ 844 h 1039"/>
                  <a:gd name="connsiteX146" fmla="*/ 3826 w 3940"/>
                  <a:gd name="connsiteY146" fmla="*/ 803 h 1039"/>
                  <a:gd name="connsiteX0" fmla="*/ 3826 w 3940"/>
                  <a:gd name="connsiteY0" fmla="*/ 803 h 1039"/>
                  <a:gd name="connsiteX1" fmla="*/ 3940 w 3940"/>
                  <a:gd name="connsiteY1" fmla="*/ 794 h 1039"/>
                  <a:gd name="connsiteX2" fmla="*/ 3779 w 3940"/>
                  <a:gd name="connsiteY2" fmla="*/ 967 h 1039"/>
                  <a:gd name="connsiteX3" fmla="*/ 3620 w 3940"/>
                  <a:gd name="connsiteY3" fmla="*/ 1033 h 1039"/>
                  <a:gd name="connsiteX4" fmla="*/ 3556 w 3940"/>
                  <a:gd name="connsiteY4" fmla="*/ 1039 h 1039"/>
                  <a:gd name="connsiteX5" fmla="*/ 3547 w 3940"/>
                  <a:gd name="connsiteY5" fmla="*/ 1039 h 1039"/>
                  <a:gd name="connsiteX6" fmla="*/ 3229 w 3940"/>
                  <a:gd name="connsiteY6" fmla="*/ 890 h 1039"/>
                  <a:gd name="connsiteX7" fmla="*/ 3147 w 3940"/>
                  <a:gd name="connsiteY7" fmla="*/ 792 h 1039"/>
                  <a:gd name="connsiteX8" fmla="*/ 3108 w 3940"/>
                  <a:gd name="connsiteY8" fmla="*/ 736 h 1039"/>
                  <a:gd name="connsiteX9" fmla="*/ 3070 w 3940"/>
                  <a:gd name="connsiteY9" fmla="*/ 680 h 1039"/>
                  <a:gd name="connsiteX10" fmla="*/ 2965 w 3940"/>
                  <a:gd name="connsiteY10" fmla="*/ 506 h 1039"/>
                  <a:gd name="connsiteX11" fmla="*/ 2928 w 3940"/>
                  <a:gd name="connsiteY11" fmla="*/ 448 h 1039"/>
                  <a:gd name="connsiteX12" fmla="*/ 2891 w 3940"/>
                  <a:gd name="connsiteY12" fmla="*/ 392 h 1039"/>
                  <a:gd name="connsiteX13" fmla="*/ 2854 w 3940"/>
                  <a:gd name="connsiteY13" fmla="*/ 338 h 1039"/>
                  <a:gd name="connsiteX14" fmla="*/ 2814 w 3940"/>
                  <a:gd name="connsiteY14" fmla="*/ 288 h 1039"/>
                  <a:gd name="connsiteX15" fmla="*/ 2773 w 3940"/>
                  <a:gd name="connsiteY15" fmla="*/ 243 h 1039"/>
                  <a:gd name="connsiteX16" fmla="*/ 2732 w 3940"/>
                  <a:gd name="connsiteY16" fmla="*/ 201 h 1039"/>
                  <a:gd name="connsiteX17" fmla="*/ 2686 w 3940"/>
                  <a:gd name="connsiteY17" fmla="*/ 164 h 1039"/>
                  <a:gd name="connsiteX18" fmla="*/ 2639 w 3940"/>
                  <a:gd name="connsiteY18" fmla="*/ 135 h 1039"/>
                  <a:gd name="connsiteX19" fmla="*/ 2587 w 3940"/>
                  <a:gd name="connsiteY19" fmla="*/ 112 h 1039"/>
                  <a:gd name="connsiteX20" fmla="*/ 2532 w 3940"/>
                  <a:gd name="connsiteY20" fmla="*/ 96 h 1039"/>
                  <a:gd name="connsiteX21" fmla="*/ 2474 w 3940"/>
                  <a:gd name="connsiteY21" fmla="*/ 87 h 1039"/>
                  <a:gd name="connsiteX22" fmla="*/ 2410 w 3940"/>
                  <a:gd name="connsiteY22" fmla="*/ 89 h 1039"/>
                  <a:gd name="connsiteX23" fmla="*/ 2342 w 3940"/>
                  <a:gd name="connsiteY23" fmla="*/ 100 h 1039"/>
                  <a:gd name="connsiteX24" fmla="*/ 2280 w 3940"/>
                  <a:gd name="connsiteY24" fmla="*/ 118 h 1039"/>
                  <a:gd name="connsiteX25" fmla="*/ 2222 w 3940"/>
                  <a:gd name="connsiteY25" fmla="*/ 143 h 1039"/>
                  <a:gd name="connsiteX26" fmla="*/ 2168 w 3940"/>
                  <a:gd name="connsiteY26" fmla="*/ 176 h 1039"/>
                  <a:gd name="connsiteX27" fmla="*/ 2117 w 3940"/>
                  <a:gd name="connsiteY27" fmla="*/ 214 h 1039"/>
                  <a:gd name="connsiteX28" fmla="*/ 2071 w 3940"/>
                  <a:gd name="connsiteY28" fmla="*/ 257 h 1039"/>
                  <a:gd name="connsiteX29" fmla="*/ 2026 w 3940"/>
                  <a:gd name="connsiteY29" fmla="*/ 303 h 1039"/>
                  <a:gd name="connsiteX30" fmla="*/ 1984 w 3940"/>
                  <a:gd name="connsiteY30" fmla="*/ 355 h 1039"/>
                  <a:gd name="connsiteX31" fmla="*/ 1945 w 3940"/>
                  <a:gd name="connsiteY31" fmla="*/ 409 h 1039"/>
                  <a:gd name="connsiteX32" fmla="*/ 1908 w 3940"/>
                  <a:gd name="connsiteY32" fmla="*/ 463 h 1039"/>
                  <a:gd name="connsiteX33" fmla="*/ 1871 w 3940"/>
                  <a:gd name="connsiteY33" fmla="*/ 519 h 1039"/>
                  <a:gd name="connsiteX34" fmla="*/ 1834 w 3940"/>
                  <a:gd name="connsiteY34" fmla="*/ 577 h 1039"/>
                  <a:gd name="connsiteX35" fmla="*/ 1799 w 3940"/>
                  <a:gd name="connsiteY35" fmla="*/ 633 h 1039"/>
                  <a:gd name="connsiteX36" fmla="*/ 1724 w 3940"/>
                  <a:gd name="connsiteY36" fmla="*/ 745 h 1039"/>
                  <a:gd name="connsiteX37" fmla="*/ 1685 w 3940"/>
                  <a:gd name="connsiteY37" fmla="*/ 797 h 1039"/>
                  <a:gd name="connsiteX38" fmla="*/ 1644 w 3940"/>
                  <a:gd name="connsiteY38" fmla="*/ 846 h 1039"/>
                  <a:gd name="connsiteX39" fmla="*/ 1600 w 3940"/>
                  <a:gd name="connsiteY39" fmla="*/ 892 h 1039"/>
                  <a:gd name="connsiteX40" fmla="*/ 1553 w 3940"/>
                  <a:gd name="connsiteY40" fmla="*/ 933 h 1039"/>
                  <a:gd name="connsiteX41" fmla="*/ 1503 w 3940"/>
                  <a:gd name="connsiteY41" fmla="*/ 969 h 1039"/>
                  <a:gd name="connsiteX42" fmla="*/ 1450 w 3940"/>
                  <a:gd name="connsiteY42" fmla="*/ 998 h 1039"/>
                  <a:gd name="connsiteX43" fmla="*/ 1394 w 3940"/>
                  <a:gd name="connsiteY43" fmla="*/ 1021 h 1039"/>
                  <a:gd name="connsiteX44" fmla="*/ 1330 w 3940"/>
                  <a:gd name="connsiteY44" fmla="*/ 1033 h 1039"/>
                  <a:gd name="connsiteX45" fmla="*/ 1264 w 3940"/>
                  <a:gd name="connsiteY45" fmla="*/ 1039 h 1039"/>
                  <a:gd name="connsiteX46" fmla="*/ 1258 w 3940"/>
                  <a:gd name="connsiteY46" fmla="*/ 1039 h 1039"/>
                  <a:gd name="connsiteX47" fmla="*/ 1190 w 3940"/>
                  <a:gd name="connsiteY47" fmla="*/ 1035 h 1039"/>
                  <a:gd name="connsiteX48" fmla="*/ 1128 w 3940"/>
                  <a:gd name="connsiteY48" fmla="*/ 1023 h 1039"/>
                  <a:gd name="connsiteX49" fmla="*/ 1070 w 3940"/>
                  <a:gd name="connsiteY49" fmla="*/ 1004 h 1039"/>
                  <a:gd name="connsiteX50" fmla="*/ 1018 w 3940"/>
                  <a:gd name="connsiteY50" fmla="*/ 979 h 1039"/>
                  <a:gd name="connsiteX51" fmla="*/ 971 w 3940"/>
                  <a:gd name="connsiteY51" fmla="*/ 948 h 1039"/>
                  <a:gd name="connsiteX52" fmla="*/ 925 w 3940"/>
                  <a:gd name="connsiteY52" fmla="*/ 911 h 1039"/>
                  <a:gd name="connsiteX53" fmla="*/ 884 w 3940"/>
                  <a:gd name="connsiteY53" fmla="*/ 869 h 1039"/>
                  <a:gd name="connsiteX54" fmla="*/ 847 w 3940"/>
                  <a:gd name="connsiteY54" fmla="*/ 824 h 1039"/>
                  <a:gd name="connsiteX55" fmla="*/ 810 w 3940"/>
                  <a:gd name="connsiteY55" fmla="*/ 776 h 1039"/>
                  <a:gd name="connsiteX56" fmla="*/ 777 w 3940"/>
                  <a:gd name="connsiteY56" fmla="*/ 724 h 1039"/>
                  <a:gd name="connsiteX57" fmla="*/ 742 w 3940"/>
                  <a:gd name="connsiteY57" fmla="*/ 670 h 1039"/>
                  <a:gd name="connsiteX58" fmla="*/ 711 w 3940"/>
                  <a:gd name="connsiteY58" fmla="*/ 614 h 1039"/>
                  <a:gd name="connsiteX59" fmla="*/ 678 w 3940"/>
                  <a:gd name="connsiteY59" fmla="*/ 556 h 1039"/>
                  <a:gd name="connsiteX60" fmla="*/ 616 w 3940"/>
                  <a:gd name="connsiteY60" fmla="*/ 444 h 1039"/>
                  <a:gd name="connsiteX61" fmla="*/ 547 w 3940"/>
                  <a:gd name="connsiteY61" fmla="*/ 336 h 1039"/>
                  <a:gd name="connsiteX62" fmla="*/ 504 w 3940"/>
                  <a:gd name="connsiteY62" fmla="*/ 280 h 1039"/>
                  <a:gd name="connsiteX63" fmla="*/ 457 w 3940"/>
                  <a:gd name="connsiteY63" fmla="*/ 235 h 1039"/>
                  <a:gd name="connsiteX64" fmla="*/ 409 w 3940"/>
                  <a:gd name="connsiteY64" fmla="*/ 195 h 1039"/>
                  <a:gd name="connsiteX65" fmla="*/ 358 w 3940"/>
                  <a:gd name="connsiteY65" fmla="*/ 164 h 1039"/>
                  <a:gd name="connsiteX66" fmla="*/ 308 w 3940"/>
                  <a:gd name="connsiteY66" fmla="*/ 141 h 1039"/>
                  <a:gd name="connsiteX67" fmla="*/ 256 w 3940"/>
                  <a:gd name="connsiteY67" fmla="*/ 123 h 1039"/>
                  <a:gd name="connsiteX68" fmla="*/ 209 w 3940"/>
                  <a:gd name="connsiteY68" fmla="*/ 108 h 1039"/>
                  <a:gd name="connsiteX69" fmla="*/ 163 w 3940"/>
                  <a:gd name="connsiteY69" fmla="*/ 100 h 1039"/>
                  <a:gd name="connsiteX70" fmla="*/ 122 w 3940"/>
                  <a:gd name="connsiteY70" fmla="*/ 96 h 1039"/>
                  <a:gd name="connsiteX71" fmla="*/ 85 w 3940"/>
                  <a:gd name="connsiteY71" fmla="*/ 91 h 1039"/>
                  <a:gd name="connsiteX72" fmla="*/ 31 w 3940"/>
                  <a:gd name="connsiteY72" fmla="*/ 91 h 1039"/>
                  <a:gd name="connsiteX73" fmla="*/ 17 w 3940"/>
                  <a:gd name="connsiteY73" fmla="*/ 94 h 1039"/>
                  <a:gd name="connsiteX74" fmla="*/ 11 w 3940"/>
                  <a:gd name="connsiteY74" fmla="*/ 94 h 1039"/>
                  <a:gd name="connsiteX75" fmla="*/ 0 w 3940"/>
                  <a:gd name="connsiteY75" fmla="*/ 9 h 1039"/>
                  <a:gd name="connsiteX76" fmla="*/ 9 w 3940"/>
                  <a:gd name="connsiteY76" fmla="*/ 9 h 1039"/>
                  <a:gd name="connsiteX77" fmla="*/ 29 w 3940"/>
                  <a:gd name="connsiteY77" fmla="*/ 6 h 1039"/>
                  <a:gd name="connsiteX78" fmla="*/ 91 w 3940"/>
                  <a:gd name="connsiteY78" fmla="*/ 6 h 1039"/>
                  <a:gd name="connsiteX79" fmla="*/ 135 w 3940"/>
                  <a:gd name="connsiteY79" fmla="*/ 9 h 1039"/>
                  <a:gd name="connsiteX80" fmla="*/ 182 w 3940"/>
                  <a:gd name="connsiteY80" fmla="*/ 15 h 1039"/>
                  <a:gd name="connsiteX81" fmla="*/ 234 w 3940"/>
                  <a:gd name="connsiteY81" fmla="*/ 25 h 1039"/>
                  <a:gd name="connsiteX82" fmla="*/ 287 w 3940"/>
                  <a:gd name="connsiteY82" fmla="*/ 42 h 1039"/>
                  <a:gd name="connsiteX83" fmla="*/ 345 w 3940"/>
                  <a:gd name="connsiteY83" fmla="*/ 62 h 1039"/>
                  <a:gd name="connsiteX84" fmla="*/ 403 w 3940"/>
                  <a:gd name="connsiteY84" fmla="*/ 89 h 1039"/>
                  <a:gd name="connsiteX85" fmla="*/ 459 w 3940"/>
                  <a:gd name="connsiteY85" fmla="*/ 127 h 1039"/>
                  <a:gd name="connsiteX86" fmla="*/ 514 w 3940"/>
                  <a:gd name="connsiteY86" fmla="*/ 170 h 1039"/>
                  <a:gd name="connsiteX87" fmla="*/ 568 w 3940"/>
                  <a:gd name="connsiteY87" fmla="*/ 224 h 1039"/>
                  <a:gd name="connsiteX88" fmla="*/ 618 w 3940"/>
                  <a:gd name="connsiteY88" fmla="*/ 288 h 1039"/>
                  <a:gd name="connsiteX89" fmla="*/ 667 w 3940"/>
                  <a:gd name="connsiteY89" fmla="*/ 363 h 1039"/>
                  <a:gd name="connsiteX90" fmla="*/ 754 w 3940"/>
                  <a:gd name="connsiteY90" fmla="*/ 512 h 1039"/>
                  <a:gd name="connsiteX91" fmla="*/ 787 w 3940"/>
                  <a:gd name="connsiteY91" fmla="*/ 571 h 1039"/>
                  <a:gd name="connsiteX92" fmla="*/ 820 w 3940"/>
                  <a:gd name="connsiteY92" fmla="*/ 627 h 1039"/>
                  <a:gd name="connsiteX93" fmla="*/ 853 w 3940"/>
                  <a:gd name="connsiteY93" fmla="*/ 680 h 1039"/>
                  <a:gd name="connsiteX94" fmla="*/ 886 w 3940"/>
                  <a:gd name="connsiteY94" fmla="*/ 732 h 1039"/>
                  <a:gd name="connsiteX95" fmla="*/ 921 w 3940"/>
                  <a:gd name="connsiteY95" fmla="*/ 778 h 1039"/>
                  <a:gd name="connsiteX96" fmla="*/ 958 w 3940"/>
                  <a:gd name="connsiteY96" fmla="*/ 821 h 1039"/>
                  <a:gd name="connsiteX97" fmla="*/ 1000 w 3940"/>
                  <a:gd name="connsiteY97" fmla="*/ 859 h 1039"/>
                  <a:gd name="connsiteX98" fmla="*/ 1043 w 3940"/>
                  <a:gd name="connsiteY98" fmla="*/ 890 h 1039"/>
                  <a:gd name="connsiteX99" fmla="*/ 1090 w 3940"/>
                  <a:gd name="connsiteY99" fmla="*/ 917 h 1039"/>
                  <a:gd name="connsiteX100" fmla="*/ 1140 w 3940"/>
                  <a:gd name="connsiteY100" fmla="*/ 935 h 1039"/>
                  <a:gd name="connsiteX101" fmla="*/ 1196 w 3940"/>
                  <a:gd name="connsiteY101" fmla="*/ 948 h 1039"/>
                  <a:gd name="connsiteX102" fmla="*/ 1258 w 3940"/>
                  <a:gd name="connsiteY102" fmla="*/ 952 h 1039"/>
                  <a:gd name="connsiteX103" fmla="*/ 1264 w 3940"/>
                  <a:gd name="connsiteY103" fmla="*/ 952 h 1039"/>
                  <a:gd name="connsiteX104" fmla="*/ 1324 w 3940"/>
                  <a:gd name="connsiteY104" fmla="*/ 946 h 1039"/>
                  <a:gd name="connsiteX105" fmla="*/ 1380 w 3940"/>
                  <a:gd name="connsiteY105" fmla="*/ 931 h 1039"/>
                  <a:gd name="connsiteX106" fmla="*/ 1433 w 3940"/>
                  <a:gd name="connsiteY106" fmla="*/ 909 h 1039"/>
                  <a:gd name="connsiteX107" fmla="*/ 1481 w 3940"/>
                  <a:gd name="connsiteY107" fmla="*/ 880 h 1039"/>
                  <a:gd name="connsiteX108" fmla="*/ 1526 w 3940"/>
                  <a:gd name="connsiteY108" fmla="*/ 842 h 1039"/>
                  <a:gd name="connsiteX109" fmla="*/ 1569 w 3940"/>
                  <a:gd name="connsiteY109" fmla="*/ 799 h 1039"/>
                  <a:gd name="connsiteX110" fmla="*/ 1609 w 3940"/>
                  <a:gd name="connsiteY110" fmla="*/ 751 h 1039"/>
                  <a:gd name="connsiteX111" fmla="*/ 1648 w 3940"/>
                  <a:gd name="connsiteY111" fmla="*/ 699 h 1039"/>
                  <a:gd name="connsiteX112" fmla="*/ 1687 w 3940"/>
                  <a:gd name="connsiteY112" fmla="*/ 645 h 1039"/>
                  <a:gd name="connsiteX113" fmla="*/ 1799 w 3940"/>
                  <a:gd name="connsiteY113" fmla="*/ 471 h 1039"/>
                  <a:gd name="connsiteX114" fmla="*/ 1838 w 3940"/>
                  <a:gd name="connsiteY114" fmla="*/ 411 h 1039"/>
                  <a:gd name="connsiteX115" fmla="*/ 1879 w 3940"/>
                  <a:gd name="connsiteY115" fmla="*/ 353 h 1039"/>
                  <a:gd name="connsiteX116" fmla="*/ 1923 w 3940"/>
                  <a:gd name="connsiteY116" fmla="*/ 295 h 1039"/>
                  <a:gd name="connsiteX117" fmla="*/ 1968 w 3940"/>
                  <a:gd name="connsiteY117" fmla="*/ 241 h 1039"/>
                  <a:gd name="connsiteX118" fmla="*/ 2015 w 3940"/>
                  <a:gd name="connsiteY118" fmla="*/ 189 h 1039"/>
                  <a:gd name="connsiteX119" fmla="*/ 2069 w 3940"/>
                  <a:gd name="connsiteY119" fmla="*/ 141 h 1039"/>
                  <a:gd name="connsiteX120" fmla="*/ 2125 w 3940"/>
                  <a:gd name="connsiteY120" fmla="*/ 100 h 1039"/>
                  <a:gd name="connsiteX121" fmla="*/ 2187 w 3940"/>
                  <a:gd name="connsiteY121" fmla="*/ 65 h 1039"/>
                  <a:gd name="connsiteX122" fmla="*/ 2253 w 3940"/>
                  <a:gd name="connsiteY122" fmla="*/ 35 h 1039"/>
                  <a:gd name="connsiteX123" fmla="*/ 2325 w 3940"/>
                  <a:gd name="connsiteY123" fmla="*/ 15 h 1039"/>
                  <a:gd name="connsiteX124" fmla="*/ 2404 w 3940"/>
                  <a:gd name="connsiteY124" fmla="*/ 2 h 1039"/>
                  <a:gd name="connsiteX125" fmla="*/ 2474 w 3940"/>
                  <a:gd name="connsiteY125" fmla="*/ 0 h 1039"/>
                  <a:gd name="connsiteX126" fmla="*/ 2540 w 3940"/>
                  <a:gd name="connsiteY126" fmla="*/ 9 h 1039"/>
                  <a:gd name="connsiteX127" fmla="*/ 2600 w 3940"/>
                  <a:gd name="connsiteY127" fmla="*/ 23 h 1039"/>
                  <a:gd name="connsiteX128" fmla="*/ 2658 w 3940"/>
                  <a:gd name="connsiteY128" fmla="*/ 46 h 1039"/>
                  <a:gd name="connsiteX129" fmla="*/ 2711 w 3940"/>
                  <a:gd name="connsiteY129" fmla="*/ 77 h 1039"/>
                  <a:gd name="connsiteX130" fmla="*/ 2761 w 3940"/>
                  <a:gd name="connsiteY130" fmla="*/ 112 h 1039"/>
                  <a:gd name="connsiteX131" fmla="*/ 2806 w 3940"/>
                  <a:gd name="connsiteY131" fmla="*/ 154 h 1039"/>
                  <a:gd name="connsiteX132" fmla="*/ 2852 w 3940"/>
                  <a:gd name="connsiteY132" fmla="*/ 199 h 1039"/>
                  <a:gd name="connsiteX133" fmla="*/ 2893 w 3940"/>
                  <a:gd name="connsiteY133" fmla="*/ 247 h 1039"/>
                  <a:gd name="connsiteX134" fmla="*/ 2932 w 3940"/>
                  <a:gd name="connsiteY134" fmla="*/ 299 h 1039"/>
                  <a:gd name="connsiteX135" fmla="*/ 2969 w 3940"/>
                  <a:gd name="connsiteY135" fmla="*/ 353 h 1039"/>
                  <a:gd name="connsiteX136" fmla="*/ 3004 w 3940"/>
                  <a:gd name="connsiteY136" fmla="*/ 409 h 1039"/>
                  <a:gd name="connsiteX137" fmla="*/ 3039 w 3940"/>
                  <a:gd name="connsiteY137" fmla="*/ 463 h 1039"/>
                  <a:gd name="connsiteX138" fmla="*/ 3073 w 3940"/>
                  <a:gd name="connsiteY138" fmla="*/ 519 h 1039"/>
                  <a:gd name="connsiteX139" fmla="*/ 3186 w 3940"/>
                  <a:gd name="connsiteY139" fmla="*/ 697 h 1039"/>
                  <a:gd name="connsiteX140" fmla="*/ 3306 w 3940"/>
                  <a:gd name="connsiteY140" fmla="*/ 844 h 1039"/>
                  <a:gd name="connsiteX141" fmla="*/ 3444 w 3940"/>
                  <a:gd name="connsiteY141" fmla="*/ 935 h 1039"/>
                  <a:gd name="connsiteX142" fmla="*/ 3554 w 3940"/>
                  <a:gd name="connsiteY142" fmla="*/ 952 h 1039"/>
                  <a:gd name="connsiteX143" fmla="*/ 3659 w 3940"/>
                  <a:gd name="connsiteY143" fmla="*/ 931 h 1039"/>
                  <a:gd name="connsiteX144" fmla="*/ 3789 w 3940"/>
                  <a:gd name="connsiteY144" fmla="*/ 844 h 1039"/>
                  <a:gd name="connsiteX145" fmla="*/ 3826 w 3940"/>
                  <a:gd name="connsiteY145" fmla="*/ 803 h 1039"/>
                  <a:gd name="connsiteX0" fmla="*/ 3826 w 3940"/>
                  <a:gd name="connsiteY0" fmla="*/ 803 h 1039"/>
                  <a:gd name="connsiteX1" fmla="*/ 3940 w 3940"/>
                  <a:gd name="connsiteY1" fmla="*/ 794 h 1039"/>
                  <a:gd name="connsiteX2" fmla="*/ 3779 w 3940"/>
                  <a:gd name="connsiteY2" fmla="*/ 967 h 1039"/>
                  <a:gd name="connsiteX3" fmla="*/ 3620 w 3940"/>
                  <a:gd name="connsiteY3" fmla="*/ 1033 h 1039"/>
                  <a:gd name="connsiteX4" fmla="*/ 3556 w 3940"/>
                  <a:gd name="connsiteY4" fmla="*/ 1039 h 1039"/>
                  <a:gd name="connsiteX5" fmla="*/ 3547 w 3940"/>
                  <a:gd name="connsiteY5" fmla="*/ 1039 h 1039"/>
                  <a:gd name="connsiteX6" fmla="*/ 3147 w 3940"/>
                  <a:gd name="connsiteY6" fmla="*/ 792 h 1039"/>
                  <a:gd name="connsiteX7" fmla="*/ 3108 w 3940"/>
                  <a:gd name="connsiteY7" fmla="*/ 736 h 1039"/>
                  <a:gd name="connsiteX8" fmla="*/ 3070 w 3940"/>
                  <a:gd name="connsiteY8" fmla="*/ 680 h 1039"/>
                  <a:gd name="connsiteX9" fmla="*/ 2965 w 3940"/>
                  <a:gd name="connsiteY9" fmla="*/ 506 h 1039"/>
                  <a:gd name="connsiteX10" fmla="*/ 2928 w 3940"/>
                  <a:gd name="connsiteY10" fmla="*/ 448 h 1039"/>
                  <a:gd name="connsiteX11" fmla="*/ 2891 w 3940"/>
                  <a:gd name="connsiteY11" fmla="*/ 392 h 1039"/>
                  <a:gd name="connsiteX12" fmla="*/ 2854 w 3940"/>
                  <a:gd name="connsiteY12" fmla="*/ 338 h 1039"/>
                  <a:gd name="connsiteX13" fmla="*/ 2814 w 3940"/>
                  <a:gd name="connsiteY13" fmla="*/ 288 h 1039"/>
                  <a:gd name="connsiteX14" fmla="*/ 2773 w 3940"/>
                  <a:gd name="connsiteY14" fmla="*/ 243 h 1039"/>
                  <a:gd name="connsiteX15" fmla="*/ 2732 w 3940"/>
                  <a:gd name="connsiteY15" fmla="*/ 201 h 1039"/>
                  <a:gd name="connsiteX16" fmla="*/ 2686 w 3940"/>
                  <a:gd name="connsiteY16" fmla="*/ 164 h 1039"/>
                  <a:gd name="connsiteX17" fmla="*/ 2639 w 3940"/>
                  <a:gd name="connsiteY17" fmla="*/ 135 h 1039"/>
                  <a:gd name="connsiteX18" fmla="*/ 2587 w 3940"/>
                  <a:gd name="connsiteY18" fmla="*/ 112 h 1039"/>
                  <a:gd name="connsiteX19" fmla="*/ 2532 w 3940"/>
                  <a:gd name="connsiteY19" fmla="*/ 96 h 1039"/>
                  <a:gd name="connsiteX20" fmla="*/ 2474 w 3940"/>
                  <a:gd name="connsiteY20" fmla="*/ 87 h 1039"/>
                  <a:gd name="connsiteX21" fmla="*/ 2410 w 3940"/>
                  <a:gd name="connsiteY21" fmla="*/ 89 h 1039"/>
                  <a:gd name="connsiteX22" fmla="*/ 2342 w 3940"/>
                  <a:gd name="connsiteY22" fmla="*/ 100 h 1039"/>
                  <a:gd name="connsiteX23" fmla="*/ 2280 w 3940"/>
                  <a:gd name="connsiteY23" fmla="*/ 118 h 1039"/>
                  <a:gd name="connsiteX24" fmla="*/ 2222 w 3940"/>
                  <a:gd name="connsiteY24" fmla="*/ 143 h 1039"/>
                  <a:gd name="connsiteX25" fmla="*/ 2168 w 3940"/>
                  <a:gd name="connsiteY25" fmla="*/ 176 h 1039"/>
                  <a:gd name="connsiteX26" fmla="*/ 2117 w 3940"/>
                  <a:gd name="connsiteY26" fmla="*/ 214 h 1039"/>
                  <a:gd name="connsiteX27" fmla="*/ 2071 w 3940"/>
                  <a:gd name="connsiteY27" fmla="*/ 257 h 1039"/>
                  <a:gd name="connsiteX28" fmla="*/ 2026 w 3940"/>
                  <a:gd name="connsiteY28" fmla="*/ 303 h 1039"/>
                  <a:gd name="connsiteX29" fmla="*/ 1984 w 3940"/>
                  <a:gd name="connsiteY29" fmla="*/ 355 h 1039"/>
                  <a:gd name="connsiteX30" fmla="*/ 1945 w 3940"/>
                  <a:gd name="connsiteY30" fmla="*/ 409 h 1039"/>
                  <a:gd name="connsiteX31" fmla="*/ 1908 w 3940"/>
                  <a:gd name="connsiteY31" fmla="*/ 463 h 1039"/>
                  <a:gd name="connsiteX32" fmla="*/ 1871 w 3940"/>
                  <a:gd name="connsiteY32" fmla="*/ 519 h 1039"/>
                  <a:gd name="connsiteX33" fmla="*/ 1834 w 3940"/>
                  <a:gd name="connsiteY33" fmla="*/ 577 h 1039"/>
                  <a:gd name="connsiteX34" fmla="*/ 1799 w 3940"/>
                  <a:gd name="connsiteY34" fmla="*/ 633 h 1039"/>
                  <a:gd name="connsiteX35" fmla="*/ 1724 w 3940"/>
                  <a:gd name="connsiteY35" fmla="*/ 745 h 1039"/>
                  <a:gd name="connsiteX36" fmla="*/ 1685 w 3940"/>
                  <a:gd name="connsiteY36" fmla="*/ 797 h 1039"/>
                  <a:gd name="connsiteX37" fmla="*/ 1644 w 3940"/>
                  <a:gd name="connsiteY37" fmla="*/ 846 h 1039"/>
                  <a:gd name="connsiteX38" fmla="*/ 1600 w 3940"/>
                  <a:gd name="connsiteY38" fmla="*/ 892 h 1039"/>
                  <a:gd name="connsiteX39" fmla="*/ 1553 w 3940"/>
                  <a:gd name="connsiteY39" fmla="*/ 933 h 1039"/>
                  <a:gd name="connsiteX40" fmla="*/ 1503 w 3940"/>
                  <a:gd name="connsiteY40" fmla="*/ 969 h 1039"/>
                  <a:gd name="connsiteX41" fmla="*/ 1450 w 3940"/>
                  <a:gd name="connsiteY41" fmla="*/ 998 h 1039"/>
                  <a:gd name="connsiteX42" fmla="*/ 1394 w 3940"/>
                  <a:gd name="connsiteY42" fmla="*/ 1021 h 1039"/>
                  <a:gd name="connsiteX43" fmla="*/ 1330 w 3940"/>
                  <a:gd name="connsiteY43" fmla="*/ 1033 h 1039"/>
                  <a:gd name="connsiteX44" fmla="*/ 1264 w 3940"/>
                  <a:gd name="connsiteY44" fmla="*/ 1039 h 1039"/>
                  <a:gd name="connsiteX45" fmla="*/ 1258 w 3940"/>
                  <a:gd name="connsiteY45" fmla="*/ 1039 h 1039"/>
                  <a:gd name="connsiteX46" fmla="*/ 1190 w 3940"/>
                  <a:gd name="connsiteY46" fmla="*/ 1035 h 1039"/>
                  <a:gd name="connsiteX47" fmla="*/ 1128 w 3940"/>
                  <a:gd name="connsiteY47" fmla="*/ 1023 h 1039"/>
                  <a:gd name="connsiteX48" fmla="*/ 1070 w 3940"/>
                  <a:gd name="connsiteY48" fmla="*/ 1004 h 1039"/>
                  <a:gd name="connsiteX49" fmla="*/ 1018 w 3940"/>
                  <a:gd name="connsiteY49" fmla="*/ 979 h 1039"/>
                  <a:gd name="connsiteX50" fmla="*/ 971 w 3940"/>
                  <a:gd name="connsiteY50" fmla="*/ 948 h 1039"/>
                  <a:gd name="connsiteX51" fmla="*/ 925 w 3940"/>
                  <a:gd name="connsiteY51" fmla="*/ 911 h 1039"/>
                  <a:gd name="connsiteX52" fmla="*/ 884 w 3940"/>
                  <a:gd name="connsiteY52" fmla="*/ 869 h 1039"/>
                  <a:gd name="connsiteX53" fmla="*/ 847 w 3940"/>
                  <a:gd name="connsiteY53" fmla="*/ 824 h 1039"/>
                  <a:gd name="connsiteX54" fmla="*/ 810 w 3940"/>
                  <a:gd name="connsiteY54" fmla="*/ 776 h 1039"/>
                  <a:gd name="connsiteX55" fmla="*/ 777 w 3940"/>
                  <a:gd name="connsiteY55" fmla="*/ 724 h 1039"/>
                  <a:gd name="connsiteX56" fmla="*/ 742 w 3940"/>
                  <a:gd name="connsiteY56" fmla="*/ 670 h 1039"/>
                  <a:gd name="connsiteX57" fmla="*/ 711 w 3940"/>
                  <a:gd name="connsiteY57" fmla="*/ 614 h 1039"/>
                  <a:gd name="connsiteX58" fmla="*/ 678 w 3940"/>
                  <a:gd name="connsiteY58" fmla="*/ 556 h 1039"/>
                  <a:gd name="connsiteX59" fmla="*/ 616 w 3940"/>
                  <a:gd name="connsiteY59" fmla="*/ 444 h 1039"/>
                  <a:gd name="connsiteX60" fmla="*/ 547 w 3940"/>
                  <a:gd name="connsiteY60" fmla="*/ 336 h 1039"/>
                  <a:gd name="connsiteX61" fmla="*/ 504 w 3940"/>
                  <a:gd name="connsiteY61" fmla="*/ 280 h 1039"/>
                  <a:gd name="connsiteX62" fmla="*/ 457 w 3940"/>
                  <a:gd name="connsiteY62" fmla="*/ 235 h 1039"/>
                  <a:gd name="connsiteX63" fmla="*/ 409 w 3940"/>
                  <a:gd name="connsiteY63" fmla="*/ 195 h 1039"/>
                  <a:gd name="connsiteX64" fmla="*/ 358 w 3940"/>
                  <a:gd name="connsiteY64" fmla="*/ 164 h 1039"/>
                  <a:gd name="connsiteX65" fmla="*/ 308 w 3940"/>
                  <a:gd name="connsiteY65" fmla="*/ 141 h 1039"/>
                  <a:gd name="connsiteX66" fmla="*/ 256 w 3940"/>
                  <a:gd name="connsiteY66" fmla="*/ 123 h 1039"/>
                  <a:gd name="connsiteX67" fmla="*/ 209 w 3940"/>
                  <a:gd name="connsiteY67" fmla="*/ 108 h 1039"/>
                  <a:gd name="connsiteX68" fmla="*/ 163 w 3940"/>
                  <a:gd name="connsiteY68" fmla="*/ 100 h 1039"/>
                  <a:gd name="connsiteX69" fmla="*/ 122 w 3940"/>
                  <a:gd name="connsiteY69" fmla="*/ 96 h 1039"/>
                  <a:gd name="connsiteX70" fmla="*/ 85 w 3940"/>
                  <a:gd name="connsiteY70" fmla="*/ 91 h 1039"/>
                  <a:gd name="connsiteX71" fmla="*/ 31 w 3940"/>
                  <a:gd name="connsiteY71" fmla="*/ 91 h 1039"/>
                  <a:gd name="connsiteX72" fmla="*/ 17 w 3940"/>
                  <a:gd name="connsiteY72" fmla="*/ 94 h 1039"/>
                  <a:gd name="connsiteX73" fmla="*/ 11 w 3940"/>
                  <a:gd name="connsiteY73" fmla="*/ 94 h 1039"/>
                  <a:gd name="connsiteX74" fmla="*/ 0 w 3940"/>
                  <a:gd name="connsiteY74" fmla="*/ 9 h 1039"/>
                  <a:gd name="connsiteX75" fmla="*/ 9 w 3940"/>
                  <a:gd name="connsiteY75" fmla="*/ 9 h 1039"/>
                  <a:gd name="connsiteX76" fmla="*/ 29 w 3940"/>
                  <a:gd name="connsiteY76" fmla="*/ 6 h 1039"/>
                  <a:gd name="connsiteX77" fmla="*/ 91 w 3940"/>
                  <a:gd name="connsiteY77" fmla="*/ 6 h 1039"/>
                  <a:gd name="connsiteX78" fmla="*/ 135 w 3940"/>
                  <a:gd name="connsiteY78" fmla="*/ 9 h 1039"/>
                  <a:gd name="connsiteX79" fmla="*/ 182 w 3940"/>
                  <a:gd name="connsiteY79" fmla="*/ 15 h 1039"/>
                  <a:gd name="connsiteX80" fmla="*/ 234 w 3940"/>
                  <a:gd name="connsiteY80" fmla="*/ 25 h 1039"/>
                  <a:gd name="connsiteX81" fmla="*/ 287 w 3940"/>
                  <a:gd name="connsiteY81" fmla="*/ 42 h 1039"/>
                  <a:gd name="connsiteX82" fmla="*/ 345 w 3940"/>
                  <a:gd name="connsiteY82" fmla="*/ 62 h 1039"/>
                  <a:gd name="connsiteX83" fmla="*/ 403 w 3940"/>
                  <a:gd name="connsiteY83" fmla="*/ 89 h 1039"/>
                  <a:gd name="connsiteX84" fmla="*/ 459 w 3940"/>
                  <a:gd name="connsiteY84" fmla="*/ 127 h 1039"/>
                  <a:gd name="connsiteX85" fmla="*/ 514 w 3940"/>
                  <a:gd name="connsiteY85" fmla="*/ 170 h 1039"/>
                  <a:gd name="connsiteX86" fmla="*/ 568 w 3940"/>
                  <a:gd name="connsiteY86" fmla="*/ 224 h 1039"/>
                  <a:gd name="connsiteX87" fmla="*/ 618 w 3940"/>
                  <a:gd name="connsiteY87" fmla="*/ 288 h 1039"/>
                  <a:gd name="connsiteX88" fmla="*/ 667 w 3940"/>
                  <a:gd name="connsiteY88" fmla="*/ 363 h 1039"/>
                  <a:gd name="connsiteX89" fmla="*/ 754 w 3940"/>
                  <a:gd name="connsiteY89" fmla="*/ 512 h 1039"/>
                  <a:gd name="connsiteX90" fmla="*/ 787 w 3940"/>
                  <a:gd name="connsiteY90" fmla="*/ 571 h 1039"/>
                  <a:gd name="connsiteX91" fmla="*/ 820 w 3940"/>
                  <a:gd name="connsiteY91" fmla="*/ 627 h 1039"/>
                  <a:gd name="connsiteX92" fmla="*/ 853 w 3940"/>
                  <a:gd name="connsiteY92" fmla="*/ 680 h 1039"/>
                  <a:gd name="connsiteX93" fmla="*/ 886 w 3940"/>
                  <a:gd name="connsiteY93" fmla="*/ 732 h 1039"/>
                  <a:gd name="connsiteX94" fmla="*/ 921 w 3940"/>
                  <a:gd name="connsiteY94" fmla="*/ 778 h 1039"/>
                  <a:gd name="connsiteX95" fmla="*/ 958 w 3940"/>
                  <a:gd name="connsiteY95" fmla="*/ 821 h 1039"/>
                  <a:gd name="connsiteX96" fmla="*/ 1000 w 3940"/>
                  <a:gd name="connsiteY96" fmla="*/ 859 h 1039"/>
                  <a:gd name="connsiteX97" fmla="*/ 1043 w 3940"/>
                  <a:gd name="connsiteY97" fmla="*/ 890 h 1039"/>
                  <a:gd name="connsiteX98" fmla="*/ 1090 w 3940"/>
                  <a:gd name="connsiteY98" fmla="*/ 917 h 1039"/>
                  <a:gd name="connsiteX99" fmla="*/ 1140 w 3940"/>
                  <a:gd name="connsiteY99" fmla="*/ 935 h 1039"/>
                  <a:gd name="connsiteX100" fmla="*/ 1196 w 3940"/>
                  <a:gd name="connsiteY100" fmla="*/ 948 h 1039"/>
                  <a:gd name="connsiteX101" fmla="*/ 1258 w 3940"/>
                  <a:gd name="connsiteY101" fmla="*/ 952 h 1039"/>
                  <a:gd name="connsiteX102" fmla="*/ 1264 w 3940"/>
                  <a:gd name="connsiteY102" fmla="*/ 952 h 1039"/>
                  <a:gd name="connsiteX103" fmla="*/ 1324 w 3940"/>
                  <a:gd name="connsiteY103" fmla="*/ 946 h 1039"/>
                  <a:gd name="connsiteX104" fmla="*/ 1380 w 3940"/>
                  <a:gd name="connsiteY104" fmla="*/ 931 h 1039"/>
                  <a:gd name="connsiteX105" fmla="*/ 1433 w 3940"/>
                  <a:gd name="connsiteY105" fmla="*/ 909 h 1039"/>
                  <a:gd name="connsiteX106" fmla="*/ 1481 w 3940"/>
                  <a:gd name="connsiteY106" fmla="*/ 880 h 1039"/>
                  <a:gd name="connsiteX107" fmla="*/ 1526 w 3940"/>
                  <a:gd name="connsiteY107" fmla="*/ 842 h 1039"/>
                  <a:gd name="connsiteX108" fmla="*/ 1569 w 3940"/>
                  <a:gd name="connsiteY108" fmla="*/ 799 h 1039"/>
                  <a:gd name="connsiteX109" fmla="*/ 1609 w 3940"/>
                  <a:gd name="connsiteY109" fmla="*/ 751 h 1039"/>
                  <a:gd name="connsiteX110" fmla="*/ 1648 w 3940"/>
                  <a:gd name="connsiteY110" fmla="*/ 699 h 1039"/>
                  <a:gd name="connsiteX111" fmla="*/ 1687 w 3940"/>
                  <a:gd name="connsiteY111" fmla="*/ 645 h 1039"/>
                  <a:gd name="connsiteX112" fmla="*/ 1799 w 3940"/>
                  <a:gd name="connsiteY112" fmla="*/ 471 h 1039"/>
                  <a:gd name="connsiteX113" fmla="*/ 1838 w 3940"/>
                  <a:gd name="connsiteY113" fmla="*/ 411 h 1039"/>
                  <a:gd name="connsiteX114" fmla="*/ 1879 w 3940"/>
                  <a:gd name="connsiteY114" fmla="*/ 353 h 1039"/>
                  <a:gd name="connsiteX115" fmla="*/ 1923 w 3940"/>
                  <a:gd name="connsiteY115" fmla="*/ 295 h 1039"/>
                  <a:gd name="connsiteX116" fmla="*/ 1968 w 3940"/>
                  <a:gd name="connsiteY116" fmla="*/ 241 h 1039"/>
                  <a:gd name="connsiteX117" fmla="*/ 2015 w 3940"/>
                  <a:gd name="connsiteY117" fmla="*/ 189 h 1039"/>
                  <a:gd name="connsiteX118" fmla="*/ 2069 w 3940"/>
                  <a:gd name="connsiteY118" fmla="*/ 141 h 1039"/>
                  <a:gd name="connsiteX119" fmla="*/ 2125 w 3940"/>
                  <a:gd name="connsiteY119" fmla="*/ 100 h 1039"/>
                  <a:gd name="connsiteX120" fmla="*/ 2187 w 3940"/>
                  <a:gd name="connsiteY120" fmla="*/ 65 h 1039"/>
                  <a:gd name="connsiteX121" fmla="*/ 2253 w 3940"/>
                  <a:gd name="connsiteY121" fmla="*/ 35 h 1039"/>
                  <a:gd name="connsiteX122" fmla="*/ 2325 w 3940"/>
                  <a:gd name="connsiteY122" fmla="*/ 15 h 1039"/>
                  <a:gd name="connsiteX123" fmla="*/ 2404 w 3940"/>
                  <a:gd name="connsiteY123" fmla="*/ 2 h 1039"/>
                  <a:gd name="connsiteX124" fmla="*/ 2474 w 3940"/>
                  <a:gd name="connsiteY124" fmla="*/ 0 h 1039"/>
                  <a:gd name="connsiteX125" fmla="*/ 2540 w 3940"/>
                  <a:gd name="connsiteY125" fmla="*/ 9 h 1039"/>
                  <a:gd name="connsiteX126" fmla="*/ 2600 w 3940"/>
                  <a:gd name="connsiteY126" fmla="*/ 23 h 1039"/>
                  <a:gd name="connsiteX127" fmla="*/ 2658 w 3940"/>
                  <a:gd name="connsiteY127" fmla="*/ 46 h 1039"/>
                  <a:gd name="connsiteX128" fmla="*/ 2711 w 3940"/>
                  <a:gd name="connsiteY128" fmla="*/ 77 h 1039"/>
                  <a:gd name="connsiteX129" fmla="*/ 2761 w 3940"/>
                  <a:gd name="connsiteY129" fmla="*/ 112 h 1039"/>
                  <a:gd name="connsiteX130" fmla="*/ 2806 w 3940"/>
                  <a:gd name="connsiteY130" fmla="*/ 154 h 1039"/>
                  <a:gd name="connsiteX131" fmla="*/ 2852 w 3940"/>
                  <a:gd name="connsiteY131" fmla="*/ 199 h 1039"/>
                  <a:gd name="connsiteX132" fmla="*/ 2893 w 3940"/>
                  <a:gd name="connsiteY132" fmla="*/ 247 h 1039"/>
                  <a:gd name="connsiteX133" fmla="*/ 2932 w 3940"/>
                  <a:gd name="connsiteY133" fmla="*/ 299 h 1039"/>
                  <a:gd name="connsiteX134" fmla="*/ 2969 w 3940"/>
                  <a:gd name="connsiteY134" fmla="*/ 353 h 1039"/>
                  <a:gd name="connsiteX135" fmla="*/ 3004 w 3940"/>
                  <a:gd name="connsiteY135" fmla="*/ 409 h 1039"/>
                  <a:gd name="connsiteX136" fmla="*/ 3039 w 3940"/>
                  <a:gd name="connsiteY136" fmla="*/ 463 h 1039"/>
                  <a:gd name="connsiteX137" fmla="*/ 3073 w 3940"/>
                  <a:gd name="connsiteY137" fmla="*/ 519 h 1039"/>
                  <a:gd name="connsiteX138" fmla="*/ 3186 w 3940"/>
                  <a:gd name="connsiteY138" fmla="*/ 697 h 1039"/>
                  <a:gd name="connsiteX139" fmla="*/ 3306 w 3940"/>
                  <a:gd name="connsiteY139" fmla="*/ 844 h 1039"/>
                  <a:gd name="connsiteX140" fmla="*/ 3444 w 3940"/>
                  <a:gd name="connsiteY140" fmla="*/ 935 h 1039"/>
                  <a:gd name="connsiteX141" fmla="*/ 3554 w 3940"/>
                  <a:gd name="connsiteY141" fmla="*/ 952 h 1039"/>
                  <a:gd name="connsiteX142" fmla="*/ 3659 w 3940"/>
                  <a:gd name="connsiteY142" fmla="*/ 931 h 1039"/>
                  <a:gd name="connsiteX143" fmla="*/ 3789 w 3940"/>
                  <a:gd name="connsiteY143" fmla="*/ 844 h 1039"/>
                  <a:gd name="connsiteX144" fmla="*/ 3826 w 3940"/>
                  <a:gd name="connsiteY144" fmla="*/ 803 h 1039"/>
                  <a:gd name="connsiteX0" fmla="*/ 3826 w 3940"/>
                  <a:gd name="connsiteY0" fmla="*/ 803 h 1039"/>
                  <a:gd name="connsiteX1" fmla="*/ 3940 w 3940"/>
                  <a:gd name="connsiteY1" fmla="*/ 794 h 1039"/>
                  <a:gd name="connsiteX2" fmla="*/ 3779 w 3940"/>
                  <a:gd name="connsiteY2" fmla="*/ 967 h 1039"/>
                  <a:gd name="connsiteX3" fmla="*/ 3620 w 3940"/>
                  <a:gd name="connsiteY3" fmla="*/ 1033 h 1039"/>
                  <a:gd name="connsiteX4" fmla="*/ 3556 w 3940"/>
                  <a:gd name="connsiteY4" fmla="*/ 1039 h 1039"/>
                  <a:gd name="connsiteX5" fmla="*/ 3547 w 3940"/>
                  <a:gd name="connsiteY5" fmla="*/ 1039 h 1039"/>
                  <a:gd name="connsiteX6" fmla="*/ 3147 w 3940"/>
                  <a:gd name="connsiteY6" fmla="*/ 792 h 1039"/>
                  <a:gd name="connsiteX7" fmla="*/ 3108 w 3940"/>
                  <a:gd name="connsiteY7" fmla="*/ 736 h 1039"/>
                  <a:gd name="connsiteX8" fmla="*/ 3070 w 3940"/>
                  <a:gd name="connsiteY8" fmla="*/ 680 h 1039"/>
                  <a:gd name="connsiteX9" fmla="*/ 2965 w 3940"/>
                  <a:gd name="connsiteY9" fmla="*/ 506 h 1039"/>
                  <a:gd name="connsiteX10" fmla="*/ 2928 w 3940"/>
                  <a:gd name="connsiteY10" fmla="*/ 448 h 1039"/>
                  <a:gd name="connsiteX11" fmla="*/ 2891 w 3940"/>
                  <a:gd name="connsiteY11" fmla="*/ 392 h 1039"/>
                  <a:gd name="connsiteX12" fmla="*/ 2854 w 3940"/>
                  <a:gd name="connsiteY12" fmla="*/ 338 h 1039"/>
                  <a:gd name="connsiteX13" fmla="*/ 2814 w 3940"/>
                  <a:gd name="connsiteY13" fmla="*/ 288 h 1039"/>
                  <a:gd name="connsiteX14" fmla="*/ 2773 w 3940"/>
                  <a:gd name="connsiteY14" fmla="*/ 243 h 1039"/>
                  <a:gd name="connsiteX15" fmla="*/ 2732 w 3940"/>
                  <a:gd name="connsiteY15" fmla="*/ 201 h 1039"/>
                  <a:gd name="connsiteX16" fmla="*/ 2686 w 3940"/>
                  <a:gd name="connsiteY16" fmla="*/ 164 h 1039"/>
                  <a:gd name="connsiteX17" fmla="*/ 2639 w 3940"/>
                  <a:gd name="connsiteY17" fmla="*/ 135 h 1039"/>
                  <a:gd name="connsiteX18" fmla="*/ 2587 w 3940"/>
                  <a:gd name="connsiteY18" fmla="*/ 112 h 1039"/>
                  <a:gd name="connsiteX19" fmla="*/ 2532 w 3940"/>
                  <a:gd name="connsiteY19" fmla="*/ 96 h 1039"/>
                  <a:gd name="connsiteX20" fmla="*/ 2474 w 3940"/>
                  <a:gd name="connsiteY20" fmla="*/ 87 h 1039"/>
                  <a:gd name="connsiteX21" fmla="*/ 2410 w 3940"/>
                  <a:gd name="connsiteY21" fmla="*/ 89 h 1039"/>
                  <a:gd name="connsiteX22" fmla="*/ 2342 w 3940"/>
                  <a:gd name="connsiteY22" fmla="*/ 100 h 1039"/>
                  <a:gd name="connsiteX23" fmla="*/ 2280 w 3940"/>
                  <a:gd name="connsiteY23" fmla="*/ 118 h 1039"/>
                  <a:gd name="connsiteX24" fmla="*/ 2222 w 3940"/>
                  <a:gd name="connsiteY24" fmla="*/ 143 h 1039"/>
                  <a:gd name="connsiteX25" fmla="*/ 2168 w 3940"/>
                  <a:gd name="connsiteY25" fmla="*/ 176 h 1039"/>
                  <a:gd name="connsiteX26" fmla="*/ 2117 w 3940"/>
                  <a:gd name="connsiteY26" fmla="*/ 214 h 1039"/>
                  <a:gd name="connsiteX27" fmla="*/ 2071 w 3940"/>
                  <a:gd name="connsiteY27" fmla="*/ 257 h 1039"/>
                  <a:gd name="connsiteX28" fmla="*/ 2026 w 3940"/>
                  <a:gd name="connsiteY28" fmla="*/ 303 h 1039"/>
                  <a:gd name="connsiteX29" fmla="*/ 1984 w 3940"/>
                  <a:gd name="connsiteY29" fmla="*/ 355 h 1039"/>
                  <a:gd name="connsiteX30" fmla="*/ 1945 w 3940"/>
                  <a:gd name="connsiteY30" fmla="*/ 409 h 1039"/>
                  <a:gd name="connsiteX31" fmla="*/ 1908 w 3940"/>
                  <a:gd name="connsiteY31" fmla="*/ 463 h 1039"/>
                  <a:gd name="connsiteX32" fmla="*/ 1871 w 3940"/>
                  <a:gd name="connsiteY32" fmla="*/ 519 h 1039"/>
                  <a:gd name="connsiteX33" fmla="*/ 1834 w 3940"/>
                  <a:gd name="connsiteY33" fmla="*/ 577 h 1039"/>
                  <a:gd name="connsiteX34" fmla="*/ 1799 w 3940"/>
                  <a:gd name="connsiteY34" fmla="*/ 633 h 1039"/>
                  <a:gd name="connsiteX35" fmla="*/ 1724 w 3940"/>
                  <a:gd name="connsiteY35" fmla="*/ 745 h 1039"/>
                  <a:gd name="connsiteX36" fmla="*/ 1685 w 3940"/>
                  <a:gd name="connsiteY36" fmla="*/ 797 h 1039"/>
                  <a:gd name="connsiteX37" fmla="*/ 1644 w 3940"/>
                  <a:gd name="connsiteY37" fmla="*/ 846 h 1039"/>
                  <a:gd name="connsiteX38" fmla="*/ 1600 w 3940"/>
                  <a:gd name="connsiteY38" fmla="*/ 892 h 1039"/>
                  <a:gd name="connsiteX39" fmla="*/ 1553 w 3940"/>
                  <a:gd name="connsiteY39" fmla="*/ 933 h 1039"/>
                  <a:gd name="connsiteX40" fmla="*/ 1503 w 3940"/>
                  <a:gd name="connsiteY40" fmla="*/ 969 h 1039"/>
                  <a:gd name="connsiteX41" fmla="*/ 1450 w 3940"/>
                  <a:gd name="connsiteY41" fmla="*/ 998 h 1039"/>
                  <a:gd name="connsiteX42" fmla="*/ 1394 w 3940"/>
                  <a:gd name="connsiteY42" fmla="*/ 1021 h 1039"/>
                  <a:gd name="connsiteX43" fmla="*/ 1330 w 3940"/>
                  <a:gd name="connsiteY43" fmla="*/ 1033 h 1039"/>
                  <a:gd name="connsiteX44" fmla="*/ 1264 w 3940"/>
                  <a:gd name="connsiteY44" fmla="*/ 1039 h 1039"/>
                  <a:gd name="connsiteX45" fmla="*/ 1258 w 3940"/>
                  <a:gd name="connsiteY45" fmla="*/ 1039 h 1039"/>
                  <a:gd name="connsiteX46" fmla="*/ 1190 w 3940"/>
                  <a:gd name="connsiteY46" fmla="*/ 1035 h 1039"/>
                  <a:gd name="connsiteX47" fmla="*/ 1128 w 3940"/>
                  <a:gd name="connsiteY47" fmla="*/ 1023 h 1039"/>
                  <a:gd name="connsiteX48" fmla="*/ 1070 w 3940"/>
                  <a:gd name="connsiteY48" fmla="*/ 1004 h 1039"/>
                  <a:gd name="connsiteX49" fmla="*/ 1018 w 3940"/>
                  <a:gd name="connsiteY49" fmla="*/ 979 h 1039"/>
                  <a:gd name="connsiteX50" fmla="*/ 971 w 3940"/>
                  <a:gd name="connsiteY50" fmla="*/ 948 h 1039"/>
                  <a:gd name="connsiteX51" fmla="*/ 925 w 3940"/>
                  <a:gd name="connsiteY51" fmla="*/ 911 h 1039"/>
                  <a:gd name="connsiteX52" fmla="*/ 884 w 3940"/>
                  <a:gd name="connsiteY52" fmla="*/ 869 h 1039"/>
                  <a:gd name="connsiteX53" fmla="*/ 847 w 3940"/>
                  <a:gd name="connsiteY53" fmla="*/ 824 h 1039"/>
                  <a:gd name="connsiteX54" fmla="*/ 810 w 3940"/>
                  <a:gd name="connsiteY54" fmla="*/ 776 h 1039"/>
                  <a:gd name="connsiteX55" fmla="*/ 777 w 3940"/>
                  <a:gd name="connsiteY55" fmla="*/ 724 h 1039"/>
                  <a:gd name="connsiteX56" fmla="*/ 742 w 3940"/>
                  <a:gd name="connsiteY56" fmla="*/ 670 h 1039"/>
                  <a:gd name="connsiteX57" fmla="*/ 711 w 3940"/>
                  <a:gd name="connsiteY57" fmla="*/ 614 h 1039"/>
                  <a:gd name="connsiteX58" fmla="*/ 678 w 3940"/>
                  <a:gd name="connsiteY58" fmla="*/ 556 h 1039"/>
                  <a:gd name="connsiteX59" fmla="*/ 616 w 3940"/>
                  <a:gd name="connsiteY59" fmla="*/ 444 h 1039"/>
                  <a:gd name="connsiteX60" fmla="*/ 547 w 3940"/>
                  <a:gd name="connsiteY60" fmla="*/ 336 h 1039"/>
                  <a:gd name="connsiteX61" fmla="*/ 504 w 3940"/>
                  <a:gd name="connsiteY61" fmla="*/ 280 h 1039"/>
                  <a:gd name="connsiteX62" fmla="*/ 457 w 3940"/>
                  <a:gd name="connsiteY62" fmla="*/ 235 h 1039"/>
                  <a:gd name="connsiteX63" fmla="*/ 409 w 3940"/>
                  <a:gd name="connsiteY63" fmla="*/ 195 h 1039"/>
                  <a:gd name="connsiteX64" fmla="*/ 358 w 3940"/>
                  <a:gd name="connsiteY64" fmla="*/ 164 h 1039"/>
                  <a:gd name="connsiteX65" fmla="*/ 308 w 3940"/>
                  <a:gd name="connsiteY65" fmla="*/ 141 h 1039"/>
                  <a:gd name="connsiteX66" fmla="*/ 256 w 3940"/>
                  <a:gd name="connsiteY66" fmla="*/ 123 h 1039"/>
                  <a:gd name="connsiteX67" fmla="*/ 209 w 3940"/>
                  <a:gd name="connsiteY67" fmla="*/ 108 h 1039"/>
                  <a:gd name="connsiteX68" fmla="*/ 163 w 3940"/>
                  <a:gd name="connsiteY68" fmla="*/ 100 h 1039"/>
                  <a:gd name="connsiteX69" fmla="*/ 122 w 3940"/>
                  <a:gd name="connsiteY69" fmla="*/ 96 h 1039"/>
                  <a:gd name="connsiteX70" fmla="*/ 85 w 3940"/>
                  <a:gd name="connsiteY70" fmla="*/ 91 h 1039"/>
                  <a:gd name="connsiteX71" fmla="*/ 31 w 3940"/>
                  <a:gd name="connsiteY71" fmla="*/ 91 h 1039"/>
                  <a:gd name="connsiteX72" fmla="*/ 17 w 3940"/>
                  <a:gd name="connsiteY72" fmla="*/ 94 h 1039"/>
                  <a:gd name="connsiteX73" fmla="*/ 11 w 3940"/>
                  <a:gd name="connsiteY73" fmla="*/ 94 h 1039"/>
                  <a:gd name="connsiteX74" fmla="*/ 0 w 3940"/>
                  <a:gd name="connsiteY74" fmla="*/ 9 h 1039"/>
                  <a:gd name="connsiteX75" fmla="*/ 9 w 3940"/>
                  <a:gd name="connsiteY75" fmla="*/ 9 h 1039"/>
                  <a:gd name="connsiteX76" fmla="*/ 29 w 3940"/>
                  <a:gd name="connsiteY76" fmla="*/ 6 h 1039"/>
                  <a:gd name="connsiteX77" fmla="*/ 91 w 3940"/>
                  <a:gd name="connsiteY77" fmla="*/ 6 h 1039"/>
                  <a:gd name="connsiteX78" fmla="*/ 135 w 3940"/>
                  <a:gd name="connsiteY78" fmla="*/ 9 h 1039"/>
                  <a:gd name="connsiteX79" fmla="*/ 182 w 3940"/>
                  <a:gd name="connsiteY79" fmla="*/ 15 h 1039"/>
                  <a:gd name="connsiteX80" fmla="*/ 234 w 3940"/>
                  <a:gd name="connsiteY80" fmla="*/ 25 h 1039"/>
                  <a:gd name="connsiteX81" fmla="*/ 287 w 3940"/>
                  <a:gd name="connsiteY81" fmla="*/ 42 h 1039"/>
                  <a:gd name="connsiteX82" fmla="*/ 345 w 3940"/>
                  <a:gd name="connsiteY82" fmla="*/ 62 h 1039"/>
                  <a:gd name="connsiteX83" fmla="*/ 403 w 3940"/>
                  <a:gd name="connsiteY83" fmla="*/ 89 h 1039"/>
                  <a:gd name="connsiteX84" fmla="*/ 459 w 3940"/>
                  <a:gd name="connsiteY84" fmla="*/ 127 h 1039"/>
                  <a:gd name="connsiteX85" fmla="*/ 514 w 3940"/>
                  <a:gd name="connsiteY85" fmla="*/ 170 h 1039"/>
                  <a:gd name="connsiteX86" fmla="*/ 568 w 3940"/>
                  <a:gd name="connsiteY86" fmla="*/ 224 h 1039"/>
                  <a:gd name="connsiteX87" fmla="*/ 618 w 3940"/>
                  <a:gd name="connsiteY87" fmla="*/ 288 h 1039"/>
                  <a:gd name="connsiteX88" fmla="*/ 667 w 3940"/>
                  <a:gd name="connsiteY88" fmla="*/ 363 h 1039"/>
                  <a:gd name="connsiteX89" fmla="*/ 754 w 3940"/>
                  <a:gd name="connsiteY89" fmla="*/ 512 h 1039"/>
                  <a:gd name="connsiteX90" fmla="*/ 787 w 3940"/>
                  <a:gd name="connsiteY90" fmla="*/ 571 h 1039"/>
                  <a:gd name="connsiteX91" fmla="*/ 820 w 3940"/>
                  <a:gd name="connsiteY91" fmla="*/ 627 h 1039"/>
                  <a:gd name="connsiteX92" fmla="*/ 853 w 3940"/>
                  <a:gd name="connsiteY92" fmla="*/ 680 h 1039"/>
                  <a:gd name="connsiteX93" fmla="*/ 886 w 3940"/>
                  <a:gd name="connsiteY93" fmla="*/ 732 h 1039"/>
                  <a:gd name="connsiteX94" fmla="*/ 921 w 3940"/>
                  <a:gd name="connsiteY94" fmla="*/ 778 h 1039"/>
                  <a:gd name="connsiteX95" fmla="*/ 958 w 3940"/>
                  <a:gd name="connsiteY95" fmla="*/ 821 h 1039"/>
                  <a:gd name="connsiteX96" fmla="*/ 1000 w 3940"/>
                  <a:gd name="connsiteY96" fmla="*/ 859 h 1039"/>
                  <a:gd name="connsiteX97" fmla="*/ 1043 w 3940"/>
                  <a:gd name="connsiteY97" fmla="*/ 890 h 1039"/>
                  <a:gd name="connsiteX98" fmla="*/ 1090 w 3940"/>
                  <a:gd name="connsiteY98" fmla="*/ 917 h 1039"/>
                  <a:gd name="connsiteX99" fmla="*/ 1140 w 3940"/>
                  <a:gd name="connsiteY99" fmla="*/ 935 h 1039"/>
                  <a:gd name="connsiteX100" fmla="*/ 1196 w 3940"/>
                  <a:gd name="connsiteY100" fmla="*/ 948 h 1039"/>
                  <a:gd name="connsiteX101" fmla="*/ 1258 w 3940"/>
                  <a:gd name="connsiteY101" fmla="*/ 952 h 1039"/>
                  <a:gd name="connsiteX102" fmla="*/ 1264 w 3940"/>
                  <a:gd name="connsiteY102" fmla="*/ 952 h 1039"/>
                  <a:gd name="connsiteX103" fmla="*/ 1324 w 3940"/>
                  <a:gd name="connsiteY103" fmla="*/ 946 h 1039"/>
                  <a:gd name="connsiteX104" fmla="*/ 1380 w 3940"/>
                  <a:gd name="connsiteY104" fmla="*/ 931 h 1039"/>
                  <a:gd name="connsiteX105" fmla="*/ 1433 w 3940"/>
                  <a:gd name="connsiteY105" fmla="*/ 909 h 1039"/>
                  <a:gd name="connsiteX106" fmla="*/ 1481 w 3940"/>
                  <a:gd name="connsiteY106" fmla="*/ 880 h 1039"/>
                  <a:gd name="connsiteX107" fmla="*/ 1526 w 3940"/>
                  <a:gd name="connsiteY107" fmla="*/ 842 h 1039"/>
                  <a:gd name="connsiteX108" fmla="*/ 1569 w 3940"/>
                  <a:gd name="connsiteY108" fmla="*/ 799 h 1039"/>
                  <a:gd name="connsiteX109" fmla="*/ 1609 w 3940"/>
                  <a:gd name="connsiteY109" fmla="*/ 751 h 1039"/>
                  <a:gd name="connsiteX110" fmla="*/ 1648 w 3940"/>
                  <a:gd name="connsiteY110" fmla="*/ 699 h 1039"/>
                  <a:gd name="connsiteX111" fmla="*/ 1687 w 3940"/>
                  <a:gd name="connsiteY111" fmla="*/ 645 h 1039"/>
                  <a:gd name="connsiteX112" fmla="*/ 1799 w 3940"/>
                  <a:gd name="connsiteY112" fmla="*/ 471 h 1039"/>
                  <a:gd name="connsiteX113" fmla="*/ 1838 w 3940"/>
                  <a:gd name="connsiteY113" fmla="*/ 411 h 1039"/>
                  <a:gd name="connsiteX114" fmla="*/ 1879 w 3940"/>
                  <a:gd name="connsiteY114" fmla="*/ 353 h 1039"/>
                  <a:gd name="connsiteX115" fmla="*/ 1923 w 3940"/>
                  <a:gd name="connsiteY115" fmla="*/ 295 h 1039"/>
                  <a:gd name="connsiteX116" fmla="*/ 1968 w 3940"/>
                  <a:gd name="connsiteY116" fmla="*/ 241 h 1039"/>
                  <a:gd name="connsiteX117" fmla="*/ 2015 w 3940"/>
                  <a:gd name="connsiteY117" fmla="*/ 189 h 1039"/>
                  <a:gd name="connsiteX118" fmla="*/ 2069 w 3940"/>
                  <a:gd name="connsiteY118" fmla="*/ 141 h 1039"/>
                  <a:gd name="connsiteX119" fmla="*/ 2125 w 3940"/>
                  <a:gd name="connsiteY119" fmla="*/ 100 h 1039"/>
                  <a:gd name="connsiteX120" fmla="*/ 2187 w 3940"/>
                  <a:gd name="connsiteY120" fmla="*/ 65 h 1039"/>
                  <a:gd name="connsiteX121" fmla="*/ 2253 w 3940"/>
                  <a:gd name="connsiteY121" fmla="*/ 35 h 1039"/>
                  <a:gd name="connsiteX122" fmla="*/ 2325 w 3940"/>
                  <a:gd name="connsiteY122" fmla="*/ 15 h 1039"/>
                  <a:gd name="connsiteX123" fmla="*/ 2404 w 3940"/>
                  <a:gd name="connsiteY123" fmla="*/ 2 h 1039"/>
                  <a:gd name="connsiteX124" fmla="*/ 2474 w 3940"/>
                  <a:gd name="connsiteY124" fmla="*/ 0 h 1039"/>
                  <a:gd name="connsiteX125" fmla="*/ 2540 w 3940"/>
                  <a:gd name="connsiteY125" fmla="*/ 9 h 1039"/>
                  <a:gd name="connsiteX126" fmla="*/ 2600 w 3940"/>
                  <a:gd name="connsiteY126" fmla="*/ 23 h 1039"/>
                  <a:gd name="connsiteX127" fmla="*/ 2658 w 3940"/>
                  <a:gd name="connsiteY127" fmla="*/ 46 h 1039"/>
                  <a:gd name="connsiteX128" fmla="*/ 2711 w 3940"/>
                  <a:gd name="connsiteY128" fmla="*/ 77 h 1039"/>
                  <a:gd name="connsiteX129" fmla="*/ 2761 w 3940"/>
                  <a:gd name="connsiteY129" fmla="*/ 112 h 1039"/>
                  <a:gd name="connsiteX130" fmla="*/ 2806 w 3940"/>
                  <a:gd name="connsiteY130" fmla="*/ 154 h 1039"/>
                  <a:gd name="connsiteX131" fmla="*/ 2852 w 3940"/>
                  <a:gd name="connsiteY131" fmla="*/ 199 h 1039"/>
                  <a:gd name="connsiteX132" fmla="*/ 2893 w 3940"/>
                  <a:gd name="connsiteY132" fmla="*/ 247 h 1039"/>
                  <a:gd name="connsiteX133" fmla="*/ 2932 w 3940"/>
                  <a:gd name="connsiteY133" fmla="*/ 299 h 1039"/>
                  <a:gd name="connsiteX134" fmla="*/ 2969 w 3940"/>
                  <a:gd name="connsiteY134" fmla="*/ 353 h 1039"/>
                  <a:gd name="connsiteX135" fmla="*/ 3004 w 3940"/>
                  <a:gd name="connsiteY135" fmla="*/ 409 h 1039"/>
                  <a:gd name="connsiteX136" fmla="*/ 3039 w 3940"/>
                  <a:gd name="connsiteY136" fmla="*/ 463 h 1039"/>
                  <a:gd name="connsiteX137" fmla="*/ 3073 w 3940"/>
                  <a:gd name="connsiteY137" fmla="*/ 519 h 1039"/>
                  <a:gd name="connsiteX138" fmla="*/ 3186 w 3940"/>
                  <a:gd name="connsiteY138" fmla="*/ 697 h 1039"/>
                  <a:gd name="connsiteX139" fmla="*/ 3444 w 3940"/>
                  <a:gd name="connsiteY139" fmla="*/ 935 h 1039"/>
                  <a:gd name="connsiteX140" fmla="*/ 3554 w 3940"/>
                  <a:gd name="connsiteY140" fmla="*/ 952 h 1039"/>
                  <a:gd name="connsiteX141" fmla="*/ 3659 w 3940"/>
                  <a:gd name="connsiteY141" fmla="*/ 931 h 1039"/>
                  <a:gd name="connsiteX142" fmla="*/ 3789 w 3940"/>
                  <a:gd name="connsiteY142" fmla="*/ 844 h 1039"/>
                  <a:gd name="connsiteX143" fmla="*/ 3826 w 3940"/>
                  <a:gd name="connsiteY143" fmla="*/ 803 h 1039"/>
                  <a:gd name="connsiteX0" fmla="*/ 3826 w 3940"/>
                  <a:gd name="connsiteY0" fmla="*/ 803 h 1039"/>
                  <a:gd name="connsiteX1" fmla="*/ 3940 w 3940"/>
                  <a:gd name="connsiteY1" fmla="*/ 794 h 1039"/>
                  <a:gd name="connsiteX2" fmla="*/ 3779 w 3940"/>
                  <a:gd name="connsiteY2" fmla="*/ 967 h 1039"/>
                  <a:gd name="connsiteX3" fmla="*/ 3620 w 3940"/>
                  <a:gd name="connsiteY3" fmla="*/ 1033 h 1039"/>
                  <a:gd name="connsiteX4" fmla="*/ 3556 w 3940"/>
                  <a:gd name="connsiteY4" fmla="*/ 1039 h 1039"/>
                  <a:gd name="connsiteX5" fmla="*/ 3547 w 3940"/>
                  <a:gd name="connsiteY5" fmla="*/ 1039 h 1039"/>
                  <a:gd name="connsiteX6" fmla="*/ 3147 w 3940"/>
                  <a:gd name="connsiteY6" fmla="*/ 792 h 1039"/>
                  <a:gd name="connsiteX7" fmla="*/ 3108 w 3940"/>
                  <a:gd name="connsiteY7" fmla="*/ 736 h 1039"/>
                  <a:gd name="connsiteX8" fmla="*/ 3070 w 3940"/>
                  <a:gd name="connsiteY8" fmla="*/ 680 h 1039"/>
                  <a:gd name="connsiteX9" fmla="*/ 2965 w 3940"/>
                  <a:gd name="connsiteY9" fmla="*/ 506 h 1039"/>
                  <a:gd name="connsiteX10" fmla="*/ 2928 w 3940"/>
                  <a:gd name="connsiteY10" fmla="*/ 448 h 1039"/>
                  <a:gd name="connsiteX11" fmla="*/ 2891 w 3940"/>
                  <a:gd name="connsiteY11" fmla="*/ 392 h 1039"/>
                  <a:gd name="connsiteX12" fmla="*/ 2854 w 3940"/>
                  <a:gd name="connsiteY12" fmla="*/ 338 h 1039"/>
                  <a:gd name="connsiteX13" fmla="*/ 2814 w 3940"/>
                  <a:gd name="connsiteY13" fmla="*/ 288 h 1039"/>
                  <a:gd name="connsiteX14" fmla="*/ 2773 w 3940"/>
                  <a:gd name="connsiteY14" fmla="*/ 243 h 1039"/>
                  <a:gd name="connsiteX15" fmla="*/ 2732 w 3940"/>
                  <a:gd name="connsiteY15" fmla="*/ 201 h 1039"/>
                  <a:gd name="connsiteX16" fmla="*/ 2686 w 3940"/>
                  <a:gd name="connsiteY16" fmla="*/ 164 h 1039"/>
                  <a:gd name="connsiteX17" fmla="*/ 2639 w 3940"/>
                  <a:gd name="connsiteY17" fmla="*/ 135 h 1039"/>
                  <a:gd name="connsiteX18" fmla="*/ 2587 w 3940"/>
                  <a:gd name="connsiteY18" fmla="*/ 112 h 1039"/>
                  <a:gd name="connsiteX19" fmla="*/ 2532 w 3940"/>
                  <a:gd name="connsiteY19" fmla="*/ 96 h 1039"/>
                  <a:gd name="connsiteX20" fmla="*/ 2474 w 3940"/>
                  <a:gd name="connsiteY20" fmla="*/ 87 h 1039"/>
                  <a:gd name="connsiteX21" fmla="*/ 2410 w 3940"/>
                  <a:gd name="connsiteY21" fmla="*/ 89 h 1039"/>
                  <a:gd name="connsiteX22" fmla="*/ 2342 w 3940"/>
                  <a:gd name="connsiteY22" fmla="*/ 100 h 1039"/>
                  <a:gd name="connsiteX23" fmla="*/ 2280 w 3940"/>
                  <a:gd name="connsiteY23" fmla="*/ 118 h 1039"/>
                  <a:gd name="connsiteX24" fmla="*/ 2222 w 3940"/>
                  <a:gd name="connsiteY24" fmla="*/ 143 h 1039"/>
                  <a:gd name="connsiteX25" fmla="*/ 2168 w 3940"/>
                  <a:gd name="connsiteY25" fmla="*/ 176 h 1039"/>
                  <a:gd name="connsiteX26" fmla="*/ 2117 w 3940"/>
                  <a:gd name="connsiteY26" fmla="*/ 214 h 1039"/>
                  <a:gd name="connsiteX27" fmla="*/ 2071 w 3940"/>
                  <a:gd name="connsiteY27" fmla="*/ 257 h 1039"/>
                  <a:gd name="connsiteX28" fmla="*/ 2026 w 3940"/>
                  <a:gd name="connsiteY28" fmla="*/ 303 h 1039"/>
                  <a:gd name="connsiteX29" fmla="*/ 1984 w 3940"/>
                  <a:gd name="connsiteY29" fmla="*/ 355 h 1039"/>
                  <a:gd name="connsiteX30" fmla="*/ 1945 w 3940"/>
                  <a:gd name="connsiteY30" fmla="*/ 409 h 1039"/>
                  <a:gd name="connsiteX31" fmla="*/ 1908 w 3940"/>
                  <a:gd name="connsiteY31" fmla="*/ 463 h 1039"/>
                  <a:gd name="connsiteX32" fmla="*/ 1871 w 3940"/>
                  <a:gd name="connsiteY32" fmla="*/ 519 h 1039"/>
                  <a:gd name="connsiteX33" fmla="*/ 1834 w 3940"/>
                  <a:gd name="connsiteY33" fmla="*/ 577 h 1039"/>
                  <a:gd name="connsiteX34" fmla="*/ 1799 w 3940"/>
                  <a:gd name="connsiteY34" fmla="*/ 633 h 1039"/>
                  <a:gd name="connsiteX35" fmla="*/ 1724 w 3940"/>
                  <a:gd name="connsiteY35" fmla="*/ 745 h 1039"/>
                  <a:gd name="connsiteX36" fmla="*/ 1685 w 3940"/>
                  <a:gd name="connsiteY36" fmla="*/ 797 h 1039"/>
                  <a:gd name="connsiteX37" fmla="*/ 1644 w 3940"/>
                  <a:gd name="connsiteY37" fmla="*/ 846 h 1039"/>
                  <a:gd name="connsiteX38" fmla="*/ 1600 w 3940"/>
                  <a:gd name="connsiteY38" fmla="*/ 892 h 1039"/>
                  <a:gd name="connsiteX39" fmla="*/ 1553 w 3940"/>
                  <a:gd name="connsiteY39" fmla="*/ 933 h 1039"/>
                  <a:gd name="connsiteX40" fmla="*/ 1503 w 3940"/>
                  <a:gd name="connsiteY40" fmla="*/ 969 h 1039"/>
                  <a:gd name="connsiteX41" fmla="*/ 1450 w 3940"/>
                  <a:gd name="connsiteY41" fmla="*/ 998 h 1039"/>
                  <a:gd name="connsiteX42" fmla="*/ 1394 w 3940"/>
                  <a:gd name="connsiteY42" fmla="*/ 1021 h 1039"/>
                  <a:gd name="connsiteX43" fmla="*/ 1330 w 3940"/>
                  <a:gd name="connsiteY43" fmla="*/ 1033 h 1039"/>
                  <a:gd name="connsiteX44" fmla="*/ 1264 w 3940"/>
                  <a:gd name="connsiteY44" fmla="*/ 1039 h 1039"/>
                  <a:gd name="connsiteX45" fmla="*/ 1258 w 3940"/>
                  <a:gd name="connsiteY45" fmla="*/ 1039 h 1039"/>
                  <a:gd name="connsiteX46" fmla="*/ 1190 w 3940"/>
                  <a:gd name="connsiteY46" fmla="*/ 1035 h 1039"/>
                  <a:gd name="connsiteX47" fmla="*/ 1128 w 3940"/>
                  <a:gd name="connsiteY47" fmla="*/ 1023 h 1039"/>
                  <a:gd name="connsiteX48" fmla="*/ 1070 w 3940"/>
                  <a:gd name="connsiteY48" fmla="*/ 1004 h 1039"/>
                  <a:gd name="connsiteX49" fmla="*/ 1018 w 3940"/>
                  <a:gd name="connsiteY49" fmla="*/ 979 h 1039"/>
                  <a:gd name="connsiteX50" fmla="*/ 971 w 3940"/>
                  <a:gd name="connsiteY50" fmla="*/ 948 h 1039"/>
                  <a:gd name="connsiteX51" fmla="*/ 925 w 3940"/>
                  <a:gd name="connsiteY51" fmla="*/ 911 h 1039"/>
                  <a:gd name="connsiteX52" fmla="*/ 884 w 3940"/>
                  <a:gd name="connsiteY52" fmla="*/ 869 h 1039"/>
                  <a:gd name="connsiteX53" fmla="*/ 847 w 3940"/>
                  <a:gd name="connsiteY53" fmla="*/ 824 h 1039"/>
                  <a:gd name="connsiteX54" fmla="*/ 810 w 3940"/>
                  <a:gd name="connsiteY54" fmla="*/ 776 h 1039"/>
                  <a:gd name="connsiteX55" fmla="*/ 777 w 3940"/>
                  <a:gd name="connsiteY55" fmla="*/ 724 h 1039"/>
                  <a:gd name="connsiteX56" fmla="*/ 742 w 3940"/>
                  <a:gd name="connsiteY56" fmla="*/ 670 h 1039"/>
                  <a:gd name="connsiteX57" fmla="*/ 711 w 3940"/>
                  <a:gd name="connsiteY57" fmla="*/ 614 h 1039"/>
                  <a:gd name="connsiteX58" fmla="*/ 678 w 3940"/>
                  <a:gd name="connsiteY58" fmla="*/ 556 h 1039"/>
                  <a:gd name="connsiteX59" fmla="*/ 616 w 3940"/>
                  <a:gd name="connsiteY59" fmla="*/ 444 h 1039"/>
                  <a:gd name="connsiteX60" fmla="*/ 547 w 3940"/>
                  <a:gd name="connsiteY60" fmla="*/ 336 h 1039"/>
                  <a:gd name="connsiteX61" fmla="*/ 504 w 3940"/>
                  <a:gd name="connsiteY61" fmla="*/ 280 h 1039"/>
                  <a:gd name="connsiteX62" fmla="*/ 457 w 3940"/>
                  <a:gd name="connsiteY62" fmla="*/ 235 h 1039"/>
                  <a:gd name="connsiteX63" fmla="*/ 409 w 3940"/>
                  <a:gd name="connsiteY63" fmla="*/ 195 h 1039"/>
                  <a:gd name="connsiteX64" fmla="*/ 358 w 3940"/>
                  <a:gd name="connsiteY64" fmla="*/ 164 h 1039"/>
                  <a:gd name="connsiteX65" fmla="*/ 308 w 3940"/>
                  <a:gd name="connsiteY65" fmla="*/ 141 h 1039"/>
                  <a:gd name="connsiteX66" fmla="*/ 256 w 3940"/>
                  <a:gd name="connsiteY66" fmla="*/ 123 h 1039"/>
                  <a:gd name="connsiteX67" fmla="*/ 209 w 3940"/>
                  <a:gd name="connsiteY67" fmla="*/ 108 h 1039"/>
                  <a:gd name="connsiteX68" fmla="*/ 163 w 3940"/>
                  <a:gd name="connsiteY68" fmla="*/ 100 h 1039"/>
                  <a:gd name="connsiteX69" fmla="*/ 122 w 3940"/>
                  <a:gd name="connsiteY69" fmla="*/ 96 h 1039"/>
                  <a:gd name="connsiteX70" fmla="*/ 85 w 3940"/>
                  <a:gd name="connsiteY70" fmla="*/ 91 h 1039"/>
                  <a:gd name="connsiteX71" fmla="*/ 31 w 3940"/>
                  <a:gd name="connsiteY71" fmla="*/ 91 h 1039"/>
                  <a:gd name="connsiteX72" fmla="*/ 17 w 3940"/>
                  <a:gd name="connsiteY72" fmla="*/ 94 h 1039"/>
                  <a:gd name="connsiteX73" fmla="*/ 11 w 3940"/>
                  <a:gd name="connsiteY73" fmla="*/ 94 h 1039"/>
                  <a:gd name="connsiteX74" fmla="*/ 0 w 3940"/>
                  <a:gd name="connsiteY74" fmla="*/ 9 h 1039"/>
                  <a:gd name="connsiteX75" fmla="*/ 9 w 3940"/>
                  <a:gd name="connsiteY75" fmla="*/ 9 h 1039"/>
                  <a:gd name="connsiteX76" fmla="*/ 29 w 3940"/>
                  <a:gd name="connsiteY76" fmla="*/ 6 h 1039"/>
                  <a:gd name="connsiteX77" fmla="*/ 91 w 3940"/>
                  <a:gd name="connsiteY77" fmla="*/ 6 h 1039"/>
                  <a:gd name="connsiteX78" fmla="*/ 135 w 3940"/>
                  <a:gd name="connsiteY78" fmla="*/ 9 h 1039"/>
                  <a:gd name="connsiteX79" fmla="*/ 182 w 3940"/>
                  <a:gd name="connsiteY79" fmla="*/ 15 h 1039"/>
                  <a:gd name="connsiteX80" fmla="*/ 234 w 3940"/>
                  <a:gd name="connsiteY80" fmla="*/ 25 h 1039"/>
                  <a:gd name="connsiteX81" fmla="*/ 287 w 3940"/>
                  <a:gd name="connsiteY81" fmla="*/ 42 h 1039"/>
                  <a:gd name="connsiteX82" fmla="*/ 345 w 3940"/>
                  <a:gd name="connsiteY82" fmla="*/ 62 h 1039"/>
                  <a:gd name="connsiteX83" fmla="*/ 403 w 3940"/>
                  <a:gd name="connsiteY83" fmla="*/ 89 h 1039"/>
                  <a:gd name="connsiteX84" fmla="*/ 459 w 3940"/>
                  <a:gd name="connsiteY84" fmla="*/ 127 h 1039"/>
                  <a:gd name="connsiteX85" fmla="*/ 514 w 3940"/>
                  <a:gd name="connsiteY85" fmla="*/ 170 h 1039"/>
                  <a:gd name="connsiteX86" fmla="*/ 568 w 3940"/>
                  <a:gd name="connsiteY86" fmla="*/ 224 h 1039"/>
                  <a:gd name="connsiteX87" fmla="*/ 618 w 3940"/>
                  <a:gd name="connsiteY87" fmla="*/ 288 h 1039"/>
                  <a:gd name="connsiteX88" fmla="*/ 667 w 3940"/>
                  <a:gd name="connsiteY88" fmla="*/ 363 h 1039"/>
                  <a:gd name="connsiteX89" fmla="*/ 754 w 3940"/>
                  <a:gd name="connsiteY89" fmla="*/ 512 h 1039"/>
                  <a:gd name="connsiteX90" fmla="*/ 787 w 3940"/>
                  <a:gd name="connsiteY90" fmla="*/ 571 h 1039"/>
                  <a:gd name="connsiteX91" fmla="*/ 820 w 3940"/>
                  <a:gd name="connsiteY91" fmla="*/ 627 h 1039"/>
                  <a:gd name="connsiteX92" fmla="*/ 853 w 3940"/>
                  <a:gd name="connsiteY92" fmla="*/ 680 h 1039"/>
                  <a:gd name="connsiteX93" fmla="*/ 886 w 3940"/>
                  <a:gd name="connsiteY93" fmla="*/ 732 h 1039"/>
                  <a:gd name="connsiteX94" fmla="*/ 921 w 3940"/>
                  <a:gd name="connsiteY94" fmla="*/ 778 h 1039"/>
                  <a:gd name="connsiteX95" fmla="*/ 958 w 3940"/>
                  <a:gd name="connsiteY95" fmla="*/ 821 h 1039"/>
                  <a:gd name="connsiteX96" fmla="*/ 1000 w 3940"/>
                  <a:gd name="connsiteY96" fmla="*/ 859 h 1039"/>
                  <a:gd name="connsiteX97" fmla="*/ 1043 w 3940"/>
                  <a:gd name="connsiteY97" fmla="*/ 890 h 1039"/>
                  <a:gd name="connsiteX98" fmla="*/ 1090 w 3940"/>
                  <a:gd name="connsiteY98" fmla="*/ 917 h 1039"/>
                  <a:gd name="connsiteX99" fmla="*/ 1140 w 3940"/>
                  <a:gd name="connsiteY99" fmla="*/ 935 h 1039"/>
                  <a:gd name="connsiteX100" fmla="*/ 1196 w 3940"/>
                  <a:gd name="connsiteY100" fmla="*/ 948 h 1039"/>
                  <a:gd name="connsiteX101" fmla="*/ 1258 w 3940"/>
                  <a:gd name="connsiteY101" fmla="*/ 952 h 1039"/>
                  <a:gd name="connsiteX102" fmla="*/ 1264 w 3940"/>
                  <a:gd name="connsiteY102" fmla="*/ 952 h 1039"/>
                  <a:gd name="connsiteX103" fmla="*/ 1324 w 3940"/>
                  <a:gd name="connsiteY103" fmla="*/ 946 h 1039"/>
                  <a:gd name="connsiteX104" fmla="*/ 1380 w 3940"/>
                  <a:gd name="connsiteY104" fmla="*/ 931 h 1039"/>
                  <a:gd name="connsiteX105" fmla="*/ 1433 w 3940"/>
                  <a:gd name="connsiteY105" fmla="*/ 909 h 1039"/>
                  <a:gd name="connsiteX106" fmla="*/ 1481 w 3940"/>
                  <a:gd name="connsiteY106" fmla="*/ 880 h 1039"/>
                  <a:gd name="connsiteX107" fmla="*/ 1526 w 3940"/>
                  <a:gd name="connsiteY107" fmla="*/ 842 h 1039"/>
                  <a:gd name="connsiteX108" fmla="*/ 1569 w 3940"/>
                  <a:gd name="connsiteY108" fmla="*/ 799 h 1039"/>
                  <a:gd name="connsiteX109" fmla="*/ 1609 w 3940"/>
                  <a:gd name="connsiteY109" fmla="*/ 751 h 1039"/>
                  <a:gd name="connsiteX110" fmla="*/ 1648 w 3940"/>
                  <a:gd name="connsiteY110" fmla="*/ 699 h 1039"/>
                  <a:gd name="connsiteX111" fmla="*/ 1687 w 3940"/>
                  <a:gd name="connsiteY111" fmla="*/ 645 h 1039"/>
                  <a:gd name="connsiteX112" fmla="*/ 1799 w 3940"/>
                  <a:gd name="connsiteY112" fmla="*/ 471 h 1039"/>
                  <a:gd name="connsiteX113" fmla="*/ 1838 w 3940"/>
                  <a:gd name="connsiteY113" fmla="*/ 411 h 1039"/>
                  <a:gd name="connsiteX114" fmla="*/ 1879 w 3940"/>
                  <a:gd name="connsiteY114" fmla="*/ 353 h 1039"/>
                  <a:gd name="connsiteX115" fmla="*/ 1923 w 3940"/>
                  <a:gd name="connsiteY115" fmla="*/ 295 h 1039"/>
                  <a:gd name="connsiteX116" fmla="*/ 1968 w 3940"/>
                  <a:gd name="connsiteY116" fmla="*/ 241 h 1039"/>
                  <a:gd name="connsiteX117" fmla="*/ 2015 w 3940"/>
                  <a:gd name="connsiteY117" fmla="*/ 189 h 1039"/>
                  <a:gd name="connsiteX118" fmla="*/ 2069 w 3940"/>
                  <a:gd name="connsiteY118" fmla="*/ 141 h 1039"/>
                  <a:gd name="connsiteX119" fmla="*/ 2125 w 3940"/>
                  <a:gd name="connsiteY119" fmla="*/ 100 h 1039"/>
                  <a:gd name="connsiteX120" fmla="*/ 2187 w 3940"/>
                  <a:gd name="connsiteY120" fmla="*/ 65 h 1039"/>
                  <a:gd name="connsiteX121" fmla="*/ 2253 w 3940"/>
                  <a:gd name="connsiteY121" fmla="*/ 35 h 1039"/>
                  <a:gd name="connsiteX122" fmla="*/ 2325 w 3940"/>
                  <a:gd name="connsiteY122" fmla="*/ 15 h 1039"/>
                  <a:gd name="connsiteX123" fmla="*/ 2404 w 3940"/>
                  <a:gd name="connsiteY123" fmla="*/ 2 h 1039"/>
                  <a:gd name="connsiteX124" fmla="*/ 2474 w 3940"/>
                  <a:gd name="connsiteY124" fmla="*/ 0 h 1039"/>
                  <a:gd name="connsiteX125" fmla="*/ 2540 w 3940"/>
                  <a:gd name="connsiteY125" fmla="*/ 9 h 1039"/>
                  <a:gd name="connsiteX126" fmla="*/ 2600 w 3940"/>
                  <a:gd name="connsiteY126" fmla="*/ 23 h 1039"/>
                  <a:gd name="connsiteX127" fmla="*/ 2658 w 3940"/>
                  <a:gd name="connsiteY127" fmla="*/ 46 h 1039"/>
                  <a:gd name="connsiteX128" fmla="*/ 2711 w 3940"/>
                  <a:gd name="connsiteY128" fmla="*/ 77 h 1039"/>
                  <a:gd name="connsiteX129" fmla="*/ 2761 w 3940"/>
                  <a:gd name="connsiteY129" fmla="*/ 112 h 1039"/>
                  <a:gd name="connsiteX130" fmla="*/ 2806 w 3940"/>
                  <a:gd name="connsiteY130" fmla="*/ 154 h 1039"/>
                  <a:gd name="connsiteX131" fmla="*/ 2852 w 3940"/>
                  <a:gd name="connsiteY131" fmla="*/ 199 h 1039"/>
                  <a:gd name="connsiteX132" fmla="*/ 2893 w 3940"/>
                  <a:gd name="connsiteY132" fmla="*/ 247 h 1039"/>
                  <a:gd name="connsiteX133" fmla="*/ 2932 w 3940"/>
                  <a:gd name="connsiteY133" fmla="*/ 299 h 1039"/>
                  <a:gd name="connsiteX134" fmla="*/ 2969 w 3940"/>
                  <a:gd name="connsiteY134" fmla="*/ 353 h 1039"/>
                  <a:gd name="connsiteX135" fmla="*/ 3004 w 3940"/>
                  <a:gd name="connsiteY135" fmla="*/ 409 h 1039"/>
                  <a:gd name="connsiteX136" fmla="*/ 3039 w 3940"/>
                  <a:gd name="connsiteY136" fmla="*/ 463 h 1039"/>
                  <a:gd name="connsiteX137" fmla="*/ 3073 w 3940"/>
                  <a:gd name="connsiteY137" fmla="*/ 519 h 1039"/>
                  <a:gd name="connsiteX138" fmla="*/ 3186 w 3940"/>
                  <a:gd name="connsiteY138" fmla="*/ 697 h 1039"/>
                  <a:gd name="connsiteX139" fmla="*/ 3554 w 3940"/>
                  <a:gd name="connsiteY139" fmla="*/ 952 h 1039"/>
                  <a:gd name="connsiteX140" fmla="*/ 3659 w 3940"/>
                  <a:gd name="connsiteY140" fmla="*/ 931 h 1039"/>
                  <a:gd name="connsiteX141" fmla="*/ 3789 w 3940"/>
                  <a:gd name="connsiteY141" fmla="*/ 844 h 1039"/>
                  <a:gd name="connsiteX142" fmla="*/ 3826 w 3940"/>
                  <a:gd name="connsiteY142" fmla="*/ 803 h 1039"/>
                  <a:gd name="connsiteX0" fmla="*/ 3826 w 3940"/>
                  <a:gd name="connsiteY0" fmla="*/ 803 h 1039"/>
                  <a:gd name="connsiteX1" fmla="*/ 3940 w 3940"/>
                  <a:gd name="connsiteY1" fmla="*/ 794 h 1039"/>
                  <a:gd name="connsiteX2" fmla="*/ 3779 w 3940"/>
                  <a:gd name="connsiteY2" fmla="*/ 967 h 1039"/>
                  <a:gd name="connsiteX3" fmla="*/ 3620 w 3940"/>
                  <a:gd name="connsiteY3" fmla="*/ 1033 h 1039"/>
                  <a:gd name="connsiteX4" fmla="*/ 3556 w 3940"/>
                  <a:gd name="connsiteY4" fmla="*/ 1039 h 1039"/>
                  <a:gd name="connsiteX5" fmla="*/ 3547 w 3940"/>
                  <a:gd name="connsiteY5" fmla="*/ 1039 h 1039"/>
                  <a:gd name="connsiteX6" fmla="*/ 3147 w 3940"/>
                  <a:gd name="connsiteY6" fmla="*/ 792 h 1039"/>
                  <a:gd name="connsiteX7" fmla="*/ 3108 w 3940"/>
                  <a:gd name="connsiteY7" fmla="*/ 736 h 1039"/>
                  <a:gd name="connsiteX8" fmla="*/ 3070 w 3940"/>
                  <a:gd name="connsiteY8" fmla="*/ 680 h 1039"/>
                  <a:gd name="connsiteX9" fmla="*/ 2965 w 3940"/>
                  <a:gd name="connsiteY9" fmla="*/ 506 h 1039"/>
                  <a:gd name="connsiteX10" fmla="*/ 2928 w 3940"/>
                  <a:gd name="connsiteY10" fmla="*/ 448 h 1039"/>
                  <a:gd name="connsiteX11" fmla="*/ 2891 w 3940"/>
                  <a:gd name="connsiteY11" fmla="*/ 392 h 1039"/>
                  <a:gd name="connsiteX12" fmla="*/ 2854 w 3940"/>
                  <a:gd name="connsiteY12" fmla="*/ 338 h 1039"/>
                  <a:gd name="connsiteX13" fmla="*/ 2814 w 3940"/>
                  <a:gd name="connsiteY13" fmla="*/ 288 h 1039"/>
                  <a:gd name="connsiteX14" fmla="*/ 2773 w 3940"/>
                  <a:gd name="connsiteY14" fmla="*/ 243 h 1039"/>
                  <a:gd name="connsiteX15" fmla="*/ 2732 w 3940"/>
                  <a:gd name="connsiteY15" fmla="*/ 201 h 1039"/>
                  <a:gd name="connsiteX16" fmla="*/ 2686 w 3940"/>
                  <a:gd name="connsiteY16" fmla="*/ 164 h 1039"/>
                  <a:gd name="connsiteX17" fmla="*/ 2639 w 3940"/>
                  <a:gd name="connsiteY17" fmla="*/ 135 h 1039"/>
                  <a:gd name="connsiteX18" fmla="*/ 2587 w 3940"/>
                  <a:gd name="connsiteY18" fmla="*/ 112 h 1039"/>
                  <a:gd name="connsiteX19" fmla="*/ 2532 w 3940"/>
                  <a:gd name="connsiteY19" fmla="*/ 96 h 1039"/>
                  <a:gd name="connsiteX20" fmla="*/ 2474 w 3940"/>
                  <a:gd name="connsiteY20" fmla="*/ 87 h 1039"/>
                  <a:gd name="connsiteX21" fmla="*/ 2410 w 3940"/>
                  <a:gd name="connsiteY21" fmla="*/ 89 h 1039"/>
                  <a:gd name="connsiteX22" fmla="*/ 2342 w 3940"/>
                  <a:gd name="connsiteY22" fmla="*/ 100 h 1039"/>
                  <a:gd name="connsiteX23" fmla="*/ 2280 w 3940"/>
                  <a:gd name="connsiteY23" fmla="*/ 118 h 1039"/>
                  <a:gd name="connsiteX24" fmla="*/ 2222 w 3940"/>
                  <a:gd name="connsiteY24" fmla="*/ 143 h 1039"/>
                  <a:gd name="connsiteX25" fmla="*/ 2168 w 3940"/>
                  <a:gd name="connsiteY25" fmla="*/ 176 h 1039"/>
                  <a:gd name="connsiteX26" fmla="*/ 2117 w 3940"/>
                  <a:gd name="connsiteY26" fmla="*/ 214 h 1039"/>
                  <a:gd name="connsiteX27" fmla="*/ 2071 w 3940"/>
                  <a:gd name="connsiteY27" fmla="*/ 257 h 1039"/>
                  <a:gd name="connsiteX28" fmla="*/ 2026 w 3940"/>
                  <a:gd name="connsiteY28" fmla="*/ 303 h 1039"/>
                  <a:gd name="connsiteX29" fmla="*/ 1984 w 3940"/>
                  <a:gd name="connsiteY29" fmla="*/ 355 h 1039"/>
                  <a:gd name="connsiteX30" fmla="*/ 1945 w 3940"/>
                  <a:gd name="connsiteY30" fmla="*/ 409 h 1039"/>
                  <a:gd name="connsiteX31" fmla="*/ 1908 w 3940"/>
                  <a:gd name="connsiteY31" fmla="*/ 463 h 1039"/>
                  <a:gd name="connsiteX32" fmla="*/ 1871 w 3940"/>
                  <a:gd name="connsiteY32" fmla="*/ 519 h 1039"/>
                  <a:gd name="connsiteX33" fmla="*/ 1834 w 3940"/>
                  <a:gd name="connsiteY33" fmla="*/ 577 h 1039"/>
                  <a:gd name="connsiteX34" fmla="*/ 1799 w 3940"/>
                  <a:gd name="connsiteY34" fmla="*/ 633 h 1039"/>
                  <a:gd name="connsiteX35" fmla="*/ 1724 w 3940"/>
                  <a:gd name="connsiteY35" fmla="*/ 745 h 1039"/>
                  <a:gd name="connsiteX36" fmla="*/ 1685 w 3940"/>
                  <a:gd name="connsiteY36" fmla="*/ 797 h 1039"/>
                  <a:gd name="connsiteX37" fmla="*/ 1644 w 3940"/>
                  <a:gd name="connsiteY37" fmla="*/ 846 h 1039"/>
                  <a:gd name="connsiteX38" fmla="*/ 1600 w 3940"/>
                  <a:gd name="connsiteY38" fmla="*/ 892 h 1039"/>
                  <a:gd name="connsiteX39" fmla="*/ 1553 w 3940"/>
                  <a:gd name="connsiteY39" fmla="*/ 933 h 1039"/>
                  <a:gd name="connsiteX40" fmla="*/ 1503 w 3940"/>
                  <a:gd name="connsiteY40" fmla="*/ 969 h 1039"/>
                  <a:gd name="connsiteX41" fmla="*/ 1450 w 3940"/>
                  <a:gd name="connsiteY41" fmla="*/ 998 h 1039"/>
                  <a:gd name="connsiteX42" fmla="*/ 1394 w 3940"/>
                  <a:gd name="connsiteY42" fmla="*/ 1021 h 1039"/>
                  <a:gd name="connsiteX43" fmla="*/ 1330 w 3940"/>
                  <a:gd name="connsiteY43" fmla="*/ 1033 h 1039"/>
                  <a:gd name="connsiteX44" fmla="*/ 1264 w 3940"/>
                  <a:gd name="connsiteY44" fmla="*/ 1039 h 1039"/>
                  <a:gd name="connsiteX45" fmla="*/ 1258 w 3940"/>
                  <a:gd name="connsiteY45" fmla="*/ 1039 h 1039"/>
                  <a:gd name="connsiteX46" fmla="*/ 1190 w 3940"/>
                  <a:gd name="connsiteY46" fmla="*/ 1035 h 1039"/>
                  <a:gd name="connsiteX47" fmla="*/ 1128 w 3940"/>
                  <a:gd name="connsiteY47" fmla="*/ 1023 h 1039"/>
                  <a:gd name="connsiteX48" fmla="*/ 1070 w 3940"/>
                  <a:gd name="connsiteY48" fmla="*/ 1004 h 1039"/>
                  <a:gd name="connsiteX49" fmla="*/ 1018 w 3940"/>
                  <a:gd name="connsiteY49" fmla="*/ 979 h 1039"/>
                  <a:gd name="connsiteX50" fmla="*/ 971 w 3940"/>
                  <a:gd name="connsiteY50" fmla="*/ 948 h 1039"/>
                  <a:gd name="connsiteX51" fmla="*/ 925 w 3940"/>
                  <a:gd name="connsiteY51" fmla="*/ 911 h 1039"/>
                  <a:gd name="connsiteX52" fmla="*/ 884 w 3940"/>
                  <a:gd name="connsiteY52" fmla="*/ 869 h 1039"/>
                  <a:gd name="connsiteX53" fmla="*/ 847 w 3940"/>
                  <a:gd name="connsiteY53" fmla="*/ 824 h 1039"/>
                  <a:gd name="connsiteX54" fmla="*/ 810 w 3940"/>
                  <a:gd name="connsiteY54" fmla="*/ 776 h 1039"/>
                  <a:gd name="connsiteX55" fmla="*/ 777 w 3940"/>
                  <a:gd name="connsiteY55" fmla="*/ 724 h 1039"/>
                  <a:gd name="connsiteX56" fmla="*/ 742 w 3940"/>
                  <a:gd name="connsiteY56" fmla="*/ 670 h 1039"/>
                  <a:gd name="connsiteX57" fmla="*/ 711 w 3940"/>
                  <a:gd name="connsiteY57" fmla="*/ 614 h 1039"/>
                  <a:gd name="connsiteX58" fmla="*/ 678 w 3940"/>
                  <a:gd name="connsiteY58" fmla="*/ 556 h 1039"/>
                  <a:gd name="connsiteX59" fmla="*/ 616 w 3940"/>
                  <a:gd name="connsiteY59" fmla="*/ 444 h 1039"/>
                  <a:gd name="connsiteX60" fmla="*/ 547 w 3940"/>
                  <a:gd name="connsiteY60" fmla="*/ 336 h 1039"/>
                  <a:gd name="connsiteX61" fmla="*/ 504 w 3940"/>
                  <a:gd name="connsiteY61" fmla="*/ 280 h 1039"/>
                  <a:gd name="connsiteX62" fmla="*/ 457 w 3940"/>
                  <a:gd name="connsiteY62" fmla="*/ 235 h 1039"/>
                  <a:gd name="connsiteX63" fmla="*/ 409 w 3940"/>
                  <a:gd name="connsiteY63" fmla="*/ 195 h 1039"/>
                  <a:gd name="connsiteX64" fmla="*/ 358 w 3940"/>
                  <a:gd name="connsiteY64" fmla="*/ 164 h 1039"/>
                  <a:gd name="connsiteX65" fmla="*/ 308 w 3940"/>
                  <a:gd name="connsiteY65" fmla="*/ 141 h 1039"/>
                  <a:gd name="connsiteX66" fmla="*/ 256 w 3940"/>
                  <a:gd name="connsiteY66" fmla="*/ 123 h 1039"/>
                  <a:gd name="connsiteX67" fmla="*/ 209 w 3940"/>
                  <a:gd name="connsiteY67" fmla="*/ 108 h 1039"/>
                  <a:gd name="connsiteX68" fmla="*/ 163 w 3940"/>
                  <a:gd name="connsiteY68" fmla="*/ 100 h 1039"/>
                  <a:gd name="connsiteX69" fmla="*/ 122 w 3940"/>
                  <a:gd name="connsiteY69" fmla="*/ 96 h 1039"/>
                  <a:gd name="connsiteX70" fmla="*/ 85 w 3940"/>
                  <a:gd name="connsiteY70" fmla="*/ 91 h 1039"/>
                  <a:gd name="connsiteX71" fmla="*/ 31 w 3940"/>
                  <a:gd name="connsiteY71" fmla="*/ 91 h 1039"/>
                  <a:gd name="connsiteX72" fmla="*/ 17 w 3940"/>
                  <a:gd name="connsiteY72" fmla="*/ 94 h 1039"/>
                  <a:gd name="connsiteX73" fmla="*/ 11 w 3940"/>
                  <a:gd name="connsiteY73" fmla="*/ 94 h 1039"/>
                  <a:gd name="connsiteX74" fmla="*/ 0 w 3940"/>
                  <a:gd name="connsiteY74" fmla="*/ 9 h 1039"/>
                  <a:gd name="connsiteX75" fmla="*/ 9 w 3940"/>
                  <a:gd name="connsiteY75" fmla="*/ 9 h 1039"/>
                  <a:gd name="connsiteX76" fmla="*/ 29 w 3940"/>
                  <a:gd name="connsiteY76" fmla="*/ 6 h 1039"/>
                  <a:gd name="connsiteX77" fmla="*/ 91 w 3940"/>
                  <a:gd name="connsiteY77" fmla="*/ 6 h 1039"/>
                  <a:gd name="connsiteX78" fmla="*/ 135 w 3940"/>
                  <a:gd name="connsiteY78" fmla="*/ 9 h 1039"/>
                  <a:gd name="connsiteX79" fmla="*/ 182 w 3940"/>
                  <a:gd name="connsiteY79" fmla="*/ 15 h 1039"/>
                  <a:gd name="connsiteX80" fmla="*/ 234 w 3940"/>
                  <a:gd name="connsiteY80" fmla="*/ 25 h 1039"/>
                  <a:gd name="connsiteX81" fmla="*/ 287 w 3940"/>
                  <a:gd name="connsiteY81" fmla="*/ 42 h 1039"/>
                  <a:gd name="connsiteX82" fmla="*/ 345 w 3940"/>
                  <a:gd name="connsiteY82" fmla="*/ 62 h 1039"/>
                  <a:gd name="connsiteX83" fmla="*/ 403 w 3940"/>
                  <a:gd name="connsiteY83" fmla="*/ 89 h 1039"/>
                  <a:gd name="connsiteX84" fmla="*/ 459 w 3940"/>
                  <a:gd name="connsiteY84" fmla="*/ 127 h 1039"/>
                  <a:gd name="connsiteX85" fmla="*/ 514 w 3940"/>
                  <a:gd name="connsiteY85" fmla="*/ 170 h 1039"/>
                  <a:gd name="connsiteX86" fmla="*/ 568 w 3940"/>
                  <a:gd name="connsiteY86" fmla="*/ 224 h 1039"/>
                  <a:gd name="connsiteX87" fmla="*/ 618 w 3940"/>
                  <a:gd name="connsiteY87" fmla="*/ 288 h 1039"/>
                  <a:gd name="connsiteX88" fmla="*/ 667 w 3940"/>
                  <a:gd name="connsiteY88" fmla="*/ 363 h 1039"/>
                  <a:gd name="connsiteX89" fmla="*/ 754 w 3940"/>
                  <a:gd name="connsiteY89" fmla="*/ 512 h 1039"/>
                  <a:gd name="connsiteX90" fmla="*/ 787 w 3940"/>
                  <a:gd name="connsiteY90" fmla="*/ 571 h 1039"/>
                  <a:gd name="connsiteX91" fmla="*/ 820 w 3940"/>
                  <a:gd name="connsiteY91" fmla="*/ 627 h 1039"/>
                  <a:gd name="connsiteX92" fmla="*/ 853 w 3940"/>
                  <a:gd name="connsiteY92" fmla="*/ 680 h 1039"/>
                  <a:gd name="connsiteX93" fmla="*/ 886 w 3940"/>
                  <a:gd name="connsiteY93" fmla="*/ 732 h 1039"/>
                  <a:gd name="connsiteX94" fmla="*/ 921 w 3940"/>
                  <a:gd name="connsiteY94" fmla="*/ 778 h 1039"/>
                  <a:gd name="connsiteX95" fmla="*/ 958 w 3940"/>
                  <a:gd name="connsiteY95" fmla="*/ 821 h 1039"/>
                  <a:gd name="connsiteX96" fmla="*/ 1000 w 3940"/>
                  <a:gd name="connsiteY96" fmla="*/ 859 h 1039"/>
                  <a:gd name="connsiteX97" fmla="*/ 1043 w 3940"/>
                  <a:gd name="connsiteY97" fmla="*/ 890 h 1039"/>
                  <a:gd name="connsiteX98" fmla="*/ 1090 w 3940"/>
                  <a:gd name="connsiteY98" fmla="*/ 917 h 1039"/>
                  <a:gd name="connsiteX99" fmla="*/ 1140 w 3940"/>
                  <a:gd name="connsiteY99" fmla="*/ 935 h 1039"/>
                  <a:gd name="connsiteX100" fmla="*/ 1196 w 3940"/>
                  <a:gd name="connsiteY100" fmla="*/ 948 h 1039"/>
                  <a:gd name="connsiteX101" fmla="*/ 1258 w 3940"/>
                  <a:gd name="connsiteY101" fmla="*/ 952 h 1039"/>
                  <a:gd name="connsiteX102" fmla="*/ 1264 w 3940"/>
                  <a:gd name="connsiteY102" fmla="*/ 952 h 1039"/>
                  <a:gd name="connsiteX103" fmla="*/ 1324 w 3940"/>
                  <a:gd name="connsiteY103" fmla="*/ 946 h 1039"/>
                  <a:gd name="connsiteX104" fmla="*/ 1380 w 3940"/>
                  <a:gd name="connsiteY104" fmla="*/ 931 h 1039"/>
                  <a:gd name="connsiteX105" fmla="*/ 1433 w 3940"/>
                  <a:gd name="connsiteY105" fmla="*/ 909 h 1039"/>
                  <a:gd name="connsiteX106" fmla="*/ 1481 w 3940"/>
                  <a:gd name="connsiteY106" fmla="*/ 880 h 1039"/>
                  <a:gd name="connsiteX107" fmla="*/ 1526 w 3940"/>
                  <a:gd name="connsiteY107" fmla="*/ 842 h 1039"/>
                  <a:gd name="connsiteX108" fmla="*/ 1569 w 3940"/>
                  <a:gd name="connsiteY108" fmla="*/ 799 h 1039"/>
                  <a:gd name="connsiteX109" fmla="*/ 1609 w 3940"/>
                  <a:gd name="connsiteY109" fmla="*/ 751 h 1039"/>
                  <a:gd name="connsiteX110" fmla="*/ 1648 w 3940"/>
                  <a:gd name="connsiteY110" fmla="*/ 699 h 1039"/>
                  <a:gd name="connsiteX111" fmla="*/ 1687 w 3940"/>
                  <a:gd name="connsiteY111" fmla="*/ 645 h 1039"/>
                  <a:gd name="connsiteX112" fmla="*/ 1799 w 3940"/>
                  <a:gd name="connsiteY112" fmla="*/ 471 h 1039"/>
                  <a:gd name="connsiteX113" fmla="*/ 1838 w 3940"/>
                  <a:gd name="connsiteY113" fmla="*/ 411 h 1039"/>
                  <a:gd name="connsiteX114" fmla="*/ 1879 w 3940"/>
                  <a:gd name="connsiteY114" fmla="*/ 353 h 1039"/>
                  <a:gd name="connsiteX115" fmla="*/ 1923 w 3940"/>
                  <a:gd name="connsiteY115" fmla="*/ 295 h 1039"/>
                  <a:gd name="connsiteX116" fmla="*/ 1968 w 3940"/>
                  <a:gd name="connsiteY116" fmla="*/ 241 h 1039"/>
                  <a:gd name="connsiteX117" fmla="*/ 2015 w 3940"/>
                  <a:gd name="connsiteY117" fmla="*/ 189 h 1039"/>
                  <a:gd name="connsiteX118" fmla="*/ 2069 w 3940"/>
                  <a:gd name="connsiteY118" fmla="*/ 141 h 1039"/>
                  <a:gd name="connsiteX119" fmla="*/ 2125 w 3940"/>
                  <a:gd name="connsiteY119" fmla="*/ 100 h 1039"/>
                  <a:gd name="connsiteX120" fmla="*/ 2187 w 3940"/>
                  <a:gd name="connsiteY120" fmla="*/ 65 h 1039"/>
                  <a:gd name="connsiteX121" fmla="*/ 2253 w 3940"/>
                  <a:gd name="connsiteY121" fmla="*/ 35 h 1039"/>
                  <a:gd name="connsiteX122" fmla="*/ 2325 w 3940"/>
                  <a:gd name="connsiteY122" fmla="*/ 15 h 1039"/>
                  <a:gd name="connsiteX123" fmla="*/ 2404 w 3940"/>
                  <a:gd name="connsiteY123" fmla="*/ 2 h 1039"/>
                  <a:gd name="connsiteX124" fmla="*/ 2474 w 3940"/>
                  <a:gd name="connsiteY124" fmla="*/ 0 h 1039"/>
                  <a:gd name="connsiteX125" fmla="*/ 2540 w 3940"/>
                  <a:gd name="connsiteY125" fmla="*/ 9 h 1039"/>
                  <a:gd name="connsiteX126" fmla="*/ 2600 w 3940"/>
                  <a:gd name="connsiteY126" fmla="*/ 23 h 1039"/>
                  <a:gd name="connsiteX127" fmla="*/ 2658 w 3940"/>
                  <a:gd name="connsiteY127" fmla="*/ 46 h 1039"/>
                  <a:gd name="connsiteX128" fmla="*/ 2711 w 3940"/>
                  <a:gd name="connsiteY128" fmla="*/ 77 h 1039"/>
                  <a:gd name="connsiteX129" fmla="*/ 2761 w 3940"/>
                  <a:gd name="connsiteY129" fmla="*/ 112 h 1039"/>
                  <a:gd name="connsiteX130" fmla="*/ 2806 w 3940"/>
                  <a:gd name="connsiteY130" fmla="*/ 154 h 1039"/>
                  <a:gd name="connsiteX131" fmla="*/ 2852 w 3940"/>
                  <a:gd name="connsiteY131" fmla="*/ 199 h 1039"/>
                  <a:gd name="connsiteX132" fmla="*/ 2893 w 3940"/>
                  <a:gd name="connsiteY132" fmla="*/ 247 h 1039"/>
                  <a:gd name="connsiteX133" fmla="*/ 2932 w 3940"/>
                  <a:gd name="connsiteY133" fmla="*/ 299 h 1039"/>
                  <a:gd name="connsiteX134" fmla="*/ 2969 w 3940"/>
                  <a:gd name="connsiteY134" fmla="*/ 353 h 1039"/>
                  <a:gd name="connsiteX135" fmla="*/ 3004 w 3940"/>
                  <a:gd name="connsiteY135" fmla="*/ 409 h 1039"/>
                  <a:gd name="connsiteX136" fmla="*/ 3039 w 3940"/>
                  <a:gd name="connsiteY136" fmla="*/ 463 h 1039"/>
                  <a:gd name="connsiteX137" fmla="*/ 3073 w 3940"/>
                  <a:gd name="connsiteY137" fmla="*/ 519 h 1039"/>
                  <a:gd name="connsiteX138" fmla="*/ 3186 w 3940"/>
                  <a:gd name="connsiteY138" fmla="*/ 697 h 1039"/>
                  <a:gd name="connsiteX139" fmla="*/ 3659 w 3940"/>
                  <a:gd name="connsiteY139" fmla="*/ 931 h 1039"/>
                  <a:gd name="connsiteX140" fmla="*/ 3789 w 3940"/>
                  <a:gd name="connsiteY140" fmla="*/ 844 h 1039"/>
                  <a:gd name="connsiteX141" fmla="*/ 3826 w 3940"/>
                  <a:gd name="connsiteY141" fmla="*/ 803 h 1039"/>
                  <a:gd name="connsiteX0" fmla="*/ 3826 w 3940"/>
                  <a:gd name="connsiteY0" fmla="*/ 803 h 1039"/>
                  <a:gd name="connsiteX1" fmla="*/ 3940 w 3940"/>
                  <a:gd name="connsiteY1" fmla="*/ 794 h 1039"/>
                  <a:gd name="connsiteX2" fmla="*/ 3779 w 3940"/>
                  <a:gd name="connsiteY2" fmla="*/ 967 h 1039"/>
                  <a:gd name="connsiteX3" fmla="*/ 3620 w 3940"/>
                  <a:gd name="connsiteY3" fmla="*/ 1033 h 1039"/>
                  <a:gd name="connsiteX4" fmla="*/ 3556 w 3940"/>
                  <a:gd name="connsiteY4" fmla="*/ 1039 h 1039"/>
                  <a:gd name="connsiteX5" fmla="*/ 3147 w 3940"/>
                  <a:gd name="connsiteY5" fmla="*/ 792 h 1039"/>
                  <a:gd name="connsiteX6" fmla="*/ 3108 w 3940"/>
                  <a:gd name="connsiteY6" fmla="*/ 736 h 1039"/>
                  <a:gd name="connsiteX7" fmla="*/ 3070 w 3940"/>
                  <a:gd name="connsiteY7" fmla="*/ 680 h 1039"/>
                  <a:gd name="connsiteX8" fmla="*/ 2965 w 3940"/>
                  <a:gd name="connsiteY8" fmla="*/ 506 h 1039"/>
                  <a:gd name="connsiteX9" fmla="*/ 2928 w 3940"/>
                  <a:gd name="connsiteY9" fmla="*/ 448 h 1039"/>
                  <a:gd name="connsiteX10" fmla="*/ 2891 w 3940"/>
                  <a:gd name="connsiteY10" fmla="*/ 392 h 1039"/>
                  <a:gd name="connsiteX11" fmla="*/ 2854 w 3940"/>
                  <a:gd name="connsiteY11" fmla="*/ 338 h 1039"/>
                  <a:gd name="connsiteX12" fmla="*/ 2814 w 3940"/>
                  <a:gd name="connsiteY12" fmla="*/ 288 h 1039"/>
                  <a:gd name="connsiteX13" fmla="*/ 2773 w 3940"/>
                  <a:gd name="connsiteY13" fmla="*/ 243 h 1039"/>
                  <a:gd name="connsiteX14" fmla="*/ 2732 w 3940"/>
                  <a:gd name="connsiteY14" fmla="*/ 201 h 1039"/>
                  <a:gd name="connsiteX15" fmla="*/ 2686 w 3940"/>
                  <a:gd name="connsiteY15" fmla="*/ 164 h 1039"/>
                  <a:gd name="connsiteX16" fmla="*/ 2639 w 3940"/>
                  <a:gd name="connsiteY16" fmla="*/ 135 h 1039"/>
                  <a:gd name="connsiteX17" fmla="*/ 2587 w 3940"/>
                  <a:gd name="connsiteY17" fmla="*/ 112 h 1039"/>
                  <a:gd name="connsiteX18" fmla="*/ 2532 w 3940"/>
                  <a:gd name="connsiteY18" fmla="*/ 96 h 1039"/>
                  <a:gd name="connsiteX19" fmla="*/ 2474 w 3940"/>
                  <a:gd name="connsiteY19" fmla="*/ 87 h 1039"/>
                  <a:gd name="connsiteX20" fmla="*/ 2410 w 3940"/>
                  <a:gd name="connsiteY20" fmla="*/ 89 h 1039"/>
                  <a:gd name="connsiteX21" fmla="*/ 2342 w 3940"/>
                  <a:gd name="connsiteY21" fmla="*/ 100 h 1039"/>
                  <a:gd name="connsiteX22" fmla="*/ 2280 w 3940"/>
                  <a:gd name="connsiteY22" fmla="*/ 118 h 1039"/>
                  <a:gd name="connsiteX23" fmla="*/ 2222 w 3940"/>
                  <a:gd name="connsiteY23" fmla="*/ 143 h 1039"/>
                  <a:gd name="connsiteX24" fmla="*/ 2168 w 3940"/>
                  <a:gd name="connsiteY24" fmla="*/ 176 h 1039"/>
                  <a:gd name="connsiteX25" fmla="*/ 2117 w 3940"/>
                  <a:gd name="connsiteY25" fmla="*/ 214 h 1039"/>
                  <a:gd name="connsiteX26" fmla="*/ 2071 w 3940"/>
                  <a:gd name="connsiteY26" fmla="*/ 257 h 1039"/>
                  <a:gd name="connsiteX27" fmla="*/ 2026 w 3940"/>
                  <a:gd name="connsiteY27" fmla="*/ 303 h 1039"/>
                  <a:gd name="connsiteX28" fmla="*/ 1984 w 3940"/>
                  <a:gd name="connsiteY28" fmla="*/ 355 h 1039"/>
                  <a:gd name="connsiteX29" fmla="*/ 1945 w 3940"/>
                  <a:gd name="connsiteY29" fmla="*/ 409 h 1039"/>
                  <a:gd name="connsiteX30" fmla="*/ 1908 w 3940"/>
                  <a:gd name="connsiteY30" fmla="*/ 463 h 1039"/>
                  <a:gd name="connsiteX31" fmla="*/ 1871 w 3940"/>
                  <a:gd name="connsiteY31" fmla="*/ 519 h 1039"/>
                  <a:gd name="connsiteX32" fmla="*/ 1834 w 3940"/>
                  <a:gd name="connsiteY32" fmla="*/ 577 h 1039"/>
                  <a:gd name="connsiteX33" fmla="*/ 1799 w 3940"/>
                  <a:gd name="connsiteY33" fmla="*/ 633 h 1039"/>
                  <a:gd name="connsiteX34" fmla="*/ 1724 w 3940"/>
                  <a:gd name="connsiteY34" fmla="*/ 745 h 1039"/>
                  <a:gd name="connsiteX35" fmla="*/ 1685 w 3940"/>
                  <a:gd name="connsiteY35" fmla="*/ 797 h 1039"/>
                  <a:gd name="connsiteX36" fmla="*/ 1644 w 3940"/>
                  <a:gd name="connsiteY36" fmla="*/ 846 h 1039"/>
                  <a:gd name="connsiteX37" fmla="*/ 1600 w 3940"/>
                  <a:gd name="connsiteY37" fmla="*/ 892 h 1039"/>
                  <a:gd name="connsiteX38" fmla="*/ 1553 w 3940"/>
                  <a:gd name="connsiteY38" fmla="*/ 933 h 1039"/>
                  <a:gd name="connsiteX39" fmla="*/ 1503 w 3940"/>
                  <a:gd name="connsiteY39" fmla="*/ 969 h 1039"/>
                  <a:gd name="connsiteX40" fmla="*/ 1450 w 3940"/>
                  <a:gd name="connsiteY40" fmla="*/ 998 h 1039"/>
                  <a:gd name="connsiteX41" fmla="*/ 1394 w 3940"/>
                  <a:gd name="connsiteY41" fmla="*/ 1021 h 1039"/>
                  <a:gd name="connsiteX42" fmla="*/ 1330 w 3940"/>
                  <a:gd name="connsiteY42" fmla="*/ 1033 h 1039"/>
                  <a:gd name="connsiteX43" fmla="*/ 1264 w 3940"/>
                  <a:gd name="connsiteY43" fmla="*/ 1039 h 1039"/>
                  <a:gd name="connsiteX44" fmla="*/ 1258 w 3940"/>
                  <a:gd name="connsiteY44" fmla="*/ 1039 h 1039"/>
                  <a:gd name="connsiteX45" fmla="*/ 1190 w 3940"/>
                  <a:gd name="connsiteY45" fmla="*/ 1035 h 1039"/>
                  <a:gd name="connsiteX46" fmla="*/ 1128 w 3940"/>
                  <a:gd name="connsiteY46" fmla="*/ 1023 h 1039"/>
                  <a:gd name="connsiteX47" fmla="*/ 1070 w 3940"/>
                  <a:gd name="connsiteY47" fmla="*/ 1004 h 1039"/>
                  <a:gd name="connsiteX48" fmla="*/ 1018 w 3940"/>
                  <a:gd name="connsiteY48" fmla="*/ 979 h 1039"/>
                  <a:gd name="connsiteX49" fmla="*/ 971 w 3940"/>
                  <a:gd name="connsiteY49" fmla="*/ 948 h 1039"/>
                  <a:gd name="connsiteX50" fmla="*/ 925 w 3940"/>
                  <a:gd name="connsiteY50" fmla="*/ 911 h 1039"/>
                  <a:gd name="connsiteX51" fmla="*/ 884 w 3940"/>
                  <a:gd name="connsiteY51" fmla="*/ 869 h 1039"/>
                  <a:gd name="connsiteX52" fmla="*/ 847 w 3940"/>
                  <a:gd name="connsiteY52" fmla="*/ 824 h 1039"/>
                  <a:gd name="connsiteX53" fmla="*/ 810 w 3940"/>
                  <a:gd name="connsiteY53" fmla="*/ 776 h 1039"/>
                  <a:gd name="connsiteX54" fmla="*/ 777 w 3940"/>
                  <a:gd name="connsiteY54" fmla="*/ 724 h 1039"/>
                  <a:gd name="connsiteX55" fmla="*/ 742 w 3940"/>
                  <a:gd name="connsiteY55" fmla="*/ 670 h 1039"/>
                  <a:gd name="connsiteX56" fmla="*/ 711 w 3940"/>
                  <a:gd name="connsiteY56" fmla="*/ 614 h 1039"/>
                  <a:gd name="connsiteX57" fmla="*/ 678 w 3940"/>
                  <a:gd name="connsiteY57" fmla="*/ 556 h 1039"/>
                  <a:gd name="connsiteX58" fmla="*/ 616 w 3940"/>
                  <a:gd name="connsiteY58" fmla="*/ 444 h 1039"/>
                  <a:gd name="connsiteX59" fmla="*/ 547 w 3940"/>
                  <a:gd name="connsiteY59" fmla="*/ 336 h 1039"/>
                  <a:gd name="connsiteX60" fmla="*/ 504 w 3940"/>
                  <a:gd name="connsiteY60" fmla="*/ 280 h 1039"/>
                  <a:gd name="connsiteX61" fmla="*/ 457 w 3940"/>
                  <a:gd name="connsiteY61" fmla="*/ 235 h 1039"/>
                  <a:gd name="connsiteX62" fmla="*/ 409 w 3940"/>
                  <a:gd name="connsiteY62" fmla="*/ 195 h 1039"/>
                  <a:gd name="connsiteX63" fmla="*/ 358 w 3940"/>
                  <a:gd name="connsiteY63" fmla="*/ 164 h 1039"/>
                  <a:gd name="connsiteX64" fmla="*/ 308 w 3940"/>
                  <a:gd name="connsiteY64" fmla="*/ 141 h 1039"/>
                  <a:gd name="connsiteX65" fmla="*/ 256 w 3940"/>
                  <a:gd name="connsiteY65" fmla="*/ 123 h 1039"/>
                  <a:gd name="connsiteX66" fmla="*/ 209 w 3940"/>
                  <a:gd name="connsiteY66" fmla="*/ 108 h 1039"/>
                  <a:gd name="connsiteX67" fmla="*/ 163 w 3940"/>
                  <a:gd name="connsiteY67" fmla="*/ 100 h 1039"/>
                  <a:gd name="connsiteX68" fmla="*/ 122 w 3940"/>
                  <a:gd name="connsiteY68" fmla="*/ 96 h 1039"/>
                  <a:gd name="connsiteX69" fmla="*/ 85 w 3940"/>
                  <a:gd name="connsiteY69" fmla="*/ 91 h 1039"/>
                  <a:gd name="connsiteX70" fmla="*/ 31 w 3940"/>
                  <a:gd name="connsiteY70" fmla="*/ 91 h 1039"/>
                  <a:gd name="connsiteX71" fmla="*/ 17 w 3940"/>
                  <a:gd name="connsiteY71" fmla="*/ 94 h 1039"/>
                  <a:gd name="connsiteX72" fmla="*/ 11 w 3940"/>
                  <a:gd name="connsiteY72" fmla="*/ 94 h 1039"/>
                  <a:gd name="connsiteX73" fmla="*/ 0 w 3940"/>
                  <a:gd name="connsiteY73" fmla="*/ 9 h 1039"/>
                  <a:gd name="connsiteX74" fmla="*/ 9 w 3940"/>
                  <a:gd name="connsiteY74" fmla="*/ 9 h 1039"/>
                  <a:gd name="connsiteX75" fmla="*/ 29 w 3940"/>
                  <a:gd name="connsiteY75" fmla="*/ 6 h 1039"/>
                  <a:gd name="connsiteX76" fmla="*/ 91 w 3940"/>
                  <a:gd name="connsiteY76" fmla="*/ 6 h 1039"/>
                  <a:gd name="connsiteX77" fmla="*/ 135 w 3940"/>
                  <a:gd name="connsiteY77" fmla="*/ 9 h 1039"/>
                  <a:gd name="connsiteX78" fmla="*/ 182 w 3940"/>
                  <a:gd name="connsiteY78" fmla="*/ 15 h 1039"/>
                  <a:gd name="connsiteX79" fmla="*/ 234 w 3940"/>
                  <a:gd name="connsiteY79" fmla="*/ 25 h 1039"/>
                  <a:gd name="connsiteX80" fmla="*/ 287 w 3940"/>
                  <a:gd name="connsiteY80" fmla="*/ 42 h 1039"/>
                  <a:gd name="connsiteX81" fmla="*/ 345 w 3940"/>
                  <a:gd name="connsiteY81" fmla="*/ 62 h 1039"/>
                  <a:gd name="connsiteX82" fmla="*/ 403 w 3940"/>
                  <a:gd name="connsiteY82" fmla="*/ 89 h 1039"/>
                  <a:gd name="connsiteX83" fmla="*/ 459 w 3940"/>
                  <a:gd name="connsiteY83" fmla="*/ 127 h 1039"/>
                  <a:gd name="connsiteX84" fmla="*/ 514 w 3940"/>
                  <a:gd name="connsiteY84" fmla="*/ 170 h 1039"/>
                  <a:gd name="connsiteX85" fmla="*/ 568 w 3940"/>
                  <a:gd name="connsiteY85" fmla="*/ 224 h 1039"/>
                  <a:gd name="connsiteX86" fmla="*/ 618 w 3940"/>
                  <a:gd name="connsiteY86" fmla="*/ 288 h 1039"/>
                  <a:gd name="connsiteX87" fmla="*/ 667 w 3940"/>
                  <a:gd name="connsiteY87" fmla="*/ 363 h 1039"/>
                  <a:gd name="connsiteX88" fmla="*/ 754 w 3940"/>
                  <a:gd name="connsiteY88" fmla="*/ 512 h 1039"/>
                  <a:gd name="connsiteX89" fmla="*/ 787 w 3940"/>
                  <a:gd name="connsiteY89" fmla="*/ 571 h 1039"/>
                  <a:gd name="connsiteX90" fmla="*/ 820 w 3940"/>
                  <a:gd name="connsiteY90" fmla="*/ 627 h 1039"/>
                  <a:gd name="connsiteX91" fmla="*/ 853 w 3940"/>
                  <a:gd name="connsiteY91" fmla="*/ 680 h 1039"/>
                  <a:gd name="connsiteX92" fmla="*/ 886 w 3940"/>
                  <a:gd name="connsiteY92" fmla="*/ 732 h 1039"/>
                  <a:gd name="connsiteX93" fmla="*/ 921 w 3940"/>
                  <a:gd name="connsiteY93" fmla="*/ 778 h 1039"/>
                  <a:gd name="connsiteX94" fmla="*/ 958 w 3940"/>
                  <a:gd name="connsiteY94" fmla="*/ 821 h 1039"/>
                  <a:gd name="connsiteX95" fmla="*/ 1000 w 3940"/>
                  <a:gd name="connsiteY95" fmla="*/ 859 h 1039"/>
                  <a:gd name="connsiteX96" fmla="*/ 1043 w 3940"/>
                  <a:gd name="connsiteY96" fmla="*/ 890 h 1039"/>
                  <a:gd name="connsiteX97" fmla="*/ 1090 w 3940"/>
                  <a:gd name="connsiteY97" fmla="*/ 917 h 1039"/>
                  <a:gd name="connsiteX98" fmla="*/ 1140 w 3940"/>
                  <a:gd name="connsiteY98" fmla="*/ 935 h 1039"/>
                  <a:gd name="connsiteX99" fmla="*/ 1196 w 3940"/>
                  <a:gd name="connsiteY99" fmla="*/ 948 h 1039"/>
                  <a:gd name="connsiteX100" fmla="*/ 1258 w 3940"/>
                  <a:gd name="connsiteY100" fmla="*/ 952 h 1039"/>
                  <a:gd name="connsiteX101" fmla="*/ 1264 w 3940"/>
                  <a:gd name="connsiteY101" fmla="*/ 952 h 1039"/>
                  <a:gd name="connsiteX102" fmla="*/ 1324 w 3940"/>
                  <a:gd name="connsiteY102" fmla="*/ 946 h 1039"/>
                  <a:gd name="connsiteX103" fmla="*/ 1380 w 3940"/>
                  <a:gd name="connsiteY103" fmla="*/ 931 h 1039"/>
                  <a:gd name="connsiteX104" fmla="*/ 1433 w 3940"/>
                  <a:gd name="connsiteY104" fmla="*/ 909 h 1039"/>
                  <a:gd name="connsiteX105" fmla="*/ 1481 w 3940"/>
                  <a:gd name="connsiteY105" fmla="*/ 880 h 1039"/>
                  <a:gd name="connsiteX106" fmla="*/ 1526 w 3940"/>
                  <a:gd name="connsiteY106" fmla="*/ 842 h 1039"/>
                  <a:gd name="connsiteX107" fmla="*/ 1569 w 3940"/>
                  <a:gd name="connsiteY107" fmla="*/ 799 h 1039"/>
                  <a:gd name="connsiteX108" fmla="*/ 1609 w 3940"/>
                  <a:gd name="connsiteY108" fmla="*/ 751 h 1039"/>
                  <a:gd name="connsiteX109" fmla="*/ 1648 w 3940"/>
                  <a:gd name="connsiteY109" fmla="*/ 699 h 1039"/>
                  <a:gd name="connsiteX110" fmla="*/ 1687 w 3940"/>
                  <a:gd name="connsiteY110" fmla="*/ 645 h 1039"/>
                  <a:gd name="connsiteX111" fmla="*/ 1799 w 3940"/>
                  <a:gd name="connsiteY111" fmla="*/ 471 h 1039"/>
                  <a:gd name="connsiteX112" fmla="*/ 1838 w 3940"/>
                  <a:gd name="connsiteY112" fmla="*/ 411 h 1039"/>
                  <a:gd name="connsiteX113" fmla="*/ 1879 w 3940"/>
                  <a:gd name="connsiteY113" fmla="*/ 353 h 1039"/>
                  <a:gd name="connsiteX114" fmla="*/ 1923 w 3940"/>
                  <a:gd name="connsiteY114" fmla="*/ 295 h 1039"/>
                  <a:gd name="connsiteX115" fmla="*/ 1968 w 3940"/>
                  <a:gd name="connsiteY115" fmla="*/ 241 h 1039"/>
                  <a:gd name="connsiteX116" fmla="*/ 2015 w 3940"/>
                  <a:gd name="connsiteY116" fmla="*/ 189 h 1039"/>
                  <a:gd name="connsiteX117" fmla="*/ 2069 w 3940"/>
                  <a:gd name="connsiteY117" fmla="*/ 141 h 1039"/>
                  <a:gd name="connsiteX118" fmla="*/ 2125 w 3940"/>
                  <a:gd name="connsiteY118" fmla="*/ 100 h 1039"/>
                  <a:gd name="connsiteX119" fmla="*/ 2187 w 3940"/>
                  <a:gd name="connsiteY119" fmla="*/ 65 h 1039"/>
                  <a:gd name="connsiteX120" fmla="*/ 2253 w 3940"/>
                  <a:gd name="connsiteY120" fmla="*/ 35 h 1039"/>
                  <a:gd name="connsiteX121" fmla="*/ 2325 w 3940"/>
                  <a:gd name="connsiteY121" fmla="*/ 15 h 1039"/>
                  <a:gd name="connsiteX122" fmla="*/ 2404 w 3940"/>
                  <a:gd name="connsiteY122" fmla="*/ 2 h 1039"/>
                  <a:gd name="connsiteX123" fmla="*/ 2474 w 3940"/>
                  <a:gd name="connsiteY123" fmla="*/ 0 h 1039"/>
                  <a:gd name="connsiteX124" fmla="*/ 2540 w 3940"/>
                  <a:gd name="connsiteY124" fmla="*/ 9 h 1039"/>
                  <a:gd name="connsiteX125" fmla="*/ 2600 w 3940"/>
                  <a:gd name="connsiteY125" fmla="*/ 23 h 1039"/>
                  <a:gd name="connsiteX126" fmla="*/ 2658 w 3940"/>
                  <a:gd name="connsiteY126" fmla="*/ 46 h 1039"/>
                  <a:gd name="connsiteX127" fmla="*/ 2711 w 3940"/>
                  <a:gd name="connsiteY127" fmla="*/ 77 h 1039"/>
                  <a:gd name="connsiteX128" fmla="*/ 2761 w 3940"/>
                  <a:gd name="connsiteY128" fmla="*/ 112 h 1039"/>
                  <a:gd name="connsiteX129" fmla="*/ 2806 w 3940"/>
                  <a:gd name="connsiteY129" fmla="*/ 154 h 1039"/>
                  <a:gd name="connsiteX130" fmla="*/ 2852 w 3940"/>
                  <a:gd name="connsiteY130" fmla="*/ 199 h 1039"/>
                  <a:gd name="connsiteX131" fmla="*/ 2893 w 3940"/>
                  <a:gd name="connsiteY131" fmla="*/ 247 h 1039"/>
                  <a:gd name="connsiteX132" fmla="*/ 2932 w 3940"/>
                  <a:gd name="connsiteY132" fmla="*/ 299 h 1039"/>
                  <a:gd name="connsiteX133" fmla="*/ 2969 w 3940"/>
                  <a:gd name="connsiteY133" fmla="*/ 353 h 1039"/>
                  <a:gd name="connsiteX134" fmla="*/ 3004 w 3940"/>
                  <a:gd name="connsiteY134" fmla="*/ 409 h 1039"/>
                  <a:gd name="connsiteX135" fmla="*/ 3039 w 3940"/>
                  <a:gd name="connsiteY135" fmla="*/ 463 h 1039"/>
                  <a:gd name="connsiteX136" fmla="*/ 3073 w 3940"/>
                  <a:gd name="connsiteY136" fmla="*/ 519 h 1039"/>
                  <a:gd name="connsiteX137" fmla="*/ 3186 w 3940"/>
                  <a:gd name="connsiteY137" fmla="*/ 697 h 1039"/>
                  <a:gd name="connsiteX138" fmla="*/ 3659 w 3940"/>
                  <a:gd name="connsiteY138" fmla="*/ 931 h 1039"/>
                  <a:gd name="connsiteX139" fmla="*/ 3789 w 3940"/>
                  <a:gd name="connsiteY139" fmla="*/ 844 h 1039"/>
                  <a:gd name="connsiteX140" fmla="*/ 3826 w 3940"/>
                  <a:gd name="connsiteY140" fmla="*/ 803 h 1039"/>
                  <a:gd name="connsiteX0" fmla="*/ 3826 w 3940"/>
                  <a:gd name="connsiteY0" fmla="*/ 803 h 1039"/>
                  <a:gd name="connsiteX1" fmla="*/ 3940 w 3940"/>
                  <a:gd name="connsiteY1" fmla="*/ 794 h 1039"/>
                  <a:gd name="connsiteX2" fmla="*/ 3779 w 3940"/>
                  <a:gd name="connsiteY2" fmla="*/ 967 h 1039"/>
                  <a:gd name="connsiteX3" fmla="*/ 3556 w 3940"/>
                  <a:gd name="connsiteY3" fmla="*/ 1039 h 1039"/>
                  <a:gd name="connsiteX4" fmla="*/ 3147 w 3940"/>
                  <a:gd name="connsiteY4" fmla="*/ 792 h 1039"/>
                  <a:gd name="connsiteX5" fmla="*/ 3108 w 3940"/>
                  <a:gd name="connsiteY5" fmla="*/ 736 h 1039"/>
                  <a:gd name="connsiteX6" fmla="*/ 3070 w 3940"/>
                  <a:gd name="connsiteY6" fmla="*/ 680 h 1039"/>
                  <a:gd name="connsiteX7" fmla="*/ 2965 w 3940"/>
                  <a:gd name="connsiteY7" fmla="*/ 506 h 1039"/>
                  <a:gd name="connsiteX8" fmla="*/ 2928 w 3940"/>
                  <a:gd name="connsiteY8" fmla="*/ 448 h 1039"/>
                  <a:gd name="connsiteX9" fmla="*/ 2891 w 3940"/>
                  <a:gd name="connsiteY9" fmla="*/ 392 h 1039"/>
                  <a:gd name="connsiteX10" fmla="*/ 2854 w 3940"/>
                  <a:gd name="connsiteY10" fmla="*/ 338 h 1039"/>
                  <a:gd name="connsiteX11" fmla="*/ 2814 w 3940"/>
                  <a:gd name="connsiteY11" fmla="*/ 288 h 1039"/>
                  <a:gd name="connsiteX12" fmla="*/ 2773 w 3940"/>
                  <a:gd name="connsiteY12" fmla="*/ 243 h 1039"/>
                  <a:gd name="connsiteX13" fmla="*/ 2732 w 3940"/>
                  <a:gd name="connsiteY13" fmla="*/ 201 h 1039"/>
                  <a:gd name="connsiteX14" fmla="*/ 2686 w 3940"/>
                  <a:gd name="connsiteY14" fmla="*/ 164 h 1039"/>
                  <a:gd name="connsiteX15" fmla="*/ 2639 w 3940"/>
                  <a:gd name="connsiteY15" fmla="*/ 135 h 1039"/>
                  <a:gd name="connsiteX16" fmla="*/ 2587 w 3940"/>
                  <a:gd name="connsiteY16" fmla="*/ 112 h 1039"/>
                  <a:gd name="connsiteX17" fmla="*/ 2532 w 3940"/>
                  <a:gd name="connsiteY17" fmla="*/ 96 h 1039"/>
                  <a:gd name="connsiteX18" fmla="*/ 2474 w 3940"/>
                  <a:gd name="connsiteY18" fmla="*/ 87 h 1039"/>
                  <a:gd name="connsiteX19" fmla="*/ 2410 w 3940"/>
                  <a:gd name="connsiteY19" fmla="*/ 89 h 1039"/>
                  <a:gd name="connsiteX20" fmla="*/ 2342 w 3940"/>
                  <a:gd name="connsiteY20" fmla="*/ 100 h 1039"/>
                  <a:gd name="connsiteX21" fmla="*/ 2280 w 3940"/>
                  <a:gd name="connsiteY21" fmla="*/ 118 h 1039"/>
                  <a:gd name="connsiteX22" fmla="*/ 2222 w 3940"/>
                  <a:gd name="connsiteY22" fmla="*/ 143 h 1039"/>
                  <a:gd name="connsiteX23" fmla="*/ 2168 w 3940"/>
                  <a:gd name="connsiteY23" fmla="*/ 176 h 1039"/>
                  <a:gd name="connsiteX24" fmla="*/ 2117 w 3940"/>
                  <a:gd name="connsiteY24" fmla="*/ 214 h 1039"/>
                  <a:gd name="connsiteX25" fmla="*/ 2071 w 3940"/>
                  <a:gd name="connsiteY25" fmla="*/ 257 h 1039"/>
                  <a:gd name="connsiteX26" fmla="*/ 2026 w 3940"/>
                  <a:gd name="connsiteY26" fmla="*/ 303 h 1039"/>
                  <a:gd name="connsiteX27" fmla="*/ 1984 w 3940"/>
                  <a:gd name="connsiteY27" fmla="*/ 355 h 1039"/>
                  <a:gd name="connsiteX28" fmla="*/ 1945 w 3940"/>
                  <a:gd name="connsiteY28" fmla="*/ 409 h 1039"/>
                  <a:gd name="connsiteX29" fmla="*/ 1908 w 3940"/>
                  <a:gd name="connsiteY29" fmla="*/ 463 h 1039"/>
                  <a:gd name="connsiteX30" fmla="*/ 1871 w 3940"/>
                  <a:gd name="connsiteY30" fmla="*/ 519 h 1039"/>
                  <a:gd name="connsiteX31" fmla="*/ 1834 w 3940"/>
                  <a:gd name="connsiteY31" fmla="*/ 577 h 1039"/>
                  <a:gd name="connsiteX32" fmla="*/ 1799 w 3940"/>
                  <a:gd name="connsiteY32" fmla="*/ 633 h 1039"/>
                  <a:gd name="connsiteX33" fmla="*/ 1724 w 3940"/>
                  <a:gd name="connsiteY33" fmla="*/ 745 h 1039"/>
                  <a:gd name="connsiteX34" fmla="*/ 1685 w 3940"/>
                  <a:gd name="connsiteY34" fmla="*/ 797 h 1039"/>
                  <a:gd name="connsiteX35" fmla="*/ 1644 w 3940"/>
                  <a:gd name="connsiteY35" fmla="*/ 846 h 1039"/>
                  <a:gd name="connsiteX36" fmla="*/ 1600 w 3940"/>
                  <a:gd name="connsiteY36" fmla="*/ 892 h 1039"/>
                  <a:gd name="connsiteX37" fmla="*/ 1553 w 3940"/>
                  <a:gd name="connsiteY37" fmla="*/ 933 h 1039"/>
                  <a:gd name="connsiteX38" fmla="*/ 1503 w 3940"/>
                  <a:gd name="connsiteY38" fmla="*/ 969 h 1039"/>
                  <a:gd name="connsiteX39" fmla="*/ 1450 w 3940"/>
                  <a:gd name="connsiteY39" fmla="*/ 998 h 1039"/>
                  <a:gd name="connsiteX40" fmla="*/ 1394 w 3940"/>
                  <a:gd name="connsiteY40" fmla="*/ 1021 h 1039"/>
                  <a:gd name="connsiteX41" fmla="*/ 1330 w 3940"/>
                  <a:gd name="connsiteY41" fmla="*/ 1033 h 1039"/>
                  <a:gd name="connsiteX42" fmla="*/ 1264 w 3940"/>
                  <a:gd name="connsiteY42" fmla="*/ 1039 h 1039"/>
                  <a:gd name="connsiteX43" fmla="*/ 1258 w 3940"/>
                  <a:gd name="connsiteY43" fmla="*/ 1039 h 1039"/>
                  <a:gd name="connsiteX44" fmla="*/ 1190 w 3940"/>
                  <a:gd name="connsiteY44" fmla="*/ 1035 h 1039"/>
                  <a:gd name="connsiteX45" fmla="*/ 1128 w 3940"/>
                  <a:gd name="connsiteY45" fmla="*/ 1023 h 1039"/>
                  <a:gd name="connsiteX46" fmla="*/ 1070 w 3940"/>
                  <a:gd name="connsiteY46" fmla="*/ 1004 h 1039"/>
                  <a:gd name="connsiteX47" fmla="*/ 1018 w 3940"/>
                  <a:gd name="connsiteY47" fmla="*/ 979 h 1039"/>
                  <a:gd name="connsiteX48" fmla="*/ 971 w 3940"/>
                  <a:gd name="connsiteY48" fmla="*/ 948 h 1039"/>
                  <a:gd name="connsiteX49" fmla="*/ 925 w 3940"/>
                  <a:gd name="connsiteY49" fmla="*/ 911 h 1039"/>
                  <a:gd name="connsiteX50" fmla="*/ 884 w 3940"/>
                  <a:gd name="connsiteY50" fmla="*/ 869 h 1039"/>
                  <a:gd name="connsiteX51" fmla="*/ 847 w 3940"/>
                  <a:gd name="connsiteY51" fmla="*/ 824 h 1039"/>
                  <a:gd name="connsiteX52" fmla="*/ 810 w 3940"/>
                  <a:gd name="connsiteY52" fmla="*/ 776 h 1039"/>
                  <a:gd name="connsiteX53" fmla="*/ 777 w 3940"/>
                  <a:gd name="connsiteY53" fmla="*/ 724 h 1039"/>
                  <a:gd name="connsiteX54" fmla="*/ 742 w 3940"/>
                  <a:gd name="connsiteY54" fmla="*/ 670 h 1039"/>
                  <a:gd name="connsiteX55" fmla="*/ 711 w 3940"/>
                  <a:gd name="connsiteY55" fmla="*/ 614 h 1039"/>
                  <a:gd name="connsiteX56" fmla="*/ 678 w 3940"/>
                  <a:gd name="connsiteY56" fmla="*/ 556 h 1039"/>
                  <a:gd name="connsiteX57" fmla="*/ 616 w 3940"/>
                  <a:gd name="connsiteY57" fmla="*/ 444 h 1039"/>
                  <a:gd name="connsiteX58" fmla="*/ 547 w 3940"/>
                  <a:gd name="connsiteY58" fmla="*/ 336 h 1039"/>
                  <a:gd name="connsiteX59" fmla="*/ 504 w 3940"/>
                  <a:gd name="connsiteY59" fmla="*/ 280 h 1039"/>
                  <a:gd name="connsiteX60" fmla="*/ 457 w 3940"/>
                  <a:gd name="connsiteY60" fmla="*/ 235 h 1039"/>
                  <a:gd name="connsiteX61" fmla="*/ 409 w 3940"/>
                  <a:gd name="connsiteY61" fmla="*/ 195 h 1039"/>
                  <a:gd name="connsiteX62" fmla="*/ 358 w 3940"/>
                  <a:gd name="connsiteY62" fmla="*/ 164 h 1039"/>
                  <a:gd name="connsiteX63" fmla="*/ 308 w 3940"/>
                  <a:gd name="connsiteY63" fmla="*/ 141 h 1039"/>
                  <a:gd name="connsiteX64" fmla="*/ 256 w 3940"/>
                  <a:gd name="connsiteY64" fmla="*/ 123 h 1039"/>
                  <a:gd name="connsiteX65" fmla="*/ 209 w 3940"/>
                  <a:gd name="connsiteY65" fmla="*/ 108 h 1039"/>
                  <a:gd name="connsiteX66" fmla="*/ 163 w 3940"/>
                  <a:gd name="connsiteY66" fmla="*/ 100 h 1039"/>
                  <a:gd name="connsiteX67" fmla="*/ 122 w 3940"/>
                  <a:gd name="connsiteY67" fmla="*/ 96 h 1039"/>
                  <a:gd name="connsiteX68" fmla="*/ 85 w 3940"/>
                  <a:gd name="connsiteY68" fmla="*/ 91 h 1039"/>
                  <a:gd name="connsiteX69" fmla="*/ 31 w 3940"/>
                  <a:gd name="connsiteY69" fmla="*/ 91 h 1039"/>
                  <a:gd name="connsiteX70" fmla="*/ 17 w 3940"/>
                  <a:gd name="connsiteY70" fmla="*/ 94 h 1039"/>
                  <a:gd name="connsiteX71" fmla="*/ 11 w 3940"/>
                  <a:gd name="connsiteY71" fmla="*/ 94 h 1039"/>
                  <a:gd name="connsiteX72" fmla="*/ 0 w 3940"/>
                  <a:gd name="connsiteY72" fmla="*/ 9 h 1039"/>
                  <a:gd name="connsiteX73" fmla="*/ 9 w 3940"/>
                  <a:gd name="connsiteY73" fmla="*/ 9 h 1039"/>
                  <a:gd name="connsiteX74" fmla="*/ 29 w 3940"/>
                  <a:gd name="connsiteY74" fmla="*/ 6 h 1039"/>
                  <a:gd name="connsiteX75" fmla="*/ 91 w 3940"/>
                  <a:gd name="connsiteY75" fmla="*/ 6 h 1039"/>
                  <a:gd name="connsiteX76" fmla="*/ 135 w 3940"/>
                  <a:gd name="connsiteY76" fmla="*/ 9 h 1039"/>
                  <a:gd name="connsiteX77" fmla="*/ 182 w 3940"/>
                  <a:gd name="connsiteY77" fmla="*/ 15 h 1039"/>
                  <a:gd name="connsiteX78" fmla="*/ 234 w 3940"/>
                  <a:gd name="connsiteY78" fmla="*/ 25 h 1039"/>
                  <a:gd name="connsiteX79" fmla="*/ 287 w 3940"/>
                  <a:gd name="connsiteY79" fmla="*/ 42 h 1039"/>
                  <a:gd name="connsiteX80" fmla="*/ 345 w 3940"/>
                  <a:gd name="connsiteY80" fmla="*/ 62 h 1039"/>
                  <a:gd name="connsiteX81" fmla="*/ 403 w 3940"/>
                  <a:gd name="connsiteY81" fmla="*/ 89 h 1039"/>
                  <a:gd name="connsiteX82" fmla="*/ 459 w 3940"/>
                  <a:gd name="connsiteY82" fmla="*/ 127 h 1039"/>
                  <a:gd name="connsiteX83" fmla="*/ 514 w 3940"/>
                  <a:gd name="connsiteY83" fmla="*/ 170 h 1039"/>
                  <a:gd name="connsiteX84" fmla="*/ 568 w 3940"/>
                  <a:gd name="connsiteY84" fmla="*/ 224 h 1039"/>
                  <a:gd name="connsiteX85" fmla="*/ 618 w 3940"/>
                  <a:gd name="connsiteY85" fmla="*/ 288 h 1039"/>
                  <a:gd name="connsiteX86" fmla="*/ 667 w 3940"/>
                  <a:gd name="connsiteY86" fmla="*/ 363 h 1039"/>
                  <a:gd name="connsiteX87" fmla="*/ 754 w 3940"/>
                  <a:gd name="connsiteY87" fmla="*/ 512 h 1039"/>
                  <a:gd name="connsiteX88" fmla="*/ 787 w 3940"/>
                  <a:gd name="connsiteY88" fmla="*/ 571 h 1039"/>
                  <a:gd name="connsiteX89" fmla="*/ 820 w 3940"/>
                  <a:gd name="connsiteY89" fmla="*/ 627 h 1039"/>
                  <a:gd name="connsiteX90" fmla="*/ 853 w 3940"/>
                  <a:gd name="connsiteY90" fmla="*/ 680 h 1039"/>
                  <a:gd name="connsiteX91" fmla="*/ 886 w 3940"/>
                  <a:gd name="connsiteY91" fmla="*/ 732 h 1039"/>
                  <a:gd name="connsiteX92" fmla="*/ 921 w 3940"/>
                  <a:gd name="connsiteY92" fmla="*/ 778 h 1039"/>
                  <a:gd name="connsiteX93" fmla="*/ 958 w 3940"/>
                  <a:gd name="connsiteY93" fmla="*/ 821 h 1039"/>
                  <a:gd name="connsiteX94" fmla="*/ 1000 w 3940"/>
                  <a:gd name="connsiteY94" fmla="*/ 859 h 1039"/>
                  <a:gd name="connsiteX95" fmla="*/ 1043 w 3940"/>
                  <a:gd name="connsiteY95" fmla="*/ 890 h 1039"/>
                  <a:gd name="connsiteX96" fmla="*/ 1090 w 3940"/>
                  <a:gd name="connsiteY96" fmla="*/ 917 h 1039"/>
                  <a:gd name="connsiteX97" fmla="*/ 1140 w 3940"/>
                  <a:gd name="connsiteY97" fmla="*/ 935 h 1039"/>
                  <a:gd name="connsiteX98" fmla="*/ 1196 w 3940"/>
                  <a:gd name="connsiteY98" fmla="*/ 948 h 1039"/>
                  <a:gd name="connsiteX99" fmla="*/ 1258 w 3940"/>
                  <a:gd name="connsiteY99" fmla="*/ 952 h 1039"/>
                  <a:gd name="connsiteX100" fmla="*/ 1264 w 3940"/>
                  <a:gd name="connsiteY100" fmla="*/ 952 h 1039"/>
                  <a:gd name="connsiteX101" fmla="*/ 1324 w 3940"/>
                  <a:gd name="connsiteY101" fmla="*/ 946 h 1039"/>
                  <a:gd name="connsiteX102" fmla="*/ 1380 w 3940"/>
                  <a:gd name="connsiteY102" fmla="*/ 931 h 1039"/>
                  <a:gd name="connsiteX103" fmla="*/ 1433 w 3940"/>
                  <a:gd name="connsiteY103" fmla="*/ 909 h 1039"/>
                  <a:gd name="connsiteX104" fmla="*/ 1481 w 3940"/>
                  <a:gd name="connsiteY104" fmla="*/ 880 h 1039"/>
                  <a:gd name="connsiteX105" fmla="*/ 1526 w 3940"/>
                  <a:gd name="connsiteY105" fmla="*/ 842 h 1039"/>
                  <a:gd name="connsiteX106" fmla="*/ 1569 w 3940"/>
                  <a:gd name="connsiteY106" fmla="*/ 799 h 1039"/>
                  <a:gd name="connsiteX107" fmla="*/ 1609 w 3940"/>
                  <a:gd name="connsiteY107" fmla="*/ 751 h 1039"/>
                  <a:gd name="connsiteX108" fmla="*/ 1648 w 3940"/>
                  <a:gd name="connsiteY108" fmla="*/ 699 h 1039"/>
                  <a:gd name="connsiteX109" fmla="*/ 1687 w 3940"/>
                  <a:gd name="connsiteY109" fmla="*/ 645 h 1039"/>
                  <a:gd name="connsiteX110" fmla="*/ 1799 w 3940"/>
                  <a:gd name="connsiteY110" fmla="*/ 471 h 1039"/>
                  <a:gd name="connsiteX111" fmla="*/ 1838 w 3940"/>
                  <a:gd name="connsiteY111" fmla="*/ 411 h 1039"/>
                  <a:gd name="connsiteX112" fmla="*/ 1879 w 3940"/>
                  <a:gd name="connsiteY112" fmla="*/ 353 h 1039"/>
                  <a:gd name="connsiteX113" fmla="*/ 1923 w 3940"/>
                  <a:gd name="connsiteY113" fmla="*/ 295 h 1039"/>
                  <a:gd name="connsiteX114" fmla="*/ 1968 w 3940"/>
                  <a:gd name="connsiteY114" fmla="*/ 241 h 1039"/>
                  <a:gd name="connsiteX115" fmla="*/ 2015 w 3940"/>
                  <a:gd name="connsiteY115" fmla="*/ 189 h 1039"/>
                  <a:gd name="connsiteX116" fmla="*/ 2069 w 3940"/>
                  <a:gd name="connsiteY116" fmla="*/ 141 h 1039"/>
                  <a:gd name="connsiteX117" fmla="*/ 2125 w 3940"/>
                  <a:gd name="connsiteY117" fmla="*/ 100 h 1039"/>
                  <a:gd name="connsiteX118" fmla="*/ 2187 w 3940"/>
                  <a:gd name="connsiteY118" fmla="*/ 65 h 1039"/>
                  <a:gd name="connsiteX119" fmla="*/ 2253 w 3940"/>
                  <a:gd name="connsiteY119" fmla="*/ 35 h 1039"/>
                  <a:gd name="connsiteX120" fmla="*/ 2325 w 3940"/>
                  <a:gd name="connsiteY120" fmla="*/ 15 h 1039"/>
                  <a:gd name="connsiteX121" fmla="*/ 2404 w 3940"/>
                  <a:gd name="connsiteY121" fmla="*/ 2 h 1039"/>
                  <a:gd name="connsiteX122" fmla="*/ 2474 w 3940"/>
                  <a:gd name="connsiteY122" fmla="*/ 0 h 1039"/>
                  <a:gd name="connsiteX123" fmla="*/ 2540 w 3940"/>
                  <a:gd name="connsiteY123" fmla="*/ 9 h 1039"/>
                  <a:gd name="connsiteX124" fmla="*/ 2600 w 3940"/>
                  <a:gd name="connsiteY124" fmla="*/ 23 h 1039"/>
                  <a:gd name="connsiteX125" fmla="*/ 2658 w 3940"/>
                  <a:gd name="connsiteY125" fmla="*/ 46 h 1039"/>
                  <a:gd name="connsiteX126" fmla="*/ 2711 w 3940"/>
                  <a:gd name="connsiteY126" fmla="*/ 77 h 1039"/>
                  <a:gd name="connsiteX127" fmla="*/ 2761 w 3940"/>
                  <a:gd name="connsiteY127" fmla="*/ 112 h 1039"/>
                  <a:gd name="connsiteX128" fmla="*/ 2806 w 3940"/>
                  <a:gd name="connsiteY128" fmla="*/ 154 h 1039"/>
                  <a:gd name="connsiteX129" fmla="*/ 2852 w 3940"/>
                  <a:gd name="connsiteY129" fmla="*/ 199 h 1039"/>
                  <a:gd name="connsiteX130" fmla="*/ 2893 w 3940"/>
                  <a:gd name="connsiteY130" fmla="*/ 247 h 1039"/>
                  <a:gd name="connsiteX131" fmla="*/ 2932 w 3940"/>
                  <a:gd name="connsiteY131" fmla="*/ 299 h 1039"/>
                  <a:gd name="connsiteX132" fmla="*/ 2969 w 3940"/>
                  <a:gd name="connsiteY132" fmla="*/ 353 h 1039"/>
                  <a:gd name="connsiteX133" fmla="*/ 3004 w 3940"/>
                  <a:gd name="connsiteY133" fmla="*/ 409 h 1039"/>
                  <a:gd name="connsiteX134" fmla="*/ 3039 w 3940"/>
                  <a:gd name="connsiteY134" fmla="*/ 463 h 1039"/>
                  <a:gd name="connsiteX135" fmla="*/ 3073 w 3940"/>
                  <a:gd name="connsiteY135" fmla="*/ 519 h 1039"/>
                  <a:gd name="connsiteX136" fmla="*/ 3186 w 3940"/>
                  <a:gd name="connsiteY136" fmla="*/ 697 h 1039"/>
                  <a:gd name="connsiteX137" fmla="*/ 3659 w 3940"/>
                  <a:gd name="connsiteY137" fmla="*/ 931 h 1039"/>
                  <a:gd name="connsiteX138" fmla="*/ 3789 w 3940"/>
                  <a:gd name="connsiteY138" fmla="*/ 844 h 1039"/>
                  <a:gd name="connsiteX139" fmla="*/ 3826 w 3940"/>
                  <a:gd name="connsiteY139" fmla="*/ 803 h 1039"/>
                  <a:gd name="connsiteX0" fmla="*/ 3826 w 3940"/>
                  <a:gd name="connsiteY0" fmla="*/ 803 h 1039"/>
                  <a:gd name="connsiteX1" fmla="*/ 3940 w 3940"/>
                  <a:gd name="connsiteY1" fmla="*/ 794 h 1039"/>
                  <a:gd name="connsiteX2" fmla="*/ 3556 w 3940"/>
                  <a:gd name="connsiteY2" fmla="*/ 1039 h 1039"/>
                  <a:gd name="connsiteX3" fmla="*/ 3147 w 3940"/>
                  <a:gd name="connsiteY3" fmla="*/ 792 h 1039"/>
                  <a:gd name="connsiteX4" fmla="*/ 3108 w 3940"/>
                  <a:gd name="connsiteY4" fmla="*/ 736 h 1039"/>
                  <a:gd name="connsiteX5" fmla="*/ 3070 w 3940"/>
                  <a:gd name="connsiteY5" fmla="*/ 680 h 1039"/>
                  <a:gd name="connsiteX6" fmla="*/ 2965 w 3940"/>
                  <a:gd name="connsiteY6" fmla="*/ 506 h 1039"/>
                  <a:gd name="connsiteX7" fmla="*/ 2928 w 3940"/>
                  <a:gd name="connsiteY7" fmla="*/ 448 h 1039"/>
                  <a:gd name="connsiteX8" fmla="*/ 2891 w 3940"/>
                  <a:gd name="connsiteY8" fmla="*/ 392 h 1039"/>
                  <a:gd name="connsiteX9" fmla="*/ 2854 w 3940"/>
                  <a:gd name="connsiteY9" fmla="*/ 338 h 1039"/>
                  <a:gd name="connsiteX10" fmla="*/ 2814 w 3940"/>
                  <a:gd name="connsiteY10" fmla="*/ 288 h 1039"/>
                  <a:gd name="connsiteX11" fmla="*/ 2773 w 3940"/>
                  <a:gd name="connsiteY11" fmla="*/ 243 h 1039"/>
                  <a:gd name="connsiteX12" fmla="*/ 2732 w 3940"/>
                  <a:gd name="connsiteY12" fmla="*/ 201 h 1039"/>
                  <a:gd name="connsiteX13" fmla="*/ 2686 w 3940"/>
                  <a:gd name="connsiteY13" fmla="*/ 164 h 1039"/>
                  <a:gd name="connsiteX14" fmla="*/ 2639 w 3940"/>
                  <a:gd name="connsiteY14" fmla="*/ 135 h 1039"/>
                  <a:gd name="connsiteX15" fmla="*/ 2587 w 3940"/>
                  <a:gd name="connsiteY15" fmla="*/ 112 h 1039"/>
                  <a:gd name="connsiteX16" fmla="*/ 2532 w 3940"/>
                  <a:gd name="connsiteY16" fmla="*/ 96 h 1039"/>
                  <a:gd name="connsiteX17" fmla="*/ 2474 w 3940"/>
                  <a:gd name="connsiteY17" fmla="*/ 87 h 1039"/>
                  <a:gd name="connsiteX18" fmla="*/ 2410 w 3940"/>
                  <a:gd name="connsiteY18" fmla="*/ 89 h 1039"/>
                  <a:gd name="connsiteX19" fmla="*/ 2342 w 3940"/>
                  <a:gd name="connsiteY19" fmla="*/ 100 h 1039"/>
                  <a:gd name="connsiteX20" fmla="*/ 2280 w 3940"/>
                  <a:gd name="connsiteY20" fmla="*/ 118 h 1039"/>
                  <a:gd name="connsiteX21" fmla="*/ 2222 w 3940"/>
                  <a:gd name="connsiteY21" fmla="*/ 143 h 1039"/>
                  <a:gd name="connsiteX22" fmla="*/ 2168 w 3940"/>
                  <a:gd name="connsiteY22" fmla="*/ 176 h 1039"/>
                  <a:gd name="connsiteX23" fmla="*/ 2117 w 3940"/>
                  <a:gd name="connsiteY23" fmla="*/ 214 h 1039"/>
                  <a:gd name="connsiteX24" fmla="*/ 2071 w 3940"/>
                  <a:gd name="connsiteY24" fmla="*/ 257 h 1039"/>
                  <a:gd name="connsiteX25" fmla="*/ 2026 w 3940"/>
                  <a:gd name="connsiteY25" fmla="*/ 303 h 1039"/>
                  <a:gd name="connsiteX26" fmla="*/ 1984 w 3940"/>
                  <a:gd name="connsiteY26" fmla="*/ 355 h 1039"/>
                  <a:gd name="connsiteX27" fmla="*/ 1945 w 3940"/>
                  <a:gd name="connsiteY27" fmla="*/ 409 h 1039"/>
                  <a:gd name="connsiteX28" fmla="*/ 1908 w 3940"/>
                  <a:gd name="connsiteY28" fmla="*/ 463 h 1039"/>
                  <a:gd name="connsiteX29" fmla="*/ 1871 w 3940"/>
                  <a:gd name="connsiteY29" fmla="*/ 519 h 1039"/>
                  <a:gd name="connsiteX30" fmla="*/ 1834 w 3940"/>
                  <a:gd name="connsiteY30" fmla="*/ 577 h 1039"/>
                  <a:gd name="connsiteX31" fmla="*/ 1799 w 3940"/>
                  <a:gd name="connsiteY31" fmla="*/ 633 h 1039"/>
                  <a:gd name="connsiteX32" fmla="*/ 1724 w 3940"/>
                  <a:gd name="connsiteY32" fmla="*/ 745 h 1039"/>
                  <a:gd name="connsiteX33" fmla="*/ 1685 w 3940"/>
                  <a:gd name="connsiteY33" fmla="*/ 797 h 1039"/>
                  <a:gd name="connsiteX34" fmla="*/ 1644 w 3940"/>
                  <a:gd name="connsiteY34" fmla="*/ 846 h 1039"/>
                  <a:gd name="connsiteX35" fmla="*/ 1600 w 3940"/>
                  <a:gd name="connsiteY35" fmla="*/ 892 h 1039"/>
                  <a:gd name="connsiteX36" fmla="*/ 1553 w 3940"/>
                  <a:gd name="connsiteY36" fmla="*/ 933 h 1039"/>
                  <a:gd name="connsiteX37" fmla="*/ 1503 w 3940"/>
                  <a:gd name="connsiteY37" fmla="*/ 969 h 1039"/>
                  <a:gd name="connsiteX38" fmla="*/ 1450 w 3940"/>
                  <a:gd name="connsiteY38" fmla="*/ 998 h 1039"/>
                  <a:gd name="connsiteX39" fmla="*/ 1394 w 3940"/>
                  <a:gd name="connsiteY39" fmla="*/ 1021 h 1039"/>
                  <a:gd name="connsiteX40" fmla="*/ 1330 w 3940"/>
                  <a:gd name="connsiteY40" fmla="*/ 1033 h 1039"/>
                  <a:gd name="connsiteX41" fmla="*/ 1264 w 3940"/>
                  <a:gd name="connsiteY41" fmla="*/ 1039 h 1039"/>
                  <a:gd name="connsiteX42" fmla="*/ 1258 w 3940"/>
                  <a:gd name="connsiteY42" fmla="*/ 1039 h 1039"/>
                  <a:gd name="connsiteX43" fmla="*/ 1190 w 3940"/>
                  <a:gd name="connsiteY43" fmla="*/ 1035 h 1039"/>
                  <a:gd name="connsiteX44" fmla="*/ 1128 w 3940"/>
                  <a:gd name="connsiteY44" fmla="*/ 1023 h 1039"/>
                  <a:gd name="connsiteX45" fmla="*/ 1070 w 3940"/>
                  <a:gd name="connsiteY45" fmla="*/ 1004 h 1039"/>
                  <a:gd name="connsiteX46" fmla="*/ 1018 w 3940"/>
                  <a:gd name="connsiteY46" fmla="*/ 979 h 1039"/>
                  <a:gd name="connsiteX47" fmla="*/ 971 w 3940"/>
                  <a:gd name="connsiteY47" fmla="*/ 948 h 1039"/>
                  <a:gd name="connsiteX48" fmla="*/ 925 w 3940"/>
                  <a:gd name="connsiteY48" fmla="*/ 911 h 1039"/>
                  <a:gd name="connsiteX49" fmla="*/ 884 w 3940"/>
                  <a:gd name="connsiteY49" fmla="*/ 869 h 1039"/>
                  <a:gd name="connsiteX50" fmla="*/ 847 w 3940"/>
                  <a:gd name="connsiteY50" fmla="*/ 824 h 1039"/>
                  <a:gd name="connsiteX51" fmla="*/ 810 w 3940"/>
                  <a:gd name="connsiteY51" fmla="*/ 776 h 1039"/>
                  <a:gd name="connsiteX52" fmla="*/ 777 w 3940"/>
                  <a:gd name="connsiteY52" fmla="*/ 724 h 1039"/>
                  <a:gd name="connsiteX53" fmla="*/ 742 w 3940"/>
                  <a:gd name="connsiteY53" fmla="*/ 670 h 1039"/>
                  <a:gd name="connsiteX54" fmla="*/ 711 w 3940"/>
                  <a:gd name="connsiteY54" fmla="*/ 614 h 1039"/>
                  <a:gd name="connsiteX55" fmla="*/ 678 w 3940"/>
                  <a:gd name="connsiteY55" fmla="*/ 556 h 1039"/>
                  <a:gd name="connsiteX56" fmla="*/ 616 w 3940"/>
                  <a:gd name="connsiteY56" fmla="*/ 444 h 1039"/>
                  <a:gd name="connsiteX57" fmla="*/ 547 w 3940"/>
                  <a:gd name="connsiteY57" fmla="*/ 336 h 1039"/>
                  <a:gd name="connsiteX58" fmla="*/ 504 w 3940"/>
                  <a:gd name="connsiteY58" fmla="*/ 280 h 1039"/>
                  <a:gd name="connsiteX59" fmla="*/ 457 w 3940"/>
                  <a:gd name="connsiteY59" fmla="*/ 235 h 1039"/>
                  <a:gd name="connsiteX60" fmla="*/ 409 w 3940"/>
                  <a:gd name="connsiteY60" fmla="*/ 195 h 1039"/>
                  <a:gd name="connsiteX61" fmla="*/ 358 w 3940"/>
                  <a:gd name="connsiteY61" fmla="*/ 164 h 1039"/>
                  <a:gd name="connsiteX62" fmla="*/ 308 w 3940"/>
                  <a:gd name="connsiteY62" fmla="*/ 141 h 1039"/>
                  <a:gd name="connsiteX63" fmla="*/ 256 w 3940"/>
                  <a:gd name="connsiteY63" fmla="*/ 123 h 1039"/>
                  <a:gd name="connsiteX64" fmla="*/ 209 w 3940"/>
                  <a:gd name="connsiteY64" fmla="*/ 108 h 1039"/>
                  <a:gd name="connsiteX65" fmla="*/ 163 w 3940"/>
                  <a:gd name="connsiteY65" fmla="*/ 100 h 1039"/>
                  <a:gd name="connsiteX66" fmla="*/ 122 w 3940"/>
                  <a:gd name="connsiteY66" fmla="*/ 96 h 1039"/>
                  <a:gd name="connsiteX67" fmla="*/ 85 w 3940"/>
                  <a:gd name="connsiteY67" fmla="*/ 91 h 1039"/>
                  <a:gd name="connsiteX68" fmla="*/ 31 w 3940"/>
                  <a:gd name="connsiteY68" fmla="*/ 91 h 1039"/>
                  <a:gd name="connsiteX69" fmla="*/ 17 w 3940"/>
                  <a:gd name="connsiteY69" fmla="*/ 94 h 1039"/>
                  <a:gd name="connsiteX70" fmla="*/ 11 w 3940"/>
                  <a:gd name="connsiteY70" fmla="*/ 94 h 1039"/>
                  <a:gd name="connsiteX71" fmla="*/ 0 w 3940"/>
                  <a:gd name="connsiteY71" fmla="*/ 9 h 1039"/>
                  <a:gd name="connsiteX72" fmla="*/ 9 w 3940"/>
                  <a:gd name="connsiteY72" fmla="*/ 9 h 1039"/>
                  <a:gd name="connsiteX73" fmla="*/ 29 w 3940"/>
                  <a:gd name="connsiteY73" fmla="*/ 6 h 1039"/>
                  <a:gd name="connsiteX74" fmla="*/ 91 w 3940"/>
                  <a:gd name="connsiteY74" fmla="*/ 6 h 1039"/>
                  <a:gd name="connsiteX75" fmla="*/ 135 w 3940"/>
                  <a:gd name="connsiteY75" fmla="*/ 9 h 1039"/>
                  <a:gd name="connsiteX76" fmla="*/ 182 w 3940"/>
                  <a:gd name="connsiteY76" fmla="*/ 15 h 1039"/>
                  <a:gd name="connsiteX77" fmla="*/ 234 w 3940"/>
                  <a:gd name="connsiteY77" fmla="*/ 25 h 1039"/>
                  <a:gd name="connsiteX78" fmla="*/ 287 w 3940"/>
                  <a:gd name="connsiteY78" fmla="*/ 42 h 1039"/>
                  <a:gd name="connsiteX79" fmla="*/ 345 w 3940"/>
                  <a:gd name="connsiteY79" fmla="*/ 62 h 1039"/>
                  <a:gd name="connsiteX80" fmla="*/ 403 w 3940"/>
                  <a:gd name="connsiteY80" fmla="*/ 89 h 1039"/>
                  <a:gd name="connsiteX81" fmla="*/ 459 w 3940"/>
                  <a:gd name="connsiteY81" fmla="*/ 127 h 1039"/>
                  <a:gd name="connsiteX82" fmla="*/ 514 w 3940"/>
                  <a:gd name="connsiteY82" fmla="*/ 170 h 1039"/>
                  <a:gd name="connsiteX83" fmla="*/ 568 w 3940"/>
                  <a:gd name="connsiteY83" fmla="*/ 224 h 1039"/>
                  <a:gd name="connsiteX84" fmla="*/ 618 w 3940"/>
                  <a:gd name="connsiteY84" fmla="*/ 288 h 1039"/>
                  <a:gd name="connsiteX85" fmla="*/ 667 w 3940"/>
                  <a:gd name="connsiteY85" fmla="*/ 363 h 1039"/>
                  <a:gd name="connsiteX86" fmla="*/ 754 w 3940"/>
                  <a:gd name="connsiteY86" fmla="*/ 512 h 1039"/>
                  <a:gd name="connsiteX87" fmla="*/ 787 w 3940"/>
                  <a:gd name="connsiteY87" fmla="*/ 571 h 1039"/>
                  <a:gd name="connsiteX88" fmla="*/ 820 w 3940"/>
                  <a:gd name="connsiteY88" fmla="*/ 627 h 1039"/>
                  <a:gd name="connsiteX89" fmla="*/ 853 w 3940"/>
                  <a:gd name="connsiteY89" fmla="*/ 680 h 1039"/>
                  <a:gd name="connsiteX90" fmla="*/ 886 w 3940"/>
                  <a:gd name="connsiteY90" fmla="*/ 732 h 1039"/>
                  <a:gd name="connsiteX91" fmla="*/ 921 w 3940"/>
                  <a:gd name="connsiteY91" fmla="*/ 778 h 1039"/>
                  <a:gd name="connsiteX92" fmla="*/ 958 w 3940"/>
                  <a:gd name="connsiteY92" fmla="*/ 821 h 1039"/>
                  <a:gd name="connsiteX93" fmla="*/ 1000 w 3940"/>
                  <a:gd name="connsiteY93" fmla="*/ 859 h 1039"/>
                  <a:gd name="connsiteX94" fmla="*/ 1043 w 3940"/>
                  <a:gd name="connsiteY94" fmla="*/ 890 h 1039"/>
                  <a:gd name="connsiteX95" fmla="*/ 1090 w 3940"/>
                  <a:gd name="connsiteY95" fmla="*/ 917 h 1039"/>
                  <a:gd name="connsiteX96" fmla="*/ 1140 w 3940"/>
                  <a:gd name="connsiteY96" fmla="*/ 935 h 1039"/>
                  <a:gd name="connsiteX97" fmla="*/ 1196 w 3940"/>
                  <a:gd name="connsiteY97" fmla="*/ 948 h 1039"/>
                  <a:gd name="connsiteX98" fmla="*/ 1258 w 3940"/>
                  <a:gd name="connsiteY98" fmla="*/ 952 h 1039"/>
                  <a:gd name="connsiteX99" fmla="*/ 1264 w 3940"/>
                  <a:gd name="connsiteY99" fmla="*/ 952 h 1039"/>
                  <a:gd name="connsiteX100" fmla="*/ 1324 w 3940"/>
                  <a:gd name="connsiteY100" fmla="*/ 946 h 1039"/>
                  <a:gd name="connsiteX101" fmla="*/ 1380 w 3940"/>
                  <a:gd name="connsiteY101" fmla="*/ 931 h 1039"/>
                  <a:gd name="connsiteX102" fmla="*/ 1433 w 3940"/>
                  <a:gd name="connsiteY102" fmla="*/ 909 h 1039"/>
                  <a:gd name="connsiteX103" fmla="*/ 1481 w 3940"/>
                  <a:gd name="connsiteY103" fmla="*/ 880 h 1039"/>
                  <a:gd name="connsiteX104" fmla="*/ 1526 w 3940"/>
                  <a:gd name="connsiteY104" fmla="*/ 842 h 1039"/>
                  <a:gd name="connsiteX105" fmla="*/ 1569 w 3940"/>
                  <a:gd name="connsiteY105" fmla="*/ 799 h 1039"/>
                  <a:gd name="connsiteX106" fmla="*/ 1609 w 3940"/>
                  <a:gd name="connsiteY106" fmla="*/ 751 h 1039"/>
                  <a:gd name="connsiteX107" fmla="*/ 1648 w 3940"/>
                  <a:gd name="connsiteY107" fmla="*/ 699 h 1039"/>
                  <a:gd name="connsiteX108" fmla="*/ 1687 w 3940"/>
                  <a:gd name="connsiteY108" fmla="*/ 645 h 1039"/>
                  <a:gd name="connsiteX109" fmla="*/ 1799 w 3940"/>
                  <a:gd name="connsiteY109" fmla="*/ 471 h 1039"/>
                  <a:gd name="connsiteX110" fmla="*/ 1838 w 3940"/>
                  <a:gd name="connsiteY110" fmla="*/ 411 h 1039"/>
                  <a:gd name="connsiteX111" fmla="*/ 1879 w 3940"/>
                  <a:gd name="connsiteY111" fmla="*/ 353 h 1039"/>
                  <a:gd name="connsiteX112" fmla="*/ 1923 w 3940"/>
                  <a:gd name="connsiteY112" fmla="*/ 295 h 1039"/>
                  <a:gd name="connsiteX113" fmla="*/ 1968 w 3940"/>
                  <a:gd name="connsiteY113" fmla="*/ 241 h 1039"/>
                  <a:gd name="connsiteX114" fmla="*/ 2015 w 3940"/>
                  <a:gd name="connsiteY114" fmla="*/ 189 h 1039"/>
                  <a:gd name="connsiteX115" fmla="*/ 2069 w 3940"/>
                  <a:gd name="connsiteY115" fmla="*/ 141 h 1039"/>
                  <a:gd name="connsiteX116" fmla="*/ 2125 w 3940"/>
                  <a:gd name="connsiteY116" fmla="*/ 100 h 1039"/>
                  <a:gd name="connsiteX117" fmla="*/ 2187 w 3940"/>
                  <a:gd name="connsiteY117" fmla="*/ 65 h 1039"/>
                  <a:gd name="connsiteX118" fmla="*/ 2253 w 3940"/>
                  <a:gd name="connsiteY118" fmla="*/ 35 h 1039"/>
                  <a:gd name="connsiteX119" fmla="*/ 2325 w 3940"/>
                  <a:gd name="connsiteY119" fmla="*/ 15 h 1039"/>
                  <a:gd name="connsiteX120" fmla="*/ 2404 w 3940"/>
                  <a:gd name="connsiteY120" fmla="*/ 2 h 1039"/>
                  <a:gd name="connsiteX121" fmla="*/ 2474 w 3940"/>
                  <a:gd name="connsiteY121" fmla="*/ 0 h 1039"/>
                  <a:gd name="connsiteX122" fmla="*/ 2540 w 3940"/>
                  <a:gd name="connsiteY122" fmla="*/ 9 h 1039"/>
                  <a:gd name="connsiteX123" fmla="*/ 2600 w 3940"/>
                  <a:gd name="connsiteY123" fmla="*/ 23 h 1039"/>
                  <a:gd name="connsiteX124" fmla="*/ 2658 w 3940"/>
                  <a:gd name="connsiteY124" fmla="*/ 46 h 1039"/>
                  <a:gd name="connsiteX125" fmla="*/ 2711 w 3940"/>
                  <a:gd name="connsiteY125" fmla="*/ 77 h 1039"/>
                  <a:gd name="connsiteX126" fmla="*/ 2761 w 3940"/>
                  <a:gd name="connsiteY126" fmla="*/ 112 h 1039"/>
                  <a:gd name="connsiteX127" fmla="*/ 2806 w 3940"/>
                  <a:gd name="connsiteY127" fmla="*/ 154 h 1039"/>
                  <a:gd name="connsiteX128" fmla="*/ 2852 w 3940"/>
                  <a:gd name="connsiteY128" fmla="*/ 199 h 1039"/>
                  <a:gd name="connsiteX129" fmla="*/ 2893 w 3940"/>
                  <a:gd name="connsiteY129" fmla="*/ 247 h 1039"/>
                  <a:gd name="connsiteX130" fmla="*/ 2932 w 3940"/>
                  <a:gd name="connsiteY130" fmla="*/ 299 h 1039"/>
                  <a:gd name="connsiteX131" fmla="*/ 2969 w 3940"/>
                  <a:gd name="connsiteY131" fmla="*/ 353 h 1039"/>
                  <a:gd name="connsiteX132" fmla="*/ 3004 w 3940"/>
                  <a:gd name="connsiteY132" fmla="*/ 409 h 1039"/>
                  <a:gd name="connsiteX133" fmla="*/ 3039 w 3940"/>
                  <a:gd name="connsiteY133" fmla="*/ 463 h 1039"/>
                  <a:gd name="connsiteX134" fmla="*/ 3073 w 3940"/>
                  <a:gd name="connsiteY134" fmla="*/ 519 h 1039"/>
                  <a:gd name="connsiteX135" fmla="*/ 3186 w 3940"/>
                  <a:gd name="connsiteY135" fmla="*/ 697 h 1039"/>
                  <a:gd name="connsiteX136" fmla="*/ 3659 w 3940"/>
                  <a:gd name="connsiteY136" fmla="*/ 931 h 1039"/>
                  <a:gd name="connsiteX137" fmla="*/ 3789 w 3940"/>
                  <a:gd name="connsiteY137" fmla="*/ 844 h 1039"/>
                  <a:gd name="connsiteX138" fmla="*/ 3826 w 3940"/>
                  <a:gd name="connsiteY138" fmla="*/ 803 h 1039"/>
                  <a:gd name="connsiteX0" fmla="*/ 3826 w 3940"/>
                  <a:gd name="connsiteY0" fmla="*/ 803 h 1039"/>
                  <a:gd name="connsiteX1" fmla="*/ 3940 w 3940"/>
                  <a:gd name="connsiteY1" fmla="*/ 794 h 1039"/>
                  <a:gd name="connsiteX2" fmla="*/ 3147 w 3940"/>
                  <a:gd name="connsiteY2" fmla="*/ 792 h 1039"/>
                  <a:gd name="connsiteX3" fmla="*/ 3108 w 3940"/>
                  <a:gd name="connsiteY3" fmla="*/ 736 h 1039"/>
                  <a:gd name="connsiteX4" fmla="*/ 3070 w 3940"/>
                  <a:gd name="connsiteY4" fmla="*/ 680 h 1039"/>
                  <a:gd name="connsiteX5" fmla="*/ 2965 w 3940"/>
                  <a:gd name="connsiteY5" fmla="*/ 506 h 1039"/>
                  <a:gd name="connsiteX6" fmla="*/ 2928 w 3940"/>
                  <a:gd name="connsiteY6" fmla="*/ 448 h 1039"/>
                  <a:gd name="connsiteX7" fmla="*/ 2891 w 3940"/>
                  <a:gd name="connsiteY7" fmla="*/ 392 h 1039"/>
                  <a:gd name="connsiteX8" fmla="*/ 2854 w 3940"/>
                  <a:gd name="connsiteY8" fmla="*/ 338 h 1039"/>
                  <a:gd name="connsiteX9" fmla="*/ 2814 w 3940"/>
                  <a:gd name="connsiteY9" fmla="*/ 288 h 1039"/>
                  <a:gd name="connsiteX10" fmla="*/ 2773 w 3940"/>
                  <a:gd name="connsiteY10" fmla="*/ 243 h 1039"/>
                  <a:gd name="connsiteX11" fmla="*/ 2732 w 3940"/>
                  <a:gd name="connsiteY11" fmla="*/ 201 h 1039"/>
                  <a:gd name="connsiteX12" fmla="*/ 2686 w 3940"/>
                  <a:gd name="connsiteY12" fmla="*/ 164 h 1039"/>
                  <a:gd name="connsiteX13" fmla="*/ 2639 w 3940"/>
                  <a:gd name="connsiteY13" fmla="*/ 135 h 1039"/>
                  <a:gd name="connsiteX14" fmla="*/ 2587 w 3940"/>
                  <a:gd name="connsiteY14" fmla="*/ 112 h 1039"/>
                  <a:gd name="connsiteX15" fmla="*/ 2532 w 3940"/>
                  <a:gd name="connsiteY15" fmla="*/ 96 h 1039"/>
                  <a:gd name="connsiteX16" fmla="*/ 2474 w 3940"/>
                  <a:gd name="connsiteY16" fmla="*/ 87 h 1039"/>
                  <a:gd name="connsiteX17" fmla="*/ 2410 w 3940"/>
                  <a:gd name="connsiteY17" fmla="*/ 89 h 1039"/>
                  <a:gd name="connsiteX18" fmla="*/ 2342 w 3940"/>
                  <a:gd name="connsiteY18" fmla="*/ 100 h 1039"/>
                  <a:gd name="connsiteX19" fmla="*/ 2280 w 3940"/>
                  <a:gd name="connsiteY19" fmla="*/ 118 h 1039"/>
                  <a:gd name="connsiteX20" fmla="*/ 2222 w 3940"/>
                  <a:gd name="connsiteY20" fmla="*/ 143 h 1039"/>
                  <a:gd name="connsiteX21" fmla="*/ 2168 w 3940"/>
                  <a:gd name="connsiteY21" fmla="*/ 176 h 1039"/>
                  <a:gd name="connsiteX22" fmla="*/ 2117 w 3940"/>
                  <a:gd name="connsiteY22" fmla="*/ 214 h 1039"/>
                  <a:gd name="connsiteX23" fmla="*/ 2071 w 3940"/>
                  <a:gd name="connsiteY23" fmla="*/ 257 h 1039"/>
                  <a:gd name="connsiteX24" fmla="*/ 2026 w 3940"/>
                  <a:gd name="connsiteY24" fmla="*/ 303 h 1039"/>
                  <a:gd name="connsiteX25" fmla="*/ 1984 w 3940"/>
                  <a:gd name="connsiteY25" fmla="*/ 355 h 1039"/>
                  <a:gd name="connsiteX26" fmla="*/ 1945 w 3940"/>
                  <a:gd name="connsiteY26" fmla="*/ 409 h 1039"/>
                  <a:gd name="connsiteX27" fmla="*/ 1908 w 3940"/>
                  <a:gd name="connsiteY27" fmla="*/ 463 h 1039"/>
                  <a:gd name="connsiteX28" fmla="*/ 1871 w 3940"/>
                  <a:gd name="connsiteY28" fmla="*/ 519 h 1039"/>
                  <a:gd name="connsiteX29" fmla="*/ 1834 w 3940"/>
                  <a:gd name="connsiteY29" fmla="*/ 577 h 1039"/>
                  <a:gd name="connsiteX30" fmla="*/ 1799 w 3940"/>
                  <a:gd name="connsiteY30" fmla="*/ 633 h 1039"/>
                  <a:gd name="connsiteX31" fmla="*/ 1724 w 3940"/>
                  <a:gd name="connsiteY31" fmla="*/ 745 h 1039"/>
                  <a:gd name="connsiteX32" fmla="*/ 1685 w 3940"/>
                  <a:gd name="connsiteY32" fmla="*/ 797 h 1039"/>
                  <a:gd name="connsiteX33" fmla="*/ 1644 w 3940"/>
                  <a:gd name="connsiteY33" fmla="*/ 846 h 1039"/>
                  <a:gd name="connsiteX34" fmla="*/ 1600 w 3940"/>
                  <a:gd name="connsiteY34" fmla="*/ 892 h 1039"/>
                  <a:gd name="connsiteX35" fmla="*/ 1553 w 3940"/>
                  <a:gd name="connsiteY35" fmla="*/ 933 h 1039"/>
                  <a:gd name="connsiteX36" fmla="*/ 1503 w 3940"/>
                  <a:gd name="connsiteY36" fmla="*/ 969 h 1039"/>
                  <a:gd name="connsiteX37" fmla="*/ 1450 w 3940"/>
                  <a:gd name="connsiteY37" fmla="*/ 998 h 1039"/>
                  <a:gd name="connsiteX38" fmla="*/ 1394 w 3940"/>
                  <a:gd name="connsiteY38" fmla="*/ 1021 h 1039"/>
                  <a:gd name="connsiteX39" fmla="*/ 1330 w 3940"/>
                  <a:gd name="connsiteY39" fmla="*/ 1033 h 1039"/>
                  <a:gd name="connsiteX40" fmla="*/ 1264 w 3940"/>
                  <a:gd name="connsiteY40" fmla="*/ 1039 h 1039"/>
                  <a:gd name="connsiteX41" fmla="*/ 1258 w 3940"/>
                  <a:gd name="connsiteY41" fmla="*/ 1039 h 1039"/>
                  <a:gd name="connsiteX42" fmla="*/ 1190 w 3940"/>
                  <a:gd name="connsiteY42" fmla="*/ 1035 h 1039"/>
                  <a:gd name="connsiteX43" fmla="*/ 1128 w 3940"/>
                  <a:gd name="connsiteY43" fmla="*/ 1023 h 1039"/>
                  <a:gd name="connsiteX44" fmla="*/ 1070 w 3940"/>
                  <a:gd name="connsiteY44" fmla="*/ 1004 h 1039"/>
                  <a:gd name="connsiteX45" fmla="*/ 1018 w 3940"/>
                  <a:gd name="connsiteY45" fmla="*/ 979 h 1039"/>
                  <a:gd name="connsiteX46" fmla="*/ 971 w 3940"/>
                  <a:gd name="connsiteY46" fmla="*/ 948 h 1039"/>
                  <a:gd name="connsiteX47" fmla="*/ 925 w 3940"/>
                  <a:gd name="connsiteY47" fmla="*/ 911 h 1039"/>
                  <a:gd name="connsiteX48" fmla="*/ 884 w 3940"/>
                  <a:gd name="connsiteY48" fmla="*/ 869 h 1039"/>
                  <a:gd name="connsiteX49" fmla="*/ 847 w 3940"/>
                  <a:gd name="connsiteY49" fmla="*/ 824 h 1039"/>
                  <a:gd name="connsiteX50" fmla="*/ 810 w 3940"/>
                  <a:gd name="connsiteY50" fmla="*/ 776 h 1039"/>
                  <a:gd name="connsiteX51" fmla="*/ 777 w 3940"/>
                  <a:gd name="connsiteY51" fmla="*/ 724 h 1039"/>
                  <a:gd name="connsiteX52" fmla="*/ 742 w 3940"/>
                  <a:gd name="connsiteY52" fmla="*/ 670 h 1039"/>
                  <a:gd name="connsiteX53" fmla="*/ 711 w 3940"/>
                  <a:gd name="connsiteY53" fmla="*/ 614 h 1039"/>
                  <a:gd name="connsiteX54" fmla="*/ 678 w 3940"/>
                  <a:gd name="connsiteY54" fmla="*/ 556 h 1039"/>
                  <a:gd name="connsiteX55" fmla="*/ 616 w 3940"/>
                  <a:gd name="connsiteY55" fmla="*/ 444 h 1039"/>
                  <a:gd name="connsiteX56" fmla="*/ 547 w 3940"/>
                  <a:gd name="connsiteY56" fmla="*/ 336 h 1039"/>
                  <a:gd name="connsiteX57" fmla="*/ 504 w 3940"/>
                  <a:gd name="connsiteY57" fmla="*/ 280 h 1039"/>
                  <a:gd name="connsiteX58" fmla="*/ 457 w 3940"/>
                  <a:gd name="connsiteY58" fmla="*/ 235 h 1039"/>
                  <a:gd name="connsiteX59" fmla="*/ 409 w 3940"/>
                  <a:gd name="connsiteY59" fmla="*/ 195 h 1039"/>
                  <a:gd name="connsiteX60" fmla="*/ 358 w 3940"/>
                  <a:gd name="connsiteY60" fmla="*/ 164 h 1039"/>
                  <a:gd name="connsiteX61" fmla="*/ 308 w 3940"/>
                  <a:gd name="connsiteY61" fmla="*/ 141 h 1039"/>
                  <a:gd name="connsiteX62" fmla="*/ 256 w 3940"/>
                  <a:gd name="connsiteY62" fmla="*/ 123 h 1039"/>
                  <a:gd name="connsiteX63" fmla="*/ 209 w 3940"/>
                  <a:gd name="connsiteY63" fmla="*/ 108 h 1039"/>
                  <a:gd name="connsiteX64" fmla="*/ 163 w 3940"/>
                  <a:gd name="connsiteY64" fmla="*/ 100 h 1039"/>
                  <a:gd name="connsiteX65" fmla="*/ 122 w 3940"/>
                  <a:gd name="connsiteY65" fmla="*/ 96 h 1039"/>
                  <a:gd name="connsiteX66" fmla="*/ 85 w 3940"/>
                  <a:gd name="connsiteY66" fmla="*/ 91 h 1039"/>
                  <a:gd name="connsiteX67" fmla="*/ 31 w 3940"/>
                  <a:gd name="connsiteY67" fmla="*/ 91 h 1039"/>
                  <a:gd name="connsiteX68" fmla="*/ 17 w 3940"/>
                  <a:gd name="connsiteY68" fmla="*/ 94 h 1039"/>
                  <a:gd name="connsiteX69" fmla="*/ 11 w 3940"/>
                  <a:gd name="connsiteY69" fmla="*/ 94 h 1039"/>
                  <a:gd name="connsiteX70" fmla="*/ 0 w 3940"/>
                  <a:gd name="connsiteY70" fmla="*/ 9 h 1039"/>
                  <a:gd name="connsiteX71" fmla="*/ 9 w 3940"/>
                  <a:gd name="connsiteY71" fmla="*/ 9 h 1039"/>
                  <a:gd name="connsiteX72" fmla="*/ 29 w 3940"/>
                  <a:gd name="connsiteY72" fmla="*/ 6 h 1039"/>
                  <a:gd name="connsiteX73" fmla="*/ 91 w 3940"/>
                  <a:gd name="connsiteY73" fmla="*/ 6 h 1039"/>
                  <a:gd name="connsiteX74" fmla="*/ 135 w 3940"/>
                  <a:gd name="connsiteY74" fmla="*/ 9 h 1039"/>
                  <a:gd name="connsiteX75" fmla="*/ 182 w 3940"/>
                  <a:gd name="connsiteY75" fmla="*/ 15 h 1039"/>
                  <a:gd name="connsiteX76" fmla="*/ 234 w 3940"/>
                  <a:gd name="connsiteY76" fmla="*/ 25 h 1039"/>
                  <a:gd name="connsiteX77" fmla="*/ 287 w 3940"/>
                  <a:gd name="connsiteY77" fmla="*/ 42 h 1039"/>
                  <a:gd name="connsiteX78" fmla="*/ 345 w 3940"/>
                  <a:gd name="connsiteY78" fmla="*/ 62 h 1039"/>
                  <a:gd name="connsiteX79" fmla="*/ 403 w 3940"/>
                  <a:gd name="connsiteY79" fmla="*/ 89 h 1039"/>
                  <a:gd name="connsiteX80" fmla="*/ 459 w 3940"/>
                  <a:gd name="connsiteY80" fmla="*/ 127 h 1039"/>
                  <a:gd name="connsiteX81" fmla="*/ 514 w 3940"/>
                  <a:gd name="connsiteY81" fmla="*/ 170 h 1039"/>
                  <a:gd name="connsiteX82" fmla="*/ 568 w 3940"/>
                  <a:gd name="connsiteY82" fmla="*/ 224 h 1039"/>
                  <a:gd name="connsiteX83" fmla="*/ 618 w 3940"/>
                  <a:gd name="connsiteY83" fmla="*/ 288 h 1039"/>
                  <a:gd name="connsiteX84" fmla="*/ 667 w 3940"/>
                  <a:gd name="connsiteY84" fmla="*/ 363 h 1039"/>
                  <a:gd name="connsiteX85" fmla="*/ 754 w 3940"/>
                  <a:gd name="connsiteY85" fmla="*/ 512 h 1039"/>
                  <a:gd name="connsiteX86" fmla="*/ 787 w 3940"/>
                  <a:gd name="connsiteY86" fmla="*/ 571 h 1039"/>
                  <a:gd name="connsiteX87" fmla="*/ 820 w 3940"/>
                  <a:gd name="connsiteY87" fmla="*/ 627 h 1039"/>
                  <a:gd name="connsiteX88" fmla="*/ 853 w 3940"/>
                  <a:gd name="connsiteY88" fmla="*/ 680 h 1039"/>
                  <a:gd name="connsiteX89" fmla="*/ 886 w 3940"/>
                  <a:gd name="connsiteY89" fmla="*/ 732 h 1039"/>
                  <a:gd name="connsiteX90" fmla="*/ 921 w 3940"/>
                  <a:gd name="connsiteY90" fmla="*/ 778 h 1039"/>
                  <a:gd name="connsiteX91" fmla="*/ 958 w 3940"/>
                  <a:gd name="connsiteY91" fmla="*/ 821 h 1039"/>
                  <a:gd name="connsiteX92" fmla="*/ 1000 w 3940"/>
                  <a:gd name="connsiteY92" fmla="*/ 859 h 1039"/>
                  <a:gd name="connsiteX93" fmla="*/ 1043 w 3940"/>
                  <a:gd name="connsiteY93" fmla="*/ 890 h 1039"/>
                  <a:gd name="connsiteX94" fmla="*/ 1090 w 3940"/>
                  <a:gd name="connsiteY94" fmla="*/ 917 h 1039"/>
                  <a:gd name="connsiteX95" fmla="*/ 1140 w 3940"/>
                  <a:gd name="connsiteY95" fmla="*/ 935 h 1039"/>
                  <a:gd name="connsiteX96" fmla="*/ 1196 w 3940"/>
                  <a:gd name="connsiteY96" fmla="*/ 948 h 1039"/>
                  <a:gd name="connsiteX97" fmla="*/ 1258 w 3940"/>
                  <a:gd name="connsiteY97" fmla="*/ 952 h 1039"/>
                  <a:gd name="connsiteX98" fmla="*/ 1264 w 3940"/>
                  <a:gd name="connsiteY98" fmla="*/ 952 h 1039"/>
                  <a:gd name="connsiteX99" fmla="*/ 1324 w 3940"/>
                  <a:gd name="connsiteY99" fmla="*/ 946 h 1039"/>
                  <a:gd name="connsiteX100" fmla="*/ 1380 w 3940"/>
                  <a:gd name="connsiteY100" fmla="*/ 931 h 1039"/>
                  <a:gd name="connsiteX101" fmla="*/ 1433 w 3940"/>
                  <a:gd name="connsiteY101" fmla="*/ 909 h 1039"/>
                  <a:gd name="connsiteX102" fmla="*/ 1481 w 3940"/>
                  <a:gd name="connsiteY102" fmla="*/ 880 h 1039"/>
                  <a:gd name="connsiteX103" fmla="*/ 1526 w 3940"/>
                  <a:gd name="connsiteY103" fmla="*/ 842 h 1039"/>
                  <a:gd name="connsiteX104" fmla="*/ 1569 w 3940"/>
                  <a:gd name="connsiteY104" fmla="*/ 799 h 1039"/>
                  <a:gd name="connsiteX105" fmla="*/ 1609 w 3940"/>
                  <a:gd name="connsiteY105" fmla="*/ 751 h 1039"/>
                  <a:gd name="connsiteX106" fmla="*/ 1648 w 3940"/>
                  <a:gd name="connsiteY106" fmla="*/ 699 h 1039"/>
                  <a:gd name="connsiteX107" fmla="*/ 1687 w 3940"/>
                  <a:gd name="connsiteY107" fmla="*/ 645 h 1039"/>
                  <a:gd name="connsiteX108" fmla="*/ 1799 w 3940"/>
                  <a:gd name="connsiteY108" fmla="*/ 471 h 1039"/>
                  <a:gd name="connsiteX109" fmla="*/ 1838 w 3940"/>
                  <a:gd name="connsiteY109" fmla="*/ 411 h 1039"/>
                  <a:gd name="connsiteX110" fmla="*/ 1879 w 3940"/>
                  <a:gd name="connsiteY110" fmla="*/ 353 h 1039"/>
                  <a:gd name="connsiteX111" fmla="*/ 1923 w 3940"/>
                  <a:gd name="connsiteY111" fmla="*/ 295 h 1039"/>
                  <a:gd name="connsiteX112" fmla="*/ 1968 w 3940"/>
                  <a:gd name="connsiteY112" fmla="*/ 241 h 1039"/>
                  <a:gd name="connsiteX113" fmla="*/ 2015 w 3940"/>
                  <a:gd name="connsiteY113" fmla="*/ 189 h 1039"/>
                  <a:gd name="connsiteX114" fmla="*/ 2069 w 3940"/>
                  <a:gd name="connsiteY114" fmla="*/ 141 h 1039"/>
                  <a:gd name="connsiteX115" fmla="*/ 2125 w 3940"/>
                  <a:gd name="connsiteY115" fmla="*/ 100 h 1039"/>
                  <a:gd name="connsiteX116" fmla="*/ 2187 w 3940"/>
                  <a:gd name="connsiteY116" fmla="*/ 65 h 1039"/>
                  <a:gd name="connsiteX117" fmla="*/ 2253 w 3940"/>
                  <a:gd name="connsiteY117" fmla="*/ 35 h 1039"/>
                  <a:gd name="connsiteX118" fmla="*/ 2325 w 3940"/>
                  <a:gd name="connsiteY118" fmla="*/ 15 h 1039"/>
                  <a:gd name="connsiteX119" fmla="*/ 2404 w 3940"/>
                  <a:gd name="connsiteY119" fmla="*/ 2 h 1039"/>
                  <a:gd name="connsiteX120" fmla="*/ 2474 w 3940"/>
                  <a:gd name="connsiteY120" fmla="*/ 0 h 1039"/>
                  <a:gd name="connsiteX121" fmla="*/ 2540 w 3940"/>
                  <a:gd name="connsiteY121" fmla="*/ 9 h 1039"/>
                  <a:gd name="connsiteX122" fmla="*/ 2600 w 3940"/>
                  <a:gd name="connsiteY122" fmla="*/ 23 h 1039"/>
                  <a:gd name="connsiteX123" fmla="*/ 2658 w 3940"/>
                  <a:gd name="connsiteY123" fmla="*/ 46 h 1039"/>
                  <a:gd name="connsiteX124" fmla="*/ 2711 w 3940"/>
                  <a:gd name="connsiteY124" fmla="*/ 77 h 1039"/>
                  <a:gd name="connsiteX125" fmla="*/ 2761 w 3940"/>
                  <a:gd name="connsiteY125" fmla="*/ 112 h 1039"/>
                  <a:gd name="connsiteX126" fmla="*/ 2806 w 3940"/>
                  <a:gd name="connsiteY126" fmla="*/ 154 h 1039"/>
                  <a:gd name="connsiteX127" fmla="*/ 2852 w 3940"/>
                  <a:gd name="connsiteY127" fmla="*/ 199 h 1039"/>
                  <a:gd name="connsiteX128" fmla="*/ 2893 w 3940"/>
                  <a:gd name="connsiteY128" fmla="*/ 247 h 1039"/>
                  <a:gd name="connsiteX129" fmla="*/ 2932 w 3940"/>
                  <a:gd name="connsiteY129" fmla="*/ 299 h 1039"/>
                  <a:gd name="connsiteX130" fmla="*/ 2969 w 3940"/>
                  <a:gd name="connsiteY130" fmla="*/ 353 h 1039"/>
                  <a:gd name="connsiteX131" fmla="*/ 3004 w 3940"/>
                  <a:gd name="connsiteY131" fmla="*/ 409 h 1039"/>
                  <a:gd name="connsiteX132" fmla="*/ 3039 w 3940"/>
                  <a:gd name="connsiteY132" fmla="*/ 463 h 1039"/>
                  <a:gd name="connsiteX133" fmla="*/ 3073 w 3940"/>
                  <a:gd name="connsiteY133" fmla="*/ 519 h 1039"/>
                  <a:gd name="connsiteX134" fmla="*/ 3186 w 3940"/>
                  <a:gd name="connsiteY134" fmla="*/ 697 h 1039"/>
                  <a:gd name="connsiteX135" fmla="*/ 3659 w 3940"/>
                  <a:gd name="connsiteY135" fmla="*/ 931 h 1039"/>
                  <a:gd name="connsiteX136" fmla="*/ 3789 w 3940"/>
                  <a:gd name="connsiteY136" fmla="*/ 844 h 1039"/>
                  <a:gd name="connsiteX137" fmla="*/ 3826 w 3940"/>
                  <a:gd name="connsiteY137" fmla="*/ 803 h 1039"/>
                  <a:gd name="connsiteX0" fmla="*/ 3789 w 4047"/>
                  <a:gd name="connsiteY0" fmla="*/ 844 h 1039"/>
                  <a:gd name="connsiteX1" fmla="*/ 3940 w 4047"/>
                  <a:gd name="connsiteY1" fmla="*/ 794 h 1039"/>
                  <a:gd name="connsiteX2" fmla="*/ 3147 w 4047"/>
                  <a:gd name="connsiteY2" fmla="*/ 792 h 1039"/>
                  <a:gd name="connsiteX3" fmla="*/ 3108 w 4047"/>
                  <a:gd name="connsiteY3" fmla="*/ 736 h 1039"/>
                  <a:gd name="connsiteX4" fmla="*/ 3070 w 4047"/>
                  <a:gd name="connsiteY4" fmla="*/ 680 h 1039"/>
                  <a:gd name="connsiteX5" fmla="*/ 2965 w 4047"/>
                  <a:gd name="connsiteY5" fmla="*/ 506 h 1039"/>
                  <a:gd name="connsiteX6" fmla="*/ 2928 w 4047"/>
                  <a:gd name="connsiteY6" fmla="*/ 448 h 1039"/>
                  <a:gd name="connsiteX7" fmla="*/ 2891 w 4047"/>
                  <a:gd name="connsiteY7" fmla="*/ 392 h 1039"/>
                  <a:gd name="connsiteX8" fmla="*/ 2854 w 4047"/>
                  <a:gd name="connsiteY8" fmla="*/ 338 h 1039"/>
                  <a:gd name="connsiteX9" fmla="*/ 2814 w 4047"/>
                  <a:gd name="connsiteY9" fmla="*/ 288 h 1039"/>
                  <a:gd name="connsiteX10" fmla="*/ 2773 w 4047"/>
                  <a:gd name="connsiteY10" fmla="*/ 243 h 1039"/>
                  <a:gd name="connsiteX11" fmla="*/ 2732 w 4047"/>
                  <a:gd name="connsiteY11" fmla="*/ 201 h 1039"/>
                  <a:gd name="connsiteX12" fmla="*/ 2686 w 4047"/>
                  <a:gd name="connsiteY12" fmla="*/ 164 h 1039"/>
                  <a:gd name="connsiteX13" fmla="*/ 2639 w 4047"/>
                  <a:gd name="connsiteY13" fmla="*/ 135 h 1039"/>
                  <a:gd name="connsiteX14" fmla="*/ 2587 w 4047"/>
                  <a:gd name="connsiteY14" fmla="*/ 112 h 1039"/>
                  <a:gd name="connsiteX15" fmla="*/ 2532 w 4047"/>
                  <a:gd name="connsiteY15" fmla="*/ 96 h 1039"/>
                  <a:gd name="connsiteX16" fmla="*/ 2474 w 4047"/>
                  <a:gd name="connsiteY16" fmla="*/ 87 h 1039"/>
                  <a:gd name="connsiteX17" fmla="*/ 2410 w 4047"/>
                  <a:gd name="connsiteY17" fmla="*/ 89 h 1039"/>
                  <a:gd name="connsiteX18" fmla="*/ 2342 w 4047"/>
                  <a:gd name="connsiteY18" fmla="*/ 100 h 1039"/>
                  <a:gd name="connsiteX19" fmla="*/ 2280 w 4047"/>
                  <a:gd name="connsiteY19" fmla="*/ 118 h 1039"/>
                  <a:gd name="connsiteX20" fmla="*/ 2222 w 4047"/>
                  <a:gd name="connsiteY20" fmla="*/ 143 h 1039"/>
                  <a:gd name="connsiteX21" fmla="*/ 2168 w 4047"/>
                  <a:gd name="connsiteY21" fmla="*/ 176 h 1039"/>
                  <a:gd name="connsiteX22" fmla="*/ 2117 w 4047"/>
                  <a:gd name="connsiteY22" fmla="*/ 214 h 1039"/>
                  <a:gd name="connsiteX23" fmla="*/ 2071 w 4047"/>
                  <a:gd name="connsiteY23" fmla="*/ 257 h 1039"/>
                  <a:gd name="connsiteX24" fmla="*/ 2026 w 4047"/>
                  <a:gd name="connsiteY24" fmla="*/ 303 h 1039"/>
                  <a:gd name="connsiteX25" fmla="*/ 1984 w 4047"/>
                  <a:gd name="connsiteY25" fmla="*/ 355 h 1039"/>
                  <a:gd name="connsiteX26" fmla="*/ 1945 w 4047"/>
                  <a:gd name="connsiteY26" fmla="*/ 409 h 1039"/>
                  <a:gd name="connsiteX27" fmla="*/ 1908 w 4047"/>
                  <a:gd name="connsiteY27" fmla="*/ 463 h 1039"/>
                  <a:gd name="connsiteX28" fmla="*/ 1871 w 4047"/>
                  <a:gd name="connsiteY28" fmla="*/ 519 h 1039"/>
                  <a:gd name="connsiteX29" fmla="*/ 1834 w 4047"/>
                  <a:gd name="connsiteY29" fmla="*/ 577 h 1039"/>
                  <a:gd name="connsiteX30" fmla="*/ 1799 w 4047"/>
                  <a:gd name="connsiteY30" fmla="*/ 633 h 1039"/>
                  <a:gd name="connsiteX31" fmla="*/ 1724 w 4047"/>
                  <a:gd name="connsiteY31" fmla="*/ 745 h 1039"/>
                  <a:gd name="connsiteX32" fmla="*/ 1685 w 4047"/>
                  <a:gd name="connsiteY32" fmla="*/ 797 h 1039"/>
                  <a:gd name="connsiteX33" fmla="*/ 1644 w 4047"/>
                  <a:gd name="connsiteY33" fmla="*/ 846 h 1039"/>
                  <a:gd name="connsiteX34" fmla="*/ 1600 w 4047"/>
                  <a:gd name="connsiteY34" fmla="*/ 892 h 1039"/>
                  <a:gd name="connsiteX35" fmla="*/ 1553 w 4047"/>
                  <a:gd name="connsiteY35" fmla="*/ 933 h 1039"/>
                  <a:gd name="connsiteX36" fmla="*/ 1503 w 4047"/>
                  <a:gd name="connsiteY36" fmla="*/ 969 h 1039"/>
                  <a:gd name="connsiteX37" fmla="*/ 1450 w 4047"/>
                  <a:gd name="connsiteY37" fmla="*/ 998 h 1039"/>
                  <a:gd name="connsiteX38" fmla="*/ 1394 w 4047"/>
                  <a:gd name="connsiteY38" fmla="*/ 1021 h 1039"/>
                  <a:gd name="connsiteX39" fmla="*/ 1330 w 4047"/>
                  <a:gd name="connsiteY39" fmla="*/ 1033 h 1039"/>
                  <a:gd name="connsiteX40" fmla="*/ 1264 w 4047"/>
                  <a:gd name="connsiteY40" fmla="*/ 1039 h 1039"/>
                  <a:gd name="connsiteX41" fmla="*/ 1258 w 4047"/>
                  <a:gd name="connsiteY41" fmla="*/ 1039 h 1039"/>
                  <a:gd name="connsiteX42" fmla="*/ 1190 w 4047"/>
                  <a:gd name="connsiteY42" fmla="*/ 1035 h 1039"/>
                  <a:gd name="connsiteX43" fmla="*/ 1128 w 4047"/>
                  <a:gd name="connsiteY43" fmla="*/ 1023 h 1039"/>
                  <a:gd name="connsiteX44" fmla="*/ 1070 w 4047"/>
                  <a:gd name="connsiteY44" fmla="*/ 1004 h 1039"/>
                  <a:gd name="connsiteX45" fmla="*/ 1018 w 4047"/>
                  <a:gd name="connsiteY45" fmla="*/ 979 h 1039"/>
                  <a:gd name="connsiteX46" fmla="*/ 971 w 4047"/>
                  <a:gd name="connsiteY46" fmla="*/ 948 h 1039"/>
                  <a:gd name="connsiteX47" fmla="*/ 925 w 4047"/>
                  <a:gd name="connsiteY47" fmla="*/ 911 h 1039"/>
                  <a:gd name="connsiteX48" fmla="*/ 884 w 4047"/>
                  <a:gd name="connsiteY48" fmla="*/ 869 h 1039"/>
                  <a:gd name="connsiteX49" fmla="*/ 847 w 4047"/>
                  <a:gd name="connsiteY49" fmla="*/ 824 h 1039"/>
                  <a:gd name="connsiteX50" fmla="*/ 810 w 4047"/>
                  <a:gd name="connsiteY50" fmla="*/ 776 h 1039"/>
                  <a:gd name="connsiteX51" fmla="*/ 777 w 4047"/>
                  <a:gd name="connsiteY51" fmla="*/ 724 h 1039"/>
                  <a:gd name="connsiteX52" fmla="*/ 742 w 4047"/>
                  <a:gd name="connsiteY52" fmla="*/ 670 h 1039"/>
                  <a:gd name="connsiteX53" fmla="*/ 711 w 4047"/>
                  <a:gd name="connsiteY53" fmla="*/ 614 h 1039"/>
                  <a:gd name="connsiteX54" fmla="*/ 678 w 4047"/>
                  <a:gd name="connsiteY54" fmla="*/ 556 h 1039"/>
                  <a:gd name="connsiteX55" fmla="*/ 616 w 4047"/>
                  <a:gd name="connsiteY55" fmla="*/ 444 h 1039"/>
                  <a:gd name="connsiteX56" fmla="*/ 547 w 4047"/>
                  <a:gd name="connsiteY56" fmla="*/ 336 h 1039"/>
                  <a:gd name="connsiteX57" fmla="*/ 504 w 4047"/>
                  <a:gd name="connsiteY57" fmla="*/ 280 h 1039"/>
                  <a:gd name="connsiteX58" fmla="*/ 457 w 4047"/>
                  <a:gd name="connsiteY58" fmla="*/ 235 h 1039"/>
                  <a:gd name="connsiteX59" fmla="*/ 409 w 4047"/>
                  <a:gd name="connsiteY59" fmla="*/ 195 h 1039"/>
                  <a:gd name="connsiteX60" fmla="*/ 358 w 4047"/>
                  <a:gd name="connsiteY60" fmla="*/ 164 h 1039"/>
                  <a:gd name="connsiteX61" fmla="*/ 308 w 4047"/>
                  <a:gd name="connsiteY61" fmla="*/ 141 h 1039"/>
                  <a:gd name="connsiteX62" fmla="*/ 256 w 4047"/>
                  <a:gd name="connsiteY62" fmla="*/ 123 h 1039"/>
                  <a:gd name="connsiteX63" fmla="*/ 209 w 4047"/>
                  <a:gd name="connsiteY63" fmla="*/ 108 h 1039"/>
                  <a:gd name="connsiteX64" fmla="*/ 163 w 4047"/>
                  <a:gd name="connsiteY64" fmla="*/ 100 h 1039"/>
                  <a:gd name="connsiteX65" fmla="*/ 122 w 4047"/>
                  <a:gd name="connsiteY65" fmla="*/ 96 h 1039"/>
                  <a:gd name="connsiteX66" fmla="*/ 85 w 4047"/>
                  <a:gd name="connsiteY66" fmla="*/ 91 h 1039"/>
                  <a:gd name="connsiteX67" fmla="*/ 31 w 4047"/>
                  <a:gd name="connsiteY67" fmla="*/ 91 h 1039"/>
                  <a:gd name="connsiteX68" fmla="*/ 17 w 4047"/>
                  <a:gd name="connsiteY68" fmla="*/ 94 h 1039"/>
                  <a:gd name="connsiteX69" fmla="*/ 11 w 4047"/>
                  <a:gd name="connsiteY69" fmla="*/ 94 h 1039"/>
                  <a:gd name="connsiteX70" fmla="*/ 0 w 4047"/>
                  <a:gd name="connsiteY70" fmla="*/ 9 h 1039"/>
                  <a:gd name="connsiteX71" fmla="*/ 9 w 4047"/>
                  <a:gd name="connsiteY71" fmla="*/ 9 h 1039"/>
                  <a:gd name="connsiteX72" fmla="*/ 29 w 4047"/>
                  <a:gd name="connsiteY72" fmla="*/ 6 h 1039"/>
                  <a:gd name="connsiteX73" fmla="*/ 91 w 4047"/>
                  <a:gd name="connsiteY73" fmla="*/ 6 h 1039"/>
                  <a:gd name="connsiteX74" fmla="*/ 135 w 4047"/>
                  <a:gd name="connsiteY74" fmla="*/ 9 h 1039"/>
                  <a:gd name="connsiteX75" fmla="*/ 182 w 4047"/>
                  <a:gd name="connsiteY75" fmla="*/ 15 h 1039"/>
                  <a:gd name="connsiteX76" fmla="*/ 234 w 4047"/>
                  <a:gd name="connsiteY76" fmla="*/ 25 h 1039"/>
                  <a:gd name="connsiteX77" fmla="*/ 287 w 4047"/>
                  <a:gd name="connsiteY77" fmla="*/ 42 h 1039"/>
                  <a:gd name="connsiteX78" fmla="*/ 345 w 4047"/>
                  <a:gd name="connsiteY78" fmla="*/ 62 h 1039"/>
                  <a:gd name="connsiteX79" fmla="*/ 403 w 4047"/>
                  <a:gd name="connsiteY79" fmla="*/ 89 h 1039"/>
                  <a:gd name="connsiteX80" fmla="*/ 459 w 4047"/>
                  <a:gd name="connsiteY80" fmla="*/ 127 h 1039"/>
                  <a:gd name="connsiteX81" fmla="*/ 514 w 4047"/>
                  <a:gd name="connsiteY81" fmla="*/ 170 h 1039"/>
                  <a:gd name="connsiteX82" fmla="*/ 568 w 4047"/>
                  <a:gd name="connsiteY82" fmla="*/ 224 h 1039"/>
                  <a:gd name="connsiteX83" fmla="*/ 618 w 4047"/>
                  <a:gd name="connsiteY83" fmla="*/ 288 h 1039"/>
                  <a:gd name="connsiteX84" fmla="*/ 667 w 4047"/>
                  <a:gd name="connsiteY84" fmla="*/ 363 h 1039"/>
                  <a:gd name="connsiteX85" fmla="*/ 754 w 4047"/>
                  <a:gd name="connsiteY85" fmla="*/ 512 h 1039"/>
                  <a:gd name="connsiteX86" fmla="*/ 787 w 4047"/>
                  <a:gd name="connsiteY86" fmla="*/ 571 h 1039"/>
                  <a:gd name="connsiteX87" fmla="*/ 820 w 4047"/>
                  <a:gd name="connsiteY87" fmla="*/ 627 h 1039"/>
                  <a:gd name="connsiteX88" fmla="*/ 853 w 4047"/>
                  <a:gd name="connsiteY88" fmla="*/ 680 h 1039"/>
                  <a:gd name="connsiteX89" fmla="*/ 886 w 4047"/>
                  <a:gd name="connsiteY89" fmla="*/ 732 h 1039"/>
                  <a:gd name="connsiteX90" fmla="*/ 921 w 4047"/>
                  <a:gd name="connsiteY90" fmla="*/ 778 h 1039"/>
                  <a:gd name="connsiteX91" fmla="*/ 958 w 4047"/>
                  <a:gd name="connsiteY91" fmla="*/ 821 h 1039"/>
                  <a:gd name="connsiteX92" fmla="*/ 1000 w 4047"/>
                  <a:gd name="connsiteY92" fmla="*/ 859 h 1039"/>
                  <a:gd name="connsiteX93" fmla="*/ 1043 w 4047"/>
                  <a:gd name="connsiteY93" fmla="*/ 890 h 1039"/>
                  <a:gd name="connsiteX94" fmla="*/ 1090 w 4047"/>
                  <a:gd name="connsiteY94" fmla="*/ 917 h 1039"/>
                  <a:gd name="connsiteX95" fmla="*/ 1140 w 4047"/>
                  <a:gd name="connsiteY95" fmla="*/ 935 h 1039"/>
                  <a:gd name="connsiteX96" fmla="*/ 1196 w 4047"/>
                  <a:gd name="connsiteY96" fmla="*/ 948 h 1039"/>
                  <a:gd name="connsiteX97" fmla="*/ 1258 w 4047"/>
                  <a:gd name="connsiteY97" fmla="*/ 952 h 1039"/>
                  <a:gd name="connsiteX98" fmla="*/ 1264 w 4047"/>
                  <a:gd name="connsiteY98" fmla="*/ 952 h 1039"/>
                  <a:gd name="connsiteX99" fmla="*/ 1324 w 4047"/>
                  <a:gd name="connsiteY99" fmla="*/ 946 h 1039"/>
                  <a:gd name="connsiteX100" fmla="*/ 1380 w 4047"/>
                  <a:gd name="connsiteY100" fmla="*/ 931 h 1039"/>
                  <a:gd name="connsiteX101" fmla="*/ 1433 w 4047"/>
                  <a:gd name="connsiteY101" fmla="*/ 909 h 1039"/>
                  <a:gd name="connsiteX102" fmla="*/ 1481 w 4047"/>
                  <a:gd name="connsiteY102" fmla="*/ 880 h 1039"/>
                  <a:gd name="connsiteX103" fmla="*/ 1526 w 4047"/>
                  <a:gd name="connsiteY103" fmla="*/ 842 h 1039"/>
                  <a:gd name="connsiteX104" fmla="*/ 1569 w 4047"/>
                  <a:gd name="connsiteY104" fmla="*/ 799 h 1039"/>
                  <a:gd name="connsiteX105" fmla="*/ 1609 w 4047"/>
                  <a:gd name="connsiteY105" fmla="*/ 751 h 1039"/>
                  <a:gd name="connsiteX106" fmla="*/ 1648 w 4047"/>
                  <a:gd name="connsiteY106" fmla="*/ 699 h 1039"/>
                  <a:gd name="connsiteX107" fmla="*/ 1687 w 4047"/>
                  <a:gd name="connsiteY107" fmla="*/ 645 h 1039"/>
                  <a:gd name="connsiteX108" fmla="*/ 1799 w 4047"/>
                  <a:gd name="connsiteY108" fmla="*/ 471 h 1039"/>
                  <a:gd name="connsiteX109" fmla="*/ 1838 w 4047"/>
                  <a:gd name="connsiteY109" fmla="*/ 411 h 1039"/>
                  <a:gd name="connsiteX110" fmla="*/ 1879 w 4047"/>
                  <a:gd name="connsiteY110" fmla="*/ 353 h 1039"/>
                  <a:gd name="connsiteX111" fmla="*/ 1923 w 4047"/>
                  <a:gd name="connsiteY111" fmla="*/ 295 h 1039"/>
                  <a:gd name="connsiteX112" fmla="*/ 1968 w 4047"/>
                  <a:gd name="connsiteY112" fmla="*/ 241 h 1039"/>
                  <a:gd name="connsiteX113" fmla="*/ 2015 w 4047"/>
                  <a:gd name="connsiteY113" fmla="*/ 189 h 1039"/>
                  <a:gd name="connsiteX114" fmla="*/ 2069 w 4047"/>
                  <a:gd name="connsiteY114" fmla="*/ 141 h 1039"/>
                  <a:gd name="connsiteX115" fmla="*/ 2125 w 4047"/>
                  <a:gd name="connsiteY115" fmla="*/ 100 h 1039"/>
                  <a:gd name="connsiteX116" fmla="*/ 2187 w 4047"/>
                  <a:gd name="connsiteY116" fmla="*/ 65 h 1039"/>
                  <a:gd name="connsiteX117" fmla="*/ 2253 w 4047"/>
                  <a:gd name="connsiteY117" fmla="*/ 35 h 1039"/>
                  <a:gd name="connsiteX118" fmla="*/ 2325 w 4047"/>
                  <a:gd name="connsiteY118" fmla="*/ 15 h 1039"/>
                  <a:gd name="connsiteX119" fmla="*/ 2404 w 4047"/>
                  <a:gd name="connsiteY119" fmla="*/ 2 h 1039"/>
                  <a:gd name="connsiteX120" fmla="*/ 2474 w 4047"/>
                  <a:gd name="connsiteY120" fmla="*/ 0 h 1039"/>
                  <a:gd name="connsiteX121" fmla="*/ 2540 w 4047"/>
                  <a:gd name="connsiteY121" fmla="*/ 9 h 1039"/>
                  <a:gd name="connsiteX122" fmla="*/ 2600 w 4047"/>
                  <a:gd name="connsiteY122" fmla="*/ 23 h 1039"/>
                  <a:gd name="connsiteX123" fmla="*/ 2658 w 4047"/>
                  <a:gd name="connsiteY123" fmla="*/ 46 h 1039"/>
                  <a:gd name="connsiteX124" fmla="*/ 2711 w 4047"/>
                  <a:gd name="connsiteY124" fmla="*/ 77 h 1039"/>
                  <a:gd name="connsiteX125" fmla="*/ 2761 w 4047"/>
                  <a:gd name="connsiteY125" fmla="*/ 112 h 1039"/>
                  <a:gd name="connsiteX126" fmla="*/ 2806 w 4047"/>
                  <a:gd name="connsiteY126" fmla="*/ 154 h 1039"/>
                  <a:gd name="connsiteX127" fmla="*/ 2852 w 4047"/>
                  <a:gd name="connsiteY127" fmla="*/ 199 h 1039"/>
                  <a:gd name="connsiteX128" fmla="*/ 2893 w 4047"/>
                  <a:gd name="connsiteY128" fmla="*/ 247 h 1039"/>
                  <a:gd name="connsiteX129" fmla="*/ 2932 w 4047"/>
                  <a:gd name="connsiteY129" fmla="*/ 299 h 1039"/>
                  <a:gd name="connsiteX130" fmla="*/ 2969 w 4047"/>
                  <a:gd name="connsiteY130" fmla="*/ 353 h 1039"/>
                  <a:gd name="connsiteX131" fmla="*/ 3004 w 4047"/>
                  <a:gd name="connsiteY131" fmla="*/ 409 h 1039"/>
                  <a:gd name="connsiteX132" fmla="*/ 3039 w 4047"/>
                  <a:gd name="connsiteY132" fmla="*/ 463 h 1039"/>
                  <a:gd name="connsiteX133" fmla="*/ 3073 w 4047"/>
                  <a:gd name="connsiteY133" fmla="*/ 519 h 1039"/>
                  <a:gd name="connsiteX134" fmla="*/ 3186 w 4047"/>
                  <a:gd name="connsiteY134" fmla="*/ 697 h 1039"/>
                  <a:gd name="connsiteX135" fmla="*/ 3659 w 4047"/>
                  <a:gd name="connsiteY135" fmla="*/ 931 h 1039"/>
                  <a:gd name="connsiteX136" fmla="*/ 3789 w 4047"/>
                  <a:gd name="connsiteY136" fmla="*/ 844 h 1039"/>
                  <a:gd name="connsiteX0" fmla="*/ 3789 w 4047"/>
                  <a:gd name="connsiteY0" fmla="*/ 844 h 1039"/>
                  <a:gd name="connsiteX1" fmla="*/ 3940 w 4047"/>
                  <a:gd name="connsiteY1" fmla="*/ 794 h 1039"/>
                  <a:gd name="connsiteX2" fmla="*/ 3147 w 4047"/>
                  <a:gd name="connsiteY2" fmla="*/ 792 h 1039"/>
                  <a:gd name="connsiteX3" fmla="*/ 3108 w 4047"/>
                  <a:gd name="connsiteY3" fmla="*/ 736 h 1039"/>
                  <a:gd name="connsiteX4" fmla="*/ 3070 w 4047"/>
                  <a:gd name="connsiteY4" fmla="*/ 680 h 1039"/>
                  <a:gd name="connsiteX5" fmla="*/ 2965 w 4047"/>
                  <a:gd name="connsiteY5" fmla="*/ 506 h 1039"/>
                  <a:gd name="connsiteX6" fmla="*/ 2928 w 4047"/>
                  <a:gd name="connsiteY6" fmla="*/ 448 h 1039"/>
                  <a:gd name="connsiteX7" fmla="*/ 2891 w 4047"/>
                  <a:gd name="connsiteY7" fmla="*/ 392 h 1039"/>
                  <a:gd name="connsiteX8" fmla="*/ 2854 w 4047"/>
                  <a:gd name="connsiteY8" fmla="*/ 338 h 1039"/>
                  <a:gd name="connsiteX9" fmla="*/ 2814 w 4047"/>
                  <a:gd name="connsiteY9" fmla="*/ 288 h 1039"/>
                  <a:gd name="connsiteX10" fmla="*/ 2773 w 4047"/>
                  <a:gd name="connsiteY10" fmla="*/ 243 h 1039"/>
                  <a:gd name="connsiteX11" fmla="*/ 2732 w 4047"/>
                  <a:gd name="connsiteY11" fmla="*/ 201 h 1039"/>
                  <a:gd name="connsiteX12" fmla="*/ 2686 w 4047"/>
                  <a:gd name="connsiteY12" fmla="*/ 164 h 1039"/>
                  <a:gd name="connsiteX13" fmla="*/ 2639 w 4047"/>
                  <a:gd name="connsiteY13" fmla="*/ 135 h 1039"/>
                  <a:gd name="connsiteX14" fmla="*/ 2587 w 4047"/>
                  <a:gd name="connsiteY14" fmla="*/ 112 h 1039"/>
                  <a:gd name="connsiteX15" fmla="*/ 2532 w 4047"/>
                  <a:gd name="connsiteY15" fmla="*/ 96 h 1039"/>
                  <a:gd name="connsiteX16" fmla="*/ 2474 w 4047"/>
                  <a:gd name="connsiteY16" fmla="*/ 87 h 1039"/>
                  <a:gd name="connsiteX17" fmla="*/ 2410 w 4047"/>
                  <a:gd name="connsiteY17" fmla="*/ 89 h 1039"/>
                  <a:gd name="connsiteX18" fmla="*/ 2342 w 4047"/>
                  <a:gd name="connsiteY18" fmla="*/ 100 h 1039"/>
                  <a:gd name="connsiteX19" fmla="*/ 2280 w 4047"/>
                  <a:gd name="connsiteY19" fmla="*/ 118 h 1039"/>
                  <a:gd name="connsiteX20" fmla="*/ 2222 w 4047"/>
                  <a:gd name="connsiteY20" fmla="*/ 143 h 1039"/>
                  <a:gd name="connsiteX21" fmla="*/ 2168 w 4047"/>
                  <a:gd name="connsiteY21" fmla="*/ 176 h 1039"/>
                  <a:gd name="connsiteX22" fmla="*/ 2117 w 4047"/>
                  <a:gd name="connsiteY22" fmla="*/ 214 h 1039"/>
                  <a:gd name="connsiteX23" fmla="*/ 2071 w 4047"/>
                  <a:gd name="connsiteY23" fmla="*/ 257 h 1039"/>
                  <a:gd name="connsiteX24" fmla="*/ 2026 w 4047"/>
                  <a:gd name="connsiteY24" fmla="*/ 303 h 1039"/>
                  <a:gd name="connsiteX25" fmla="*/ 1984 w 4047"/>
                  <a:gd name="connsiteY25" fmla="*/ 355 h 1039"/>
                  <a:gd name="connsiteX26" fmla="*/ 1945 w 4047"/>
                  <a:gd name="connsiteY26" fmla="*/ 409 h 1039"/>
                  <a:gd name="connsiteX27" fmla="*/ 1908 w 4047"/>
                  <a:gd name="connsiteY27" fmla="*/ 463 h 1039"/>
                  <a:gd name="connsiteX28" fmla="*/ 1871 w 4047"/>
                  <a:gd name="connsiteY28" fmla="*/ 519 h 1039"/>
                  <a:gd name="connsiteX29" fmla="*/ 1834 w 4047"/>
                  <a:gd name="connsiteY29" fmla="*/ 577 h 1039"/>
                  <a:gd name="connsiteX30" fmla="*/ 1799 w 4047"/>
                  <a:gd name="connsiteY30" fmla="*/ 633 h 1039"/>
                  <a:gd name="connsiteX31" fmla="*/ 1724 w 4047"/>
                  <a:gd name="connsiteY31" fmla="*/ 745 h 1039"/>
                  <a:gd name="connsiteX32" fmla="*/ 1685 w 4047"/>
                  <a:gd name="connsiteY32" fmla="*/ 797 h 1039"/>
                  <a:gd name="connsiteX33" fmla="*/ 1644 w 4047"/>
                  <a:gd name="connsiteY33" fmla="*/ 846 h 1039"/>
                  <a:gd name="connsiteX34" fmla="*/ 1600 w 4047"/>
                  <a:gd name="connsiteY34" fmla="*/ 892 h 1039"/>
                  <a:gd name="connsiteX35" fmla="*/ 1553 w 4047"/>
                  <a:gd name="connsiteY35" fmla="*/ 933 h 1039"/>
                  <a:gd name="connsiteX36" fmla="*/ 1503 w 4047"/>
                  <a:gd name="connsiteY36" fmla="*/ 969 h 1039"/>
                  <a:gd name="connsiteX37" fmla="*/ 1450 w 4047"/>
                  <a:gd name="connsiteY37" fmla="*/ 998 h 1039"/>
                  <a:gd name="connsiteX38" fmla="*/ 1394 w 4047"/>
                  <a:gd name="connsiteY38" fmla="*/ 1021 h 1039"/>
                  <a:gd name="connsiteX39" fmla="*/ 1330 w 4047"/>
                  <a:gd name="connsiteY39" fmla="*/ 1033 h 1039"/>
                  <a:gd name="connsiteX40" fmla="*/ 1264 w 4047"/>
                  <a:gd name="connsiteY40" fmla="*/ 1039 h 1039"/>
                  <a:gd name="connsiteX41" fmla="*/ 1258 w 4047"/>
                  <a:gd name="connsiteY41" fmla="*/ 1039 h 1039"/>
                  <a:gd name="connsiteX42" fmla="*/ 1190 w 4047"/>
                  <a:gd name="connsiteY42" fmla="*/ 1035 h 1039"/>
                  <a:gd name="connsiteX43" fmla="*/ 1128 w 4047"/>
                  <a:gd name="connsiteY43" fmla="*/ 1023 h 1039"/>
                  <a:gd name="connsiteX44" fmla="*/ 1070 w 4047"/>
                  <a:gd name="connsiteY44" fmla="*/ 1004 h 1039"/>
                  <a:gd name="connsiteX45" fmla="*/ 1018 w 4047"/>
                  <a:gd name="connsiteY45" fmla="*/ 979 h 1039"/>
                  <a:gd name="connsiteX46" fmla="*/ 971 w 4047"/>
                  <a:gd name="connsiteY46" fmla="*/ 948 h 1039"/>
                  <a:gd name="connsiteX47" fmla="*/ 925 w 4047"/>
                  <a:gd name="connsiteY47" fmla="*/ 911 h 1039"/>
                  <a:gd name="connsiteX48" fmla="*/ 884 w 4047"/>
                  <a:gd name="connsiteY48" fmla="*/ 869 h 1039"/>
                  <a:gd name="connsiteX49" fmla="*/ 847 w 4047"/>
                  <a:gd name="connsiteY49" fmla="*/ 824 h 1039"/>
                  <a:gd name="connsiteX50" fmla="*/ 810 w 4047"/>
                  <a:gd name="connsiteY50" fmla="*/ 776 h 1039"/>
                  <a:gd name="connsiteX51" fmla="*/ 777 w 4047"/>
                  <a:gd name="connsiteY51" fmla="*/ 724 h 1039"/>
                  <a:gd name="connsiteX52" fmla="*/ 742 w 4047"/>
                  <a:gd name="connsiteY52" fmla="*/ 670 h 1039"/>
                  <a:gd name="connsiteX53" fmla="*/ 711 w 4047"/>
                  <a:gd name="connsiteY53" fmla="*/ 614 h 1039"/>
                  <a:gd name="connsiteX54" fmla="*/ 678 w 4047"/>
                  <a:gd name="connsiteY54" fmla="*/ 556 h 1039"/>
                  <a:gd name="connsiteX55" fmla="*/ 616 w 4047"/>
                  <a:gd name="connsiteY55" fmla="*/ 444 h 1039"/>
                  <a:gd name="connsiteX56" fmla="*/ 547 w 4047"/>
                  <a:gd name="connsiteY56" fmla="*/ 336 h 1039"/>
                  <a:gd name="connsiteX57" fmla="*/ 504 w 4047"/>
                  <a:gd name="connsiteY57" fmla="*/ 280 h 1039"/>
                  <a:gd name="connsiteX58" fmla="*/ 457 w 4047"/>
                  <a:gd name="connsiteY58" fmla="*/ 235 h 1039"/>
                  <a:gd name="connsiteX59" fmla="*/ 409 w 4047"/>
                  <a:gd name="connsiteY59" fmla="*/ 195 h 1039"/>
                  <a:gd name="connsiteX60" fmla="*/ 358 w 4047"/>
                  <a:gd name="connsiteY60" fmla="*/ 164 h 1039"/>
                  <a:gd name="connsiteX61" fmla="*/ 308 w 4047"/>
                  <a:gd name="connsiteY61" fmla="*/ 141 h 1039"/>
                  <a:gd name="connsiteX62" fmla="*/ 256 w 4047"/>
                  <a:gd name="connsiteY62" fmla="*/ 123 h 1039"/>
                  <a:gd name="connsiteX63" fmla="*/ 209 w 4047"/>
                  <a:gd name="connsiteY63" fmla="*/ 108 h 1039"/>
                  <a:gd name="connsiteX64" fmla="*/ 163 w 4047"/>
                  <a:gd name="connsiteY64" fmla="*/ 100 h 1039"/>
                  <a:gd name="connsiteX65" fmla="*/ 122 w 4047"/>
                  <a:gd name="connsiteY65" fmla="*/ 96 h 1039"/>
                  <a:gd name="connsiteX66" fmla="*/ 85 w 4047"/>
                  <a:gd name="connsiteY66" fmla="*/ 91 h 1039"/>
                  <a:gd name="connsiteX67" fmla="*/ 31 w 4047"/>
                  <a:gd name="connsiteY67" fmla="*/ 91 h 1039"/>
                  <a:gd name="connsiteX68" fmla="*/ 17 w 4047"/>
                  <a:gd name="connsiteY68" fmla="*/ 94 h 1039"/>
                  <a:gd name="connsiteX69" fmla="*/ 11 w 4047"/>
                  <a:gd name="connsiteY69" fmla="*/ 94 h 1039"/>
                  <a:gd name="connsiteX70" fmla="*/ 0 w 4047"/>
                  <a:gd name="connsiteY70" fmla="*/ 9 h 1039"/>
                  <a:gd name="connsiteX71" fmla="*/ 9 w 4047"/>
                  <a:gd name="connsiteY71" fmla="*/ 9 h 1039"/>
                  <a:gd name="connsiteX72" fmla="*/ 29 w 4047"/>
                  <a:gd name="connsiteY72" fmla="*/ 6 h 1039"/>
                  <a:gd name="connsiteX73" fmla="*/ 91 w 4047"/>
                  <a:gd name="connsiteY73" fmla="*/ 6 h 1039"/>
                  <a:gd name="connsiteX74" fmla="*/ 135 w 4047"/>
                  <a:gd name="connsiteY74" fmla="*/ 9 h 1039"/>
                  <a:gd name="connsiteX75" fmla="*/ 182 w 4047"/>
                  <a:gd name="connsiteY75" fmla="*/ 15 h 1039"/>
                  <a:gd name="connsiteX76" fmla="*/ 234 w 4047"/>
                  <a:gd name="connsiteY76" fmla="*/ 25 h 1039"/>
                  <a:gd name="connsiteX77" fmla="*/ 287 w 4047"/>
                  <a:gd name="connsiteY77" fmla="*/ 42 h 1039"/>
                  <a:gd name="connsiteX78" fmla="*/ 345 w 4047"/>
                  <a:gd name="connsiteY78" fmla="*/ 62 h 1039"/>
                  <a:gd name="connsiteX79" fmla="*/ 403 w 4047"/>
                  <a:gd name="connsiteY79" fmla="*/ 89 h 1039"/>
                  <a:gd name="connsiteX80" fmla="*/ 459 w 4047"/>
                  <a:gd name="connsiteY80" fmla="*/ 127 h 1039"/>
                  <a:gd name="connsiteX81" fmla="*/ 514 w 4047"/>
                  <a:gd name="connsiteY81" fmla="*/ 170 h 1039"/>
                  <a:gd name="connsiteX82" fmla="*/ 568 w 4047"/>
                  <a:gd name="connsiteY82" fmla="*/ 224 h 1039"/>
                  <a:gd name="connsiteX83" fmla="*/ 618 w 4047"/>
                  <a:gd name="connsiteY83" fmla="*/ 288 h 1039"/>
                  <a:gd name="connsiteX84" fmla="*/ 667 w 4047"/>
                  <a:gd name="connsiteY84" fmla="*/ 363 h 1039"/>
                  <a:gd name="connsiteX85" fmla="*/ 754 w 4047"/>
                  <a:gd name="connsiteY85" fmla="*/ 512 h 1039"/>
                  <a:gd name="connsiteX86" fmla="*/ 787 w 4047"/>
                  <a:gd name="connsiteY86" fmla="*/ 571 h 1039"/>
                  <a:gd name="connsiteX87" fmla="*/ 820 w 4047"/>
                  <a:gd name="connsiteY87" fmla="*/ 627 h 1039"/>
                  <a:gd name="connsiteX88" fmla="*/ 853 w 4047"/>
                  <a:gd name="connsiteY88" fmla="*/ 680 h 1039"/>
                  <a:gd name="connsiteX89" fmla="*/ 886 w 4047"/>
                  <a:gd name="connsiteY89" fmla="*/ 732 h 1039"/>
                  <a:gd name="connsiteX90" fmla="*/ 921 w 4047"/>
                  <a:gd name="connsiteY90" fmla="*/ 778 h 1039"/>
                  <a:gd name="connsiteX91" fmla="*/ 958 w 4047"/>
                  <a:gd name="connsiteY91" fmla="*/ 821 h 1039"/>
                  <a:gd name="connsiteX92" fmla="*/ 1000 w 4047"/>
                  <a:gd name="connsiteY92" fmla="*/ 859 h 1039"/>
                  <a:gd name="connsiteX93" fmla="*/ 1043 w 4047"/>
                  <a:gd name="connsiteY93" fmla="*/ 890 h 1039"/>
                  <a:gd name="connsiteX94" fmla="*/ 1090 w 4047"/>
                  <a:gd name="connsiteY94" fmla="*/ 917 h 1039"/>
                  <a:gd name="connsiteX95" fmla="*/ 1140 w 4047"/>
                  <a:gd name="connsiteY95" fmla="*/ 935 h 1039"/>
                  <a:gd name="connsiteX96" fmla="*/ 1196 w 4047"/>
                  <a:gd name="connsiteY96" fmla="*/ 948 h 1039"/>
                  <a:gd name="connsiteX97" fmla="*/ 1258 w 4047"/>
                  <a:gd name="connsiteY97" fmla="*/ 952 h 1039"/>
                  <a:gd name="connsiteX98" fmla="*/ 1264 w 4047"/>
                  <a:gd name="connsiteY98" fmla="*/ 952 h 1039"/>
                  <a:gd name="connsiteX99" fmla="*/ 1324 w 4047"/>
                  <a:gd name="connsiteY99" fmla="*/ 946 h 1039"/>
                  <a:gd name="connsiteX100" fmla="*/ 1380 w 4047"/>
                  <a:gd name="connsiteY100" fmla="*/ 931 h 1039"/>
                  <a:gd name="connsiteX101" fmla="*/ 1433 w 4047"/>
                  <a:gd name="connsiteY101" fmla="*/ 909 h 1039"/>
                  <a:gd name="connsiteX102" fmla="*/ 1481 w 4047"/>
                  <a:gd name="connsiteY102" fmla="*/ 880 h 1039"/>
                  <a:gd name="connsiteX103" fmla="*/ 1526 w 4047"/>
                  <a:gd name="connsiteY103" fmla="*/ 842 h 1039"/>
                  <a:gd name="connsiteX104" fmla="*/ 1569 w 4047"/>
                  <a:gd name="connsiteY104" fmla="*/ 799 h 1039"/>
                  <a:gd name="connsiteX105" fmla="*/ 1609 w 4047"/>
                  <a:gd name="connsiteY105" fmla="*/ 751 h 1039"/>
                  <a:gd name="connsiteX106" fmla="*/ 1648 w 4047"/>
                  <a:gd name="connsiteY106" fmla="*/ 699 h 1039"/>
                  <a:gd name="connsiteX107" fmla="*/ 1687 w 4047"/>
                  <a:gd name="connsiteY107" fmla="*/ 645 h 1039"/>
                  <a:gd name="connsiteX108" fmla="*/ 1799 w 4047"/>
                  <a:gd name="connsiteY108" fmla="*/ 471 h 1039"/>
                  <a:gd name="connsiteX109" fmla="*/ 1838 w 4047"/>
                  <a:gd name="connsiteY109" fmla="*/ 411 h 1039"/>
                  <a:gd name="connsiteX110" fmla="*/ 1879 w 4047"/>
                  <a:gd name="connsiteY110" fmla="*/ 353 h 1039"/>
                  <a:gd name="connsiteX111" fmla="*/ 1923 w 4047"/>
                  <a:gd name="connsiteY111" fmla="*/ 295 h 1039"/>
                  <a:gd name="connsiteX112" fmla="*/ 1968 w 4047"/>
                  <a:gd name="connsiteY112" fmla="*/ 241 h 1039"/>
                  <a:gd name="connsiteX113" fmla="*/ 2015 w 4047"/>
                  <a:gd name="connsiteY113" fmla="*/ 189 h 1039"/>
                  <a:gd name="connsiteX114" fmla="*/ 2069 w 4047"/>
                  <a:gd name="connsiteY114" fmla="*/ 141 h 1039"/>
                  <a:gd name="connsiteX115" fmla="*/ 2125 w 4047"/>
                  <a:gd name="connsiteY115" fmla="*/ 100 h 1039"/>
                  <a:gd name="connsiteX116" fmla="*/ 2187 w 4047"/>
                  <a:gd name="connsiteY116" fmla="*/ 65 h 1039"/>
                  <a:gd name="connsiteX117" fmla="*/ 2253 w 4047"/>
                  <a:gd name="connsiteY117" fmla="*/ 35 h 1039"/>
                  <a:gd name="connsiteX118" fmla="*/ 2325 w 4047"/>
                  <a:gd name="connsiteY118" fmla="*/ 15 h 1039"/>
                  <a:gd name="connsiteX119" fmla="*/ 2404 w 4047"/>
                  <a:gd name="connsiteY119" fmla="*/ 2 h 1039"/>
                  <a:gd name="connsiteX120" fmla="*/ 2474 w 4047"/>
                  <a:gd name="connsiteY120" fmla="*/ 0 h 1039"/>
                  <a:gd name="connsiteX121" fmla="*/ 2540 w 4047"/>
                  <a:gd name="connsiteY121" fmla="*/ 9 h 1039"/>
                  <a:gd name="connsiteX122" fmla="*/ 2600 w 4047"/>
                  <a:gd name="connsiteY122" fmla="*/ 23 h 1039"/>
                  <a:gd name="connsiteX123" fmla="*/ 2658 w 4047"/>
                  <a:gd name="connsiteY123" fmla="*/ 46 h 1039"/>
                  <a:gd name="connsiteX124" fmla="*/ 2711 w 4047"/>
                  <a:gd name="connsiteY124" fmla="*/ 77 h 1039"/>
                  <a:gd name="connsiteX125" fmla="*/ 2761 w 4047"/>
                  <a:gd name="connsiteY125" fmla="*/ 112 h 1039"/>
                  <a:gd name="connsiteX126" fmla="*/ 2806 w 4047"/>
                  <a:gd name="connsiteY126" fmla="*/ 154 h 1039"/>
                  <a:gd name="connsiteX127" fmla="*/ 2852 w 4047"/>
                  <a:gd name="connsiteY127" fmla="*/ 199 h 1039"/>
                  <a:gd name="connsiteX128" fmla="*/ 2893 w 4047"/>
                  <a:gd name="connsiteY128" fmla="*/ 247 h 1039"/>
                  <a:gd name="connsiteX129" fmla="*/ 2932 w 4047"/>
                  <a:gd name="connsiteY129" fmla="*/ 299 h 1039"/>
                  <a:gd name="connsiteX130" fmla="*/ 2969 w 4047"/>
                  <a:gd name="connsiteY130" fmla="*/ 353 h 1039"/>
                  <a:gd name="connsiteX131" fmla="*/ 3004 w 4047"/>
                  <a:gd name="connsiteY131" fmla="*/ 409 h 1039"/>
                  <a:gd name="connsiteX132" fmla="*/ 3039 w 4047"/>
                  <a:gd name="connsiteY132" fmla="*/ 463 h 1039"/>
                  <a:gd name="connsiteX133" fmla="*/ 3073 w 4047"/>
                  <a:gd name="connsiteY133" fmla="*/ 519 h 1039"/>
                  <a:gd name="connsiteX134" fmla="*/ 3186 w 4047"/>
                  <a:gd name="connsiteY134" fmla="*/ 697 h 1039"/>
                  <a:gd name="connsiteX135" fmla="*/ 3789 w 4047"/>
                  <a:gd name="connsiteY135" fmla="*/ 844 h 1039"/>
                  <a:gd name="connsiteX0" fmla="*/ 3186 w 3946"/>
                  <a:gd name="connsiteY0" fmla="*/ 697 h 1039"/>
                  <a:gd name="connsiteX1" fmla="*/ 3940 w 3946"/>
                  <a:gd name="connsiteY1" fmla="*/ 794 h 1039"/>
                  <a:gd name="connsiteX2" fmla="*/ 3147 w 3946"/>
                  <a:gd name="connsiteY2" fmla="*/ 792 h 1039"/>
                  <a:gd name="connsiteX3" fmla="*/ 3108 w 3946"/>
                  <a:gd name="connsiteY3" fmla="*/ 736 h 1039"/>
                  <a:gd name="connsiteX4" fmla="*/ 3070 w 3946"/>
                  <a:gd name="connsiteY4" fmla="*/ 680 h 1039"/>
                  <a:gd name="connsiteX5" fmla="*/ 2965 w 3946"/>
                  <a:gd name="connsiteY5" fmla="*/ 506 h 1039"/>
                  <a:gd name="connsiteX6" fmla="*/ 2928 w 3946"/>
                  <a:gd name="connsiteY6" fmla="*/ 448 h 1039"/>
                  <a:gd name="connsiteX7" fmla="*/ 2891 w 3946"/>
                  <a:gd name="connsiteY7" fmla="*/ 392 h 1039"/>
                  <a:gd name="connsiteX8" fmla="*/ 2854 w 3946"/>
                  <a:gd name="connsiteY8" fmla="*/ 338 h 1039"/>
                  <a:gd name="connsiteX9" fmla="*/ 2814 w 3946"/>
                  <a:gd name="connsiteY9" fmla="*/ 288 h 1039"/>
                  <a:gd name="connsiteX10" fmla="*/ 2773 w 3946"/>
                  <a:gd name="connsiteY10" fmla="*/ 243 h 1039"/>
                  <a:gd name="connsiteX11" fmla="*/ 2732 w 3946"/>
                  <a:gd name="connsiteY11" fmla="*/ 201 h 1039"/>
                  <a:gd name="connsiteX12" fmla="*/ 2686 w 3946"/>
                  <a:gd name="connsiteY12" fmla="*/ 164 h 1039"/>
                  <a:gd name="connsiteX13" fmla="*/ 2639 w 3946"/>
                  <a:gd name="connsiteY13" fmla="*/ 135 h 1039"/>
                  <a:gd name="connsiteX14" fmla="*/ 2587 w 3946"/>
                  <a:gd name="connsiteY14" fmla="*/ 112 h 1039"/>
                  <a:gd name="connsiteX15" fmla="*/ 2532 w 3946"/>
                  <a:gd name="connsiteY15" fmla="*/ 96 h 1039"/>
                  <a:gd name="connsiteX16" fmla="*/ 2474 w 3946"/>
                  <a:gd name="connsiteY16" fmla="*/ 87 h 1039"/>
                  <a:gd name="connsiteX17" fmla="*/ 2410 w 3946"/>
                  <a:gd name="connsiteY17" fmla="*/ 89 h 1039"/>
                  <a:gd name="connsiteX18" fmla="*/ 2342 w 3946"/>
                  <a:gd name="connsiteY18" fmla="*/ 100 h 1039"/>
                  <a:gd name="connsiteX19" fmla="*/ 2280 w 3946"/>
                  <a:gd name="connsiteY19" fmla="*/ 118 h 1039"/>
                  <a:gd name="connsiteX20" fmla="*/ 2222 w 3946"/>
                  <a:gd name="connsiteY20" fmla="*/ 143 h 1039"/>
                  <a:gd name="connsiteX21" fmla="*/ 2168 w 3946"/>
                  <a:gd name="connsiteY21" fmla="*/ 176 h 1039"/>
                  <a:gd name="connsiteX22" fmla="*/ 2117 w 3946"/>
                  <a:gd name="connsiteY22" fmla="*/ 214 h 1039"/>
                  <a:gd name="connsiteX23" fmla="*/ 2071 w 3946"/>
                  <a:gd name="connsiteY23" fmla="*/ 257 h 1039"/>
                  <a:gd name="connsiteX24" fmla="*/ 2026 w 3946"/>
                  <a:gd name="connsiteY24" fmla="*/ 303 h 1039"/>
                  <a:gd name="connsiteX25" fmla="*/ 1984 w 3946"/>
                  <a:gd name="connsiteY25" fmla="*/ 355 h 1039"/>
                  <a:gd name="connsiteX26" fmla="*/ 1945 w 3946"/>
                  <a:gd name="connsiteY26" fmla="*/ 409 h 1039"/>
                  <a:gd name="connsiteX27" fmla="*/ 1908 w 3946"/>
                  <a:gd name="connsiteY27" fmla="*/ 463 h 1039"/>
                  <a:gd name="connsiteX28" fmla="*/ 1871 w 3946"/>
                  <a:gd name="connsiteY28" fmla="*/ 519 h 1039"/>
                  <a:gd name="connsiteX29" fmla="*/ 1834 w 3946"/>
                  <a:gd name="connsiteY29" fmla="*/ 577 h 1039"/>
                  <a:gd name="connsiteX30" fmla="*/ 1799 w 3946"/>
                  <a:gd name="connsiteY30" fmla="*/ 633 h 1039"/>
                  <a:gd name="connsiteX31" fmla="*/ 1724 w 3946"/>
                  <a:gd name="connsiteY31" fmla="*/ 745 h 1039"/>
                  <a:gd name="connsiteX32" fmla="*/ 1685 w 3946"/>
                  <a:gd name="connsiteY32" fmla="*/ 797 h 1039"/>
                  <a:gd name="connsiteX33" fmla="*/ 1644 w 3946"/>
                  <a:gd name="connsiteY33" fmla="*/ 846 h 1039"/>
                  <a:gd name="connsiteX34" fmla="*/ 1600 w 3946"/>
                  <a:gd name="connsiteY34" fmla="*/ 892 h 1039"/>
                  <a:gd name="connsiteX35" fmla="*/ 1553 w 3946"/>
                  <a:gd name="connsiteY35" fmla="*/ 933 h 1039"/>
                  <a:gd name="connsiteX36" fmla="*/ 1503 w 3946"/>
                  <a:gd name="connsiteY36" fmla="*/ 969 h 1039"/>
                  <a:gd name="connsiteX37" fmla="*/ 1450 w 3946"/>
                  <a:gd name="connsiteY37" fmla="*/ 998 h 1039"/>
                  <a:gd name="connsiteX38" fmla="*/ 1394 w 3946"/>
                  <a:gd name="connsiteY38" fmla="*/ 1021 h 1039"/>
                  <a:gd name="connsiteX39" fmla="*/ 1330 w 3946"/>
                  <a:gd name="connsiteY39" fmla="*/ 1033 h 1039"/>
                  <a:gd name="connsiteX40" fmla="*/ 1264 w 3946"/>
                  <a:gd name="connsiteY40" fmla="*/ 1039 h 1039"/>
                  <a:gd name="connsiteX41" fmla="*/ 1258 w 3946"/>
                  <a:gd name="connsiteY41" fmla="*/ 1039 h 1039"/>
                  <a:gd name="connsiteX42" fmla="*/ 1190 w 3946"/>
                  <a:gd name="connsiteY42" fmla="*/ 1035 h 1039"/>
                  <a:gd name="connsiteX43" fmla="*/ 1128 w 3946"/>
                  <a:gd name="connsiteY43" fmla="*/ 1023 h 1039"/>
                  <a:gd name="connsiteX44" fmla="*/ 1070 w 3946"/>
                  <a:gd name="connsiteY44" fmla="*/ 1004 h 1039"/>
                  <a:gd name="connsiteX45" fmla="*/ 1018 w 3946"/>
                  <a:gd name="connsiteY45" fmla="*/ 979 h 1039"/>
                  <a:gd name="connsiteX46" fmla="*/ 971 w 3946"/>
                  <a:gd name="connsiteY46" fmla="*/ 948 h 1039"/>
                  <a:gd name="connsiteX47" fmla="*/ 925 w 3946"/>
                  <a:gd name="connsiteY47" fmla="*/ 911 h 1039"/>
                  <a:gd name="connsiteX48" fmla="*/ 884 w 3946"/>
                  <a:gd name="connsiteY48" fmla="*/ 869 h 1039"/>
                  <a:gd name="connsiteX49" fmla="*/ 847 w 3946"/>
                  <a:gd name="connsiteY49" fmla="*/ 824 h 1039"/>
                  <a:gd name="connsiteX50" fmla="*/ 810 w 3946"/>
                  <a:gd name="connsiteY50" fmla="*/ 776 h 1039"/>
                  <a:gd name="connsiteX51" fmla="*/ 777 w 3946"/>
                  <a:gd name="connsiteY51" fmla="*/ 724 h 1039"/>
                  <a:gd name="connsiteX52" fmla="*/ 742 w 3946"/>
                  <a:gd name="connsiteY52" fmla="*/ 670 h 1039"/>
                  <a:gd name="connsiteX53" fmla="*/ 711 w 3946"/>
                  <a:gd name="connsiteY53" fmla="*/ 614 h 1039"/>
                  <a:gd name="connsiteX54" fmla="*/ 678 w 3946"/>
                  <a:gd name="connsiteY54" fmla="*/ 556 h 1039"/>
                  <a:gd name="connsiteX55" fmla="*/ 616 w 3946"/>
                  <a:gd name="connsiteY55" fmla="*/ 444 h 1039"/>
                  <a:gd name="connsiteX56" fmla="*/ 547 w 3946"/>
                  <a:gd name="connsiteY56" fmla="*/ 336 h 1039"/>
                  <a:gd name="connsiteX57" fmla="*/ 504 w 3946"/>
                  <a:gd name="connsiteY57" fmla="*/ 280 h 1039"/>
                  <a:gd name="connsiteX58" fmla="*/ 457 w 3946"/>
                  <a:gd name="connsiteY58" fmla="*/ 235 h 1039"/>
                  <a:gd name="connsiteX59" fmla="*/ 409 w 3946"/>
                  <a:gd name="connsiteY59" fmla="*/ 195 h 1039"/>
                  <a:gd name="connsiteX60" fmla="*/ 358 w 3946"/>
                  <a:gd name="connsiteY60" fmla="*/ 164 h 1039"/>
                  <a:gd name="connsiteX61" fmla="*/ 308 w 3946"/>
                  <a:gd name="connsiteY61" fmla="*/ 141 h 1039"/>
                  <a:gd name="connsiteX62" fmla="*/ 256 w 3946"/>
                  <a:gd name="connsiteY62" fmla="*/ 123 h 1039"/>
                  <a:gd name="connsiteX63" fmla="*/ 209 w 3946"/>
                  <a:gd name="connsiteY63" fmla="*/ 108 h 1039"/>
                  <a:gd name="connsiteX64" fmla="*/ 163 w 3946"/>
                  <a:gd name="connsiteY64" fmla="*/ 100 h 1039"/>
                  <a:gd name="connsiteX65" fmla="*/ 122 w 3946"/>
                  <a:gd name="connsiteY65" fmla="*/ 96 h 1039"/>
                  <a:gd name="connsiteX66" fmla="*/ 85 w 3946"/>
                  <a:gd name="connsiteY66" fmla="*/ 91 h 1039"/>
                  <a:gd name="connsiteX67" fmla="*/ 31 w 3946"/>
                  <a:gd name="connsiteY67" fmla="*/ 91 h 1039"/>
                  <a:gd name="connsiteX68" fmla="*/ 17 w 3946"/>
                  <a:gd name="connsiteY68" fmla="*/ 94 h 1039"/>
                  <a:gd name="connsiteX69" fmla="*/ 11 w 3946"/>
                  <a:gd name="connsiteY69" fmla="*/ 94 h 1039"/>
                  <a:gd name="connsiteX70" fmla="*/ 0 w 3946"/>
                  <a:gd name="connsiteY70" fmla="*/ 9 h 1039"/>
                  <a:gd name="connsiteX71" fmla="*/ 9 w 3946"/>
                  <a:gd name="connsiteY71" fmla="*/ 9 h 1039"/>
                  <a:gd name="connsiteX72" fmla="*/ 29 w 3946"/>
                  <a:gd name="connsiteY72" fmla="*/ 6 h 1039"/>
                  <a:gd name="connsiteX73" fmla="*/ 91 w 3946"/>
                  <a:gd name="connsiteY73" fmla="*/ 6 h 1039"/>
                  <a:gd name="connsiteX74" fmla="*/ 135 w 3946"/>
                  <a:gd name="connsiteY74" fmla="*/ 9 h 1039"/>
                  <a:gd name="connsiteX75" fmla="*/ 182 w 3946"/>
                  <a:gd name="connsiteY75" fmla="*/ 15 h 1039"/>
                  <a:gd name="connsiteX76" fmla="*/ 234 w 3946"/>
                  <a:gd name="connsiteY76" fmla="*/ 25 h 1039"/>
                  <a:gd name="connsiteX77" fmla="*/ 287 w 3946"/>
                  <a:gd name="connsiteY77" fmla="*/ 42 h 1039"/>
                  <a:gd name="connsiteX78" fmla="*/ 345 w 3946"/>
                  <a:gd name="connsiteY78" fmla="*/ 62 h 1039"/>
                  <a:gd name="connsiteX79" fmla="*/ 403 w 3946"/>
                  <a:gd name="connsiteY79" fmla="*/ 89 h 1039"/>
                  <a:gd name="connsiteX80" fmla="*/ 459 w 3946"/>
                  <a:gd name="connsiteY80" fmla="*/ 127 h 1039"/>
                  <a:gd name="connsiteX81" fmla="*/ 514 w 3946"/>
                  <a:gd name="connsiteY81" fmla="*/ 170 h 1039"/>
                  <a:gd name="connsiteX82" fmla="*/ 568 w 3946"/>
                  <a:gd name="connsiteY82" fmla="*/ 224 h 1039"/>
                  <a:gd name="connsiteX83" fmla="*/ 618 w 3946"/>
                  <a:gd name="connsiteY83" fmla="*/ 288 h 1039"/>
                  <a:gd name="connsiteX84" fmla="*/ 667 w 3946"/>
                  <a:gd name="connsiteY84" fmla="*/ 363 h 1039"/>
                  <a:gd name="connsiteX85" fmla="*/ 754 w 3946"/>
                  <a:gd name="connsiteY85" fmla="*/ 512 h 1039"/>
                  <a:gd name="connsiteX86" fmla="*/ 787 w 3946"/>
                  <a:gd name="connsiteY86" fmla="*/ 571 h 1039"/>
                  <a:gd name="connsiteX87" fmla="*/ 820 w 3946"/>
                  <a:gd name="connsiteY87" fmla="*/ 627 h 1039"/>
                  <a:gd name="connsiteX88" fmla="*/ 853 w 3946"/>
                  <a:gd name="connsiteY88" fmla="*/ 680 h 1039"/>
                  <a:gd name="connsiteX89" fmla="*/ 886 w 3946"/>
                  <a:gd name="connsiteY89" fmla="*/ 732 h 1039"/>
                  <a:gd name="connsiteX90" fmla="*/ 921 w 3946"/>
                  <a:gd name="connsiteY90" fmla="*/ 778 h 1039"/>
                  <a:gd name="connsiteX91" fmla="*/ 958 w 3946"/>
                  <a:gd name="connsiteY91" fmla="*/ 821 h 1039"/>
                  <a:gd name="connsiteX92" fmla="*/ 1000 w 3946"/>
                  <a:gd name="connsiteY92" fmla="*/ 859 h 1039"/>
                  <a:gd name="connsiteX93" fmla="*/ 1043 w 3946"/>
                  <a:gd name="connsiteY93" fmla="*/ 890 h 1039"/>
                  <a:gd name="connsiteX94" fmla="*/ 1090 w 3946"/>
                  <a:gd name="connsiteY94" fmla="*/ 917 h 1039"/>
                  <a:gd name="connsiteX95" fmla="*/ 1140 w 3946"/>
                  <a:gd name="connsiteY95" fmla="*/ 935 h 1039"/>
                  <a:gd name="connsiteX96" fmla="*/ 1196 w 3946"/>
                  <a:gd name="connsiteY96" fmla="*/ 948 h 1039"/>
                  <a:gd name="connsiteX97" fmla="*/ 1258 w 3946"/>
                  <a:gd name="connsiteY97" fmla="*/ 952 h 1039"/>
                  <a:gd name="connsiteX98" fmla="*/ 1264 w 3946"/>
                  <a:gd name="connsiteY98" fmla="*/ 952 h 1039"/>
                  <a:gd name="connsiteX99" fmla="*/ 1324 w 3946"/>
                  <a:gd name="connsiteY99" fmla="*/ 946 h 1039"/>
                  <a:gd name="connsiteX100" fmla="*/ 1380 w 3946"/>
                  <a:gd name="connsiteY100" fmla="*/ 931 h 1039"/>
                  <a:gd name="connsiteX101" fmla="*/ 1433 w 3946"/>
                  <a:gd name="connsiteY101" fmla="*/ 909 h 1039"/>
                  <a:gd name="connsiteX102" fmla="*/ 1481 w 3946"/>
                  <a:gd name="connsiteY102" fmla="*/ 880 h 1039"/>
                  <a:gd name="connsiteX103" fmla="*/ 1526 w 3946"/>
                  <a:gd name="connsiteY103" fmla="*/ 842 h 1039"/>
                  <a:gd name="connsiteX104" fmla="*/ 1569 w 3946"/>
                  <a:gd name="connsiteY104" fmla="*/ 799 h 1039"/>
                  <a:gd name="connsiteX105" fmla="*/ 1609 w 3946"/>
                  <a:gd name="connsiteY105" fmla="*/ 751 h 1039"/>
                  <a:gd name="connsiteX106" fmla="*/ 1648 w 3946"/>
                  <a:gd name="connsiteY106" fmla="*/ 699 h 1039"/>
                  <a:gd name="connsiteX107" fmla="*/ 1687 w 3946"/>
                  <a:gd name="connsiteY107" fmla="*/ 645 h 1039"/>
                  <a:gd name="connsiteX108" fmla="*/ 1799 w 3946"/>
                  <a:gd name="connsiteY108" fmla="*/ 471 h 1039"/>
                  <a:gd name="connsiteX109" fmla="*/ 1838 w 3946"/>
                  <a:gd name="connsiteY109" fmla="*/ 411 h 1039"/>
                  <a:gd name="connsiteX110" fmla="*/ 1879 w 3946"/>
                  <a:gd name="connsiteY110" fmla="*/ 353 h 1039"/>
                  <a:gd name="connsiteX111" fmla="*/ 1923 w 3946"/>
                  <a:gd name="connsiteY111" fmla="*/ 295 h 1039"/>
                  <a:gd name="connsiteX112" fmla="*/ 1968 w 3946"/>
                  <a:gd name="connsiteY112" fmla="*/ 241 h 1039"/>
                  <a:gd name="connsiteX113" fmla="*/ 2015 w 3946"/>
                  <a:gd name="connsiteY113" fmla="*/ 189 h 1039"/>
                  <a:gd name="connsiteX114" fmla="*/ 2069 w 3946"/>
                  <a:gd name="connsiteY114" fmla="*/ 141 h 1039"/>
                  <a:gd name="connsiteX115" fmla="*/ 2125 w 3946"/>
                  <a:gd name="connsiteY115" fmla="*/ 100 h 1039"/>
                  <a:gd name="connsiteX116" fmla="*/ 2187 w 3946"/>
                  <a:gd name="connsiteY116" fmla="*/ 65 h 1039"/>
                  <a:gd name="connsiteX117" fmla="*/ 2253 w 3946"/>
                  <a:gd name="connsiteY117" fmla="*/ 35 h 1039"/>
                  <a:gd name="connsiteX118" fmla="*/ 2325 w 3946"/>
                  <a:gd name="connsiteY118" fmla="*/ 15 h 1039"/>
                  <a:gd name="connsiteX119" fmla="*/ 2404 w 3946"/>
                  <a:gd name="connsiteY119" fmla="*/ 2 h 1039"/>
                  <a:gd name="connsiteX120" fmla="*/ 2474 w 3946"/>
                  <a:gd name="connsiteY120" fmla="*/ 0 h 1039"/>
                  <a:gd name="connsiteX121" fmla="*/ 2540 w 3946"/>
                  <a:gd name="connsiteY121" fmla="*/ 9 h 1039"/>
                  <a:gd name="connsiteX122" fmla="*/ 2600 w 3946"/>
                  <a:gd name="connsiteY122" fmla="*/ 23 h 1039"/>
                  <a:gd name="connsiteX123" fmla="*/ 2658 w 3946"/>
                  <a:gd name="connsiteY123" fmla="*/ 46 h 1039"/>
                  <a:gd name="connsiteX124" fmla="*/ 2711 w 3946"/>
                  <a:gd name="connsiteY124" fmla="*/ 77 h 1039"/>
                  <a:gd name="connsiteX125" fmla="*/ 2761 w 3946"/>
                  <a:gd name="connsiteY125" fmla="*/ 112 h 1039"/>
                  <a:gd name="connsiteX126" fmla="*/ 2806 w 3946"/>
                  <a:gd name="connsiteY126" fmla="*/ 154 h 1039"/>
                  <a:gd name="connsiteX127" fmla="*/ 2852 w 3946"/>
                  <a:gd name="connsiteY127" fmla="*/ 199 h 1039"/>
                  <a:gd name="connsiteX128" fmla="*/ 2893 w 3946"/>
                  <a:gd name="connsiteY128" fmla="*/ 247 h 1039"/>
                  <a:gd name="connsiteX129" fmla="*/ 2932 w 3946"/>
                  <a:gd name="connsiteY129" fmla="*/ 299 h 1039"/>
                  <a:gd name="connsiteX130" fmla="*/ 2969 w 3946"/>
                  <a:gd name="connsiteY130" fmla="*/ 353 h 1039"/>
                  <a:gd name="connsiteX131" fmla="*/ 3004 w 3946"/>
                  <a:gd name="connsiteY131" fmla="*/ 409 h 1039"/>
                  <a:gd name="connsiteX132" fmla="*/ 3039 w 3946"/>
                  <a:gd name="connsiteY132" fmla="*/ 463 h 1039"/>
                  <a:gd name="connsiteX133" fmla="*/ 3073 w 3946"/>
                  <a:gd name="connsiteY133" fmla="*/ 519 h 1039"/>
                  <a:gd name="connsiteX134" fmla="*/ 3186 w 3946"/>
                  <a:gd name="connsiteY134" fmla="*/ 697 h 1039"/>
                  <a:gd name="connsiteX0" fmla="*/ 3186 w 3198"/>
                  <a:gd name="connsiteY0" fmla="*/ 697 h 1039"/>
                  <a:gd name="connsiteX1" fmla="*/ 3147 w 3198"/>
                  <a:gd name="connsiteY1" fmla="*/ 792 h 1039"/>
                  <a:gd name="connsiteX2" fmla="*/ 3108 w 3198"/>
                  <a:gd name="connsiteY2" fmla="*/ 736 h 1039"/>
                  <a:gd name="connsiteX3" fmla="*/ 3070 w 3198"/>
                  <a:gd name="connsiteY3" fmla="*/ 680 h 1039"/>
                  <a:gd name="connsiteX4" fmla="*/ 2965 w 3198"/>
                  <a:gd name="connsiteY4" fmla="*/ 506 h 1039"/>
                  <a:gd name="connsiteX5" fmla="*/ 2928 w 3198"/>
                  <a:gd name="connsiteY5" fmla="*/ 448 h 1039"/>
                  <a:gd name="connsiteX6" fmla="*/ 2891 w 3198"/>
                  <a:gd name="connsiteY6" fmla="*/ 392 h 1039"/>
                  <a:gd name="connsiteX7" fmla="*/ 2854 w 3198"/>
                  <a:gd name="connsiteY7" fmla="*/ 338 h 1039"/>
                  <a:gd name="connsiteX8" fmla="*/ 2814 w 3198"/>
                  <a:gd name="connsiteY8" fmla="*/ 288 h 1039"/>
                  <a:gd name="connsiteX9" fmla="*/ 2773 w 3198"/>
                  <a:gd name="connsiteY9" fmla="*/ 243 h 1039"/>
                  <a:gd name="connsiteX10" fmla="*/ 2732 w 3198"/>
                  <a:gd name="connsiteY10" fmla="*/ 201 h 1039"/>
                  <a:gd name="connsiteX11" fmla="*/ 2686 w 3198"/>
                  <a:gd name="connsiteY11" fmla="*/ 164 h 1039"/>
                  <a:gd name="connsiteX12" fmla="*/ 2639 w 3198"/>
                  <a:gd name="connsiteY12" fmla="*/ 135 h 1039"/>
                  <a:gd name="connsiteX13" fmla="*/ 2587 w 3198"/>
                  <a:gd name="connsiteY13" fmla="*/ 112 h 1039"/>
                  <a:gd name="connsiteX14" fmla="*/ 2532 w 3198"/>
                  <a:gd name="connsiteY14" fmla="*/ 96 h 1039"/>
                  <a:gd name="connsiteX15" fmla="*/ 2474 w 3198"/>
                  <a:gd name="connsiteY15" fmla="*/ 87 h 1039"/>
                  <a:gd name="connsiteX16" fmla="*/ 2410 w 3198"/>
                  <a:gd name="connsiteY16" fmla="*/ 89 h 1039"/>
                  <a:gd name="connsiteX17" fmla="*/ 2342 w 3198"/>
                  <a:gd name="connsiteY17" fmla="*/ 100 h 1039"/>
                  <a:gd name="connsiteX18" fmla="*/ 2280 w 3198"/>
                  <a:gd name="connsiteY18" fmla="*/ 118 h 1039"/>
                  <a:gd name="connsiteX19" fmla="*/ 2222 w 3198"/>
                  <a:gd name="connsiteY19" fmla="*/ 143 h 1039"/>
                  <a:gd name="connsiteX20" fmla="*/ 2168 w 3198"/>
                  <a:gd name="connsiteY20" fmla="*/ 176 h 1039"/>
                  <a:gd name="connsiteX21" fmla="*/ 2117 w 3198"/>
                  <a:gd name="connsiteY21" fmla="*/ 214 h 1039"/>
                  <a:gd name="connsiteX22" fmla="*/ 2071 w 3198"/>
                  <a:gd name="connsiteY22" fmla="*/ 257 h 1039"/>
                  <a:gd name="connsiteX23" fmla="*/ 2026 w 3198"/>
                  <a:gd name="connsiteY23" fmla="*/ 303 h 1039"/>
                  <a:gd name="connsiteX24" fmla="*/ 1984 w 3198"/>
                  <a:gd name="connsiteY24" fmla="*/ 355 h 1039"/>
                  <a:gd name="connsiteX25" fmla="*/ 1945 w 3198"/>
                  <a:gd name="connsiteY25" fmla="*/ 409 h 1039"/>
                  <a:gd name="connsiteX26" fmla="*/ 1908 w 3198"/>
                  <a:gd name="connsiteY26" fmla="*/ 463 h 1039"/>
                  <a:gd name="connsiteX27" fmla="*/ 1871 w 3198"/>
                  <a:gd name="connsiteY27" fmla="*/ 519 h 1039"/>
                  <a:gd name="connsiteX28" fmla="*/ 1834 w 3198"/>
                  <a:gd name="connsiteY28" fmla="*/ 577 h 1039"/>
                  <a:gd name="connsiteX29" fmla="*/ 1799 w 3198"/>
                  <a:gd name="connsiteY29" fmla="*/ 633 h 1039"/>
                  <a:gd name="connsiteX30" fmla="*/ 1724 w 3198"/>
                  <a:gd name="connsiteY30" fmla="*/ 745 h 1039"/>
                  <a:gd name="connsiteX31" fmla="*/ 1685 w 3198"/>
                  <a:gd name="connsiteY31" fmla="*/ 797 h 1039"/>
                  <a:gd name="connsiteX32" fmla="*/ 1644 w 3198"/>
                  <a:gd name="connsiteY32" fmla="*/ 846 h 1039"/>
                  <a:gd name="connsiteX33" fmla="*/ 1600 w 3198"/>
                  <a:gd name="connsiteY33" fmla="*/ 892 h 1039"/>
                  <a:gd name="connsiteX34" fmla="*/ 1553 w 3198"/>
                  <a:gd name="connsiteY34" fmla="*/ 933 h 1039"/>
                  <a:gd name="connsiteX35" fmla="*/ 1503 w 3198"/>
                  <a:gd name="connsiteY35" fmla="*/ 969 h 1039"/>
                  <a:gd name="connsiteX36" fmla="*/ 1450 w 3198"/>
                  <a:gd name="connsiteY36" fmla="*/ 998 h 1039"/>
                  <a:gd name="connsiteX37" fmla="*/ 1394 w 3198"/>
                  <a:gd name="connsiteY37" fmla="*/ 1021 h 1039"/>
                  <a:gd name="connsiteX38" fmla="*/ 1330 w 3198"/>
                  <a:gd name="connsiteY38" fmla="*/ 1033 h 1039"/>
                  <a:gd name="connsiteX39" fmla="*/ 1264 w 3198"/>
                  <a:gd name="connsiteY39" fmla="*/ 1039 h 1039"/>
                  <a:gd name="connsiteX40" fmla="*/ 1258 w 3198"/>
                  <a:gd name="connsiteY40" fmla="*/ 1039 h 1039"/>
                  <a:gd name="connsiteX41" fmla="*/ 1190 w 3198"/>
                  <a:gd name="connsiteY41" fmla="*/ 1035 h 1039"/>
                  <a:gd name="connsiteX42" fmla="*/ 1128 w 3198"/>
                  <a:gd name="connsiteY42" fmla="*/ 1023 h 1039"/>
                  <a:gd name="connsiteX43" fmla="*/ 1070 w 3198"/>
                  <a:gd name="connsiteY43" fmla="*/ 1004 h 1039"/>
                  <a:gd name="connsiteX44" fmla="*/ 1018 w 3198"/>
                  <a:gd name="connsiteY44" fmla="*/ 979 h 1039"/>
                  <a:gd name="connsiteX45" fmla="*/ 971 w 3198"/>
                  <a:gd name="connsiteY45" fmla="*/ 948 h 1039"/>
                  <a:gd name="connsiteX46" fmla="*/ 925 w 3198"/>
                  <a:gd name="connsiteY46" fmla="*/ 911 h 1039"/>
                  <a:gd name="connsiteX47" fmla="*/ 884 w 3198"/>
                  <a:gd name="connsiteY47" fmla="*/ 869 h 1039"/>
                  <a:gd name="connsiteX48" fmla="*/ 847 w 3198"/>
                  <a:gd name="connsiteY48" fmla="*/ 824 h 1039"/>
                  <a:gd name="connsiteX49" fmla="*/ 810 w 3198"/>
                  <a:gd name="connsiteY49" fmla="*/ 776 h 1039"/>
                  <a:gd name="connsiteX50" fmla="*/ 777 w 3198"/>
                  <a:gd name="connsiteY50" fmla="*/ 724 h 1039"/>
                  <a:gd name="connsiteX51" fmla="*/ 742 w 3198"/>
                  <a:gd name="connsiteY51" fmla="*/ 670 h 1039"/>
                  <a:gd name="connsiteX52" fmla="*/ 711 w 3198"/>
                  <a:gd name="connsiteY52" fmla="*/ 614 h 1039"/>
                  <a:gd name="connsiteX53" fmla="*/ 678 w 3198"/>
                  <a:gd name="connsiteY53" fmla="*/ 556 h 1039"/>
                  <a:gd name="connsiteX54" fmla="*/ 616 w 3198"/>
                  <a:gd name="connsiteY54" fmla="*/ 444 h 1039"/>
                  <a:gd name="connsiteX55" fmla="*/ 547 w 3198"/>
                  <a:gd name="connsiteY55" fmla="*/ 336 h 1039"/>
                  <a:gd name="connsiteX56" fmla="*/ 504 w 3198"/>
                  <a:gd name="connsiteY56" fmla="*/ 280 h 1039"/>
                  <a:gd name="connsiteX57" fmla="*/ 457 w 3198"/>
                  <a:gd name="connsiteY57" fmla="*/ 235 h 1039"/>
                  <a:gd name="connsiteX58" fmla="*/ 409 w 3198"/>
                  <a:gd name="connsiteY58" fmla="*/ 195 h 1039"/>
                  <a:gd name="connsiteX59" fmla="*/ 358 w 3198"/>
                  <a:gd name="connsiteY59" fmla="*/ 164 h 1039"/>
                  <a:gd name="connsiteX60" fmla="*/ 308 w 3198"/>
                  <a:gd name="connsiteY60" fmla="*/ 141 h 1039"/>
                  <a:gd name="connsiteX61" fmla="*/ 256 w 3198"/>
                  <a:gd name="connsiteY61" fmla="*/ 123 h 1039"/>
                  <a:gd name="connsiteX62" fmla="*/ 209 w 3198"/>
                  <a:gd name="connsiteY62" fmla="*/ 108 h 1039"/>
                  <a:gd name="connsiteX63" fmla="*/ 163 w 3198"/>
                  <a:gd name="connsiteY63" fmla="*/ 100 h 1039"/>
                  <a:gd name="connsiteX64" fmla="*/ 122 w 3198"/>
                  <a:gd name="connsiteY64" fmla="*/ 96 h 1039"/>
                  <a:gd name="connsiteX65" fmla="*/ 85 w 3198"/>
                  <a:gd name="connsiteY65" fmla="*/ 91 h 1039"/>
                  <a:gd name="connsiteX66" fmla="*/ 31 w 3198"/>
                  <a:gd name="connsiteY66" fmla="*/ 91 h 1039"/>
                  <a:gd name="connsiteX67" fmla="*/ 17 w 3198"/>
                  <a:gd name="connsiteY67" fmla="*/ 94 h 1039"/>
                  <a:gd name="connsiteX68" fmla="*/ 11 w 3198"/>
                  <a:gd name="connsiteY68" fmla="*/ 94 h 1039"/>
                  <a:gd name="connsiteX69" fmla="*/ 0 w 3198"/>
                  <a:gd name="connsiteY69" fmla="*/ 9 h 1039"/>
                  <a:gd name="connsiteX70" fmla="*/ 9 w 3198"/>
                  <a:gd name="connsiteY70" fmla="*/ 9 h 1039"/>
                  <a:gd name="connsiteX71" fmla="*/ 29 w 3198"/>
                  <a:gd name="connsiteY71" fmla="*/ 6 h 1039"/>
                  <a:gd name="connsiteX72" fmla="*/ 91 w 3198"/>
                  <a:gd name="connsiteY72" fmla="*/ 6 h 1039"/>
                  <a:gd name="connsiteX73" fmla="*/ 135 w 3198"/>
                  <a:gd name="connsiteY73" fmla="*/ 9 h 1039"/>
                  <a:gd name="connsiteX74" fmla="*/ 182 w 3198"/>
                  <a:gd name="connsiteY74" fmla="*/ 15 h 1039"/>
                  <a:gd name="connsiteX75" fmla="*/ 234 w 3198"/>
                  <a:gd name="connsiteY75" fmla="*/ 25 h 1039"/>
                  <a:gd name="connsiteX76" fmla="*/ 287 w 3198"/>
                  <a:gd name="connsiteY76" fmla="*/ 42 h 1039"/>
                  <a:gd name="connsiteX77" fmla="*/ 345 w 3198"/>
                  <a:gd name="connsiteY77" fmla="*/ 62 h 1039"/>
                  <a:gd name="connsiteX78" fmla="*/ 403 w 3198"/>
                  <a:gd name="connsiteY78" fmla="*/ 89 h 1039"/>
                  <a:gd name="connsiteX79" fmla="*/ 459 w 3198"/>
                  <a:gd name="connsiteY79" fmla="*/ 127 h 1039"/>
                  <a:gd name="connsiteX80" fmla="*/ 514 w 3198"/>
                  <a:gd name="connsiteY80" fmla="*/ 170 h 1039"/>
                  <a:gd name="connsiteX81" fmla="*/ 568 w 3198"/>
                  <a:gd name="connsiteY81" fmla="*/ 224 h 1039"/>
                  <a:gd name="connsiteX82" fmla="*/ 618 w 3198"/>
                  <a:gd name="connsiteY82" fmla="*/ 288 h 1039"/>
                  <a:gd name="connsiteX83" fmla="*/ 667 w 3198"/>
                  <a:gd name="connsiteY83" fmla="*/ 363 h 1039"/>
                  <a:gd name="connsiteX84" fmla="*/ 754 w 3198"/>
                  <a:gd name="connsiteY84" fmla="*/ 512 h 1039"/>
                  <a:gd name="connsiteX85" fmla="*/ 787 w 3198"/>
                  <a:gd name="connsiteY85" fmla="*/ 571 h 1039"/>
                  <a:gd name="connsiteX86" fmla="*/ 820 w 3198"/>
                  <a:gd name="connsiteY86" fmla="*/ 627 h 1039"/>
                  <a:gd name="connsiteX87" fmla="*/ 853 w 3198"/>
                  <a:gd name="connsiteY87" fmla="*/ 680 h 1039"/>
                  <a:gd name="connsiteX88" fmla="*/ 886 w 3198"/>
                  <a:gd name="connsiteY88" fmla="*/ 732 h 1039"/>
                  <a:gd name="connsiteX89" fmla="*/ 921 w 3198"/>
                  <a:gd name="connsiteY89" fmla="*/ 778 h 1039"/>
                  <a:gd name="connsiteX90" fmla="*/ 958 w 3198"/>
                  <a:gd name="connsiteY90" fmla="*/ 821 h 1039"/>
                  <a:gd name="connsiteX91" fmla="*/ 1000 w 3198"/>
                  <a:gd name="connsiteY91" fmla="*/ 859 h 1039"/>
                  <a:gd name="connsiteX92" fmla="*/ 1043 w 3198"/>
                  <a:gd name="connsiteY92" fmla="*/ 890 h 1039"/>
                  <a:gd name="connsiteX93" fmla="*/ 1090 w 3198"/>
                  <a:gd name="connsiteY93" fmla="*/ 917 h 1039"/>
                  <a:gd name="connsiteX94" fmla="*/ 1140 w 3198"/>
                  <a:gd name="connsiteY94" fmla="*/ 935 h 1039"/>
                  <a:gd name="connsiteX95" fmla="*/ 1196 w 3198"/>
                  <a:gd name="connsiteY95" fmla="*/ 948 h 1039"/>
                  <a:gd name="connsiteX96" fmla="*/ 1258 w 3198"/>
                  <a:gd name="connsiteY96" fmla="*/ 952 h 1039"/>
                  <a:gd name="connsiteX97" fmla="*/ 1264 w 3198"/>
                  <a:gd name="connsiteY97" fmla="*/ 952 h 1039"/>
                  <a:gd name="connsiteX98" fmla="*/ 1324 w 3198"/>
                  <a:gd name="connsiteY98" fmla="*/ 946 h 1039"/>
                  <a:gd name="connsiteX99" fmla="*/ 1380 w 3198"/>
                  <a:gd name="connsiteY99" fmla="*/ 931 h 1039"/>
                  <a:gd name="connsiteX100" fmla="*/ 1433 w 3198"/>
                  <a:gd name="connsiteY100" fmla="*/ 909 h 1039"/>
                  <a:gd name="connsiteX101" fmla="*/ 1481 w 3198"/>
                  <a:gd name="connsiteY101" fmla="*/ 880 h 1039"/>
                  <a:gd name="connsiteX102" fmla="*/ 1526 w 3198"/>
                  <a:gd name="connsiteY102" fmla="*/ 842 h 1039"/>
                  <a:gd name="connsiteX103" fmla="*/ 1569 w 3198"/>
                  <a:gd name="connsiteY103" fmla="*/ 799 h 1039"/>
                  <a:gd name="connsiteX104" fmla="*/ 1609 w 3198"/>
                  <a:gd name="connsiteY104" fmla="*/ 751 h 1039"/>
                  <a:gd name="connsiteX105" fmla="*/ 1648 w 3198"/>
                  <a:gd name="connsiteY105" fmla="*/ 699 h 1039"/>
                  <a:gd name="connsiteX106" fmla="*/ 1687 w 3198"/>
                  <a:gd name="connsiteY106" fmla="*/ 645 h 1039"/>
                  <a:gd name="connsiteX107" fmla="*/ 1799 w 3198"/>
                  <a:gd name="connsiteY107" fmla="*/ 471 h 1039"/>
                  <a:gd name="connsiteX108" fmla="*/ 1838 w 3198"/>
                  <a:gd name="connsiteY108" fmla="*/ 411 h 1039"/>
                  <a:gd name="connsiteX109" fmla="*/ 1879 w 3198"/>
                  <a:gd name="connsiteY109" fmla="*/ 353 h 1039"/>
                  <a:gd name="connsiteX110" fmla="*/ 1923 w 3198"/>
                  <a:gd name="connsiteY110" fmla="*/ 295 h 1039"/>
                  <a:gd name="connsiteX111" fmla="*/ 1968 w 3198"/>
                  <a:gd name="connsiteY111" fmla="*/ 241 h 1039"/>
                  <a:gd name="connsiteX112" fmla="*/ 2015 w 3198"/>
                  <a:gd name="connsiteY112" fmla="*/ 189 h 1039"/>
                  <a:gd name="connsiteX113" fmla="*/ 2069 w 3198"/>
                  <a:gd name="connsiteY113" fmla="*/ 141 h 1039"/>
                  <a:gd name="connsiteX114" fmla="*/ 2125 w 3198"/>
                  <a:gd name="connsiteY114" fmla="*/ 100 h 1039"/>
                  <a:gd name="connsiteX115" fmla="*/ 2187 w 3198"/>
                  <a:gd name="connsiteY115" fmla="*/ 65 h 1039"/>
                  <a:gd name="connsiteX116" fmla="*/ 2253 w 3198"/>
                  <a:gd name="connsiteY116" fmla="*/ 35 h 1039"/>
                  <a:gd name="connsiteX117" fmla="*/ 2325 w 3198"/>
                  <a:gd name="connsiteY117" fmla="*/ 15 h 1039"/>
                  <a:gd name="connsiteX118" fmla="*/ 2404 w 3198"/>
                  <a:gd name="connsiteY118" fmla="*/ 2 h 1039"/>
                  <a:gd name="connsiteX119" fmla="*/ 2474 w 3198"/>
                  <a:gd name="connsiteY119" fmla="*/ 0 h 1039"/>
                  <a:gd name="connsiteX120" fmla="*/ 2540 w 3198"/>
                  <a:gd name="connsiteY120" fmla="*/ 9 h 1039"/>
                  <a:gd name="connsiteX121" fmla="*/ 2600 w 3198"/>
                  <a:gd name="connsiteY121" fmla="*/ 23 h 1039"/>
                  <a:gd name="connsiteX122" fmla="*/ 2658 w 3198"/>
                  <a:gd name="connsiteY122" fmla="*/ 46 h 1039"/>
                  <a:gd name="connsiteX123" fmla="*/ 2711 w 3198"/>
                  <a:gd name="connsiteY123" fmla="*/ 77 h 1039"/>
                  <a:gd name="connsiteX124" fmla="*/ 2761 w 3198"/>
                  <a:gd name="connsiteY124" fmla="*/ 112 h 1039"/>
                  <a:gd name="connsiteX125" fmla="*/ 2806 w 3198"/>
                  <a:gd name="connsiteY125" fmla="*/ 154 h 1039"/>
                  <a:gd name="connsiteX126" fmla="*/ 2852 w 3198"/>
                  <a:gd name="connsiteY126" fmla="*/ 199 h 1039"/>
                  <a:gd name="connsiteX127" fmla="*/ 2893 w 3198"/>
                  <a:gd name="connsiteY127" fmla="*/ 247 h 1039"/>
                  <a:gd name="connsiteX128" fmla="*/ 2932 w 3198"/>
                  <a:gd name="connsiteY128" fmla="*/ 299 h 1039"/>
                  <a:gd name="connsiteX129" fmla="*/ 2969 w 3198"/>
                  <a:gd name="connsiteY129" fmla="*/ 353 h 1039"/>
                  <a:gd name="connsiteX130" fmla="*/ 3004 w 3198"/>
                  <a:gd name="connsiteY130" fmla="*/ 409 h 1039"/>
                  <a:gd name="connsiteX131" fmla="*/ 3039 w 3198"/>
                  <a:gd name="connsiteY131" fmla="*/ 463 h 1039"/>
                  <a:gd name="connsiteX132" fmla="*/ 3073 w 3198"/>
                  <a:gd name="connsiteY132" fmla="*/ 519 h 1039"/>
                  <a:gd name="connsiteX133" fmla="*/ 3186 w 3198"/>
                  <a:gd name="connsiteY133" fmla="*/ 697 h 1039"/>
                  <a:gd name="connsiteX0" fmla="*/ 3073 w 3153"/>
                  <a:gd name="connsiteY0" fmla="*/ 519 h 1039"/>
                  <a:gd name="connsiteX1" fmla="*/ 3147 w 3153"/>
                  <a:gd name="connsiteY1" fmla="*/ 792 h 1039"/>
                  <a:gd name="connsiteX2" fmla="*/ 3108 w 3153"/>
                  <a:gd name="connsiteY2" fmla="*/ 736 h 1039"/>
                  <a:gd name="connsiteX3" fmla="*/ 3070 w 3153"/>
                  <a:gd name="connsiteY3" fmla="*/ 680 h 1039"/>
                  <a:gd name="connsiteX4" fmla="*/ 2965 w 3153"/>
                  <a:gd name="connsiteY4" fmla="*/ 506 h 1039"/>
                  <a:gd name="connsiteX5" fmla="*/ 2928 w 3153"/>
                  <a:gd name="connsiteY5" fmla="*/ 448 h 1039"/>
                  <a:gd name="connsiteX6" fmla="*/ 2891 w 3153"/>
                  <a:gd name="connsiteY6" fmla="*/ 392 h 1039"/>
                  <a:gd name="connsiteX7" fmla="*/ 2854 w 3153"/>
                  <a:gd name="connsiteY7" fmla="*/ 338 h 1039"/>
                  <a:gd name="connsiteX8" fmla="*/ 2814 w 3153"/>
                  <a:gd name="connsiteY8" fmla="*/ 288 h 1039"/>
                  <a:gd name="connsiteX9" fmla="*/ 2773 w 3153"/>
                  <a:gd name="connsiteY9" fmla="*/ 243 h 1039"/>
                  <a:gd name="connsiteX10" fmla="*/ 2732 w 3153"/>
                  <a:gd name="connsiteY10" fmla="*/ 201 h 1039"/>
                  <a:gd name="connsiteX11" fmla="*/ 2686 w 3153"/>
                  <a:gd name="connsiteY11" fmla="*/ 164 h 1039"/>
                  <a:gd name="connsiteX12" fmla="*/ 2639 w 3153"/>
                  <a:gd name="connsiteY12" fmla="*/ 135 h 1039"/>
                  <a:gd name="connsiteX13" fmla="*/ 2587 w 3153"/>
                  <a:gd name="connsiteY13" fmla="*/ 112 h 1039"/>
                  <a:gd name="connsiteX14" fmla="*/ 2532 w 3153"/>
                  <a:gd name="connsiteY14" fmla="*/ 96 h 1039"/>
                  <a:gd name="connsiteX15" fmla="*/ 2474 w 3153"/>
                  <a:gd name="connsiteY15" fmla="*/ 87 h 1039"/>
                  <a:gd name="connsiteX16" fmla="*/ 2410 w 3153"/>
                  <a:gd name="connsiteY16" fmla="*/ 89 h 1039"/>
                  <a:gd name="connsiteX17" fmla="*/ 2342 w 3153"/>
                  <a:gd name="connsiteY17" fmla="*/ 100 h 1039"/>
                  <a:gd name="connsiteX18" fmla="*/ 2280 w 3153"/>
                  <a:gd name="connsiteY18" fmla="*/ 118 h 1039"/>
                  <a:gd name="connsiteX19" fmla="*/ 2222 w 3153"/>
                  <a:gd name="connsiteY19" fmla="*/ 143 h 1039"/>
                  <a:gd name="connsiteX20" fmla="*/ 2168 w 3153"/>
                  <a:gd name="connsiteY20" fmla="*/ 176 h 1039"/>
                  <a:gd name="connsiteX21" fmla="*/ 2117 w 3153"/>
                  <a:gd name="connsiteY21" fmla="*/ 214 h 1039"/>
                  <a:gd name="connsiteX22" fmla="*/ 2071 w 3153"/>
                  <a:gd name="connsiteY22" fmla="*/ 257 h 1039"/>
                  <a:gd name="connsiteX23" fmla="*/ 2026 w 3153"/>
                  <a:gd name="connsiteY23" fmla="*/ 303 h 1039"/>
                  <a:gd name="connsiteX24" fmla="*/ 1984 w 3153"/>
                  <a:gd name="connsiteY24" fmla="*/ 355 h 1039"/>
                  <a:gd name="connsiteX25" fmla="*/ 1945 w 3153"/>
                  <a:gd name="connsiteY25" fmla="*/ 409 h 1039"/>
                  <a:gd name="connsiteX26" fmla="*/ 1908 w 3153"/>
                  <a:gd name="connsiteY26" fmla="*/ 463 h 1039"/>
                  <a:gd name="connsiteX27" fmla="*/ 1871 w 3153"/>
                  <a:gd name="connsiteY27" fmla="*/ 519 h 1039"/>
                  <a:gd name="connsiteX28" fmla="*/ 1834 w 3153"/>
                  <a:gd name="connsiteY28" fmla="*/ 577 h 1039"/>
                  <a:gd name="connsiteX29" fmla="*/ 1799 w 3153"/>
                  <a:gd name="connsiteY29" fmla="*/ 633 h 1039"/>
                  <a:gd name="connsiteX30" fmla="*/ 1724 w 3153"/>
                  <a:gd name="connsiteY30" fmla="*/ 745 h 1039"/>
                  <a:gd name="connsiteX31" fmla="*/ 1685 w 3153"/>
                  <a:gd name="connsiteY31" fmla="*/ 797 h 1039"/>
                  <a:gd name="connsiteX32" fmla="*/ 1644 w 3153"/>
                  <a:gd name="connsiteY32" fmla="*/ 846 h 1039"/>
                  <a:gd name="connsiteX33" fmla="*/ 1600 w 3153"/>
                  <a:gd name="connsiteY33" fmla="*/ 892 h 1039"/>
                  <a:gd name="connsiteX34" fmla="*/ 1553 w 3153"/>
                  <a:gd name="connsiteY34" fmla="*/ 933 h 1039"/>
                  <a:gd name="connsiteX35" fmla="*/ 1503 w 3153"/>
                  <a:gd name="connsiteY35" fmla="*/ 969 h 1039"/>
                  <a:gd name="connsiteX36" fmla="*/ 1450 w 3153"/>
                  <a:gd name="connsiteY36" fmla="*/ 998 h 1039"/>
                  <a:gd name="connsiteX37" fmla="*/ 1394 w 3153"/>
                  <a:gd name="connsiteY37" fmla="*/ 1021 h 1039"/>
                  <a:gd name="connsiteX38" fmla="*/ 1330 w 3153"/>
                  <a:gd name="connsiteY38" fmla="*/ 1033 h 1039"/>
                  <a:gd name="connsiteX39" fmla="*/ 1264 w 3153"/>
                  <a:gd name="connsiteY39" fmla="*/ 1039 h 1039"/>
                  <a:gd name="connsiteX40" fmla="*/ 1258 w 3153"/>
                  <a:gd name="connsiteY40" fmla="*/ 1039 h 1039"/>
                  <a:gd name="connsiteX41" fmla="*/ 1190 w 3153"/>
                  <a:gd name="connsiteY41" fmla="*/ 1035 h 1039"/>
                  <a:gd name="connsiteX42" fmla="*/ 1128 w 3153"/>
                  <a:gd name="connsiteY42" fmla="*/ 1023 h 1039"/>
                  <a:gd name="connsiteX43" fmla="*/ 1070 w 3153"/>
                  <a:gd name="connsiteY43" fmla="*/ 1004 h 1039"/>
                  <a:gd name="connsiteX44" fmla="*/ 1018 w 3153"/>
                  <a:gd name="connsiteY44" fmla="*/ 979 h 1039"/>
                  <a:gd name="connsiteX45" fmla="*/ 971 w 3153"/>
                  <a:gd name="connsiteY45" fmla="*/ 948 h 1039"/>
                  <a:gd name="connsiteX46" fmla="*/ 925 w 3153"/>
                  <a:gd name="connsiteY46" fmla="*/ 911 h 1039"/>
                  <a:gd name="connsiteX47" fmla="*/ 884 w 3153"/>
                  <a:gd name="connsiteY47" fmla="*/ 869 h 1039"/>
                  <a:gd name="connsiteX48" fmla="*/ 847 w 3153"/>
                  <a:gd name="connsiteY48" fmla="*/ 824 h 1039"/>
                  <a:gd name="connsiteX49" fmla="*/ 810 w 3153"/>
                  <a:gd name="connsiteY49" fmla="*/ 776 h 1039"/>
                  <a:gd name="connsiteX50" fmla="*/ 777 w 3153"/>
                  <a:gd name="connsiteY50" fmla="*/ 724 h 1039"/>
                  <a:gd name="connsiteX51" fmla="*/ 742 w 3153"/>
                  <a:gd name="connsiteY51" fmla="*/ 670 h 1039"/>
                  <a:gd name="connsiteX52" fmla="*/ 711 w 3153"/>
                  <a:gd name="connsiteY52" fmla="*/ 614 h 1039"/>
                  <a:gd name="connsiteX53" fmla="*/ 678 w 3153"/>
                  <a:gd name="connsiteY53" fmla="*/ 556 h 1039"/>
                  <a:gd name="connsiteX54" fmla="*/ 616 w 3153"/>
                  <a:gd name="connsiteY54" fmla="*/ 444 h 1039"/>
                  <a:gd name="connsiteX55" fmla="*/ 547 w 3153"/>
                  <a:gd name="connsiteY55" fmla="*/ 336 h 1039"/>
                  <a:gd name="connsiteX56" fmla="*/ 504 w 3153"/>
                  <a:gd name="connsiteY56" fmla="*/ 280 h 1039"/>
                  <a:gd name="connsiteX57" fmla="*/ 457 w 3153"/>
                  <a:gd name="connsiteY57" fmla="*/ 235 h 1039"/>
                  <a:gd name="connsiteX58" fmla="*/ 409 w 3153"/>
                  <a:gd name="connsiteY58" fmla="*/ 195 h 1039"/>
                  <a:gd name="connsiteX59" fmla="*/ 358 w 3153"/>
                  <a:gd name="connsiteY59" fmla="*/ 164 h 1039"/>
                  <a:gd name="connsiteX60" fmla="*/ 308 w 3153"/>
                  <a:gd name="connsiteY60" fmla="*/ 141 h 1039"/>
                  <a:gd name="connsiteX61" fmla="*/ 256 w 3153"/>
                  <a:gd name="connsiteY61" fmla="*/ 123 h 1039"/>
                  <a:gd name="connsiteX62" fmla="*/ 209 w 3153"/>
                  <a:gd name="connsiteY62" fmla="*/ 108 h 1039"/>
                  <a:gd name="connsiteX63" fmla="*/ 163 w 3153"/>
                  <a:gd name="connsiteY63" fmla="*/ 100 h 1039"/>
                  <a:gd name="connsiteX64" fmla="*/ 122 w 3153"/>
                  <a:gd name="connsiteY64" fmla="*/ 96 h 1039"/>
                  <a:gd name="connsiteX65" fmla="*/ 85 w 3153"/>
                  <a:gd name="connsiteY65" fmla="*/ 91 h 1039"/>
                  <a:gd name="connsiteX66" fmla="*/ 31 w 3153"/>
                  <a:gd name="connsiteY66" fmla="*/ 91 h 1039"/>
                  <a:gd name="connsiteX67" fmla="*/ 17 w 3153"/>
                  <a:gd name="connsiteY67" fmla="*/ 94 h 1039"/>
                  <a:gd name="connsiteX68" fmla="*/ 11 w 3153"/>
                  <a:gd name="connsiteY68" fmla="*/ 94 h 1039"/>
                  <a:gd name="connsiteX69" fmla="*/ 0 w 3153"/>
                  <a:gd name="connsiteY69" fmla="*/ 9 h 1039"/>
                  <a:gd name="connsiteX70" fmla="*/ 9 w 3153"/>
                  <a:gd name="connsiteY70" fmla="*/ 9 h 1039"/>
                  <a:gd name="connsiteX71" fmla="*/ 29 w 3153"/>
                  <a:gd name="connsiteY71" fmla="*/ 6 h 1039"/>
                  <a:gd name="connsiteX72" fmla="*/ 91 w 3153"/>
                  <a:gd name="connsiteY72" fmla="*/ 6 h 1039"/>
                  <a:gd name="connsiteX73" fmla="*/ 135 w 3153"/>
                  <a:gd name="connsiteY73" fmla="*/ 9 h 1039"/>
                  <a:gd name="connsiteX74" fmla="*/ 182 w 3153"/>
                  <a:gd name="connsiteY74" fmla="*/ 15 h 1039"/>
                  <a:gd name="connsiteX75" fmla="*/ 234 w 3153"/>
                  <a:gd name="connsiteY75" fmla="*/ 25 h 1039"/>
                  <a:gd name="connsiteX76" fmla="*/ 287 w 3153"/>
                  <a:gd name="connsiteY76" fmla="*/ 42 h 1039"/>
                  <a:gd name="connsiteX77" fmla="*/ 345 w 3153"/>
                  <a:gd name="connsiteY77" fmla="*/ 62 h 1039"/>
                  <a:gd name="connsiteX78" fmla="*/ 403 w 3153"/>
                  <a:gd name="connsiteY78" fmla="*/ 89 h 1039"/>
                  <a:gd name="connsiteX79" fmla="*/ 459 w 3153"/>
                  <a:gd name="connsiteY79" fmla="*/ 127 h 1039"/>
                  <a:gd name="connsiteX80" fmla="*/ 514 w 3153"/>
                  <a:gd name="connsiteY80" fmla="*/ 170 h 1039"/>
                  <a:gd name="connsiteX81" fmla="*/ 568 w 3153"/>
                  <a:gd name="connsiteY81" fmla="*/ 224 h 1039"/>
                  <a:gd name="connsiteX82" fmla="*/ 618 w 3153"/>
                  <a:gd name="connsiteY82" fmla="*/ 288 h 1039"/>
                  <a:gd name="connsiteX83" fmla="*/ 667 w 3153"/>
                  <a:gd name="connsiteY83" fmla="*/ 363 h 1039"/>
                  <a:gd name="connsiteX84" fmla="*/ 754 w 3153"/>
                  <a:gd name="connsiteY84" fmla="*/ 512 h 1039"/>
                  <a:gd name="connsiteX85" fmla="*/ 787 w 3153"/>
                  <a:gd name="connsiteY85" fmla="*/ 571 h 1039"/>
                  <a:gd name="connsiteX86" fmla="*/ 820 w 3153"/>
                  <a:gd name="connsiteY86" fmla="*/ 627 h 1039"/>
                  <a:gd name="connsiteX87" fmla="*/ 853 w 3153"/>
                  <a:gd name="connsiteY87" fmla="*/ 680 h 1039"/>
                  <a:gd name="connsiteX88" fmla="*/ 886 w 3153"/>
                  <a:gd name="connsiteY88" fmla="*/ 732 h 1039"/>
                  <a:gd name="connsiteX89" fmla="*/ 921 w 3153"/>
                  <a:gd name="connsiteY89" fmla="*/ 778 h 1039"/>
                  <a:gd name="connsiteX90" fmla="*/ 958 w 3153"/>
                  <a:gd name="connsiteY90" fmla="*/ 821 h 1039"/>
                  <a:gd name="connsiteX91" fmla="*/ 1000 w 3153"/>
                  <a:gd name="connsiteY91" fmla="*/ 859 h 1039"/>
                  <a:gd name="connsiteX92" fmla="*/ 1043 w 3153"/>
                  <a:gd name="connsiteY92" fmla="*/ 890 h 1039"/>
                  <a:gd name="connsiteX93" fmla="*/ 1090 w 3153"/>
                  <a:gd name="connsiteY93" fmla="*/ 917 h 1039"/>
                  <a:gd name="connsiteX94" fmla="*/ 1140 w 3153"/>
                  <a:gd name="connsiteY94" fmla="*/ 935 h 1039"/>
                  <a:gd name="connsiteX95" fmla="*/ 1196 w 3153"/>
                  <a:gd name="connsiteY95" fmla="*/ 948 h 1039"/>
                  <a:gd name="connsiteX96" fmla="*/ 1258 w 3153"/>
                  <a:gd name="connsiteY96" fmla="*/ 952 h 1039"/>
                  <a:gd name="connsiteX97" fmla="*/ 1264 w 3153"/>
                  <a:gd name="connsiteY97" fmla="*/ 952 h 1039"/>
                  <a:gd name="connsiteX98" fmla="*/ 1324 w 3153"/>
                  <a:gd name="connsiteY98" fmla="*/ 946 h 1039"/>
                  <a:gd name="connsiteX99" fmla="*/ 1380 w 3153"/>
                  <a:gd name="connsiteY99" fmla="*/ 931 h 1039"/>
                  <a:gd name="connsiteX100" fmla="*/ 1433 w 3153"/>
                  <a:gd name="connsiteY100" fmla="*/ 909 h 1039"/>
                  <a:gd name="connsiteX101" fmla="*/ 1481 w 3153"/>
                  <a:gd name="connsiteY101" fmla="*/ 880 h 1039"/>
                  <a:gd name="connsiteX102" fmla="*/ 1526 w 3153"/>
                  <a:gd name="connsiteY102" fmla="*/ 842 h 1039"/>
                  <a:gd name="connsiteX103" fmla="*/ 1569 w 3153"/>
                  <a:gd name="connsiteY103" fmla="*/ 799 h 1039"/>
                  <a:gd name="connsiteX104" fmla="*/ 1609 w 3153"/>
                  <a:gd name="connsiteY104" fmla="*/ 751 h 1039"/>
                  <a:gd name="connsiteX105" fmla="*/ 1648 w 3153"/>
                  <a:gd name="connsiteY105" fmla="*/ 699 h 1039"/>
                  <a:gd name="connsiteX106" fmla="*/ 1687 w 3153"/>
                  <a:gd name="connsiteY106" fmla="*/ 645 h 1039"/>
                  <a:gd name="connsiteX107" fmla="*/ 1799 w 3153"/>
                  <a:gd name="connsiteY107" fmla="*/ 471 h 1039"/>
                  <a:gd name="connsiteX108" fmla="*/ 1838 w 3153"/>
                  <a:gd name="connsiteY108" fmla="*/ 411 h 1039"/>
                  <a:gd name="connsiteX109" fmla="*/ 1879 w 3153"/>
                  <a:gd name="connsiteY109" fmla="*/ 353 h 1039"/>
                  <a:gd name="connsiteX110" fmla="*/ 1923 w 3153"/>
                  <a:gd name="connsiteY110" fmla="*/ 295 h 1039"/>
                  <a:gd name="connsiteX111" fmla="*/ 1968 w 3153"/>
                  <a:gd name="connsiteY111" fmla="*/ 241 h 1039"/>
                  <a:gd name="connsiteX112" fmla="*/ 2015 w 3153"/>
                  <a:gd name="connsiteY112" fmla="*/ 189 h 1039"/>
                  <a:gd name="connsiteX113" fmla="*/ 2069 w 3153"/>
                  <a:gd name="connsiteY113" fmla="*/ 141 h 1039"/>
                  <a:gd name="connsiteX114" fmla="*/ 2125 w 3153"/>
                  <a:gd name="connsiteY114" fmla="*/ 100 h 1039"/>
                  <a:gd name="connsiteX115" fmla="*/ 2187 w 3153"/>
                  <a:gd name="connsiteY115" fmla="*/ 65 h 1039"/>
                  <a:gd name="connsiteX116" fmla="*/ 2253 w 3153"/>
                  <a:gd name="connsiteY116" fmla="*/ 35 h 1039"/>
                  <a:gd name="connsiteX117" fmla="*/ 2325 w 3153"/>
                  <a:gd name="connsiteY117" fmla="*/ 15 h 1039"/>
                  <a:gd name="connsiteX118" fmla="*/ 2404 w 3153"/>
                  <a:gd name="connsiteY118" fmla="*/ 2 h 1039"/>
                  <a:gd name="connsiteX119" fmla="*/ 2474 w 3153"/>
                  <a:gd name="connsiteY119" fmla="*/ 0 h 1039"/>
                  <a:gd name="connsiteX120" fmla="*/ 2540 w 3153"/>
                  <a:gd name="connsiteY120" fmla="*/ 9 h 1039"/>
                  <a:gd name="connsiteX121" fmla="*/ 2600 w 3153"/>
                  <a:gd name="connsiteY121" fmla="*/ 23 h 1039"/>
                  <a:gd name="connsiteX122" fmla="*/ 2658 w 3153"/>
                  <a:gd name="connsiteY122" fmla="*/ 46 h 1039"/>
                  <a:gd name="connsiteX123" fmla="*/ 2711 w 3153"/>
                  <a:gd name="connsiteY123" fmla="*/ 77 h 1039"/>
                  <a:gd name="connsiteX124" fmla="*/ 2761 w 3153"/>
                  <a:gd name="connsiteY124" fmla="*/ 112 h 1039"/>
                  <a:gd name="connsiteX125" fmla="*/ 2806 w 3153"/>
                  <a:gd name="connsiteY125" fmla="*/ 154 h 1039"/>
                  <a:gd name="connsiteX126" fmla="*/ 2852 w 3153"/>
                  <a:gd name="connsiteY126" fmla="*/ 199 h 1039"/>
                  <a:gd name="connsiteX127" fmla="*/ 2893 w 3153"/>
                  <a:gd name="connsiteY127" fmla="*/ 247 h 1039"/>
                  <a:gd name="connsiteX128" fmla="*/ 2932 w 3153"/>
                  <a:gd name="connsiteY128" fmla="*/ 299 h 1039"/>
                  <a:gd name="connsiteX129" fmla="*/ 2969 w 3153"/>
                  <a:gd name="connsiteY129" fmla="*/ 353 h 1039"/>
                  <a:gd name="connsiteX130" fmla="*/ 3004 w 3153"/>
                  <a:gd name="connsiteY130" fmla="*/ 409 h 1039"/>
                  <a:gd name="connsiteX131" fmla="*/ 3039 w 3153"/>
                  <a:gd name="connsiteY131" fmla="*/ 463 h 1039"/>
                  <a:gd name="connsiteX132" fmla="*/ 3073 w 3153"/>
                  <a:gd name="connsiteY132" fmla="*/ 519 h 1039"/>
                  <a:gd name="connsiteX0" fmla="*/ 3073 w 3108"/>
                  <a:gd name="connsiteY0" fmla="*/ 519 h 1039"/>
                  <a:gd name="connsiteX1" fmla="*/ 3108 w 3108"/>
                  <a:gd name="connsiteY1" fmla="*/ 736 h 1039"/>
                  <a:gd name="connsiteX2" fmla="*/ 3070 w 3108"/>
                  <a:gd name="connsiteY2" fmla="*/ 680 h 1039"/>
                  <a:gd name="connsiteX3" fmla="*/ 2965 w 3108"/>
                  <a:gd name="connsiteY3" fmla="*/ 506 h 1039"/>
                  <a:gd name="connsiteX4" fmla="*/ 2928 w 3108"/>
                  <a:gd name="connsiteY4" fmla="*/ 448 h 1039"/>
                  <a:gd name="connsiteX5" fmla="*/ 2891 w 3108"/>
                  <a:gd name="connsiteY5" fmla="*/ 392 h 1039"/>
                  <a:gd name="connsiteX6" fmla="*/ 2854 w 3108"/>
                  <a:gd name="connsiteY6" fmla="*/ 338 h 1039"/>
                  <a:gd name="connsiteX7" fmla="*/ 2814 w 3108"/>
                  <a:gd name="connsiteY7" fmla="*/ 288 h 1039"/>
                  <a:gd name="connsiteX8" fmla="*/ 2773 w 3108"/>
                  <a:gd name="connsiteY8" fmla="*/ 243 h 1039"/>
                  <a:gd name="connsiteX9" fmla="*/ 2732 w 3108"/>
                  <a:gd name="connsiteY9" fmla="*/ 201 h 1039"/>
                  <a:gd name="connsiteX10" fmla="*/ 2686 w 3108"/>
                  <a:gd name="connsiteY10" fmla="*/ 164 h 1039"/>
                  <a:gd name="connsiteX11" fmla="*/ 2639 w 3108"/>
                  <a:gd name="connsiteY11" fmla="*/ 135 h 1039"/>
                  <a:gd name="connsiteX12" fmla="*/ 2587 w 3108"/>
                  <a:gd name="connsiteY12" fmla="*/ 112 h 1039"/>
                  <a:gd name="connsiteX13" fmla="*/ 2532 w 3108"/>
                  <a:gd name="connsiteY13" fmla="*/ 96 h 1039"/>
                  <a:gd name="connsiteX14" fmla="*/ 2474 w 3108"/>
                  <a:gd name="connsiteY14" fmla="*/ 87 h 1039"/>
                  <a:gd name="connsiteX15" fmla="*/ 2410 w 3108"/>
                  <a:gd name="connsiteY15" fmla="*/ 89 h 1039"/>
                  <a:gd name="connsiteX16" fmla="*/ 2342 w 3108"/>
                  <a:gd name="connsiteY16" fmla="*/ 100 h 1039"/>
                  <a:gd name="connsiteX17" fmla="*/ 2280 w 3108"/>
                  <a:gd name="connsiteY17" fmla="*/ 118 h 1039"/>
                  <a:gd name="connsiteX18" fmla="*/ 2222 w 3108"/>
                  <a:gd name="connsiteY18" fmla="*/ 143 h 1039"/>
                  <a:gd name="connsiteX19" fmla="*/ 2168 w 3108"/>
                  <a:gd name="connsiteY19" fmla="*/ 176 h 1039"/>
                  <a:gd name="connsiteX20" fmla="*/ 2117 w 3108"/>
                  <a:gd name="connsiteY20" fmla="*/ 214 h 1039"/>
                  <a:gd name="connsiteX21" fmla="*/ 2071 w 3108"/>
                  <a:gd name="connsiteY21" fmla="*/ 257 h 1039"/>
                  <a:gd name="connsiteX22" fmla="*/ 2026 w 3108"/>
                  <a:gd name="connsiteY22" fmla="*/ 303 h 1039"/>
                  <a:gd name="connsiteX23" fmla="*/ 1984 w 3108"/>
                  <a:gd name="connsiteY23" fmla="*/ 355 h 1039"/>
                  <a:gd name="connsiteX24" fmla="*/ 1945 w 3108"/>
                  <a:gd name="connsiteY24" fmla="*/ 409 h 1039"/>
                  <a:gd name="connsiteX25" fmla="*/ 1908 w 3108"/>
                  <a:gd name="connsiteY25" fmla="*/ 463 h 1039"/>
                  <a:gd name="connsiteX26" fmla="*/ 1871 w 3108"/>
                  <a:gd name="connsiteY26" fmla="*/ 519 h 1039"/>
                  <a:gd name="connsiteX27" fmla="*/ 1834 w 3108"/>
                  <a:gd name="connsiteY27" fmla="*/ 577 h 1039"/>
                  <a:gd name="connsiteX28" fmla="*/ 1799 w 3108"/>
                  <a:gd name="connsiteY28" fmla="*/ 633 h 1039"/>
                  <a:gd name="connsiteX29" fmla="*/ 1724 w 3108"/>
                  <a:gd name="connsiteY29" fmla="*/ 745 h 1039"/>
                  <a:gd name="connsiteX30" fmla="*/ 1685 w 3108"/>
                  <a:gd name="connsiteY30" fmla="*/ 797 h 1039"/>
                  <a:gd name="connsiteX31" fmla="*/ 1644 w 3108"/>
                  <a:gd name="connsiteY31" fmla="*/ 846 h 1039"/>
                  <a:gd name="connsiteX32" fmla="*/ 1600 w 3108"/>
                  <a:gd name="connsiteY32" fmla="*/ 892 h 1039"/>
                  <a:gd name="connsiteX33" fmla="*/ 1553 w 3108"/>
                  <a:gd name="connsiteY33" fmla="*/ 933 h 1039"/>
                  <a:gd name="connsiteX34" fmla="*/ 1503 w 3108"/>
                  <a:gd name="connsiteY34" fmla="*/ 969 h 1039"/>
                  <a:gd name="connsiteX35" fmla="*/ 1450 w 3108"/>
                  <a:gd name="connsiteY35" fmla="*/ 998 h 1039"/>
                  <a:gd name="connsiteX36" fmla="*/ 1394 w 3108"/>
                  <a:gd name="connsiteY36" fmla="*/ 1021 h 1039"/>
                  <a:gd name="connsiteX37" fmla="*/ 1330 w 3108"/>
                  <a:gd name="connsiteY37" fmla="*/ 1033 h 1039"/>
                  <a:gd name="connsiteX38" fmla="*/ 1264 w 3108"/>
                  <a:gd name="connsiteY38" fmla="*/ 1039 h 1039"/>
                  <a:gd name="connsiteX39" fmla="*/ 1258 w 3108"/>
                  <a:gd name="connsiteY39" fmla="*/ 1039 h 1039"/>
                  <a:gd name="connsiteX40" fmla="*/ 1190 w 3108"/>
                  <a:gd name="connsiteY40" fmla="*/ 1035 h 1039"/>
                  <a:gd name="connsiteX41" fmla="*/ 1128 w 3108"/>
                  <a:gd name="connsiteY41" fmla="*/ 1023 h 1039"/>
                  <a:gd name="connsiteX42" fmla="*/ 1070 w 3108"/>
                  <a:gd name="connsiteY42" fmla="*/ 1004 h 1039"/>
                  <a:gd name="connsiteX43" fmla="*/ 1018 w 3108"/>
                  <a:gd name="connsiteY43" fmla="*/ 979 h 1039"/>
                  <a:gd name="connsiteX44" fmla="*/ 971 w 3108"/>
                  <a:gd name="connsiteY44" fmla="*/ 948 h 1039"/>
                  <a:gd name="connsiteX45" fmla="*/ 925 w 3108"/>
                  <a:gd name="connsiteY45" fmla="*/ 911 h 1039"/>
                  <a:gd name="connsiteX46" fmla="*/ 884 w 3108"/>
                  <a:gd name="connsiteY46" fmla="*/ 869 h 1039"/>
                  <a:gd name="connsiteX47" fmla="*/ 847 w 3108"/>
                  <a:gd name="connsiteY47" fmla="*/ 824 h 1039"/>
                  <a:gd name="connsiteX48" fmla="*/ 810 w 3108"/>
                  <a:gd name="connsiteY48" fmla="*/ 776 h 1039"/>
                  <a:gd name="connsiteX49" fmla="*/ 777 w 3108"/>
                  <a:gd name="connsiteY49" fmla="*/ 724 h 1039"/>
                  <a:gd name="connsiteX50" fmla="*/ 742 w 3108"/>
                  <a:gd name="connsiteY50" fmla="*/ 670 h 1039"/>
                  <a:gd name="connsiteX51" fmla="*/ 711 w 3108"/>
                  <a:gd name="connsiteY51" fmla="*/ 614 h 1039"/>
                  <a:gd name="connsiteX52" fmla="*/ 678 w 3108"/>
                  <a:gd name="connsiteY52" fmla="*/ 556 h 1039"/>
                  <a:gd name="connsiteX53" fmla="*/ 616 w 3108"/>
                  <a:gd name="connsiteY53" fmla="*/ 444 h 1039"/>
                  <a:gd name="connsiteX54" fmla="*/ 547 w 3108"/>
                  <a:gd name="connsiteY54" fmla="*/ 336 h 1039"/>
                  <a:gd name="connsiteX55" fmla="*/ 504 w 3108"/>
                  <a:gd name="connsiteY55" fmla="*/ 280 h 1039"/>
                  <a:gd name="connsiteX56" fmla="*/ 457 w 3108"/>
                  <a:gd name="connsiteY56" fmla="*/ 235 h 1039"/>
                  <a:gd name="connsiteX57" fmla="*/ 409 w 3108"/>
                  <a:gd name="connsiteY57" fmla="*/ 195 h 1039"/>
                  <a:gd name="connsiteX58" fmla="*/ 358 w 3108"/>
                  <a:gd name="connsiteY58" fmla="*/ 164 h 1039"/>
                  <a:gd name="connsiteX59" fmla="*/ 308 w 3108"/>
                  <a:gd name="connsiteY59" fmla="*/ 141 h 1039"/>
                  <a:gd name="connsiteX60" fmla="*/ 256 w 3108"/>
                  <a:gd name="connsiteY60" fmla="*/ 123 h 1039"/>
                  <a:gd name="connsiteX61" fmla="*/ 209 w 3108"/>
                  <a:gd name="connsiteY61" fmla="*/ 108 h 1039"/>
                  <a:gd name="connsiteX62" fmla="*/ 163 w 3108"/>
                  <a:gd name="connsiteY62" fmla="*/ 100 h 1039"/>
                  <a:gd name="connsiteX63" fmla="*/ 122 w 3108"/>
                  <a:gd name="connsiteY63" fmla="*/ 96 h 1039"/>
                  <a:gd name="connsiteX64" fmla="*/ 85 w 3108"/>
                  <a:gd name="connsiteY64" fmla="*/ 91 h 1039"/>
                  <a:gd name="connsiteX65" fmla="*/ 31 w 3108"/>
                  <a:gd name="connsiteY65" fmla="*/ 91 h 1039"/>
                  <a:gd name="connsiteX66" fmla="*/ 17 w 3108"/>
                  <a:gd name="connsiteY66" fmla="*/ 94 h 1039"/>
                  <a:gd name="connsiteX67" fmla="*/ 11 w 3108"/>
                  <a:gd name="connsiteY67" fmla="*/ 94 h 1039"/>
                  <a:gd name="connsiteX68" fmla="*/ 0 w 3108"/>
                  <a:gd name="connsiteY68" fmla="*/ 9 h 1039"/>
                  <a:gd name="connsiteX69" fmla="*/ 9 w 3108"/>
                  <a:gd name="connsiteY69" fmla="*/ 9 h 1039"/>
                  <a:gd name="connsiteX70" fmla="*/ 29 w 3108"/>
                  <a:gd name="connsiteY70" fmla="*/ 6 h 1039"/>
                  <a:gd name="connsiteX71" fmla="*/ 91 w 3108"/>
                  <a:gd name="connsiteY71" fmla="*/ 6 h 1039"/>
                  <a:gd name="connsiteX72" fmla="*/ 135 w 3108"/>
                  <a:gd name="connsiteY72" fmla="*/ 9 h 1039"/>
                  <a:gd name="connsiteX73" fmla="*/ 182 w 3108"/>
                  <a:gd name="connsiteY73" fmla="*/ 15 h 1039"/>
                  <a:gd name="connsiteX74" fmla="*/ 234 w 3108"/>
                  <a:gd name="connsiteY74" fmla="*/ 25 h 1039"/>
                  <a:gd name="connsiteX75" fmla="*/ 287 w 3108"/>
                  <a:gd name="connsiteY75" fmla="*/ 42 h 1039"/>
                  <a:gd name="connsiteX76" fmla="*/ 345 w 3108"/>
                  <a:gd name="connsiteY76" fmla="*/ 62 h 1039"/>
                  <a:gd name="connsiteX77" fmla="*/ 403 w 3108"/>
                  <a:gd name="connsiteY77" fmla="*/ 89 h 1039"/>
                  <a:gd name="connsiteX78" fmla="*/ 459 w 3108"/>
                  <a:gd name="connsiteY78" fmla="*/ 127 h 1039"/>
                  <a:gd name="connsiteX79" fmla="*/ 514 w 3108"/>
                  <a:gd name="connsiteY79" fmla="*/ 170 h 1039"/>
                  <a:gd name="connsiteX80" fmla="*/ 568 w 3108"/>
                  <a:gd name="connsiteY80" fmla="*/ 224 h 1039"/>
                  <a:gd name="connsiteX81" fmla="*/ 618 w 3108"/>
                  <a:gd name="connsiteY81" fmla="*/ 288 h 1039"/>
                  <a:gd name="connsiteX82" fmla="*/ 667 w 3108"/>
                  <a:gd name="connsiteY82" fmla="*/ 363 h 1039"/>
                  <a:gd name="connsiteX83" fmla="*/ 754 w 3108"/>
                  <a:gd name="connsiteY83" fmla="*/ 512 h 1039"/>
                  <a:gd name="connsiteX84" fmla="*/ 787 w 3108"/>
                  <a:gd name="connsiteY84" fmla="*/ 571 h 1039"/>
                  <a:gd name="connsiteX85" fmla="*/ 820 w 3108"/>
                  <a:gd name="connsiteY85" fmla="*/ 627 h 1039"/>
                  <a:gd name="connsiteX86" fmla="*/ 853 w 3108"/>
                  <a:gd name="connsiteY86" fmla="*/ 680 h 1039"/>
                  <a:gd name="connsiteX87" fmla="*/ 886 w 3108"/>
                  <a:gd name="connsiteY87" fmla="*/ 732 h 1039"/>
                  <a:gd name="connsiteX88" fmla="*/ 921 w 3108"/>
                  <a:gd name="connsiteY88" fmla="*/ 778 h 1039"/>
                  <a:gd name="connsiteX89" fmla="*/ 958 w 3108"/>
                  <a:gd name="connsiteY89" fmla="*/ 821 h 1039"/>
                  <a:gd name="connsiteX90" fmla="*/ 1000 w 3108"/>
                  <a:gd name="connsiteY90" fmla="*/ 859 h 1039"/>
                  <a:gd name="connsiteX91" fmla="*/ 1043 w 3108"/>
                  <a:gd name="connsiteY91" fmla="*/ 890 h 1039"/>
                  <a:gd name="connsiteX92" fmla="*/ 1090 w 3108"/>
                  <a:gd name="connsiteY92" fmla="*/ 917 h 1039"/>
                  <a:gd name="connsiteX93" fmla="*/ 1140 w 3108"/>
                  <a:gd name="connsiteY93" fmla="*/ 935 h 1039"/>
                  <a:gd name="connsiteX94" fmla="*/ 1196 w 3108"/>
                  <a:gd name="connsiteY94" fmla="*/ 948 h 1039"/>
                  <a:gd name="connsiteX95" fmla="*/ 1258 w 3108"/>
                  <a:gd name="connsiteY95" fmla="*/ 952 h 1039"/>
                  <a:gd name="connsiteX96" fmla="*/ 1264 w 3108"/>
                  <a:gd name="connsiteY96" fmla="*/ 952 h 1039"/>
                  <a:gd name="connsiteX97" fmla="*/ 1324 w 3108"/>
                  <a:gd name="connsiteY97" fmla="*/ 946 h 1039"/>
                  <a:gd name="connsiteX98" fmla="*/ 1380 w 3108"/>
                  <a:gd name="connsiteY98" fmla="*/ 931 h 1039"/>
                  <a:gd name="connsiteX99" fmla="*/ 1433 w 3108"/>
                  <a:gd name="connsiteY99" fmla="*/ 909 h 1039"/>
                  <a:gd name="connsiteX100" fmla="*/ 1481 w 3108"/>
                  <a:gd name="connsiteY100" fmla="*/ 880 h 1039"/>
                  <a:gd name="connsiteX101" fmla="*/ 1526 w 3108"/>
                  <a:gd name="connsiteY101" fmla="*/ 842 h 1039"/>
                  <a:gd name="connsiteX102" fmla="*/ 1569 w 3108"/>
                  <a:gd name="connsiteY102" fmla="*/ 799 h 1039"/>
                  <a:gd name="connsiteX103" fmla="*/ 1609 w 3108"/>
                  <a:gd name="connsiteY103" fmla="*/ 751 h 1039"/>
                  <a:gd name="connsiteX104" fmla="*/ 1648 w 3108"/>
                  <a:gd name="connsiteY104" fmla="*/ 699 h 1039"/>
                  <a:gd name="connsiteX105" fmla="*/ 1687 w 3108"/>
                  <a:gd name="connsiteY105" fmla="*/ 645 h 1039"/>
                  <a:gd name="connsiteX106" fmla="*/ 1799 w 3108"/>
                  <a:gd name="connsiteY106" fmla="*/ 471 h 1039"/>
                  <a:gd name="connsiteX107" fmla="*/ 1838 w 3108"/>
                  <a:gd name="connsiteY107" fmla="*/ 411 h 1039"/>
                  <a:gd name="connsiteX108" fmla="*/ 1879 w 3108"/>
                  <a:gd name="connsiteY108" fmla="*/ 353 h 1039"/>
                  <a:gd name="connsiteX109" fmla="*/ 1923 w 3108"/>
                  <a:gd name="connsiteY109" fmla="*/ 295 h 1039"/>
                  <a:gd name="connsiteX110" fmla="*/ 1968 w 3108"/>
                  <a:gd name="connsiteY110" fmla="*/ 241 h 1039"/>
                  <a:gd name="connsiteX111" fmla="*/ 2015 w 3108"/>
                  <a:gd name="connsiteY111" fmla="*/ 189 h 1039"/>
                  <a:gd name="connsiteX112" fmla="*/ 2069 w 3108"/>
                  <a:gd name="connsiteY112" fmla="*/ 141 h 1039"/>
                  <a:gd name="connsiteX113" fmla="*/ 2125 w 3108"/>
                  <a:gd name="connsiteY113" fmla="*/ 100 h 1039"/>
                  <a:gd name="connsiteX114" fmla="*/ 2187 w 3108"/>
                  <a:gd name="connsiteY114" fmla="*/ 65 h 1039"/>
                  <a:gd name="connsiteX115" fmla="*/ 2253 w 3108"/>
                  <a:gd name="connsiteY115" fmla="*/ 35 h 1039"/>
                  <a:gd name="connsiteX116" fmla="*/ 2325 w 3108"/>
                  <a:gd name="connsiteY116" fmla="*/ 15 h 1039"/>
                  <a:gd name="connsiteX117" fmla="*/ 2404 w 3108"/>
                  <a:gd name="connsiteY117" fmla="*/ 2 h 1039"/>
                  <a:gd name="connsiteX118" fmla="*/ 2474 w 3108"/>
                  <a:gd name="connsiteY118" fmla="*/ 0 h 1039"/>
                  <a:gd name="connsiteX119" fmla="*/ 2540 w 3108"/>
                  <a:gd name="connsiteY119" fmla="*/ 9 h 1039"/>
                  <a:gd name="connsiteX120" fmla="*/ 2600 w 3108"/>
                  <a:gd name="connsiteY120" fmla="*/ 23 h 1039"/>
                  <a:gd name="connsiteX121" fmla="*/ 2658 w 3108"/>
                  <a:gd name="connsiteY121" fmla="*/ 46 h 1039"/>
                  <a:gd name="connsiteX122" fmla="*/ 2711 w 3108"/>
                  <a:gd name="connsiteY122" fmla="*/ 77 h 1039"/>
                  <a:gd name="connsiteX123" fmla="*/ 2761 w 3108"/>
                  <a:gd name="connsiteY123" fmla="*/ 112 h 1039"/>
                  <a:gd name="connsiteX124" fmla="*/ 2806 w 3108"/>
                  <a:gd name="connsiteY124" fmla="*/ 154 h 1039"/>
                  <a:gd name="connsiteX125" fmla="*/ 2852 w 3108"/>
                  <a:gd name="connsiteY125" fmla="*/ 199 h 1039"/>
                  <a:gd name="connsiteX126" fmla="*/ 2893 w 3108"/>
                  <a:gd name="connsiteY126" fmla="*/ 247 h 1039"/>
                  <a:gd name="connsiteX127" fmla="*/ 2932 w 3108"/>
                  <a:gd name="connsiteY127" fmla="*/ 299 h 1039"/>
                  <a:gd name="connsiteX128" fmla="*/ 2969 w 3108"/>
                  <a:gd name="connsiteY128" fmla="*/ 353 h 1039"/>
                  <a:gd name="connsiteX129" fmla="*/ 3004 w 3108"/>
                  <a:gd name="connsiteY129" fmla="*/ 409 h 1039"/>
                  <a:gd name="connsiteX130" fmla="*/ 3039 w 3108"/>
                  <a:gd name="connsiteY130" fmla="*/ 463 h 1039"/>
                  <a:gd name="connsiteX131" fmla="*/ 3073 w 3108"/>
                  <a:gd name="connsiteY131" fmla="*/ 519 h 1039"/>
                  <a:gd name="connsiteX0" fmla="*/ 3073 w 3088"/>
                  <a:gd name="connsiteY0" fmla="*/ 519 h 1039"/>
                  <a:gd name="connsiteX1" fmla="*/ 3070 w 3088"/>
                  <a:gd name="connsiteY1" fmla="*/ 680 h 1039"/>
                  <a:gd name="connsiteX2" fmla="*/ 2965 w 3088"/>
                  <a:gd name="connsiteY2" fmla="*/ 506 h 1039"/>
                  <a:gd name="connsiteX3" fmla="*/ 2928 w 3088"/>
                  <a:gd name="connsiteY3" fmla="*/ 448 h 1039"/>
                  <a:gd name="connsiteX4" fmla="*/ 2891 w 3088"/>
                  <a:gd name="connsiteY4" fmla="*/ 392 h 1039"/>
                  <a:gd name="connsiteX5" fmla="*/ 2854 w 3088"/>
                  <a:gd name="connsiteY5" fmla="*/ 338 h 1039"/>
                  <a:gd name="connsiteX6" fmla="*/ 2814 w 3088"/>
                  <a:gd name="connsiteY6" fmla="*/ 288 h 1039"/>
                  <a:gd name="connsiteX7" fmla="*/ 2773 w 3088"/>
                  <a:gd name="connsiteY7" fmla="*/ 243 h 1039"/>
                  <a:gd name="connsiteX8" fmla="*/ 2732 w 3088"/>
                  <a:gd name="connsiteY8" fmla="*/ 201 h 1039"/>
                  <a:gd name="connsiteX9" fmla="*/ 2686 w 3088"/>
                  <a:gd name="connsiteY9" fmla="*/ 164 h 1039"/>
                  <a:gd name="connsiteX10" fmla="*/ 2639 w 3088"/>
                  <a:gd name="connsiteY10" fmla="*/ 135 h 1039"/>
                  <a:gd name="connsiteX11" fmla="*/ 2587 w 3088"/>
                  <a:gd name="connsiteY11" fmla="*/ 112 h 1039"/>
                  <a:gd name="connsiteX12" fmla="*/ 2532 w 3088"/>
                  <a:gd name="connsiteY12" fmla="*/ 96 h 1039"/>
                  <a:gd name="connsiteX13" fmla="*/ 2474 w 3088"/>
                  <a:gd name="connsiteY13" fmla="*/ 87 h 1039"/>
                  <a:gd name="connsiteX14" fmla="*/ 2410 w 3088"/>
                  <a:gd name="connsiteY14" fmla="*/ 89 h 1039"/>
                  <a:gd name="connsiteX15" fmla="*/ 2342 w 3088"/>
                  <a:gd name="connsiteY15" fmla="*/ 100 h 1039"/>
                  <a:gd name="connsiteX16" fmla="*/ 2280 w 3088"/>
                  <a:gd name="connsiteY16" fmla="*/ 118 h 1039"/>
                  <a:gd name="connsiteX17" fmla="*/ 2222 w 3088"/>
                  <a:gd name="connsiteY17" fmla="*/ 143 h 1039"/>
                  <a:gd name="connsiteX18" fmla="*/ 2168 w 3088"/>
                  <a:gd name="connsiteY18" fmla="*/ 176 h 1039"/>
                  <a:gd name="connsiteX19" fmla="*/ 2117 w 3088"/>
                  <a:gd name="connsiteY19" fmla="*/ 214 h 1039"/>
                  <a:gd name="connsiteX20" fmla="*/ 2071 w 3088"/>
                  <a:gd name="connsiteY20" fmla="*/ 257 h 1039"/>
                  <a:gd name="connsiteX21" fmla="*/ 2026 w 3088"/>
                  <a:gd name="connsiteY21" fmla="*/ 303 h 1039"/>
                  <a:gd name="connsiteX22" fmla="*/ 1984 w 3088"/>
                  <a:gd name="connsiteY22" fmla="*/ 355 h 1039"/>
                  <a:gd name="connsiteX23" fmla="*/ 1945 w 3088"/>
                  <a:gd name="connsiteY23" fmla="*/ 409 h 1039"/>
                  <a:gd name="connsiteX24" fmla="*/ 1908 w 3088"/>
                  <a:gd name="connsiteY24" fmla="*/ 463 h 1039"/>
                  <a:gd name="connsiteX25" fmla="*/ 1871 w 3088"/>
                  <a:gd name="connsiteY25" fmla="*/ 519 h 1039"/>
                  <a:gd name="connsiteX26" fmla="*/ 1834 w 3088"/>
                  <a:gd name="connsiteY26" fmla="*/ 577 h 1039"/>
                  <a:gd name="connsiteX27" fmla="*/ 1799 w 3088"/>
                  <a:gd name="connsiteY27" fmla="*/ 633 h 1039"/>
                  <a:gd name="connsiteX28" fmla="*/ 1724 w 3088"/>
                  <a:gd name="connsiteY28" fmla="*/ 745 h 1039"/>
                  <a:gd name="connsiteX29" fmla="*/ 1685 w 3088"/>
                  <a:gd name="connsiteY29" fmla="*/ 797 h 1039"/>
                  <a:gd name="connsiteX30" fmla="*/ 1644 w 3088"/>
                  <a:gd name="connsiteY30" fmla="*/ 846 h 1039"/>
                  <a:gd name="connsiteX31" fmla="*/ 1600 w 3088"/>
                  <a:gd name="connsiteY31" fmla="*/ 892 h 1039"/>
                  <a:gd name="connsiteX32" fmla="*/ 1553 w 3088"/>
                  <a:gd name="connsiteY32" fmla="*/ 933 h 1039"/>
                  <a:gd name="connsiteX33" fmla="*/ 1503 w 3088"/>
                  <a:gd name="connsiteY33" fmla="*/ 969 h 1039"/>
                  <a:gd name="connsiteX34" fmla="*/ 1450 w 3088"/>
                  <a:gd name="connsiteY34" fmla="*/ 998 h 1039"/>
                  <a:gd name="connsiteX35" fmla="*/ 1394 w 3088"/>
                  <a:gd name="connsiteY35" fmla="*/ 1021 h 1039"/>
                  <a:gd name="connsiteX36" fmla="*/ 1330 w 3088"/>
                  <a:gd name="connsiteY36" fmla="*/ 1033 h 1039"/>
                  <a:gd name="connsiteX37" fmla="*/ 1264 w 3088"/>
                  <a:gd name="connsiteY37" fmla="*/ 1039 h 1039"/>
                  <a:gd name="connsiteX38" fmla="*/ 1258 w 3088"/>
                  <a:gd name="connsiteY38" fmla="*/ 1039 h 1039"/>
                  <a:gd name="connsiteX39" fmla="*/ 1190 w 3088"/>
                  <a:gd name="connsiteY39" fmla="*/ 1035 h 1039"/>
                  <a:gd name="connsiteX40" fmla="*/ 1128 w 3088"/>
                  <a:gd name="connsiteY40" fmla="*/ 1023 h 1039"/>
                  <a:gd name="connsiteX41" fmla="*/ 1070 w 3088"/>
                  <a:gd name="connsiteY41" fmla="*/ 1004 h 1039"/>
                  <a:gd name="connsiteX42" fmla="*/ 1018 w 3088"/>
                  <a:gd name="connsiteY42" fmla="*/ 979 h 1039"/>
                  <a:gd name="connsiteX43" fmla="*/ 971 w 3088"/>
                  <a:gd name="connsiteY43" fmla="*/ 948 h 1039"/>
                  <a:gd name="connsiteX44" fmla="*/ 925 w 3088"/>
                  <a:gd name="connsiteY44" fmla="*/ 911 h 1039"/>
                  <a:gd name="connsiteX45" fmla="*/ 884 w 3088"/>
                  <a:gd name="connsiteY45" fmla="*/ 869 h 1039"/>
                  <a:gd name="connsiteX46" fmla="*/ 847 w 3088"/>
                  <a:gd name="connsiteY46" fmla="*/ 824 h 1039"/>
                  <a:gd name="connsiteX47" fmla="*/ 810 w 3088"/>
                  <a:gd name="connsiteY47" fmla="*/ 776 h 1039"/>
                  <a:gd name="connsiteX48" fmla="*/ 777 w 3088"/>
                  <a:gd name="connsiteY48" fmla="*/ 724 h 1039"/>
                  <a:gd name="connsiteX49" fmla="*/ 742 w 3088"/>
                  <a:gd name="connsiteY49" fmla="*/ 670 h 1039"/>
                  <a:gd name="connsiteX50" fmla="*/ 711 w 3088"/>
                  <a:gd name="connsiteY50" fmla="*/ 614 h 1039"/>
                  <a:gd name="connsiteX51" fmla="*/ 678 w 3088"/>
                  <a:gd name="connsiteY51" fmla="*/ 556 h 1039"/>
                  <a:gd name="connsiteX52" fmla="*/ 616 w 3088"/>
                  <a:gd name="connsiteY52" fmla="*/ 444 h 1039"/>
                  <a:gd name="connsiteX53" fmla="*/ 547 w 3088"/>
                  <a:gd name="connsiteY53" fmla="*/ 336 h 1039"/>
                  <a:gd name="connsiteX54" fmla="*/ 504 w 3088"/>
                  <a:gd name="connsiteY54" fmla="*/ 280 h 1039"/>
                  <a:gd name="connsiteX55" fmla="*/ 457 w 3088"/>
                  <a:gd name="connsiteY55" fmla="*/ 235 h 1039"/>
                  <a:gd name="connsiteX56" fmla="*/ 409 w 3088"/>
                  <a:gd name="connsiteY56" fmla="*/ 195 h 1039"/>
                  <a:gd name="connsiteX57" fmla="*/ 358 w 3088"/>
                  <a:gd name="connsiteY57" fmla="*/ 164 h 1039"/>
                  <a:gd name="connsiteX58" fmla="*/ 308 w 3088"/>
                  <a:gd name="connsiteY58" fmla="*/ 141 h 1039"/>
                  <a:gd name="connsiteX59" fmla="*/ 256 w 3088"/>
                  <a:gd name="connsiteY59" fmla="*/ 123 h 1039"/>
                  <a:gd name="connsiteX60" fmla="*/ 209 w 3088"/>
                  <a:gd name="connsiteY60" fmla="*/ 108 h 1039"/>
                  <a:gd name="connsiteX61" fmla="*/ 163 w 3088"/>
                  <a:gd name="connsiteY61" fmla="*/ 100 h 1039"/>
                  <a:gd name="connsiteX62" fmla="*/ 122 w 3088"/>
                  <a:gd name="connsiteY62" fmla="*/ 96 h 1039"/>
                  <a:gd name="connsiteX63" fmla="*/ 85 w 3088"/>
                  <a:gd name="connsiteY63" fmla="*/ 91 h 1039"/>
                  <a:gd name="connsiteX64" fmla="*/ 31 w 3088"/>
                  <a:gd name="connsiteY64" fmla="*/ 91 h 1039"/>
                  <a:gd name="connsiteX65" fmla="*/ 17 w 3088"/>
                  <a:gd name="connsiteY65" fmla="*/ 94 h 1039"/>
                  <a:gd name="connsiteX66" fmla="*/ 11 w 3088"/>
                  <a:gd name="connsiteY66" fmla="*/ 94 h 1039"/>
                  <a:gd name="connsiteX67" fmla="*/ 0 w 3088"/>
                  <a:gd name="connsiteY67" fmla="*/ 9 h 1039"/>
                  <a:gd name="connsiteX68" fmla="*/ 9 w 3088"/>
                  <a:gd name="connsiteY68" fmla="*/ 9 h 1039"/>
                  <a:gd name="connsiteX69" fmla="*/ 29 w 3088"/>
                  <a:gd name="connsiteY69" fmla="*/ 6 h 1039"/>
                  <a:gd name="connsiteX70" fmla="*/ 91 w 3088"/>
                  <a:gd name="connsiteY70" fmla="*/ 6 h 1039"/>
                  <a:gd name="connsiteX71" fmla="*/ 135 w 3088"/>
                  <a:gd name="connsiteY71" fmla="*/ 9 h 1039"/>
                  <a:gd name="connsiteX72" fmla="*/ 182 w 3088"/>
                  <a:gd name="connsiteY72" fmla="*/ 15 h 1039"/>
                  <a:gd name="connsiteX73" fmla="*/ 234 w 3088"/>
                  <a:gd name="connsiteY73" fmla="*/ 25 h 1039"/>
                  <a:gd name="connsiteX74" fmla="*/ 287 w 3088"/>
                  <a:gd name="connsiteY74" fmla="*/ 42 h 1039"/>
                  <a:gd name="connsiteX75" fmla="*/ 345 w 3088"/>
                  <a:gd name="connsiteY75" fmla="*/ 62 h 1039"/>
                  <a:gd name="connsiteX76" fmla="*/ 403 w 3088"/>
                  <a:gd name="connsiteY76" fmla="*/ 89 h 1039"/>
                  <a:gd name="connsiteX77" fmla="*/ 459 w 3088"/>
                  <a:gd name="connsiteY77" fmla="*/ 127 h 1039"/>
                  <a:gd name="connsiteX78" fmla="*/ 514 w 3088"/>
                  <a:gd name="connsiteY78" fmla="*/ 170 h 1039"/>
                  <a:gd name="connsiteX79" fmla="*/ 568 w 3088"/>
                  <a:gd name="connsiteY79" fmla="*/ 224 h 1039"/>
                  <a:gd name="connsiteX80" fmla="*/ 618 w 3088"/>
                  <a:gd name="connsiteY80" fmla="*/ 288 h 1039"/>
                  <a:gd name="connsiteX81" fmla="*/ 667 w 3088"/>
                  <a:gd name="connsiteY81" fmla="*/ 363 h 1039"/>
                  <a:gd name="connsiteX82" fmla="*/ 754 w 3088"/>
                  <a:gd name="connsiteY82" fmla="*/ 512 h 1039"/>
                  <a:gd name="connsiteX83" fmla="*/ 787 w 3088"/>
                  <a:gd name="connsiteY83" fmla="*/ 571 h 1039"/>
                  <a:gd name="connsiteX84" fmla="*/ 820 w 3088"/>
                  <a:gd name="connsiteY84" fmla="*/ 627 h 1039"/>
                  <a:gd name="connsiteX85" fmla="*/ 853 w 3088"/>
                  <a:gd name="connsiteY85" fmla="*/ 680 h 1039"/>
                  <a:gd name="connsiteX86" fmla="*/ 886 w 3088"/>
                  <a:gd name="connsiteY86" fmla="*/ 732 h 1039"/>
                  <a:gd name="connsiteX87" fmla="*/ 921 w 3088"/>
                  <a:gd name="connsiteY87" fmla="*/ 778 h 1039"/>
                  <a:gd name="connsiteX88" fmla="*/ 958 w 3088"/>
                  <a:gd name="connsiteY88" fmla="*/ 821 h 1039"/>
                  <a:gd name="connsiteX89" fmla="*/ 1000 w 3088"/>
                  <a:gd name="connsiteY89" fmla="*/ 859 h 1039"/>
                  <a:gd name="connsiteX90" fmla="*/ 1043 w 3088"/>
                  <a:gd name="connsiteY90" fmla="*/ 890 h 1039"/>
                  <a:gd name="connsiteX91" fmla="*/ 1090 w 3088"/>
                  <a:gd name="connsiteY91" fmla="*/ 917 h 1039"/>
                  <a:gd name="connsiteX92" fmla="*/ 1140 w 3088"/>
                  <a:gd name="connsiteY92" fmla="*/ 935 h 1039"/>
                  <a:gd name="connsiteX93" fmla="*/ 1196 w 3088"/>
                  <a:gd name="connsiteY93" fmla="*/ 948 h 1039"/>
                  <a:gd name="connsiteX94" fmla="*/ 1258 w 3088"/>
                  <a:gd name="connsiteY94" fmla="*/ 952 h 1039"/>
                  <a:gd name="connsiteX95" fmla="*/ 1264 w 3088"/>
                  <a:gd name="connsiteY95" fmla="*/ 952 h 1039"/>
                  <a:gd name="connsiteX96" fmla="*/ 1324 w 3088"/>
                  <a:gd name="connsiteY96" fmla="*/ 946 h 1039"/>
                  <a:gd name="connsiteX97" fmla="*/ 1380 w 3088"/>
                  <a:gd name="connsiteY97" fmla="*/ 931 h 1039"/>
                  <a:gd name="connsiteX98" fmla="*/ 1433 w 3088"/>
                  <a:gd name="connsiteY98" fmla="*/ 909 h 1039"/>
                  <a:gd name="connsiteX99" fmla="*/ 1481 w 3088"/>
                  <a:gd name="connsiteY99" fmla="*/ 880 h 1039"/>
                  <a:gd name="connsiteX100" fmla="*/ 1526 w 3088"/>
                  <a:gd name="connsiteY100" fmla="*/ 842 h 1039"/>
                  <a:gd name="connsiteX101" fmla="*/ 1569 w 3088"/>
                  <a:gd name="connsiteY101" fmla="*/ 799 h 1039"/>
                  <a:gd name="connsiteX102" fmla="*/ 1609 w 3088"/>
                  <a:gd name="connsiteY102" fmla="*/ 751 h 1039"/>
                  <a:gd name="connsiteX103" fmla="*/ 1648 w 3088"/>
                  <a:gd name="connsiteY103" fmla="*/ 699 h 1039"/>
                  <a:gd name="connsiteX104" fmla="*/ 1687 w 3088"/>
                  <a:gd name="connsiteY104" fmla="*/ 645 h 1039"/>
                  <a:gd name="connsiteX105" fmla="*/ 1799 w 3088"/>
                  <a:gd name="connsiteY105" fmla="*/ 471 h 1039"/>
                  <a:gd name="connsiteX106" fmla="*/ 1838 w 3088"/>
                  <a:gd name="connsiteY106" fmla="*/ 411 h 1039"/>
                  <a:gd name="connsiteX107" fmla="*/ 1879 w 3088"/>
                  <a:gd name="connsiteY107" fmla="*/ 353 h 1039"/>
                  <a:gd name="connsiteX108" fmla="*/ 1923 w 3088"/>
                  <a:gd name="connsiteY108" fmla="*/ 295 h 1039"/>
                  <a:gd name="connsiteX109" fmla="*/ 1968 w 3088"/>
                  <a:gd name="connsiteY109" fmla="*/ 241 h 1039"/>
                  <a:gd name="connsiteX110" fmla="*/ 2015 w 3088"/>
                  <a:gd name="connsiteY110" fmla="*/ 189 h 1039"/>
                  <a:gd name="connsiteX111" fmla="*/ 2069 w 3088"/>
                  <a:gd name="connsiteY111" fmla="*/ 141 h 1039"/>
                  <a:gd name="connsiteX112" fmla="*/ 2125 w 3088"/>
                  <a:gd name="connsiteY112" fmla="*/ 100 h 1039"/>
                  <a:gd name="connsiteX113" fmla="*/ 2187 w 3088"/>
                  <a:gd name="connsiteY113" fmla="*/ 65 h 1039"/>
                  <a:gd name="connsiteX114" fmla="*/ 2253 w 3088"/>
                  <a:gd name="connsiteY114" fmla="*/ 35 h 1039"/>
                  <a:gd name="connsiteX115" fmla="*/ 2325 w 3088"/>
                  <a:gd name="connsiteY115" fmla="*/ 15 h 1039"/>
                  <a:gd name="connsiteX116" fmla="*/ 2404 w 3088"/>
                  <a:gd name="connsiteY116" fmla="*/ 2 h 1039"/>
                  <a:gd name="connsiteX117" fmla="*/ 2474 w 3088"/>
                  <a:gd name="connsiteY117" fmla="*/ 0 h 1039"/>
                  <a:gd name="connsiteX118" fmla="*/ 2540 w 3088"/>
                  <a:gd name="connsiteY118" fmla="*/ 9 h 1039"/>
                  <a:gd name="connsiteX119" fmla="*/ 2600 w 3088"/>
                  <a:gd name="connsiteY119" fmla="*/ 23 h 1039"/>
                  <a:gd name="connsiteX120" fmla="*/ 2658 w 3088"/>
                  <a:gd name="connsiteY120" fmla="*/ 46 h 1039"/>
                  <a:gd name="connsiteX121" fmla="*/ 2711 w 3088"/>
                  <a:gd name="connsiteY121" fmla="*/ 77 h 1039"/>
                  <a:gd name="connsiteX122" fmla="*/ 2761 w 3088"/>
                  <a:gd name="connsiteY122" fmla="*/ 112 h 1039"/>
                  <a:gd name="connsiteX123" fmla="*/ 2806 w 3088"/>
                  <a:gd name="connsiteY123" fmla="*/ 154 h 1039"/>
                  <a:gd name="connsiteX124" fmla="*/ 2852 w 3088"/>
                  <a:gd name="connsiteY124" fmla="*/ 199 h 1039"/>
                  <a:gd name="connsiteX125" fmla="*/ 2893 w 3088"/>
                  <a:gd name="connsiteY125" fmla="*/ 247 h 1039"/>
                  <a:gd name="connsiteX126" fmla="*/ 2932 w 3088"/>
                  <a:gd name="connsiteY126" fmla="*/ 299 h 1039"/>
                  <a:gd name="connsiteX127" fmla="*/ 2969 w 3088"/>
                  <a:gd name="connsiteY127" fmla="*/ 353 h 1039"/>
                  <a:gd name="connsiteX128" fmla="*/ 3004 w 3088"/>
                  <a:gd name="connsiteY128" fmla="*/ 409 h 1039"/>
                  <a:gd name="connsiteX129" fmla="*/ 3039 w 3088"/>
                  <a:gd name="connsiteY129" fmla="*/ 463 h 1039"/>
                  <a:gd name="connsiteX130" fmla="*/ 3073 w 3088"/>
                  <a:gd name="connsiteY130" fmla="*/ 519 h 1039"/>
                  <a:gd name="connsiteX0" fmla="*/ 3073 w 3073"/>
                  <a:gd name="connsiteY0" fmla="*/ 519 h 1039"/>
                  <a:gd name="connsiteX1" fmla="*/ 2965 w 3073"/>
                  <a:gd name="connsiteY1" fmla="*/ 506 h 1039"/>
                  <a:gd name="connsiteX2" fmla="*/ 2928 w 3073"/>
                  <a:gd name="connsiteY2" fmla="*/ 448 h 1039"/>
                  <a:gd name="connsiteX3" fmla="*/ 2891 w 3073"/>
                  <a:gd name="connsiteY3" fmla="*/ 392 h 1039"/>
                  <a:gd name="connsiteX4" fmla="*/ 2854 w 3073"/>
                  <a:gd name="connsiteY4" fmla="*/ 338 h 1039"/>
                  <a:gd name="connsiteX5" fmla="*/ 2814 w 3073"/>
                  <a:gd name="connsiteY5" fmla="*/ 288 h 1039"/>
                  <a:gd name="connsiteX6" fmla="*/ 2773 w 3073"/>
                  <a:gd name="connsiteY6" fmla="*/ 243 h 1039"/>
                  <a:gd name="connsiteX7" fmla="*/ 2732 w 3073"/>
                  <a:gd name="connsiteY7" fmla="*/ 201 h 1039"/>
                  <a:gd name="connsiteX8" fmla="*/ 2686 w 3073"/>
                  <a:gd name="connsiteY8" fmla="*/ 164 h 1039"/>
                  <a:gd name="connsiteX9" fmla="*/ 2639 w 3073"/>
                  <a:gd name="connsiteY9" fmla="*/ 135 h 1039"/>
                  <a:gd name="connsiteX10" fmla="*/ 2587 w 3073"/>
                  <a:gd name="connsiteY10" fmla="*/ 112 h 1039"/>
                  <a:gd name="connsiteX11" fmla="*/ 2532 w 3073"/>
                  <a:gd name="connsiteY11" fmla="*/ 96 h 1039"/>
                  <a:gd name="connsiteX12" fmla="*/ 2474 w 3073"/>
                  <a:gd name="connsiteY12" fmla="*/ 87 h 1039"/>
                  <a:gd name="connsiteX13" fmla="*/ 2410 w 3073"/>
                  <a:gd name="connsiteY13" fmla="*/ 89 h 1039"/>
                  <a:gd name="connsiteX14" fmla="*/ 2342 w 3073"/>
                  <a:gd name="connsiteY14" fmla="*/ 100 h 1039"/>
                  <a:gd name="connsiteX15" fmla="*/ 2280 w 3073"/>
                  <a:gd name="connsiteY15" fmla="*/ 118 h 1039"/>
                  <a:gd name="connsiteX16" fmla="*/ 2222 w 3073"/>
                  <a:gd name="connsiteY16" fmla="*/ 143 h 1039"/>
                  <a:gd name="connsiteX17" fmla="*/ 2168 w 3073"/>
                  <a:gd name="connsiteY17" fmla="*/ 176 h 1039"/>
                  <a:gd name="connsiteX18" fmla="*/ 2117 w 3073"/>
                  <a:gd name="connsiteY18" fmla="*/ 214 h 1039"/>
                  <a:gd name="connsiteX19" fmla="*/ 2071 w 3073"/>
                  <a:gd name="connsiteY19" fmla="*/ 257 h 1039"/>
                  <a:gd name="connsiteX20" fmla="*/ 2026 w 3073"/>
                  <a:gd name="connsiteY20" fmla="*/ 303 h 1039"/>
                  <a:gd name="connsiteX21" fmla="*/ 1984 w 3073"/>
                  <a:gd name="connsiteY21" fmla="*/ 355 h 1039"/>
                  <a:gd name="connsiteX22" fmla="*/ 1945 w 3073"/>
                  <a:gd name="connsiteY22" fmla="*/ 409 h 1039"/>
                  <a:gd name="connsiteX23" fmla="*/ 1908 w 3073"/>
                  <a:gd name="connsiteY23" fmla="*/ 463 h 1039"/>
                  <a:gd name="connsiteX24" fmla="*/ 1871 w 3073"/>
                  <a:gd name="connsiteY24" fmla="*/ 519 h 1039"/>
                  <a:gd name="connsiteX25" fmla="*/ 1834 w 3073"/>
                  <a:gd name="connsiteY25" fmla="*/ 577 h 1039"/>
                  <a:gd name="connsiteX26" fmla="*/ 1799 w 3073"/>
                  <a:gd name="connsiteY26" fmla="*/ 633 h 1039"/>
                  <a:gd name="connsiteX27" fmla="*/ 1724 w 3073"/>
                  <a:gd name="connsiteY27" fmla="*/ 745 h 1039"/>
                  <a:gd name="connsiteX28" fmla="*/ 1685 w 3073"/>
                  <a:gd name="connsiteY28" fmla="*/ 797 h 1039"/>
                  <a:gd name="connsiteX29" fmla="*/ 1644 w 3073"/>
                  <a:gd name="connsiteY29" fmla="*/ 846 h 1039"/>
                  <a:gd name="connsiteX30" fmla="*/ 1600 w 3073"/>
                  <a:gd name="connsiteY30" fmla="*/ 892 h 1039"/>
                  <a:gd name="connsiteX31" fmla="*/ 1553 w 3073"/>
                  <a:gd name="connsiteY31" fmla="*/ 933 h 1039"/>
                  <a:gd name="connsiteX32" fmla="*/ 1503 w 3073"/>
                  <a:gd name="connsiteY32" fmla="*/ 969 h 1039"/>
                  <a:gd name="connsiteX33" fmla="*/ 1450 w 3073"/>
                  <a:gd name="connsiteY33" fmla="*/ 998 h 1039"/>
                  <a:gd name="connsiteX34" fmla="*/ 1394 w 3073"/>
                  <a:gd name="connsiteY34" fmla="*/ 1021 h 1039"/>
                  <a:gd name="connsiteX35" fmla="*/ 1330 w 3073"/>
                  <a:gd name="connsiteY35" fmla="*/ 1033 h 1039"/>
                  <a:gd name="connsiteX36" fmla="*/ 1264 w 3073"/>
                  <a:gd name="connsiteY36" fmla="*/ 1039 h 1039"/>
                  <a:gd name="connsiteX37" fmla="*/ 1258 w 3073"/>
                  <a:gd name="connsiteY37" fmla="*/ 1039 h 1039"/>
                  <a:gd name="connsiteX38" fmla="*/ 1190 w 3073"/>
                  <a:gd name="connsiteY38" fmla="*/ 1035 h 1039"/>
                  <a:gd name="connsiteX39" fmla="*/ 1128 w 3073"/>
                  <a:gd name="connsiteY39" fmla="*/ 1023 h 1039"/>
                  <a:gd name="connsiteX40" fmla="*/ 1070 w 3073"/>
                  <a:gd name="connsiteY40" fmla="*/ 1004 h 1039"/>
                  <a:gd name="connsiteX41" fmla="*/ 1018 w 3073"/>
                  <a:gd name="connsiteY41" fmla="*/ 979 h 1039"/>
                  <a:gd name="connsiteX42" fmla="*/ 971 w 3073"/>
                  <a:gd name="connsiteY42" fmla="*/ 948 h 1039"/>
                  <a:gd name="connsiteX43" fmla="*/ 925 w 3073"/>
                  <a:gd name="connsiteY43" fmla="*/ 911 h 1039"/>
                  <a:gd name="connsiteX44" fmla="*/ 884 w 3073"/>
                  <a:gd name="connsiteY44" fmla="*/ 869 h 1039"/>
                  <a:gd name="connsiteX45" fmla="*/ 847 w 3073"/>
                  <a:gd name="connsiteY45" fmla="*/ 824 h 1039"/>
                  <a:gd name="connsiteX46" fmla="*/ 810 w 3073"/>
                  <a:gd name="connsiteY46" fmla="*/ 776 h 1039"/>
                  <a:gd name="connsiteX47" fmla="*/ 777 w 3073"/>
                  <a:gd name="connsiteY47" fmla="*/ 724 h 1039"/>
                  <a:gd name="connsiteX48" fmla="*/ 742 w 3073"/>
                  <a:gd name="connsiteY48" fmla="*/ 670 h 1039"/>
                  <a:gd name="connsiteX49" fmla="*/ 711 w 3073"/>
                  <a:gd name="connsiteY49" fmla="*/ 614 h 1039"/>
                  <a:gd name="connsiteX50" fmla="*/ 678 w 3073"/>
                  <a:gd name="connsiteY50" fmla="*/ 556 h 1039"/>
                  <a:gd name="connsiteX51" fmla="*/ 616 w 3073"/>
                  <a:gd name="connsiteY51" fmla="*/ 444 h 1039"/>
                  <a:gd name="connsiteX52" fmla="*/ 547 w 3073"/>
                  <a:gd name="connsiteY52" fmla="*/ 336 h 1039"/>
                  <a:gd name="connsiteX53" fmla="*/ 504 w 3073"/>
                  <a:gd name="connsiteY53" fmla="*/ 280 h 1039"/>
                  <a:gd name="connsiteX54" fmla="*/ 457 w 3073"/>
                  <a:gd name="connsiteY54" fmla="*/ 235 h 1039"/>
                  <a:gd name="connsiteX55" fmla="*/ 409 w 3073"/>
                  <a:gd name="connsiteY55" fmla="*/ 195 h 1039"/>
                  <a:gd name="connsiteX56" fmla="*/ 358 w 3073"/>
                  <a:gd name="connsiteY56" fmla="*/ 164 h 1039"/>
                  <a:gd name="connsiteX57" fmla="*/ 308 w 3073"/>
                  <a:gd name="connsiteY57" fmla="*/ 141 h 1039"/>
                  <a:gd name="connsiteX58" fmla="*/ 256 w 3073"/>
                  <a:gd name="connsiteY58" fmla="*/ 123 h 1039"/>
                  <a:gd name="connsiteX59" fmla="*/ 209 w 3073"/>
                  <a:gd name="connsiteY59" fmla="*/ 108 h 1039"/>
                  <a:gd name="connsiteX60" fmla="*/ 163 w 3073"/>
                  <a:gd name="connsiteY60" fmla="*/ 100 h 1039"/>
                  <a:gd name="connsiteX61" fmla="*/ 122 w 3073"/>
                  <a:gd name="connsiteY61" fmla="*/ 96 h 1039"/>
                  <a:gd name="connsiteX62" fmla="*/ 85 w 3073"/>
                  <a:gd name="connsiteY62" fmla="*/ 91 h 1039"/>
                  <a:gd name="connsiteX63" fmla="*/ 31 w 3073"/>
                  <a:gd name="connsiteY63" fmla="*/ 91 h 1039"/>
                  <a:gd name="connsiteX64" fmla="*/ 17 w 3073"/>
                  <a:gd name="connsiteY64" fmla="*/ 94 h 1039"/>
                  <a:gd name="connsiteX65" fmla="*/ 11 w 3073"/>
                  <a:gd name="connsiteY65" fmla="*/ 94 h 1039"/>
                  <a:gd name="connsiteX66" fmla="*/ 0 w 3073"/>
                  <a:gd name="connsiteY66" fmla="*/ 9 h 1039"/>
                  <a:gd name="connsiteX67" fmla="*/ 9 w 3073"/>
                  <a:gd name="connsiteY67" fmla="*/ 9 h 1039"/>
                  <a:gd name="connsiteX68" fmla="*/ 29 w 3073"/>
                  <a:gd name="connsiteY68" fmla="*/ 6 h 1039"/>
                  <a:gd name="connsiteX69" fmla="*/ 91 w 3073"/>
                  <a:gd name="connsiteY69" fmla="*/ 6 h 1039"/>
                  <a:gd name="connsiteX70" fmla="*/ 135 w 3073"/>
                  <a:gd name="connsiteY70" fmla="*/ 9 h 1039"/>
                  <a:gd name="connsiteX71" fmla="*/ 182 w 3073"/>
                  <a:gd name="connsiteY71" fmla="*/ 15 h 1039"/>
                  <a:gd name="connsiteX72" fmla="*/ 234 w 3073"/>
                  <a:gd name="connsiteY72" fmla="*/ 25 h 1039"/>
                  <a:gd name="connsiteX73" fmla="*/ 287 w 3073"/>
                  <a:gd name="connsiteY73" fmla="*/ 42 h 1039"/>
                  <a:gd name="connsiteX74" fmla="*/ 345 w 3073"/>
                  <a:gd name="connsiteY74" fmla="*/ 62 h 1039"/>
                  <a:gd name="connsiteX75" fmla="*/ 403 w 3073"/>
                  <a:gd name="connsiteY75" fmla="*/ 89 h 1039"/>
                  <a:gd name="connsiteX76" fmla="*/ 459 w 3073"/>
                  <a:gd name="connsiteY76" fmla="*/ 127 h 1039"/>
                  <a:gd name="connsiteX77" fmla="*/ 514 w 3073"/>
                  <a:gd name="connsiteY77" fmla="*/ 170 h 1039"/>
                  <a:gd name="connsiteX78" fmla="*/ 568 w 3073"/>
                  <a:gd name="connsiteY78" fmla="*/ 224 h 1039"/>
                  <a:gd name="connsiteX79" fmla="*/ 618 w 3073"/>
                  <a:gd name="connsiteY79" fmla="*/ 288 h 1039"/>
                  <a:gd name="connsiteX80" fmla="*/ 667 w 3073"/>
                  <a:gd name="connsiteY80" fmla="*/ 363 h 1039"/>
                  <a:gd name="connsiteX81" fmla="*/ 754 w 3073"/>
                  <a:gd name="connsiteY81" fmla="*/ 512 h 1039"/>
                  <a:gd name="connsiteX82" fmla="*/ 787 w 3073"/>
                  <a:gd name="connsiteY82" fmla="*/ 571 h 1039"/>
                  <a:gd name="connsiteX83" fmla="*/ 820 w 3073"/>
                  <a:gd name="connsiteY83" fmla="*/ 627 h 1039"/>
                  <a:gd name="connsiteX84" fmla="*/ 853 w 3073"/>
                  <a:gd name="connsiteY84" fmla="*/ 680 h 1039"/>
                  <a:gd name="connsiteX85" fmla="*/ 886 w 3073"/>
                  <a:gd name="connsiteY85" fmla="*/ 732 h 1039"/>
                  <a:gd name="connsiteX86" fmla="*/ 921 w 3073"/>
                  <a:gd name="connsiteY86" fmla="*/ 778 h 1039"/>
                  <a:gd name="connsiteX87" fmla="*/ 958 w 3073"/>
                  <a:gd name="connsiteY87" fmla="*/ 821 h 1039"/>
                  <a:gd name="connsiteX88" fmla="*/ 1000 w 3073"/>
                  <a:gd name="connsiteY88" fmla="*/ 859 h 1039"/>
                  <a:gd name="connsiteX89" fmla="*/ 1043 w 3073"/>
                  <a:gd name="connsiteY89" fmla="*/ 890 h 1039"/>
                  <a:gd name="connsiteX90" fmla="*/ 1090 w 3073"/>
                  <a:gd name="connsiteY90" fmla="*/ 917 h 1039"/>
                  <a:gd name="connsiteX91" fmla="*/ 1140 w 3073"/>
                  <a:gd name="connsiteY91" fmla="*/ 935 h 1039"/>
                  <a:gd name="connsiteX92" fmla="*/ 1196 w 3073"/>
                  <a:gd name="connsiteY92" fmla="*/ 948 h 1039"/>
                  <a:gd name="connsiteX93" fmla="*/ 1258 w 3073"/>
                  <a:gd name="connsiteY93" fmla="*/ 952 h 1039"/>
                  <a:gd name="connsiteX94" fmla="*/ 1264 w 3073"/>
                  <a:gd name="connsiteY94" fmla="*/ 952 h 1039"/>
                  <a:gd name="connsiteX95" fmla="*/ 1324 w 3073"/>
                  <a:gd name="connsiteY95" fmla="*/ 946 h 1039"/>
                  <a:gd name="connsiteX96" fmla="*/ 1380 w 3073"/>
                  <a:gd name="connsiteY96" fmla="*/ 931 h 1039"/>
                  <a:gd name="connsiteX97" fmla="*/ 1433 w 3073"/>
                  <a:gd name="connsiteY97" fmla="*/ 909 h 1039"/>
                  <a:gd name="connsiteX98" fmla="*/ 1481 w 3073"/>
                  <a:gd name="connsiteY98" fmla="*/ 880 h 1039"/>
                  <a:gd name="connsiteX99" fmla="*/ 1526 w 3073"/>
                  <a:gd name="connsiteY99" fmla="*/ 842 h 1039"/>
                  <a:gd name="connsiteX100" fmla="*/ 1569 w 3073"/>
                  <a:gd name="connsiteY100" fmla="*/ 799 h 1039"/>
                  <a:gd name="connsiteX101" fmla="*/ 1609 w 3073"/>
                  <a:gd name="connsiteY101" fmla="*/ 751 h 1039"/>
                  <a:gd name="connsiteX102" fmla="*/ 1648 w 3073"/>
                  <a:gd name="connsiteY102" fmla="*/ 699 h 1039"/>
                  <a:gd name="connsiteX103" fmla="*/ 1687 w 3073"/>
                  <a:gd name="connsiteY103" fmla="*/ 645 h 1039"/>
                  <a:gd name="connsiteX104" fmla="*/ 1799 w 3073"/>
                  <a:gd name="connsiteY104" fmla="*/ 471 h 1039"/>
                  <a:gd name="connsiteX105" fmla="*/ 1838 w 3073"/>
                  <a:gd name="connsiteY105" fmla="*/ 411 h 1039"/>
                  <a:gd name="connsiteX106" fmla="*/ 1879 w 3073"/>
                  <a:gd name="connsiteY106" fmla="*/ 353 h 1039"/>
                  <a:gd name="connsiteX107" fmla="*/ 1923 w 3073"/>
                  <a:gd name="connsiteY107" fmla="*/ 295 h 1039"/>
                  <a:gd name="connsiteX108" fmla="*/ 1968 w 3073"/>
                  <a:gd name="connsiteY108" fmla="*/ 241 h 1039"/>
                  <a:gd name="connsiteX109" fmla="*/ 2015 w 3073"/>
                  <a:gd name="connsiteY109" fmla="*/ 189 h 1039"/>
                  <a:gd name="connsiteX110" fmla="*/ 2069 w 3073"/>
                  <a:gd name="connsiteY110" fmla="*/ 141 h 1039"/>
                  <a:gd name="connsiteX111" fmla="*/ 2125 w 3073"/>
                  <a:gd name="connsiteY111" fmla="*/ 100 h 1039"/>
                  <a:gd name="connsiteX112" fmla="*/ 2187 w 3073"/>
                  <a:gd name="connsiteY112" fmla="*/ 65 h 1039"/>
                  <a:gd name="connsiteX113" fmla="*/ 2253 w 3073"/>
                  <a:gd name="connsiteY113" fmla="*/ 35 h 1039"/>
                  <a:gd name="connsiteX114" fmla="*/ 2325 w 3073"/>
                  <a:gd name="connsiteY114" fmla="*/ 15 h 1039"/>
                  <a:gd name="connsiteX115" fmla="*/ 2404 w 3073"/>
                  <a:gd name="connsiteY115" fmla="*/ 2 h 1039"/>
                  <a:gd name="connsiteX116" fmla="*/ 2474 w 3073"/>
                  <a:gd name="connsiteY116" fmla="*/ 0 h 1039"/>
                  <a:gd name="connsiteX117" fmla="*/ 2540 w 3073"/>
                  <a:gd name="connsiteY117" fmla="*/ 9 h 1039"/>
                  <a:gd name="connsiteX118" fmla="*/ 2600 w 3073"/>
                  <a:gd name="connsiteY118" fmla="*/ 23 h 1039"/>
                  <a:gd name="connsiteX119" fmla="*/ 2658 w 3073"/>
                  <a:gd name="connsiteY119" fmla="*/ 46 h 1039"/>
                  <a:gd name="connsiteX120" fmla="*/ 2711 w 3073"/>
                  <a:gd name="connsiteY120" fmla="*/ 77 h 1039"/>
                  <a:gd name="connsiteX121" fmla="*/ 2761 w 3073"/>
                  <a:gd name="connsiteY121" fmla="*/ 112 h 1039"/>
                  <a:gd name="connsiteX122" fmla="*/ 2806 w 3073"/>
                  <a:gd name="connsiteY122" fmla="*/ 154 h 1039"/>
                  <a:gd name="connsiteX123" fmla="*/ 2852 w 3073"/>
                  <a:gd name="connsiteY123" fmla="*/ 199 h 1039"/>
                  <a:gd name="connsiteX124" fmla="*/ 2893 w 3073"/>
                  <a:gd name="connsiteY124" fmla="*/ 247 h 1039"/>
                  <a:gd name="connsiteX125" fmla="*/ 2932 w 3073"/>
                  <a:gd name="connsiteY125" fmla="*/ 299 h 1039"/>
                  <a:gd name="connsiteX126" fmla="*/ 2969 w 3073"/>
                  <a:gd name="connsiteY126" fmla="*/ 353 h 1039"/>
                  <a:gd name="connsiteX127" fmla="*/ 3004 w 3073"/>
                  <a:gd name="connsiteY127" fmla="*/ 409 h 1039"/>
                  <a:gd name="connsiteX128" fmla="*/ 3039 w 3073"/>
                  <a:gd name="connsiteY128" fmla="*/ 463 h 1039"/>
                  <a:gd name="connsiteX129" fmla="*/ 3073 w 3073"/>
                  <a:gd name="connsiteY129" fmla="*/ 519 h 1039"/>
                  <a:gd name="connsiteX0" fmla="*/ 3039 w 3039"/>
                  <a:gd name="connsiteY0" fmla="*/ 463 h 1039"/>
                  <a:gd name="connsiteX1" fmla="*/ 2965 w 3039"/>
                  <a:gd name="connsiteY1" fmla="*/ 506 h 1039"/>
                  <a:gd name="connsiteX2" fmla="*/ 2928 w 3039"/>
                  <a:gd name="connsiteY2" fmla="*/ 448 h 1039"/>
                  <a:gd name="connsiteX3" fmla="*/ 2891 w 3039"/>
                  <a:gd name="connsiteY3" fmla="*/ 392 h 1039"/>
                  <a:gd name="connsiteX4" fmla="*/ 2854 w 3039"/>
                  <a:gd name="connsiteY4" fmla="*/ 338 h 1039"/>
                  <a:gd name="connsiteX5" fmla="*/ 2814 w 3039"/>
                  <a:gd name="connsiteY5" fmla="*/ 288 h 1039"/>
                  <a:gd name="connsiteX6" fmla="*/ 2773 w 3039"/>
                  <a:gd name="connsiteY6" fmla="*/ 243 h 1039"/>
                  <a:gd name="connsiteX7" fmla="*/ 2732 w 3039"/>
                  <a:gd name="connsiteY7" fmla="*/ 201 h 1039"/>
                  <a:gd name="connsiteX8" fmla="*/ 2686 w 3039"/>
                  <a:gd name="connsiteY8" fmla="*/ 164 h 1039"/>
                  <a:gd name="connsiteX9" fmla="*/ 2639 w 3039"/>
                  <a:gd name="connsiteY9" fmla="*/ 135 h 1039"/>
                  <a:gd name="connsiteX10" fmla="*/ 2587 w 3039"/>
                  <a:gd name="connsiteY10" fmla="*/ 112 h 1039"/>
                  <a:gd name="connsiteX11" fmla="*/ 2532 w 3039"/>
                  <a:gd name="connsiteY11" fmla="*/ 96 h 1039"/>
                  <a:gd name="connsiteX12" fmla="*/ 2474 w 3039"/>
                  <a:gd name="connsiteY12" fmla="*/ 87 h 1039"/>
                  <a:gd name="connsiteX13" fmla="*/ 2410 w 3039"/>
                  <a:gd name="connsiteY13" fmla="*/ 89 h 1039"/>
                  <a:gd name="connsiteX14" fmla="*/ 2342 w 3039"/>
                  <a:gd name="connsiteY14" fmla="*/ 100 h 1039"/>
                  <a:gd name="connsiteX15" fmla="*/ 2280 w 3039"/>
                  <a:gd name="connsiteY15" fmla="*/ 118 h 1039"/>
                  <a:gd name="connsiteX16" fmla="*/ 2222 w 3039"/>
                  <a:gd name="connsiteY16" fmla="*/ 143 h 1039"/>
                  <a:gd name="connsiteX17" fmla="*/ 2168 w 3039"/>
                  <a:gd name="connsiteY17" fmla="*/ 176 h 1039"/>
                  <a:gd name="connsiteX18" fmla="*/ 2117 w 3039"/>
                  <a:gd name="connsiteY18" fmla="*/ 214 h 1039"/>
                  <a:gd name="connsiteX19" fmla="*/ 2071 w 3039"/>
                  <a:gd name="connsiteY19" fmla="*/ 257 h 1039"/>
                  <a:gd name="connsiteX20" fmla="*/ 2026 w 3039"/>
                  <a:gd name="connsiteY20" fmla="*/ 303 h 1039"/>
                  <a:gd name="connsiteX21" fmla="*/ 1984 w 3039"/>
                  <a:gd name="connsiteY21" fmla="*/ 355 h 1039"/>
                  <a:gd name="connsiteX22" fmla="*/ 1945 w 3039"/>
                  <a:gd name="connsiteY22" fmla="*/ 409 h 1039"/>
                  <a:gd name="connsiteX23" fmla="*/ 1908 w 3039"/>
                  <a:gd name="connsiteY23" fmla="*/ 463 h 1039"/>
                  <a:gd name="connsiteX24" fmla="*/ 1871 w 3039"/>
                  <a:gd name="connsiteY24" fmla="*/ 519 h 1039"/>
                  <a:gd name="connsiteX25" fmla="*/ 1834 w 3039"/>
                  <a:gd name="connsiteY25" fmla="*/ 577 h 1039"/>
                  <a:gd name="connsiteX26" fmla="*/ 1799 w 3039"/>
                  <a:gd name="connsiteY26" fmla="*/ 633 h 1039"/>
                  <a:gd name="connsiteX27" fmla="*/ 1724 w 3039"/>
                  <a:gd name="connsiteY27" fmla="*/ 745 h 1039"/>
                  <a:gd name="connsiteX28" fmla="*/ 1685 w 3039"/>
                  <a:gd name="connsiteY28" fmla="*/ 797 h 1039"/>
                  <a:gd name="connsiteX29" fmla="*/ 1644 w 3039"/>
                  <a:gd name="connsiteY29" fmla="*/ 846 h 1039"/>
                  <a:gd name="connsiteX30" fmla="*/ 1600 w 3039"/>
                  <a:gd name="connsiteY30" fmla="*/ 892 h 1039"/>
                  <a:gd name="connsiteX31" fmla="*/ 1553 w 3039"/>
                  <a:gd name="connsiteY31" fmla="*/ 933 h 1039"/>
                  <a:gd name="connsiteX32" fmla="*/ 1503 w 3039"/>
                  <a:gd name="connsiteY32" fmla="*/ 969 h 1039"/>
                  <a:gd name="connsiteX33" fmla="*/ 1450 w 3039"/>
                  <a:gd name="connsiteY33" fmla="*/ 998 h 1039"/>
                  <a:gd name="connsiteX34" fmla="*/ 1394 w 3039"/>
                  <a:gd name="connsiteY34" fmla="*/ 1021 h 1039"/>
                  <a:gd name="connsiteX35" fmla="*/ 1330 w 3039"/>
                  <a:gd name="connsiteY35" fmla="*/ 1033 h 1039"/>
                  <a:gd name="connsiteX36" fmla="*/ 1264 w 3039"/>
                  <a:gd name="connsiteY36" fmla="*/ 1039 h 1039"/>
                  <a:gd name="connsiteX37" fmla="*/ 1258 w 3039"/>
                  <a:gd name="connsiteY37" fmla="*/ 1039 h 1039"/>
                  <a:gd name="connsiteX38" fmla="*/ 1190 w 3039"/>
                  <a:gd name="connsiteY38" fmla="*/ 1035 h 1039"/>
                  <a:gd name="connsiteX39" fmla="*/ 1128 w 3039"/>
                  <a:gd name="connsiteY39" fmla="*/ 1023 h 1039"/>
                  <a:gd name="connsiteX40" fmla="*/ 1070 w 3039"/>
                  <a:gd name="connsiteY40" fmla="*/ 1004 h 1039"/>
                  <a:gd name="connsiteX41" fmla="*/ 1018 w 3039"/>
                  <a:gd name="connsiteY41" fmla="*/ 979 h 1039"/>
                  <a:gd name="connsiteX42" fmla="*/ 971 w 3039"/>
                  <a:gd name="connsiteY42" fmla="*/ 948 h 1039"/>
                  <a:gd name="connsiteX43" fmla="*/ 925 w 3039"/>
                  <a:gd name="connsiteY43" fmla="*/ 911 h 1039"/>
                  <a:gd name="connsiteX44" fmla="*/ 884 w 3039"/>
                  <a:gd name="connsiteY44" fmla="*/ 869 h 1039"/>
                  <a:gd name="connsiteX45" fmla="*/ 847 w 3039"/>
                  <a:gd name="connsiteY45" fmla="*/ 824 h 1039"/>
                  <a:gd name="connsiteX46" fmla="*/ 810 w 3039"/>
                  <a:gd name="connsiteY46" fmla="*/ 776 h 1039"/>
                  <a:gd name="connsiteX47" fmla="*/ 777 w 3039"/>
                  <a:gd name="connsiteY47" fmla="*/ 724 h 1039"/>
                  <a:gd name="connsiteX48" fmla="*/ 742 w 3039"/>
                  <a:gd name="connsiteY48" fmla="*/ 670 h 1039"/>
                  <a:gd name="connsiteX49" fmla="*/ 711 w 3039"/>
                  <a:gd name="connsiteY49" fmla="*/ 614 h 1039"/>
                  <a:gd name="connsiteX50" fmla="*/ 678 w 3039"/>
                  <a:gd name="connsiteY50" fmla="*/ 556 h 1039"/>
                  <a:gd name="connsiteX51" fmla="*/ 616 w 3039"/>
                  <a:gd name="connsiteY51" fmla="*/ 444 h 1039"/>
                  <a:gd name="connsiteX52" fmla="*/ 547 w 3039"/>
                  <a:gd name="connsiteY52" fmla="*/ 336 h 1039"/>
                  <a:gd name="connsiteX53" fmla="*/ 504 w 3039"/>
                  <a:gd name="connsiteY53" fmla="*/ 280 h 1039"/>
                  <a:gd name="connsiteX54" fmla="*/ 457 w 3039"/>
                  <a:gd name="connsiteY54" fmla="*/ 235 h 1039"/>
                  <a:gd name="connsiteX55" fmla="*/ 409 w 3039"/>
                  <a:gd name="connsiteY55" fmla="*/ 195 h 1039"/>
                  <a:gd name="connsiteX56" fmla="*/ 358 w 3039"/>
                  <a:gd name="connsiteY56" fmla="*/ 164 h 1039"/>
                  <a:gd name="connsiteX57" fmla="*/ 308 w 3039"/>
                  <a:gd name="connsiteY57" fmla="*/ 141 h 1039"/>
                  <a:gd name="connsiteX58" fmla="*/ 256 w 3039"/>
                  <a:gd name="connsiteY58" fmla="*/ 123 h 1039"/>
                  <a:gd name="connsiteX59" fmla="*/ 209 w 3039"/>
                  <a:gd name="connsiteY59" fmla="*/ 108 h 1039"/>
                  <a:gd name="connsiteX60" fmla="*/ 163 w 3039"/>
                  <a:gd name="connsiteY60" fmla="*/ 100 h 1039"/>
                  <a:gd name="connsiteX61" fmla="*/ 122 w 3039"/>
                  <a:gd name="connsiteY61" fmla="*/ 96 h 1039"/>
                  <a:gd name="connsiteX62" fmla="*/ 85 w 3039"/>
                  <a:gd name="connsiteY62" fmla="*/ 91 h 1039"/>
                  <a:gd name="connsiteX63" fmla="*/ 31 w 3039"/>
                  <a:gd name="connsiteY63" fmla="*/ 91 h 1039"/>
                  <a:gd name="connsiteX64" fmla="*/ 17 w 3039"/>
                  <a:gd name="connsiteY64" fmla="*/ 94 h 1039"/>
                  <a:gd name="connsiteX65" fmla="*/ 11 w 3039"/>
                  <a:gd name="connsiteY65" fmla="*/ 94 h 1039"/>
                  <a:gd name="connsiteX66" fmla="*/ 0 w 3039"/>
                  <a:gd name="connsiteY66" fmla="*/ 9 h 1039"/>
                  <a:gd name="connsiteX67" fmla="*/ 9 w 3039"/>
                  <a:gd name="connsiteY67" fmla="*/ 9 h 1039"/>
                  <a:gd name="connsiteX68" fmla="*/ 29 w 3039"/>
                  <a:gd name="connsiteY68" fmla="*/ 6 h 1039"/>
                  <a:gd name="connsiteX69" fmla="*/ 91 w 3039"/>
                  <a:gd name="connsiteY69" fmla="*/ 6 h 1039"/>
                  <a:gd name="connsiteX70" fmla="*/ 135 w 3039"/>
                  <a:gd name="connsiteY70" fmla="*/ 9 h 1039"/>
                  <a:gd name="connsiteX71" fmla="*/ 182 w 3039"/>
                  <a:gd name="connsiteY71" fmla="*/ 15 h 1039"/>
                  <a:gd name="connsiteX72" fmla="*/ 234 w 3039"/>
                  <a:gd name="connsiteY72" fmla="*/ 25 h 1039"/>
                  <a:gd name="connsiteX73" fmla="*/ 287 w 3039"/>
                  <a:gd name="connsiteY73" fmla="*/ 42 h 1039"/>
                  <a:gd name="connsiteX74" fmla="*/ 345 w 3039"/>
                  <a:gd name="connsiteY74" fmla="*/ 62 h 1039"/>
                  <a:gd name="connsiteX75" fmla="*/ 403 w 3039"/>
                  <a:gd name="connsiteY75" fmla="*/ 89 h 1039"/>
                  <a:gd name="connsiteX76" fmla="*/ 459 w 3039"/>
                  <a:gd name="connsiteY76" fmla="*/ 127 h 1039"/>
                  <a:gd name="connsiteX77" fmla="*/ 514 w 3039"/>
                  <a:gd name="connsiteY77" fmla="*/ 170 h 1039"/>
                  <a:gd name="connsiteX78" fmla="*/ 568 w 3039"/>
                  <a:gd name="connsiteY78" fmla="*/ 224 h 1039"/>
                  <a:gd name="connsiteX79" fmla="*/ 618 w 3039"/>
                  <a:gd name="connsiteY79" fmla="*/ 288 h 1039"/>
                  <a:gd name="connsiteX80" fmla="*/ 667 w 3039"/>
                  <a:gd name="connsiteY80" fmla="*/ 363 h 1039"/>
                  <a:gd name="connsiteX81" fmla="*/ 754 w 3039"/>
                  <a:gd name="connsiteY81" fmla="*/ 512 h 1039"/>
                  <a:gd name="connsiteX82" fmla="*/ 787 w 3039"/>
                  <a:gd name="connsiteY82" fmla="*/ 571 h 1039"/>
                  <a:gd name="connsiteX83" fmla="*/ 820 w 3039"/>
                  <a:gd name="connsiteY83" fmla="*/ 627 h 1039"/>
                  <a:gd name="connsiteX84" fmla="*/ 853 w 3039"/>
                  <a:gd name="connsiteY84" fmla="*/ 680 h 1039"/>
                  <a:gd name="connsiteX85" fmla="*/ 886 w 3039"/>
                  <a:gd name="connsiteY85" fmla="*/ 732 h 1039"/>
                  <a:gd name="connsiteX86" fmla="*/ 921 w 3039"/>
                  <a:gd name="connsiteY86" fmla="*/ 778 h 1039"/>
                  <a:gd name="connsiteX87" fmla="*/ 958 w 3039"/>
                  <a:gd name="connsiteY87" fmla="*/ 821 h 1039"/>
                  <a:gd name="connsiteX88" fmla="*/ 1000 w 3039"/>
                  <a:gd name="connsiteY88" fmla="*/ 859 h 1039"/>
                  <a:gd name="connsiteX89" fmla="*/ 1043 w 3039"/>
                  <a:gd name="connsiteY89" fmla="*/ 890 h 1039"/>
                  <a:gd name="connsiteX90" fmla="*/ 1090 w 3039"/>
                  <a:gd name="connsiteY90" fmla="*/ 917 h 1039"/>
                  <a:gd name="connsiteX91" fmla="*/ 1140 w 3039"/>
                  <a:gd name="connsiteY91" fmla="*/ 935 h 1039"/>
                  <a:gd name="connsiteX92" fmla="*/ 1196 w 3039"/>
                  <a:gd name="connsiteY92" fmla="*/ 948 h 1039"/>
                  <a:gd name="connsiteX93" fmla="*/ 1258 w 3039"/>
                  <a:gd name="connsiteY93" fmla="*/ 952 h 1039"/>
                  <a:gd name="connsiteX94" fmla="*/ 1264 w 3039"/>
                  <a:gd name="connsiteY94" fmla="*/ 952 h 1039"/>
                  <a:gd name="connsiteX95" fmla="*/ 1324 w 3039"/>
                  <a:gd name="connsiteY95" fmla="*/ 946 h 1039"/>
                  <a:gd name="connsiteX96" fmla="*/ 1380 w 3039"/>
                  <a:gd name="connsiteY96" fmla="*/ 931 h 1039"/>
                  <a:gd name="connsiteX97" fmla="*/ 1433 w 3039"/>
                  <a:gd name="connsiteY97" fmla="*/ 909 h 1039"/>
                  <a:gd name="connsiteX98" fmla="*/ 1481 w 3039"/>
                  <a:gd name="connsiteY98" fmla="*/ 880 h 1039"/>
                  <a:gd name="connsiteX99" fmla="*/ 1526 w 3039"/>
                  <a:gd name="connsiteY99" fmla="*/ 842 h 1039"/>
                  <a:gd name="connsiteX100" fmla="*/ 1569 w 3039"/>
                  <a:gd name="connsiteY100" fmla="*/ 799 h 1039"/>
                  <a:gd name="connsiteX101" fmla="*/ 1609 w 3039"/>
                  <a:gd name="connsiteY101" fmla="*/ 751 h 1039"/>
                  <a:gd name="connsiteX102" fmla="*/ 1648 w 3039"/>
                  <a:gd name="connsiteY102" fmla="*/ 699 h 1039"/>
                  <a:gd name="connsiteX103" fmla="*/ 1687 w 3039"/>
                  <a:gd name="connsiteY103" fmla="*/ 645 h 1039"/>
                  <a:gd name="connsiteX104" fmla="*/ 1799 w 3039"/>
                  <a:gd name="connsiteY104" fmla="*/ 471 h 1039"/>
                  <a:gd name="connsiteX105" fmla="*/ 1838 w 3039"/>
                  <a:gd name="connsiteY105" fmla="*/ 411 h 1039"/>
                  <a:gd name="connsiteX106" fmla="*/ 1879 w 3039"/>
                  <a:gd name="connsiteY106" fmla="*/ 353 h 1039"/>
                  <a:gd name="connsiteX107" fmla="*/ 1923 w 3039"/>
                  <a:gd name="connsiteY107" fmla="*/ 295 h 1039"/>
                  <a:gd name="connsiteX108" fmla="*/ 1968 w 3039"/>
                  <a:gd name="connsiteY108" fmla="*/ 241 h 1039"/>
                  <a:gd name="connsiteX109" fmla="*/ 2015 w 3039"/>
                  <a:gd name="connsiteY109" fmla="*/ 189 h 1039"/>
                  <a:gd name="connsiteX110" fmla="*/ 2069 w 3039"/>
                  <a:gd name="connsiteY110" fmla="*/ 141 h 1039"/>
                  <a:gd name="connsiteX111" fmla="*/ 2125 w 3039"/>
                  <a:gd name="connsiteY111" fmla="*/ 100 h 1039"/>
                  <a:gd name="connsiteX112" fmla="*/ 2187 w 3039"/>
                  <a:gd name="connsiteY112" fmla="*/ 65 h 1039"/>
                  <a:gd name="connsiteX113" fmla="*/ 2253 w 3039"/>
                  <a:gd name="connsiteY113" fmla="*/ 35 h 1039"/>
                  <a:gd name="connsiteX114" fmla="*/ 2325 w 3039"/>
                  <a:gd name="connsiteY114" fmla="*/ 15 h 1039"/>
                  <a:gd name="connsiteX115" fmla="*/ 2404 w 3039"/>
                  <a:gd name="connsiteY115" fmla="*/ 2 h 1039"/>
                  <a:gd name="connsiteX116" fmla="*/ 2474 w 3039"/>
                  <a:gd name="connsiteY116" fmla="*/ 0 h 1039"/>
                  <a:gd name="connsiteX117" fmla="*/ 2540 w 3039"/>
                  <a:gd name="connsiteY117" fmla="*/ 9 h 1039"/>
                  <a:gd name="connsiteX118" fmla="*/ 2600 w 3039"/>
                  <a:gd name="connsiteY118" fmla="*/ 23 h 1039"/>
                  <a:gd name="connsiteX119" fmla="*/ 2658 w 3039"/>
                  <a:gd name="connsiteY119" fmla="*/ 46 h 1039"/>
                  <a:gd name="connsiteX120" fmla="*/ 2711 w 3039"/>
                  <a:gd name="connsiteY120" fmla="*/ 77 h 1039"/>
                  <a:gd name="connsiteX121" fmla="*/ 2761 w 3039"/>
                  <a:gd name="connsiteY121" fmla="*/ 112 h 1039"/>
                  <a:gd name="connsiteX122" fmla="*/ 2806 w 3039"/>
                  <a:gd name="connsiteY122" fmla="*/ 154 h 1039"/>
                  <a:gd name="connsiteX123" fmla="*/ 2852 w 3039"/>
                  <a:gd name="connsiteY123" fmla="*/ 199 h 1039"/>
                  <a:gd name="connsiteX124" fmla="*/ 2893 w 3039"/>
                  <a:gd name="connsiteY124" fmla="*/ 247 h 1039"/>
                  <a:gd name="connsiteX125" fmla="*/ 2932 w 3039"/>
                  <a:gd name="connsiteY125" fmla="*/ 299 h 1039"/>
                  <a:gd name="connsiteX126" fmla="*/ 2969 w 3039"/>
                  <a:gd name="connsiteY126" fmla="*/ 353 h 1039"/>
                  <a:gd name="connsiteX127" fmla="*/ 3004 w 3039"/>
                  <a:gd name="connsiteY127" fmla="*/ 409 h 1039"/>
                  <a:gd name="connsiteX128" fmla="*/ 3039 w 3039"/>
                  <a:gd name="connsiteY128" fmla="*/ 463 h 1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</a:cxnLst>
                <a:rect l="l" t="t" r="r" b="b"/>
                <a:pathLst>
                  <a:path w="3039" h="1039">
                    <a:moveTo>
                      <a:pt x="3039" y="463"/>
                    </a:moveTo>
                    <a:cubicBezTo>
                      <a:pt x="3033" y="479"/>
                      <a:pt x="2983" y="508"/>
                      <a:pt x="2965" y="506"/>
                    </a:cubicBezTo>
                    <a:cubicBezTo>
                      <a:pt x="2947" y="504"/>
                      <a:pt x="2940" y="467"/>
                      <a:pt x="2928" y="448"/>
                    </a:cubicBezTo>
                    <a:cubicBezTo>
                      <a:pt x="2916" y="429"/>
                      <a:pt x="2903" y="411"/>
                      <a:pt x="2891" y="392"/>
                    </a:cubicBezTo>
                    <a:cubicBezTo>
                      <a:pt x="2879" y="374"/>
                      <a:pt x="2866" y="356"/>
                      <a:pt x="2854" y="338"/>
                    </a:cubicBezTo>
                    <a:cubicBezTo>
                      <a:pt x="2841" y="321"/>
                      <a:pt x="2827" y="305"/>
                      <a:pt x="2814" y="288"/>
                    </a:cubicBezTo>
                    <a:cubicBezTo>
                      <a:pt x="2800" y="273"/>
                      <a:pt x="2787" y="258"/>
                      <a:pt x="2773" y="243"/>
                    </a:cubicBezTo>
                    <a:cubicBezTo>
                      <a:pt x="2759" y="229"/>
                      <a:pt x="2746" y="215"/>
                      <a:pt x="2732" y="201"/>
                    </a:cubicBezTo>
                    <a:lnTo>
                      <a:pt x="2686" y="164"/>
                    </a:lnTo>
                    <a:lnTo>
                      <a:pt x="2639" y="135"/>
                    </a:lnTo>
                    <a:cubicBezTo>
                      <a:pt x="2622" y="127"/>
                      <a:pt x="2604" y="120"/>
                      <a:pt x="2587" y="112"/>
                    </a:cubicBezTo>
                    <a:cubicBezTo>
                      <a:pt x="2569" y="107"/>
                      <a:pt x="2550" y="101"/>
                      <a:pt x="2532" y="96"/>
                    </a:cubicBezTo>
                    <a:lnTo>
                      <a:pt x="2474" y="87"/>
                    </a:lnTo>
                    <a:cubicBezTo>
                      <a:pt x="2453" y="88"/>
                      <a:pt x="2431" y="88"/>
                      <a:pt x="2410" y="89"/>
                    </a:cubicBezTo>
                    <a:cubicBezTo>
                      <a:pt x="2387" y="93"/>
                      <a:pt x="2365" y="96"/>
                      <a:pt x="2342" y="100"/>
                    </a:cubicBezTo>
                    <a:lnTo>
                      <a:pt x="2280" y="118"/>
                    </a:lnTo>
                    <a:lnTo>
                      <a:pt x="2222" y="143"/>
                    </a:lnTo>
                    <a:lnTo>
                      <a:pt x="2168" y="176"/>
                    </a:lnTo>
                    <a:cubicBezTo>
                      <a:pt x="2151" y="189"/>
                      <a:pt x="2134" y="201"/>
                      <a:pt x="2117" y="214"/>
                    </a:cubicBezTo>
                    <a:lnTo>
                      <a:pt x="2071" y="257"/>
                    </a:lnTo>
                    <a:cubicBezTo>
                      <a:pt x="2056" y="272"/>
                      <a:pt x="2041" y="288"/>
                      <a:pt x="2026" y="303"/>
                    </a:cubicBezTo>
                    <a:cubicBezTo>
                      <a:pt x="2012" y="320"/>
                      <a:pt x="1998" y="338"/>
                      <a:pt x="1984" y="355"/>
                    </a:cubicBezTo>
                    <a:lnTo>
                      <a:pt x="1945" y="409"/>
                    </a:lnTo>
                    <a:cubicBezTo>
                      <a:pt x="1933" y="427"/>
                      <a:pt x="1920" y="445"/>
                      <a:pt x="1908" y="463"/>
                    </a:cubicBezTo>
                    <a:cubicBezTo>
                      <a:pt x="1896" y="482"/>
                      <a:pt x="1883" y="500"/>
                      <a:pt x="1871" y="519"/>
                    </a:cubicBezTo>
                    <a:cubicBezTo>
                      <a:pt x="1859" y="538"/>
                      <a:pt x="1846" y="558"/>
                      <a:pt x="1834" y="577"/>
                    </a:cubicBezTo>
                    <a:cubicBezTo>
                      <a:pt x="1822" y="596"/>
                      <a:pt x="1811" y="614"/>
                      <a:pt x="1799" y="633"/>
                    </a:cubicBezTo>
                    <a:cubicBezTo>
                      <a:pt x="1774" y="670"/>
                      <a:pt x="1749" y="708"/>
                      <a:pt x="1724" y="745"/>
                    </a:cubicBezTo>
                    <a:cubicBezTo>
                      <a:pt x="1711" y="762"/>
                      <a:pt x="1698" y="780"/>
                      <a:pt x="1685" y="797"/>
                    </a:cubicBezTo>
                    <a:cubicBezTo>
                      <a:pt x="1671" y="813"/>
                      <a:pt x="1658" y="830"/>
                      <a:pt x="1644" y="846"/>
                    </a:cubicBezTo>
                    <a:cubicBezTo>
                      <a:pt x="1629" y="861"/>
                      <a:pt x="1615" y="877"/>
                      <a:pt x="1600" y="892"/>
                    </a:cubicBezTo>
                    <a:lnTo>
                      <a:pt x="1553" y="933"/>
                    </a:lnTo>
                    <a:cubicBezTo>
                      <a:pt x="1536" y="945"/>
                      <a:pt x="1520" y="957"/>
                      <a:pt x="1503" y="969"/>
                    </a:cubicBezTo>
                    <a:lnTo>
                      <a:pt x="1450" y="998"/>
                    </a:lnTo>
                    <a:cubicBezTo>
                      <a:pt x="1431" y="1006"/>
                      <a:pt x="1413" y="1013"/>
                      <a:pt x="1394" y="1021"/>
                    </a:cubicBezTo>
                    <a:lnTo>
                      <a:pt x="1330" y="1033"/>
                    </a:lnTo>
                    <a:lnTo>
                      <a:pt x="1264" y="1039"/>
                    </a:lnTo>
                    <a:lnTo>
                      <a:pt x="1258" y="1039"/>
                    </a:lnTo>
                    <a:cubicBezTo>
                      <a:pt x="1235" y="1038"/>
                      <a:pt x="1213" y="1036"/>
                      <a:pt x="1190" y="1035"/>
                    </a:cubicBezTo>
                    <a:lnTo>
                      <a:pt x="1128" y="1023"/>
                    </a:lnTo>
                    <a:cubicBezTo>
                      <a:pt x="1109" y="1017"/>
                      <a:pt x="1089" y="1010"/>
                      <a:pt x="1070" y="1004"/>
                    </a:cubicBezTo>
                    <a:cubicBezTo>
                      <a:pt x="1053" y="996"/>
                      <a:pt x="1035" y="987"/>
                      <a:pt x="1018" y="979"/>
                    </a:cubicBezTo>
                    <a:cubicBezTo>
                      <a:pt x="1002" y="969"/>
                      <a:pt x="987" y="958"/>
                      <a:pt x="971" y="948"/>
                    </a:cubicBezTo>
                    <a:lnTo>
                      <a:pt x="925" y="911"/>
                    </a:lnTo>
                    <a:cubicBezTo>
                      <a:pt x="911" y="897"/>
                      <a:pt x="898" y="883"/>
                      <a:pt x="884" y="869"/>
                    </a:cubicBezTo>
                    <a:cubicBezTo>
                      <a:pt x="872" y="854"/>
                      <a:pt x="859" y="839"/>
                      <a:pt x="847" y="824"/>
                    </a:cubicBezTo>
                    <a:cubicBezTo>
                      <a:pt x="835" y="808"/>
                      <a:pt x="822" y="792"/>
                      <a:pt x="810" y="776"/>
                    </a:cubicBezTo>
                    <a:cubicBezTo>
                      <a:pt x="799" y="759"/>
                      <a:pt x="788" y="741"/>
                      <a:pt x="777" y="724"/>
                    </a:cubicBezTo>
                    <a:cubicBezTo>
                      <a:pt x="765" y="706"/>
                      <a:pt x="754" y="688"/>
                      <a:pt x="742" y="670"/>
                    </a:cubicBezTo>
                    <a:cubicBezTo>
                      <a:pt x="732" y="651"/>
                      <a:pt x="721" y="633"/>
                      <a:pt x="711" y="614"/>
                    </a:cubicBezTo>
                    <a:cubicBezTo>
                      <a:pt x="700" y="595"/>
                      <a:pt x="689" y="575"/>
                      <a:pt x="678" y="556"/>
                    </a:cubicBezTo>
                    <a:cubicBezTo>
                      <a:pt x="657" y="519"/>
                      <a:pt x="637" y="481"/>
                      <a:pt x="616" y="444"/>
                    </a:cubicBezTo>
                    <a:lnTo>
                      <a:pt x="547" y="336"/>
                    </a:lnTo>
                    <a:cubicBezTo>
                      <a:pt x="533" y="317"/>
                      <a:pt x="518" y="299"/>
                      <a:pt x="504" y="280"/>
                    </a:cubicBezTo>
                    <a:cubicBezTo>
                      <a:pt x="488" y="265"/>
                      <a:pt x="473" y="250"/>
                      <a:pt x="457" y="235"/>
                    </a:cubicBezTo>
                    <a:cubicBezTo>
                      <a:pt x="441" y="222"/>
                      <a:pt x="425" y="208"/>
                      <a:pt x="409" y="195"/>
                    </a:cubicBezTo>
                    <a:cubicBezTo>
                      <a:pt x="392" y="185"/>
                      <a:pt x="375" y="174"/>
                      <a:pt x="358" y="164"/>
                    </a:cubicBezTo>
                    <a:cubicBezTo>
                      <a:pt x="341" y="156"/>
                      <a:pt x="325" y="149"/>
                      <a:pt x="308" y="141"/>
                    </a:cubicBezTo>
                    <a:lnTo>
                      <a:pt x="256" y="123"/>
                    </a:lnTo>
                    <a:lnTo>
                      <a:pt x="209" y="108"/>
                    </a:lnTo>
                    <a:cubicBezTo>
                      <a:pt x="194" y="105"/>
                      <a:pt x="178" y="103"/>
                      <a:pt x="163" y="100"/>
                    </a:cubicBezTo>
                    <a:cubicBezTo>
                      <a:pt x="149" y="99"/>
                      <a:pt x="136" y="97"/>
                      <a:pt x="122" y="96"/>
                    </a:cubicBezTo>
                    <a:cubicBezTo>
                      <a:pt x="110" y="94"/>
                      <a:pt x="97" y="93"/>
                      <a:pt x="85" y="91"/>
                    </a:cubicBezTo>
                    <a:lnTo>
                      <a:pt x="31" y="91"/>
                    </a:lnTo>
                    <a:cubicBezTo>
                      <a:pt x="26" y="92"/>
                      <a:pt x="22" y="93"/>
                      <a:pt x="17" y="94"/>
                    </a:cubicBezTo>
                    <a:lnTo>
                      <a:pt x="11" y="94"/>
                    </a:lnTo>
                    <a:cubicBezTo>
                      <a:pt x="7" y="66"/>
                      <a:pt x="4" y="37"/>
                      <a:pt x="0" y="9"/>
                    </a:cubicBezTo>
                    <a:lnTo>
                      <a:pt x="9" y="9"/>
                    </a:lnTo>
                    <a:lnTo>
                      <a:pt x="29" y="6"/>
                    </a:lnTo>
                    <a:lnTo>
                      <a:pt x="91" y="6"/>
                    </a:lnTo>
                    <a:lnTo>
                      <a:pt x="135" y="9"/>
                    </a:lnTo>
                    <a:lnTo>
                      <a:pt x="182" y="15"/>
                    </a:lnTo>
                    <a:cubicBezTo>
                      <a:pt x="199" y="18"/>
                      <a:pt x="217" y="22"/>
                      <a:pt x="234" y="25"/>
                    </a:cubicBezTo>
                    <a:cubicBezTo>
                      <a:pt x="252" y="31"/>
                      <a:pt x="269" y="36"/>
                      <a:pt x="287" y="42"/>
                    </a:cubicBezTo>
                    <a:cubicBezTo>
                      <a:pt x="306" y="49"/>
                      <a:pt x="326" y="55"/>
                      <a:pt x="345" y="62"/>
                    </a:cubicBezTo>
                    <a:lnTo>
                      <a:pt x="403" y="89"/>
                    </a:lnTo>
                    <a:lnTo>
                      <a:pt x="459" y="127"/>
                    </a:lnTo>
                    <a:lnTo>
                      <a:pt x="514" y="170"/>
                    </a:lnTo>
                    <a:lnTo>
                      <a:pt x="568" y="224"/>
                    </a:lnTo>
                    <a:cubicBezTo>
                      <a:pt x="585" y="245"/>
                      <a:pt x="601" y="267"/>
                      <a:pt x="618" y="288"/>
                    </a:cubicBezTo>
                    <a:cubicBezTo>
                      <a:pt x="634" y="313"/>
                      <a:pt x="651" y="338"/>
                      <a:pt x="667" y="363"/>
                    </a:cubicBezTo>
                    <a:cubicBezTo>
                      <a:pt x="696" y="413"/>
                      <a:pt x="725" y="462"/>
                      <a:pt x="754" y="512"/>
                    </a:cubicBezTo>
                    <a:cubicBezTo>
                      <a:pt x="765" y="532"/>
                      <a:pt x="776" y="551"/>
                      <a:pt x="787" y="571"/>
                    </a:cubicBezTo>
                    <a:cubicBezTo>
                      <a:pt x="798" y="590"/>
                      <a:pt x="809" y="608"/>
                      <a:pt x="820" y="627"/>
                    </a:cubicBezTo>
                    <a:cubicBezTo>
                      <a:pt x="831" y="645"/>
                      <a:pt x="842" y="662"/>
                      <a:pt x="853" y="680"/>
                    </a:cubicBezTo>
                    <a:cubicBezTo>
                      <a:pt x="864" y="697"/>
                      <a:pt x="875" y="715"/>
                      <a:pt x="886" y="732"/>
                    </a:cubicBezTo>
                    <a:cubicBezTo>
                      <a:pt x="898" y="747"/>
                      <a:pt x="909" y="763"/>
                      <a:pt x="921" y="778"/>
                    </a:cubicBezTo>
                    <a:lnTo>
                      <a:pt x="958" y="821"/>
                    </a:lnTo>
                    <a:cubicBezTo>
                      <a:pt x="972" y="834"/>
                      <a:pt x="986" y="846"/>
                      <a:pt x="1000" y="859"/>
                    </a:cubicBezTo>
                    <a:lnTo>
                      <a:pt x="1043" y="890"/>
                    </a:lnTo>
                    <a:cubicBezTo>
                      <a:pt x="1059" y="899"/>
                      <a:pt x="1074" y="908"/>
                      <a:pt x="1090" y="917"/>
                    </a:cubicBezTo>
                    <a:lnTo>
                      <a:pt x="1140" y="935"/>
                    </a:lnTo>
                    <a:cubicBezTo>
                      <a:pt x="1159" y="939"/>
                      <a:pt x="1177" y="944"/>
                      <a:pt x="1196" y="948"/>
                    </a:cubicBezTo>
                    <a:cubicBezTo>
                      <a:pt x="1217" y="949"/>
                      <a:pt x="1237" y="951"/>
                      <a:pt x="1258" y="952"/>
                    </a:cubicBezTo>
                    <a:lnTo>
                      <a:pt x="1264" y="952"/>
                    </a:lnTo>
                    <a:lnTo>
                      <a:pt x="1324" y="946"/>
                    </a:lnTo>
                    <a:lnTo>
                      <a:pt x="1380" y="931"/>
                    </a:lnTo>
                    <a:cubicBezTo>
                      <a:pt x="1398" y="924"/>
                      <a:pt x="1415" y="916"/>
                      <a:pt x="1433" y="909"/>
                    </a:cubicBezTo>
                    <a:cubicBezTo>
                      <a:pt x="1449" y="899"/>
                      <a:pt x="1465" y="890"/>
                      <a:pt x="1481" y="880"/>
                    </a:cubicBezTo>
                    <a:cubicBezTo>
                      <a:pt x="1496" y="867"/>
                      <a:pt x="1511" y="855"/>
                      <a:pt x="1526" y="842"/>
                    </a:cubicBezTo>
                    <a:lnTo>
                      <a:pt x="1569" y="799"/>
                    </a:lnTo>
                    <a:cubicBezTo>
                      <a:pt x="1582" y="783"/>
                      <a:pt x="1596" y="767"/>
                      <a:pt x="1609" y="751"/>
                    </a:cubicBezTo>
                    <a:cubicBezTo>
                      <a:pt x="1622" y="734"/>
                      <a:pt x="1635" y="716"/>
                      <a:pt x="1648" y="699"/>
                    </a:cubicBezTo>
                    <a:lnTo>
                      <a:pt x="1687" y="645"/>
                    </a:lnTo>
                    <a:cubicBezTo>
                      <a:pt x="1724" y="587"/>
                      <a:pt x="1762" y="529"/>
                      <a:pt x="1799" y="471"/>
                    </a:cubicBezTo>
                    <a:lnTo>
                      <a:pt x="1838" y="411"/>
                    </a:lnTo>
                    <a:cubicBezTo>
                      <a:pt x="1852" y="392"/>
                      <a:pt x="1865" y="372"/>
                      <a:pt x="1879" y="353"/>
                    </a:cubicBezTo>
                    <a:cubicBezTo>
                      <a:pt x="1894" y="334"/>
                      <a:pt x="1908" y="314"/>
                      <a:pt x="1923" y="295"/>
                    </a:cubicBezTo>
                    <a:lnTo>
                      <a:pt x="1968" y="241"/>
                    </a:lnTo>
                    <a:cubicBezTo>
                      <a:pt x="1984" y="224"/>
                      <a:pt x="1999" y="206"/>
                      <a:pt x="2015" y="189"/>
                    </a:cubicBezTo>
                    <a:lnTo>
                      <a:pt x="2069" y="141"/>
                    </a:lnTo>
                    <a:lnTo>
                      <a:pt x="2125" y="100"/>
                    </a:lnTo>
                    <a:lnTo>
                      <a:pt x="2187" y="65"/>
                    </a:lnTo>
                    <a:lnTo>
                      <a:pt x="2253" y="35"/>
                    </a:lnTo>
                    <a:cubicBezTo>
                      <a:pt x="2277" y="28"/>
                      <a:pt x="2301" y="22"/>
                      <a:pt x="2325" y="15"/>
                    </a:cubicBezTo>
                    <a:cubicBezTo>
                      <a:pt x="2351" y="11"/>
                      <a:pt x="2378" y="6"/>
                      <a:pt x="2404" y="2"/>
                    </a:cubicBezTo>
                    <a:cubicBezTo>
                      <a:pt x="2427" y="1"/>
                      <a:pt x="2451" y="1"/>
                      <a:pt x="2474" y="0"/>
                    </a:cubicBezTo>
                    <a:lnTo>
                      <a:pt x="2540" y="9"/>
                    </a:lnTo>
                    <a:cubicBezTo>
                      <a:pt x="2560" y="14"/>
                      <a:pt x="2580" y="18"/>
                      <a:pt x="2600" y="23"/>
                    </a:cubicBezTo>
                    <a:cubicBezTo>
                      <a:pt x="2619" y="31"/>
                      <a:pt x="2639" y="38"/>
                      <a:pt x="2658" y="46"/>
                    </a:cubicBezTo>
                    <a:cubicBezTo>
                      <a:pt x="2676" y="56"/>
                      <a:pt x="2693" y="67"/>
                      <a:pt x="2711" y="77"/>
                    </a:cubicBezTo>
                    <a:lnTo>
                      <a:pt x="2761" y="112"/>
                    </a:lnTo>
                    <a:lnTo>
                      <a:pt x="2806" y="154"/>
                    </a:lnTo>
                    <a:cubicBezTo>
                      <a:pt x="2821" y="169"/>
                      <a:pt x="2837" y="184"/>
                      <a:pt x="2852" y="199"/>
                    </a:cubicBezTo>
                    <a:cubicBezTo>
                      <a:pt x="2866" y="215"/>
                      <a:pt x="2879" y="231"/>
                      <a:pt x="2893" y="247"/>
                    </a:cubicBezTo>
                    <a:cubicBezTo>
                      <a:pt x="2906" y="264"/>
                      <a:pt x="2919" y="282"/>
                      <a:pt x="2932" y="299"/>
                    </a:cubicBezTo>
                    <a:cubicBezTo>
                      <a:pt x="2944" y="317"/>
                      <a:pt x="2957" y="335"/>
                      <a:pt x="2969" y="353"/>
                    </a:cubicBezTo>
                    <a:cubicBezTo>
                      <a:pt x="2981" y="372"/>
                      <a:pt x="2992" y="390"/>
                      <a:pt x="3004" y="409"/>
                    </a:cubicBezTo>
                    <a:cubicBezTo>
                      <a:pt x="3016" y="427"/>
                      <a:pt x="3027" y="445"/>
                      <a:pt x="3039" y="463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42" name="Group 11"/>
            <p:cNvGrpSpPr/>
            <p:nvPr/>
          </p:nvGrpSpPr>
          <p:grpSpPr>
            <a:xfrm rot="11678618" flipH="1" flipV="1">
              <a:off x="2183925" y="2983046"/>
              <a:ext cx="165414" cy="1654138"/>
              <a:chOff x="5103812" y="1828800"/>
              <a:chExt cx="152400" cy="1524000"/>
            </a:xfrm>
          </p:grpSpPr>
          <p:sp>
            <p:nvSpPr>
              <p:cNvPr id="81" name="Rounded Rectangle 9"/>
              <p:cNvSpPr/>
              <p:nvPr/>
            </p:nvSpPr>
            <p:spPr>
              <a:xfrm>
                <a:off x="5103812" y="1828800"/>
                <a:ext cx="152400" cy="762000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2" name="Rounded Rectangle 10"/>
              <p:cNvSpPr/>
              <p:nvPr/>
            </p:nvSpPr>
            <p:spPr>
              <a:xfrm>
                <a:off x="5103812" y="2590800"/>
                <a:ext cx="152400" cy="762000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3" name="Group 16"/>
            <p:cNvGrpSpPr/>
            <p:nvPr/>
          </p:nvGrpSpPr>
          <p:grpSpPr>
            <a:xfrm rot="10156384" flipH="1" flipV="1">
              <a:off x="2660415" y="3106415"/>
              <a:ext cx="337844" cy="1812277"/>
              <a:chOff x="2599068" y="2899079"/>
              <a:chExt cx="227643" cy="1221133"/>
            </a:xfrm>
          </p:grpSpPr>
          <p:sp>
            <p:nvSpPr>
              <p:cNvPr id="66" name="Rounded Rectangle 13"/>
              <p:cNvSpPr/>
              <p:nvPr/>
            </p:nvSpPr>
            <p:spPr>
              <a:xfrm rot="728257">
                <a:off x="2728605" y="2899079"/>
                <a:ext cx="98106" cy="611532"/>
              </a:xfrm>
              <a:prstGeom prst="roundRect">
                <a:avLst>
                  <a:gd name="adj" fmla="val 50000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6" name="Rounded Rectangle 15"/>
              <p:cNvSpPr/>
              <p:nvPr/>
            </p:nvSpPr>
            <p:spPr>
              <a:xfrm rot="728257">
                <a:off x="2599068" y="3508680"/>
                <a:ext cx="98106" cy="611532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4" name="Group 17"/>
            <p:cNvGrpSpPr/>
            <p:nvPr/>
          </p:nvGrpSpPr>
          <p:grpSpPr>
            <a:xfrm rot="9836276" flipH="1" flipV="1">
              <a:off x="3349575" y="3203935"/>
              <a:ext cx="127888" cy="1278883"/>
              <a:chOff x="5103812" y="1828800"/>
              <a:chExt cx="152400" cy="1524000"/>
            </a:xfrm>
          </p:grpSpPr>
          <p:sp>
            <p:nvSpPr>
              <p:cNvPr id="64" name="Rounded Rectangle 18"/>
              <p:cNvSpPr/>
              <p:nvPr/>
            </p:nvSpPr>
            <p:spPr>
              <a:xfrm>
                <a:off x="5103812" y="1828800"/>
                <a:ext cx="152400" cy="762000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5" name="Rounded Rectangle 19"/>
              <p:cNvSpPr/>
              <p:nvPr/>
            </p:nvSpPr>
            <p:spPr>
              <a:xfrm>
                <a:off x="5103812" y="2590800"/>
                <a:ext cx="152400" cy="762000"/>
              </a:xfrm>
              <a:prstGeom prst="roundRect">
                <a:avLst>
                  <a:gd name="adj" fmla="val 50000"/>
                </a:avLst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5" name="Group 20"/>
            <p:cNvGrpSpPr/>
            <p:nvPr/>
          </p:nvGrpSpPr>
          <p:grpSpPr>
            <a:xfrm rot="10569479" flipH="1" flipV="1">
              <a:off x="4472781" y="3036730"/>
              <a:ext cx="146152" cy="1278881"/>
              <a:chOff x="5103811" y="1828799"/>
              <a:chExt cx="174165" cy="1523998"/>
            </a:xfrm>
          </p:grpSpPr>
          <p:sp>
            <p:nvSpPr>
              <p:cNvPr id="62" name="Rounded Rectangle 21"/>
              <p:cNvSpPr/>
              <p:nvPr/>
            </p:nvSpPr>
            <p:spPr>
              <a:xfrm>
                <a:off x="5103811" y="1828799"/>
                <a:ext cx="174157" cy="762000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3" name="Rounded Rectangle 22"/>
              <p:cNvSpPr/>
              <p:nvPr/>
            </p:nvSpPr>
            <p:spPr>
              <a:xfrm>
                <a:off x="5103819" y="2590797"/>
                <a:ext cx="174157" cy="762000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6" name="Group 23"/>
            <p:cNvGrpSpPr/>
            <p:nvPr/>
          </p:nvGrpSpPr>
          <p:grpSpPr>
            <a:xfrm rot="8682683" flipH="1" flipV="1">
              <a:off x="4947149" y="2714125"/>
              <a:ext cx="325139" cy="1633103"/>
              <a:chOff x="2599070" y="2895117"/>
              <a:chExt cx="219082" cy="1225095"/>
            </a:xfrm>
          </p:grpSpPr>
          <p:sp>
            <p:nvSpPr>
              <p:cNvPr id="60" name="Rounded Rectangle 24"/>
              <p:cNvSpPr/>
              <p:nvPr/>
            </p:nvSpPr>
            <p:spPr>
              <a:xfrm rot="728257">
                <a:off x="2720046" y="2895117"/>
                <a:ext cx="98106" cy="611531"/>
              </a:xfrm>
              <a:prstGeom prst="roundRect">
                <a:avLst>
                  <a:gd name="adj" fmla="val 50000"/>
                </a:avLst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1" name="Rounded Rectangle 25"/>
              <p:cNvSpPr/>
              <p:nvPr/>
            </p:nvSpPr>
            <p:spPr>
              <a:xfrm rot="728257">
                <a:off x="2599070" y="3508680"/>
                <a:ext cx="98106" cy="611532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8" name="Group 26"/>
            <p:cNvGrpSpPr/>
            <p:nvPr/>
          </p:nvGrpSpPr>
          <p:grpSpPr>
            <a:xfrm rot="8257326" flipH="1" flipV="1">
              <a:off x="5497091" y="2422086"/>
              <a:ext cx="143412" cy="1241688"/>
              <a:chOff x="5080194" y="1828799"/>
              <a:chExt cx="176019" cy="1524000"/>
            </a:xfrm>
          </p:grpSpPr>
          <p:sp>
            <p:nvSpPr>
              <p:cNvPr id="58" name="Rounded Rectangle 27"/>
              <p:cNvSpPr/>
              <p:nvPr/>
            </p:nvSpPr>
            <p:spPr>
              <a:xfrm>
                <a:off x="5080200" y="1828799"/>
                <a:ext cx="176013" cy="762001"/>
              </a:xfrm>
              <a:prstGeom prst="roundRect">
                <a:avLst>
                  <a:gd name="adj" fmla="val 50000"/>
                </a:avLst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9" name="Rounded Rectangle 28"/>
              <p:cNvSpPr/>
              <p:nvPr/>
            </p:nvSpPr>
            <p:spPr>
              <a:xfrm>
                <a:off x="5080194" y="2590798"/>
                <a:ext cx="176013" cy="762001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9" name="Group 29"/>
            <p:cNvGrpSpPr/>
            <p:nvPr/>
          </p:nvGrpSpPr>
          <p:grpSpPr>
            <a:xfrm rot="11678618" flipH="1" flipV="1">
              <a:off x="7155235" y="2080152"/>
              <a:ext cx="148648" cy="1350580"/>
              <a:chOff x="5103812" y="1828800"/>
              <a:chExt cx="152400" cy="1524000"/>
            </a:xfrm>
          </p:grpSpPr>
          <p:sp>
            <p:nvSpPr>
              <p:cNvPr id="56" name="Rounded Rectangle 30"/>
              <p:cNvSpPr/>
              <p:nvPr/>
            </p:nvSpPr>
            <p:spPr>
              <a:xfrm>
                <a:off x="5103812" y="1828800"/>
                <a:ext cx="152400" cy="762000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7" name="Rounded Rectangle 31"/>
              <p:cNvSpPr/>
              <p:nvPr/>
            </p:nvSpPr>
            <p:spPr>
              <a:xfrm>
                <a:off x="5103812" y="2590800"/>
                <a:ext cx="152400" cy="762000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0" name="Group 32"/>
            <p:cNvGrpSpPr/>
            <p:nvPr/>
          </p:nvGrpSpPr>
          <p:grpSpPr>
            <a:xfrm rot="10156384" flipH="1" flipV="1">
              <a:off x="7582459" y="2134096"/>
              <a:ext cx="337844" cy="1812277"/>
              <a:chOff x="2599068" y="2899079"/>
              <a:chExt cx="227643" cy="1221133"/>
            </a:xfrm>
          </p:grpSpPr>
          <p:sp>
            <p:nvSpPr>
              <p:cNvPr id="54" name="Rounded Rectangle 33"/>
              <p:cNvSpPr/>
              <p:nvPr/>
            </p:nvSpPr>
            <p:spPr>
              <a:xfrm rot="728257">
                <a:off x="2728605" y="2899079"/>
                <a:ext cx="98106" cy="611532"/>
              </a:xfrm>
              <a:prstGeom prst="roundRect">
                <a:avLst>
                  <a:gd name="adj" fmla="val 50000"/>
                </a:avLst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" name="Rounded Rectangle 34"/>
              <p:cNvSpPr/>
              <p:nvPr/>
            </p:nvSpPr>
            <p:spPr>
              <a:xfrm rot="728257">
                <a:off x="2599068" y="3508680"/>
                <a:ext cx="98106" cy="611532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1" name="Group 35"/>
            <p:cNvGrpSpPr/>
            <p:nvPr/>
          </p:nvGrpSpPr>
          <p:grpSpPr>
            <a:xfrm rot="9836276" flipH="1" flipV="1">
              <a:off x="8271619" y="2231616"/>
              <a:ext cx="127888" cy="1278883"/>
              <a:chOff x="5103812" y="1828800"/>
              <a:chExt cx="152400" cy="1524000"/>
            </a:xfrm>
          </p:grpSpPr>
          <p:sp>
            <p:nvSpPr>
              <p:cNvPr id="52" name="Rounded Rectangle 36"/>
              <p:cNvSpPr/>
              <p:nvPr/>
            </p:nvSpPr>
            <p:spPr>
              <a:xfrm>
                <a:off x="5103812" y="1828800"/>
                <a:ext cx="152400" cy="762000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3" name="Rounded Rectangle 37"/>
              <p:cNvSpPr/>
              <p:nvPr/>
            </p:nvSpPr>
            <p:spPr>
              <a:xfrm>
                <a:off x="5103812" y="2590800"/>
                <a:ext cx="152400" cy="762000"/>
              </a:xfrm>
              <a:prstGeom prst="roundRect">
                <a:avLst>
                  <a:gd name="adj" fmla="val 50000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85" name="Subtitle 6">
            <a:extLst>
              <a:ext uri="{FF2B5EF4-FFF2-40B4-BE49-F238E27FC236}">
                <a16:creationId xmlns:a16="http://schemas.microsoft.com/office/drawing/2014/main" id="{01652DA0-0010-4802-B090-90F161F3C1DE}"/>
              </a:ext>
            </a:extLst>
          </p:cNvPr>
          <p:cNvSpPr txBox="1">
            <a:spLocks/>
          </p:cNvSpPr>
          <p:nvPr/>
        </p:nvSpPr>
        <p:spPr>
          <a:xfrm>
            <a:off x="457200" y="1483265"/>
            <a:ext cx="2916804" cy="364409"/>
          </a:xfrm>
          <a:prstGeom prst="rect">
            <a:avLst/>
          </a:prstGeom>
        </p:spPr>
        <p:txBody>
          <a:bodyPr vert="horz" lIns="91440" tIns="45720" rIns="91440" bIns="45720" numCol="1" spcCol="36576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200" b="0" i="0" kern="1200">
                <a:solidFill>
                  <a:schemeClr val="accent1"/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300"/>
              </a:lnSpc>
              <a:spcBef>
                <a:spcPts val="0"/>
              </a:spcBef>
            </a:pPr>
            <a:r>
              <a:rPr lang="en-US" sz="2000" b="1" dirty="0" smtClean="0">
                <a:solidFill>
                  <a:srgbClr val="8246AF"/>
                </a:solidFill>
                <a:latin typeface="+mn-lt"/>
                <a:cs typeface="Times New Roman" panose="02020603050405020304" pitchFamily="18" charset="0"/>
              </a:rPr>
              <a:t>Analytics</a:t>
            </a:r>
            <a:endParaRPr lang="en-US" sz="2000" b="1" dirty="0">
              <a:solidFill>
                <a:srgbClr val="8246AF"/>
              </a:solidFill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86" name="Subtitle 6">
            <a:extLst>
              <a:ext uri="{FF2B5EF4-FFF2-40B4-BE49-F238E27FC236}">
                <a16:creationId xmlns:a16="http://schemas.microsoft.com/office/drawing/2014/main" id="{B2F1608A-BA72-4CE6-B3B9-C1928DDFF001}"/>
              </a:ext>
            </a:extLst>
          </p:cNvPr>
          <p:cNvSpPr txBox="1">
            <a:spLocks/>
          </p:cNvSpPr>
          <p:nvPr/>
        </p:nvSpPr>
        <p:spPr>
          <a:xfrm>
            <a:off x="375500" y="1852320"/>
            <a:ext cx="3176208" cy="758738"/>
          </a:xfrm>
          <a:prstGeom prst="rect">
            <a:avLst/>
          </a:prstGeom>
        </p:spPr>
        <p:txBody>
          <a:bodyPr vert="horz" lIns="91440" tIns="45720" rIns="91440" bIns="45720" numCol="1" spcCol="36576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200" b="0" i="0" kern="1200">
                <a:solidFill>
                  <a:schemeClr val="accent1"/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800"/>
              </a:lnSpc>
              <a:spcBef>
                <a:spcPts val="0"/>
              </a:spcBef>
            </a:pPr>
            <a:r>
              <a:rPr lang="en-US" dirty="0" err="1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Utilizando</a:t>
            </a:r>
            <a:r>
              <a:rPr lang="en-US" dirty="0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 </a:t>
            </a:r>
            <a:r>
              <a:rPr lang="en-US" dirty="0" err="1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los</a:t>
            </a:r>
            <a:r>
              <a:rPr lang="en-US" dirty="0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 </a:t>
            </a:r>
            <a:r>
              <a:rPr lang="en-US" dirty="0" err="1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datos</a:t>
            </a:r>
            <a:r>
              <a:rPr lang="en-US" dirty="0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 de </a:t>
            </a:r>
            <a:r>
              <a:rPr lang="en-US" dirty="0" err="1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manera</a:t>
            </a:r>
            <a:r>
              <a:rPr lang="en-US" dirty="0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 </a:t>
            </a:r>
            <a:r>
              <a:rPr lang="en-US" dirty="0" err="1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estratégica</a:t>
            </a:r>
            <a:r>
              <a:rPr lang="en-US" dirty="0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 para </a:t>
            </a:r>
            <a:r>
              <a:rPr lang="en-US" dirty="0" err="1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generar</a:t>
            </a:r>
            <a:r>
              <a:rPr lang="en-US" dirty="0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 la </a:t>
            </a:r>
            <a:r>
              <a:rPr lang="en-US" dirty="0" err="1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oferta</a:t>
            </a:r>
            <a:r>
              <a:rPr lang="en-US" dirty="0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 </a:t>
            </a:r>
            <a:r>
              <a:rPr lang="en-US" dirty="0" err="1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correcta</a:t>
            </a:r>
            <a:r>
              <a:rPr lang="en-US" dirty="0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, al </a:t>
            </a:r>
            <a:r>
              <a:rPr lang="en-US" dirty="0" err="1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cliente</a:t>
            </a:r>
            <a:r>
              <a:rPr lang="en-US" dirty="0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 </a:t>
            </a:r>
            <a:r>
              <a:rPr lang="en-US" dirty="0" err="1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correcto</a:t>
            </a:r>
            <a:r>
              <a:rPr lang="en-US" dirty="0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, en el </a:t>
            </a:r>
            <a:r>
              <a:rPr lang="en-US" dirty="0" err="1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momento</a:t>
            </a:r>
            <a:r>
              <a:rPr lang="en-US" dirty="0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 </a:t>
            </a:r>
            <a:r>
              <a:rPr lang="en-US" dirty="0" err="1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correcto</a:t>
            </a:r>
            <a:endParaRPr lang="en-US" dirty="0">
              <a:solidFill>
                <a:schemeClr val="tx1"/>
              </a:solidFill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87" name="Subtitle 6">
            <a:extLst>
              <a:ext uri="{FF2B5EF4-FFF2-40B4-BE49-F238E27FC236}">
                <a16:creationId xmlns:a16="http://schemas.microsoft.com/office/drawing/2014/main" id="{43C4E5A6-71A5-46C2-920D-20063151B864}"/>
              </a:ext>
            </a:extLst>
          </p:cNvPr>
          <p:cNvSpPr txBox="1">
            <a:spLocks/>
          </p:cNvSpPr>
          <p:nvPr/>
        </p:nvSpPr>
        <p:spPr>
          <a:xfrm>
            <a:off x="4532515" y="3895195"/>
            <a:ext cx="2916804" cy="364409"/>
          </a:xfrm>
          <a:prstGeom prst="rect">
            <a:avLst/>
          </a:prstGeom>
        </p:spPr>
        <p:txBody>
          <a:bodyPr vert="horz" lIns="91440" tIns="45720" rIns="91440" bIns="45720" numCol="1" spcCol="36576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200" b="0" i="0" kern="1200">
                <a:solidFill>
                  <a:schemeClr val="accent1"/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300"/>
              </a:lnSpc>
              <a:spcBef>
                <a:spcPts val="0"/>
              </a:spcBef>
            </a:pPr>
            <a:r>
              <a:rPr lang="en-US" sz="2000" b="1" dirty="0" smtClean="0">
                <a:solidFill>
                  <a:schemeClr val="accent2"/>
                </a:solidFill>
                <a:latin typeface="+mn-lt"/>
                <a:cs typeface="Times New Roman" panose="02020603050405020304" pitchFamily="18" charset="0"/>
              </a:rPr>
              <a:t>Customer Experience</a:t>
            </a:r>
            <a:endParaRPr lang="en-US" sz="2000" b="1" dirty="0">
              <a:solidFill>
                <a:schemeClr val="accent2"/>
              </a:solidFill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88" name="Subtitle 6">
            <a:extLst>
              <a:ext uri="{FF2B5EF4-FFF2-40B4-BE49-F238E27FC236}">
                <a16:creationId xmlns:a16="http://schemas.microsoft.com/office/drawing/2014/main" id="{14EB6E5E-7A8B-4B95-A515-CD8F63FE8209}"/>
              </a:ext>
            </a:extLst>
          </p:cNvPr>
          <p:cNvSpPr txBox="1">
            <a:spLocks/>
          </p:cNvSpPr>
          <p:nvPr/>
        </p:nvSpPr>
        <p:spPr>
          <a:xfrm>
            <a:off x="4467155" y="4281065"/>
            <a:ext cx="3010200" cy="979569"/>
          </a:xfrm>
          <a:prstGeom prst="rect">
            <a:avLst/>
          </a:prstGeom>
        </p:spPr>
        <p:txBody>
          <a:bodyPr vert="horz" lIns="91440" tIns="45720" rIns="91440" bIns="45720" numCol="1" spcCol="36576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200" b="0" i="0" kern="1200">
                <a:solidFill>
                  <a:schemeClr val="accent1"/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800"/>
              </a:lnSpc>
              <a:spcBef>
                <a:spcPts val="0"/>
              </a:spcBef>
            </a:pPr>
            <a:r>
              <a:rPr lang="en-US" dirty="0" err="1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Diseñando</a:t>
            </a:r>
            <a:r>
              <a:rPr lang="en-US" dirty="0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 </a:t>
            </a:r>
            <a:r>
              <a:rPr lang="en-US" dirty="0" err="1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una</a:t>
            </a:r>
            <a:r>
              <a:rPr lang="en-US" dirty="0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 </a:t>
            </a:r>
            <a:r>
              <a:rPr lang="en-US" dirty="0" err="1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estrategia</a:t>
            </a:r>
            <a:r>
              <a:rPr lang="en-US" dirty="0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 de </a:t>
            </a:r>
            <a:r>
              <a:rPr lang="en-US" dirty="0" err="1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relacionamiento</a:t>
            </a:r>
            <a:r>
              <a:rPr lang="en-US" dirty="0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 </a:t>
            </a:r>
            <a:r>
              <a:rPr lang="en-US" dirty="0" err="1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atractiva</a:t>
            </a:r>
            <a:r>
              <a:rPr lang="en-US" dirty="0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, con </a:t>
            </a:r>
            <a:r>
              <a:rPr lang="en-US" dirty="0" err="1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menos</a:t>
            </a:r>
            <a:r>
              <a:rPr lang="en-US" dirty="0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 </a:t>
            </a:r>
            <a:r>
              <a:rPr lang="en-US" dirty="0" err="1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fricción</a:t>
            </a:r>
            <a:r>
              <a:rPr lang="en-US" dirty="0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, a </a:t>
            </a:r>
            <a:r>
              <a:rPr lang="en-US" dirty="0" err="1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través</a:t>
            </a:r>
            <a:r>
              <a:rPr lang="en-US" dirty="0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 de la </a:t>
            </a:r>
            <a:r>
              <a:rPr lang="en-US" dirty="0" err="1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ejecución</a:t>
            </a:r>
            <a:r>
              <a:rPr lang="en-US" dirty="0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 de </a:t>
            </a:r>
            <a:r>
              <a:rPr lang="en-US" dirty="0" err="1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metodologías</a:t>
            </a:r>
            <a:r>
              <a:rPr lang="en-US" dirty="0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 </a:t>
            </a:r>
            <a:r>
              <a:rPr lang="en-US" dirty="0" err="1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agiles</a:t>
            </a:r>
            <a:r>
              <a:rPr lang="en-US" dirty="0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 y </a:t>
            </a:r>
            <a:r>
              <a:rPr lang="en-US" dirty="0" err="1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costo</a:t>
            </a:r>
            <a:r>
              <a:rPr lang="en-US" dirty="0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 </a:t>
            </a:r>
            <a:r>
              <a:rPr lang="en-US" dirty="0" err="1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efectivas</a:t>
            </a:r>
            <a:endParaRPr lang="en-US" dirty="0">
              <a:solidFill>
                <a:schemeClr val="tx1"/>
              </a:solidFill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89" name="Subtitle 6">
            <a:extLst>
              <a:ext uri="{FF2B5EF4-FFF2-40B4-BE49-F238E27FC236}">
                <a16:creationId xmlns:a16="http://schemas.microsoft.com/office/drawing/2014/main" id="{43C4E5A6-71A5-46C2-920D-20063151B864}"/>
              </a:ext>
            </a:extLst>
          </p:cNvPr>
          <p:cNvSpPr txBox="1">
            <a:spLocks/>
          </p:cNvSpPr>
          <p:nvPr/>
        </p:nvSpPr>
        <p:spPr>
          <a:xfrm>
            <a:off x="8444953" y="2203708"/>
            <a:ext cx="2916804" cy="364409"/>
          </a:xfrm>
          <a:prstGeom prst="rect">
            <a:avLst/>
          </a:prstGeom>
        </p:spPr>
        <p:txBody>
          <a:bodyPr vert="horz" lIns="91440" tIns="45720" rIns="91440" bIns="45720" numCol="1" spcCol="36576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200" b="0" i="0" kern="1200">
                <a:solidFill>
                  <a:schemeClr val="accent1"/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300"/>
              </a:lnSpc>
              <a:spcBef>
                <a:spcPts val="0"/>
              </a:spcBef>
            </a:pPr>
            <a:r>
              <a:rPr lang="en-US" sz="2000" b="1" dirty="0" err="1" smtClean="0">
                <a:solidFill>
                  <a:srgbClr val="00B050"/>
                </a:solidFill>
                <a:latin typeface="+mn-lt"/>
                <a:cs typeface="Times New Roman" panose="02020603050405020304" pitchFamily="18" charset="0"/>
              </a:rPr>
              <a:t>Automatización</a:t>
            </a:r>
            <a:endParaRPr lang="en-US" sz="2000" b="1" dirty="0">
              <a:solidFill>
                <a:srgbClr val="00B050"/>
              </a:solidFill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97" name="Subtitle 6">
            <a:extLst>
              <a:ext uri="{FF2B5EF4-FFF2-40B4-BE49-F238E27FC236}">
                <a16:creationId xmlns:a16="http://schemas.microsoft.com/office/drawing/2014/main" id="{14EB6E5E-7A8B-4B95-A515-CD8F63FE8209}"/>
              </a:ext>
            </a:extLst>
          </p:cNvPr>
          <p:cNvSpPr txBox="1">
            <a:spLocks/>
          </p:cNvSpPr>
          <p:nvPr/>
        </p:nvSpPr>
        <p:spPr>
          <a:xfrm>
            <a:off x="8401406" y="2606269"/>
            <a:ext cx="3010200" cy="979569"/>
          </a:xfrm>
          <a:prstGeom prst="rect">
            <a:avLst/>
          </a:prstGeom>
        </p:spPr>
        <p:txBody>
          <a:bodyPr vert="horz" lIns="91440" tIns="45720" rIns="91440" bIns="45720" numCol="1" spcCol="36576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200" b="0" i="0" kern="1200">
                <a:solidFill>
                  <a:schemeClr val="accent1"/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800"/>
              </a:lnSpc>
              <a:spcBef>
                <a:spcPts val="0"/>
              </a:spcBef>
            </a:pPr>
            <a:r>
              <a:rPr lang="en-US" dirty="0" err="1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Adaptando</a:t>
            </a:r>
            <a:r>
              <a:rPr lang="en-US" dirty="0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 las </a:t>
            </a:r>
            <a:r>
              <a:rPr lang="en-US" dirty="0" err="1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ofertas</a:t>
            </a:r>
            <a:r>
              <a:rPr lang="en-US" dirty="0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 en </a:t>
            </a:r>
            <a:r>
              <a:rPr lang="en-US" dirty="0" err="1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tiempo</a:t>
            </a:r>
            <a:r>
              <a:rPr lang="en-US" dirty="0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 real </a:t>
            </a:r>
            <a:r>
              <a:rPr lang="en-US" dirty="0" err="1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sobre</a:t>
            </a:r>
            <a:r>
              <a:rPr lang="en-US" dirty="0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 el </a:t>
            </a:r>
            <a:r>
              <a:rPr lang="en-US" dirty="0" err="1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ciclo</a:t>
            </a:r>
            <a:r>
              <a:rPr lang="en-US" dirty="0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 de </a:t>
            </a:r>
            <a:r>
              <a:rPr lang="en-US" dirty="0" err="1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transacción</a:t>
            </a:r>
            <a:r>
              <a:rPr lang="en-US" dirty="0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 del </a:t>
            </a:r>
            <a:r>
              <a:rPr lang="en-US" dirty="0" err="1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cliente</a:t>
            </a:r>
            <a:r>
              <a:rPr lang="en-US" dirty="0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 a </a:t>
            </a:r>
            <a:r>
              <a:rPr lang="en-US" dirty="0" err="1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partir</a:t>
            </a:r>
            <a:r>
              <a:rPr lang="en-US" dirty="0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 de </a:t>
            </a:r>
            <a:r>
              <a:rPr lang="en-US" dirty="0" err="1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modelos</a:t>
            </a:r>
            <a:r>
              <a:rPr lang="en-US" dirty="0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 auto </a:t>
            </a:r>
            <a:r>
              <a:rPr lang="en-US" dirty="0" err="1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educados</a:t>
            </a:r>
            <a:r>
              <a:rPr lang="en-US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47" name="Rectangle 46"/>
          <p:cNvSpPr/>
          <p:nvPr/>
        </p:nvSpPr>
        <p:spPr>
          <a:xfrm>
            <a:off x="1587" y="5645029"/>
            <a:ext cx="12192000" cy="605479"/>
          </a:xfrm>
          <a:prstGeom prst="rect">
            <a:avLst/>
          </a:prstGeom>
          <a:solidFill>
            <a:srgbClr val="002C7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Los datos y la experiencia son las claves p</a:t>
            </a:r>
            <a:r>
              <a:rPr lang="es-ES" dirty="0" smtClean="0"/>
              <a:t>ara </a:t>
            </a:r>
            <a:r>
              <a:rPr lang="es-ES" dirty="0"/>
              <a:t>resolver los desafíos estratégicos del modelo de negocio </a:t>
            </a:r>
          </a:p>
        </p:txBody>
      </p:sp>
      <p:sp>
        <p:nvSpPr>
          <p:cNvPr id="3" name="Rectangle 2"/>
          <p:cNvSpPr/>
          <p:nvPr/>
        </p:nvSpPr>
        <p:spPr>
          <a:xfrm>
            <a:off x="4834677" y="1145247"/>
            <a:ext cx="242887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dirty="0">
                <a:solidFill>
                  <a:schemeClr val="accent1"/>
                </a:solidFill>
              </a:rPr>
              <a:t>Holística del Product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6160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s-ES" dirty="0"/>
              <a:t>Inflación</a:t>
            </a:r>
            <a:endParaRPr lang="es-ES" dirty="0" smtClean="0"/>
          </a:p>
          <a:p>
            <a:r>
              <a:rPr lang="es-ES" dirty="0"/>
              <a:t>Cambio Climático</a:t>
            </a:r>
          </a:p>
          <a:p>
            <a:r>
              <a:rPr lang="es-ES" dirty="0" smtClean="0"/>
              <a:t>Auge </a:t>
            </a:r>
            <a:r>
              <a:rPr lang="es-ES" dirty="0"/>
              <a:t>migratorio en México, Centroamérica y República Dominicana</a:t>
            </a:r>
            <a:r>
              <a:rPr lang="en-GB" dirty="0" smtClean="0"/>
              <a:t>: </a:t>
            </a:r>
            <a:r>
              <a:rPr lang="en-GB" dirty="0" err="1" smtClean="0"/>
              <a:t>Papel</a:t>
            </a:r>
            <a:r>
              <a:rPr lang="en-GB" dirty="0" smtClean="0"/>
              <a:t> de las </a:t>
            </a:r>
            <a:r>
              <a:rPr lang="en-GB" dirty="0" err="1" smtClean="0"/>
              <a:t>Cooperativas</a:t>
            </a:r>
            <a:endParaRPr lang="en-GB" dirty="0" smtClean="0"/>
          </a:p>
          <a:p>
            <a:r>
              <a:rPr lang="es-ES" dirty="0"/>
              <a:t>Aumento en Costo de Seguro y Reaseguro a consecuencia de Inflación y Cambio </a:t>
            </a:r>
            <a:r>
              <a:rPr lang="es-ES" dirty="0" smtClean="0"/>
              <a:t>Climático</a:t>
            </a:r>
          </a:p>
          <a:p>
            <a:r>
              <a:rPr lang="es-ES" dirty="0" smtClean="0"/>
              <a:t>Acceso </a:t>
            </a:r>
            <a:r>
              <a:rPr lang="es-ES" dirty="0"/>
              <a:t>a las Cooperativas de Ahorro y </a:t>
            </a:r>
            <a:r>
              <a:rPr lang="es-ES" dirty="0" smtClean="0"/>
              <a:t>Crédito</a:t>
            </a:r>
          </a:p>
          <a:p>
            <a:r>
              <a:rPr lang="en-GB" dirty="0" err="1" smtClean="0"/>
              <a:t>Seguro</a:t>
            </a:r>
            <a:r>
              <a:rPr lang="en-GB" dirty="0" smtClean="0"/>
              <a:t> </a:t>
            </a:r>
            <a:r>
              <a:rPr lang="en-GB" dirty="0" smtClean="0"/>
              <a:t>Agropecuario: Agrobusiness</a:t>
            </a: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smtClean="0"/>
              <a:t>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8492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281F043E-3098-E34B-A8D9-529381A1AF8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281F043E-3098-E34B-A8D9-529381A1AF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43E8DBD9-AF6E-C848-B661-3B4D98026541}"/>
              </a:ext>
            </a:extLst>
          </p:cNvPr>
          <p:cNvSpPr txBox="1"/>
          <p:nvPr/>
        </p:nvSpPr>
        <p:spPr>
          <a:xfrm>
            <a:off x="485777" y="2022728"/>
            <a:ext cx="3110047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8000" b="1" dirty="0" smtClean="0">
                <a:solidFill>
                  <a:schemeClr val="tx2"/>
                </a:solidFill>
              </a:rPr>
              <a:t>2-8%</a:t>
            </a:r>
            <a:endParaRPr lang="en-US" sz="8000" b="1" dirty="0">
              <a:solidFill>
                <a:schemeClr val="tx2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CC7C323-4104-5549-9342-691B4CE35734}"/>
              </a:ext>
            </a:extLst>
          </p:cNvPr>
          <p:cNvSpPr txBox="1"/>
          <p:nvPr/>
        </p:nvSpPr>
        <p:spPr>
          <a:xfrm>
            <a:off x="4253738" y="2022728"/>
            <a:ext cx="3215922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8000" b="1" dirty="0" smtClean="0">
                <a:solidFill>
                  <a:schemeClr val="tx2"/>
                </a:solidFill>
              </a:rPr>
              <a:t>3 min</a:t>
            </a:r>
            <a:endParaRPr lang="en-US" sz="8000" b="1" dirty="0">
              <a:solidFill>
                <a:schemeClr val="tx2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CC58683-2924-1943-9EB1-4FFB980498B1}"/>
              </a:ext>
            </a:extLst>
          </p:cNvPr>
          <p:cNvSpPr txBox="1"/>
          <p:nvPr/>
        </p:nvSpPr>
        <p:spPr>
          <a:xfrm>
            <a:off x="8127574" y="2029344"/>
            <a:ext cx="3283465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8000" b="1" dirty="0" smtClean="0">
                <a:solidFill>
                  <a:schemeClr val="tx2"/>
                </a:solidFill>
              </a:rPr>
              <a:t>70%</a:t>
            </a:r>
            <a:endParaRPr lang="en-US" sz="8000" b="1" dirty="0">
              <a:solidFill>
                <a:schemeClr val="tx2"/>
              </a:solidFill>
            </a:endParaRPr>
          </a:p>
        </p:txBody>
      </p:sp>
      <p:sp>
        <p:nvSpPr>
          <p:cNvPr id="27" name="Text Placeholder 26"/>
          <p:cNvSpPr>
            <a:spLocks noGrp="1"/>
          </p:cNvSpPr>
          <p:nvPr>
            <p:ph type="body" sz="half" idx="15"/>
          </p:nvPr>
        </p:nvSpPr>
        <p:spPr/>
        <p:txBody>
          <a:bodyPr/>
          <a:lstStyle/>
          <a:p>
            <a:r>
              <a:rPr lang="en-US" dirty="0" smtClean="0"/>
              <a:t>Mexican digital </a:t>
            </a:r>
            <a:r>
              <a:rPr lang="en-US" dirty="0" err="1" smtClean="0"/>
              <a:t>bancassurance</a:t>
            </a:r>
            <a:r>
              <a:rPr lang="en-US" dirty="0" smtClean="0"/>
              <a:t> market, 2021</a:t>
            </a:r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CEC33DCF-91B1-9242-B450-F68587CEF8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55601"/>
            <a:ext cx="11252199" cy="366695"/>
          </a:xfrm>
        </p:spPr>
        <p:txBody>
          <a:bodyPr vert="horz"/>
          <a:lstStyle/>
          <a:p>
            <a:r>
              <a:rPr lang="es-ES" dirty="0"/>
              <a:t>Acceso a las Cooperativas de Ahorro y </a:t>
            </a:r>
            <a:r>
              <a:rPr lang="es-ES" dirty="0" smtClean="0"/>
              <a:t>Crédito</a:t>
            </a:r>
            <a:r>
              <a:rPr lang="es-ES" dirty="0" smtClean="0"/>
              <a:t/>
            </a:r>
            <a:br>
              <a:rPr lang="es-ES" dirty="0" smtClean="0"/>
            </a:br>
            <a:endParaRPr lang="en-US" dirty="0"/>
          </a:p>
        </p:txBody>
      </p:sp>
      <p:sp>
        <p:nvSpPr>
          <p:cNvPr id="26" name="Text Placeholder 25"/>
          <p:cNvSpPr>
            <a:spLocks noGrp="1"/>
          </p:cNvSpPr>
          <p:nvPr>
            <p:ph type="body" sz="half" idx="2"/>
          </p:nvPr>
        </p:nvSpPr>
        <p:spPr>
          <a:xfrm>
            <a:off x="372565" y="739605"/>
            <a:ext cx="11223624" cy="318476"/>
          </a:xfrm>
        </p:spPr>
        <p:txBody>
          <a:bodyPr/>
          <a:lstStyle/>
          <a:p>
            <a:r>
              <a:rPr lang="en-US" dirty="0" smtClean="0"/>
              <a:t> </a:t>
            </a:r>
            <a:r>
              <a:rPr lang="en-US" dirty="0">
                <a:solidFill>
                  <a:srgbClr val="002060"/>
                </a:solidFill>
              </a:rPr>
              <a:t>Banca </a:t>
            </a:r>
            <a:r>
              <a:rPr lang="en-US" dirty="0" smtClean="0">
                <a:solidFill>
                  <a:srgbClr val="002060"/>
                </a:solidFill>
              </a:rPr>
              <a:t>Seguro / Fintechs </a:t>
            </a:r>
            <a:r>
              <a:rPr lang="en-US" dirty="0" err="1">
                <a:solidFill>
                  <a:srgbClr val="002060"/>
                </a:solidFill>
              </a:rPr>
              <a:t>en</a:t>
            </a:r>
            <a:r>
              <a:rPr lang="en-US" dirty="0">
                <a:solidFill>
                  <a:srgbClr val="002060"/>
                </a:solidFill>
              </a:rPr>
              <a:t> Digital</a:t>
            </a:r>
          </a:p>
          <a:p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28" name="Content Placeholder 8">
            <a:extLst>
              <a:ext uri="{FF2B5EF4-FFF2-40B4-BE49-F238E27FC236}">
                <a16:creationId xmlns:a16="http://schemas.microsoft.com/office/drawing/2014/main" id="{B8CF3181-4CFB-C749-AAA4-062773B2222F}"/>
              </a:ext>
            </a:extLst>
          </p:cNvPr>
          <p:cNvSpPr txBox="1">
            <a:spLocks/>
          </p:cNvSpPr>
          <p:nvPr/>
        </p:nvSpPr>
        <p:spPr>
          <a:xfrm>
            <a:off x="485777" y="3445126"/>
            <a:ext cx="3180532" cy="138636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spcBef>
                <a:spcPts val="0"/>
              </a:spcBef>
              <a:buFont typeface="Arial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5425" algn="l" defTabSz="4572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45720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4572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45720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6175" indent="-227013" algn="l" defTabSz="457200" rtl="0" eaLnBrk="1" latinLnBrk="0" hangingPunct="1">
              <a:spcBef>
                <a:spcPts val="0"/>
              </a:spcBef>
              <a:buFont typeface="Arial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4775" indent="-228600" algn="l" defTabSz="457200" rtl="0" eaLnBrk="1" latinLnBrk="0" hangingPunct="1">
              <a:spcBef>
                <a:spcPts val="0"/>
              </a:spcBef>
              <a:buFont typeface="System Font Regular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1788" indent="-227013" algn="l" defTabSz="457200" rtl="0" eaLnBrk="1" latinLnBrk="0" hangingPunct="1">
              <a:spcBef>
                <a:spcPts val="0"/>
              </a:spcBef>
              <a:buFont typeface="Arial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30388" indent="-219075" algn="l" defTabSz="457200" rtl="0" eaLnBrk="1" latinLnBrk="0" hangingPunct="1">
              <a:spcBef>
                <a:spcPts val="0"/>
              </a:spcBef>
              <a:buFont typeface="System Font Regular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</a:pPr>
            <a:r>
              <a:rPr lang="en-US" sz="2000" b="1" dirty="0" err="1" smtClean="0">
                <a:solidFill>
                  <a:srgbClr val="00AC41"/>
                </a:solidFill>
              </a:rPr>
              <a:t>Tasa</a:t>
            </a:r>
            <a:r>
              <a:rPr lang="en-US" sz="2000" b="1" dirty="0" smtClean="0">
                <a:solidFill>
                  <a:srgbClr val="00AC41"/>
                </a:solidFill>
              </a:rPr>
              <a:t> de </a:t>
            </a:r>
            <a:r>
              <a:rPr lang="en-US" sz="2000" b="1" dirty="0" err="1" smtClean="0">
                <a:solidFill>
                  <a:srgbClr val="00AC41"/>
                </a:solidFill>
              </a:rPr>
              <a:t>conversión</a:t>
            </a:r>
            <a:endParaRPr lang="en-US" sz="2000" b="1" dirty="0" smtClean="0">
              <a:solidFill>
                <a:srgbClr val="00AC41"/>
              </a:solidFill>
            </a:endParaRPr>
          </a:p>
          <a:p>
            <a:pPr algn="just">
              <a:spcAft>
                <a:spcPts val="600"/>
              </a:spcAft>
            </a:pPr>
            <a:r>
              <a:rPr lang="en-US" sz="1600" dirty="0" err="1" smtClean="0"/>
              <a:t>Tasa</a:t>
            </a:r>
            <a:r>
              <a:rPr lang="en-US" sz="1600" dirty="0" smtClean="0"/>
              <a:t> de conversion End to end, </a:t>
            </a:r>
            <a:r>
              <a:rPr lang="en-US" sz="1600" dirty="0" err="1" smtClean="0"/>
              <a:t>especialmente</a:t>
            </a:r>
            <a:r>
              <a:rPr lang="en-US" sz="1600" dirty="0" smtClean="0"/>
              <a:t> para </a:t>
            </a:r>
            <a:r>
              <a:rPr lang="en-US" sz="1600" dirty="0" err="1" smtClean="0"/>
              <a:t>productos</a:t>
            </a:r>
            <a:r>
              <a:rPr lang="en-US" sz="1600" dirty="0" smtClean="0"/>
              <a:t> de P&amp;C y Vida</a:t>
            </a:r>
            <a:endParaRPr lang="en-US" sz="1600" dirty="0"/>
          </a:p>
        </p:txBody>
      </p:sp>
      <p:sp>
        <p:nvSpPr>
          <p:cNvPr id="29" name="Content Placeholder 9">
            <a:extLst>
              <a:ext uri="{FF2B5EF4-FFF2-40B4-BE49-F238E27FC236}">
                <a16:creationId xmlns:a16="http://schemas.microsoft.com/office/drawing/2014/main" id="{FB557CD9-C513-7C44-AEBA-428FE7A1EE2C}"/>
              </a:ext>
            </a:extLst>
          </p:cNvPr>
          <p:cNvSpPr txBox="1">
            <a:spLocks/>
          </p:cNvSpPr>
          <p:nvPr/>
        </p:nvSpPr>
        <p:spPr>
          <a:xfrm>
            <a:off x="4187125" y="3445126"/>
            <a:ext cx="3354498" cy="208452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ts val="0"/>
              </a:spcBef>
              <a:buFont typeface="Arial"/>
              <a:buNone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ts val="0"/>
              </a:spcBef>
              <a:buFont typeface="System Font Regular"/>
              <a:buNone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ts val="0"/>
              </a:spcBef>
              <a:buFont typeface="Arial"/>
              <a:buNone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ts val="0"/>
              </a:spcBef>
              <a:buFont typeface="System Font Regular"/>
              <a:buNone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Aft>
                <a:spcPts val="600"/>
              </a:spcAft>
            </a:pPr>
            <a:r>
              <a:rPr lang="en-US" sz="2000" dirty="0" err="1" smtClean="0">
                <a:solidFill>
                  <a:srgbClr val="EE3D8B"/>
                </a:solidFill>
              </a:rPr>
              <a:t>Tiempo</a:t>
            </a:r>
            <a:r>
              <a:rPr lang="en-US" sz="2000" dirty="0" smtClean="0">
                <a:solidFill>
                  <a:srgbClr val="EE3D8B"/>
                </a:solidFill>
              </a:rPr>
              <a:t> </a:t>
            </a:r>
            <a:r>
              <a:rPr lang="en-US" sz="2000" dirty="0" err="1" smtClean="0">
                <a:solidFill>
                  <a:srgbClr val="EE3D8B"/>
                </a:solidFill>
              </a:rPr>
              <a:t>promedio</a:t>
            </a:r>
            <a:r>
              <a:rPr lang="en-US" sz="2000" dirty="0" smtClean="0">
                <a:solidFill>
                  <a:srgbClr val="EE3D8B"/>
                </a:solidFill>
              </a:rPr>
              <a:t> de </a:t>
            </a:r>
            <a:r>
              <a:rPr lang="en-US" sz="2000" dirty="0" err="1" smtClean="0">
                <a:solidFill>
                  <a:srgbClr val="EE3D8B"/>
                </a:solidFill>
              </a:rPr>
              <a:t>compra</a:t>
            </a:r>
            <a:endParaRPr lang="en-US" sz="2000" dirty="0" smtClean="0">
              <a:solidFill>
                <a:srgbClr val="EE3D8B"/>
              </a:solidFill>
            </a:endParaRPr>
          </a:p>
          <a:p>
            <a:pPr lvl="0" algn="just">
              <a:spcAft>
                <a:spcPts val="600"/>
              </a:spcAft>
            </a:pPr>
            <a:r>
              <a:rPr lang="es-CO" sz="1600" b="0" dirty="0" smtClean="0">
                <a:solidFill>
                  <a:srgbClr val="202020"/>
                </a:solidFill>
              </a:rPr>
              <a:t>Dado que </a:t>
            </a:r>
            <a:r>
              <a:rPr lang="es-CO" sz="1600" b="0" dirty="0">
                <a:solidFill>
                  <a:srgbClr val="202020"/>
                </a:solidFill>
              </a:rPr>
              <a:t>el banco </a:t>
            </a:r>
            <a:r>
              <a:rPr lang="es-CO" sz="1600" b="0" dirty="0" smtClean="0">
                <a:solidFill>
                  <a:srgbClr val="202020"/>
                </a:solidFill>
              </a:rPr>
              <a:t>cuenta con los datos </a:t>
            </a:r>
            <a:r>
              <a:rPr lang="es-CO" sz="1600" b="0" dirty="0">
                <a:solidFill>
                  <a:srgbClr val="202020"/>
                </a:solidFill>
              </a:rPr>
              <a:t>de los clientes, </a:t>
            </a:r>
            <a:r>
              <a:rPr lang="es-CO" sz="1600" b="0" dirty="0" smtClean="0">
                <a:solidFill>
                  <a:srgbClr val="202020"/>
                </a:solidFill>
              </a:rPr>
              <a:t>ellos esperan </a:t>
            </a:r>
            <a:r>
              <a:rPr lang="es-CO" sz="1600" b="0" dirty="0">
                <a:solidFill>
                  <a:srgbClr val="202020"/>
                </a:solidFill>
              </a:rPr>
              <a:t>una experiencia personalizada, de autoservicio y rápida (compra de </a:t>
            </a:r>
            <a:r>
              <a:rPr lang="es-CO" sz="1600" b="0" dirty="0" smtClean="0">
                <a:solidFill>
                  <a:srgbClr val="202020"/>
                </a:solidFill>
              </a:rPr>
              <a:t>1-5 </a:t>
            </a:r>
            <a:r>
              <a:rPr lang="es-CO" sz="1600" b="0" dirty="0" err="1" smtClean="0">
                <a:solidFill>
                  <a:srgbClr val="202020"/>
                </a:solidFill>
              </a:rPr>
              <a:t>clicks</a:t>
            </a:r>
            <a:r>
              <a:rPr lang="es-CO" sz="1600" b="0" dirty="0">
                <a:solidFill>
                  <a:srgbClr val="202020"/>
                </a:solidFill>
              </a:rPr>
              <a:t>)</a:t>
            </a:r>
            <a:endParaRPr lang="en-US" sz="1600" b="0" dirty="0">
              <a:solidFill>
                <a:srgbClr val="202020"/>
              </a:solidFill>
            </a:endParaRPr>
          </a:p>
        </p:txBody>
      </p:sp>
      <p:sp>
        <p:nvSpPr>
          <p:cNvPr id="30" name="Content Placeholder 10">
            <a:extLst>
              <a:ext uri="{FF2B5EF4-FFF2-40B4-BE49-F238E27FC236}">
                <a16:creationId xmlns:a16="http://schemas.microsoft.com/office/drawing/2014/main" id="{77AAEAA1-7BE6-884D-933C-EF4DBA837A04}"/>
              </a:ext>
            </a:extLst>
          </p:cNvPr>
          <p:cNvSpPr txBox="1">
            <a:spLocks/>
          </p:cNvSpPr>
          <p:nvPr/>
        </p:nvSpPr>
        <p:spPr>
          <a:xfrm>
            <a:off x="8128000" y="3445125"/>
            <a:ext cx="3283465" cy="156553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spcBef>
                <a:spcPts val="0"/>
              </a:spcBef>
              <a:buFont typeface="Arial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5425" algn="l" defTabSz="4572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45720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4572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45720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6175" indent="-227013" algn="l" defTabSz="457200" rtl="0" eaLnBrk="1" latinLnBrk="0" hangingPunct="1">
              <a:spcBef>
                <a:spcPts val="0"/>
              </a:spcBef>
              <a:buFont typeface="Arial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4775" indent="-228600" algn="l" defTabSz="457200" rtl="0" eaLnBrk="1" latinLnBrk="0" hangingPunct="1">
              <a:spcBef>
                <a:spcPts val="0"/>
              </a:spcBef>
              <a:buFont typeface="System Font Regular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1788" indent="-227013" algn="l" defTabSz="457200" rtl="0" eaLnBrk="1" latinLnBrk="0" hangingPunct="1">
              <a:spcBef>
                <a:spcPts val="0"/>
              </a:spcBef>
              <a:buFont typeface="Arial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30388" indent="-219075" algn="l" defTabSz="457200" rtl="0" eaLnBrk="1" latinLnBrk="0" hangingPunct="1">
              <a:spcBef>
                <a:spcPts val="0"/>
              </a:spcBef>
              <a:buFont typeface="System Font Regular"/>
              <a:buChar char="–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Aft>
                <a:spcPts val="600"/>
              </a:spcAft>
            </a:pPr>
            <a:r>
              <a:rPr lang="en-US" sz="2000" b="1" dirty="0" smtClean="0">
                <a:solidFill>
                  <a:srgbClr val="FF8C00"/>
                </a:solidFill>
              </a:rPr>
              <a:t>Pago </a:t>
            </a:r>
            <a:r>
              <a:rPr lang="en-US" sz="2000" b="1" dirty="0" err="1" smtClean="0">
                <a:solidFill>
                  <a:srgbClr val="FF8C00"/>
                </a:solidFill>
              </a:rPr>
              <a:t>Mensual</a:t>
            </a:r>
            <a:endParaRPr lang="en-US" sz="2000" b="1" dirty="0">
              <a:solidFill>
                <a:srgbClr val="FF8C00"/>
              </a:solidFill>
            </a:endParaRPr>
          </a:p>
          <a:p>
            <a:pPr lvl="0" algn="just">
              <a:spcAft>
                <a:spcPts val="600"/>
              </a:spcAft>
            </a:pPr>
            <a:r>
              <a:rPr lang="es-CO" sz="1600" dirty="0">
                <a:solidFill>
                  <a:srgbClr val="202020"/>
                </a:solidFill>
              </a:rPr>
              <a:t>Los clientes prefieren el pago mensual referido a su cuenta bancaria, al igual que pagan las suscripciones de </a:t>
            </a:r>
            <a:r>
              <a:rPr lang="es-CO" sz="1600" dirty="0" err="1">
                <a:solidFill>
                  <a:srgbClr val="202020"/>
                </a:solidFill>
              </a:rPr>
              <a:t>Netflix</a:t>
            </a:r>
            <a:r>
              <a:rPr lang="es-CO" sz="1600" dirty="0">
                <a:solidFill>
                  <a:srgbClr val="202020"/>
                </a:solidFill>
              </a:rPr>
              <a:t> y </a:t>
            </a:r>
            <a:r>
              <a:rPr lang="es-CO" sz="1600" dirty="0" err="1">
                <a:solidFill>
                  <a:srgbClr val="202020"/>
                </a:solidFill>
              </a:rPr>
              <a:t>Spotify</a:t>
            </a:r>
            <a:r>
              <a:rPr lang="es-CO" sz="1600" dirty="0">
                <a:solidFill>
                  <a:srgbClr val="202020"/>
                </a:solidFill>
              </a:rPr>
              <a:t>.</a:t>
            </a:r>
            <a:endParaRPr lang="en-US" sz="1600" dirty="0">
              <a:solidFill>
                <a:srgbClr val="20202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4762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eguro </a:t>
            </a:r>
            <a:r>
              <a:rPr lang="en-GB" dirty="0" smtClean="0"/>
              <a:t>Agropecuario: </a:t>
            </a:r>
            <a:r>
              <a:rPr lang="en-GB" dirty="0"/>
              <a:t>Agrobusines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8102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419" dirty="0"/>
              <a:t>Seguro Agropecuario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GB" smtClean="0"/>
              <a:pPr algn="r"/>
              <a:t>22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s-419" dirty="0" smtClean="0"/>
              <a:t>Qué es?</a:t>
            </a:r>
            <a:endParaRPr lang="en-US" dirty="0"/>
          </a:p>
        </p:txBody>
      </p:sp>
      <p:sp>
        <p:nvSpPr>
          <p:cNvPr id="51" name="Rectangle 50"/>
          <p:cNvSpPr/>
          <p:nvPr/>
        </p:nvSpPr>
        <p:spPr bwMode="auto">
          <a:xfrm>
            <a:off x="6548988" y="3058182"/>
            <a:ext cx="2161309" cy="2103120"/>
          </a:xfrm>
          <a:prstGeom prst="rect">
            <a:avLst/>
          </a:prstGeom>
          <a:solidFill>
            <a:srgbClr val="00A8C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91224" bIns="45612" numCol="1" rtlCol="0" anchor="ctr" anchorCtr="0" compatLnSpc="1">
            <a:prstTxWarp prst="textNoShape">
              <a:avLst/>
            </a:prstTxWarp>
          </a:bodyPr>
          <a:lstStyle/>
          <a:p>
            <a:endParaRPr lang="en-US" smtClean="0">
              <a:solidFill>
                <a:srgbClr val="000000"/>
              </a:solidFill>
            </a:endParaRPr>
          </a:p>
        </p:txBody>
      </p:sp>
      <p:sp>
        <p:nvSpPr>
          <p:cNvPr id="52" name="Rectangle 51"/>
          <p:cNvSpPr/>
          <p:nvPr/>
        </p:nvSpPr>
        <p:spPr bwMode="auto">
          <a:xfrm>
            <a:off x="3863870" y="3058182"/>
            <a:ext cx="2161309" cy="2103120"/>
          </a:xfrm>
          <a:prstGeom prst="rect">
            <a:avLst/>
          </a:prstGeom>
          <a:solidFill>
            <a:srgbClr val="006D9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91224" bIns="45612" numCol="1" rtlCol="0" anchor="ctr" anchorCtr="0" compatLnSpc="1">
            <a:prstTxWarp prst="textNoShape">
              <a:avLst/>
            </a:prstTxWarp>
          </a:bodyPr>
          <a:lstStyle/>
          <a:p>
            <a:endParaRPr lang="en-US" smtClean="0">
              <a:solidFill>
                <a:srgbClr val="000000"/>
              </a:solidFill>
            </a:endParaRPr>
          </a:p>
        </p:txBody>
      </p:sp>
      <p:sp>
        <p:nvSpPr>
          <p:cNvPr id="53" name="Rectangle 52"/>
          <p:cNvSpPr/>
          <p:nvPr/>
        </p:nvSpPr>
        <p:spPr bwMode="auto">
          <a:xfrm>
            <a:off x="1196204" y="3032271"/>
            <a:ext cx="2161309" cy="2103120"/>
          </a:xfrm>
          <a:prstGeom prst="rect">
            <a:avLst/>
          </a:prstGeom>
          <a:solidFill>
            <a:srgbClr val="002C7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91224" bIns="45612" numCol="1" rtlCol="0" anchor="ctr" anchorCtr="0" compatLnSpc="1">
            <a:prstTxWarp prst="textNoShape">
              <a:avLst/>
            </a:prstTxWarp>
          </a:bodyPr>
          <a:lstStyle/>
          <a:p>
            <a:endParaRPr lang="en-US" smtClean="0">
              <a:solidFill>
                <a:srgbClr val="000000"/>
              </a:solidFill>
            </a:endParaRPr>
          </a:p>
        </p:txBody>
      </p:sp>
      <p:sp>
        <p:nvSpPr>
          <p:cNvPr id="54" name="Rectangle 6"/>
          <p:cNvSpPr>
            <a:spLocks noChangeArrowheads="1"/>
          </p:cNvSpPr>
          <p:nvPr/>
        </p:nvSpPr>
        <p:spPr bwMode="auto">
          <a:xfrm>
            <a:off x="4088062" y="4717949"/>
            <a:ext cx="1774043" cy="20005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1300" b="1" dirty="0" err="1">
                <a:solidFill>
                  <a:srgbClr val="FFFFFF"/>
                </a:solidFill>
              </a:rPr>
              <a:t>Animales</a:t>
            </a:r>
            <a:r>
              <a:rPr lang="en-US" sz="1300" b="1" dirty="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55" name="Rectangle 6"/>
          <p:cNvSpPr>
            <a:spLocks noChangeArrowheads="1"/>
          </p:cNvSpPr>
          <p:nvPr/>
        </p:nvSpPr>
        <p:spPr bwMode="auto">
          <a:xfrm>
            <a:off x="6696468" y="4717949"/>
            <a:ext cx="1843216" cy="20005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1300" b="1" dirty="0" err="1" smtClean="0">
                <a:solidFill>
                  <a:srgbClr val="FFFFFF"/>
                </a:solidFill>
              </a:rPr>
              <a:t>Árboles</a:t>
            </a:r>
            <a:endParaRPr lang="en-US" sz="1300" b="1" dirty="0">
              <a:solidFill>
                <a:srgbClr val="FFFFFF"/>
              </a:solidFill>
            </a:endParaRPr>
          </a:p>
        </p:txBody>
      </p:sp>
      <p:sp>
        <p:nvSpPr>
          <p:cNvPr id="56" name="Rectangle 6"/>
          <p:cNvSpPr>
            <a:spLocks noChangeArrowheads="1"/>
          </p:cNvSpPr>
          <p:nvPr/>
        </p:nvSpPr>
        <p:spPr bwMode="auto">
          <a:xfrm>
            <a:off x="1573895" y="4717949"/>
            <a:ext cx="1538349" cy="20005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1300" b="1" dirty="0" err="1">
                <a:solidFill>
                  <a:srgbClr val="FFFFFF"/>
                </a:solidFill>
              </a:rPr>
              <a:t>Cultivos</a:t>
            </a:r>
            <a:endParaRPr lang="en-US" sz="1300" b="1" dirty="0">
              <a:solidFill>
                <a:srgbClr val="FFFFFF"/>
              </a:solidFill>
            </a:endParaRPr>
          </a:p>
        </p:txBody>
      </p:sp>
      <p:sp>
        <p:nvSpPr>
          <p:cNvPr id="58" name="Rectangle 6"/>
          <p:cNvSpPr>
            <a:spLocks noChangeArrowheads="1"/>
          </p:cNvSpPr>
          <p:nvPr/>
        </p:nvSpPr>
        <p:spPr bwMode="auto">
          <a:xfrm>
            <a:off x="1183001" y="5350062"/>
            <a:ext cx="2320138" cy="64633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ctr">
            <a:spAutoFit/>
          </a:bodyPr>
          <a:lstStyle/>
          <a:p>
            <a:r>
              <a:rPr lang="en-US" sz="1400" b="1" dirty="0">
                <a:solidFill>
                  <a:srgbClr val="000000"/>
                </a:solidFill>
              </a:rPr>
              <a:t>Extensivos: </a:t>
            </a:r>
            <a:r>
              <a:rPr lang="en-US" sz="1400" dirty="0" err="1">
                <a:solidFill>
                  <a:srgbClr val="000000"/>
                </a:solidFill>
              </a:rPr>
              <a:t>soja</a:t>
            </a:r>
            <a:r>
              <a:rPr lang="en-US" sz="1400" dirty="0">
                <a:solidFill>
                  <a:srgbClr val="000000"/>
                </a:solidFill>
              </a:rPr>
              <a:t>, </a:t>
            </a:r>
            <a:r>
              <a:rPr lang="en-US" sz="1400" dirty="0" err="1">
                <a:solidFill>
                  <a:srgbClr val="000000"/>
                </a:solidFill>
              </a:rPr>
              <a:t>maíz</a:t>
            </a:r>
            <a:r>
              <a:rPr lang="en-US" sz="1400" dirty="0">
                <a:solidFill>
                  <a:srgbClr val="000000"/>
                </a:solidFill>
              </a:rPr>
              <a:t>, </a:t>
            </a:r>
            <a:r>
              <a:rPr lang="en-US" sz="1400" dirty="0" err="1">
                <a:solidFill>
                  <a:srgbClr val="000000"/>
                </a:solidFill>
              </a:rPr>
              <a:t>trigo</a:t>
            </a:r>
            <a:r>
              <a:rPr lang="en-US" sz="1400" dirty="0">
                <a:solidFill>
                  <a:srgbClr val="000000"/>
                </a:solidFill>
              </a:rPr>
              <a:t>, girasol.</a:t>
            </a:r>
          </a:p>
          <a:p>
            <a:r>
              <a:rPr lang="en-US" sz="1400" b="1" dirty="0">
                <a:solidFill>
                  <a:srgbClr val="000000"/>
                </a:solidFill>
              </a:rPr>
              <a:t>Intensivos: </a:t>
            </a:r>
            <a:r>
              <a:rPr lang="en-US" sz="1400" dirty="0" err="1">
                <a:solidFill>
                  <a:srgbClr val="000000"/>
                </a:solidFill>
              </a:rPr>
              <a:t>frutales</a:t>
            </a:r>
            <a:r>
              <a:rPr lang="en-US" sz="1400" dirty="0">
                <a:solidFill>
                  <a:srgbClr val="000000"/>
                </a:solidFill>
              </a:rPr>
              <a:t>, </a:t>
            </a:r>
            <a:r>
              <a:rPr lang="en-US" sz="1400" dirty="0" err="1">
                <a:solidFill>
                  <a:srgbClr val="000000"/>
                </a:solidFill>
              </a:rPr>
              <a:t>tabaco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59" name="Rectangle 6"/>
          <p:cNvSpPr>
            <a:spLocks noChangeArrowheads="1"/>
          </p:cNvSpPr>
          <p:nvPr/>
        </p:nvSpPr>
        <p:spPr bwMode="auto">
          <a:xfrm>
            <a:off x="6548988" y="5319927"/>
            <a:ext cx="2377440" cy="800219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 lIns="0" tIns="0" rIns="0" bIns="0" anchor="ctr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b="1" dirty="0" err="1">
                <a:solidFill>
                  <a:srgbClr val="000000"/>
                </a:solidFill>
              </a:rPr>
              <a:t>F</a:t>
            </a:r>
            <a:r>
              <a:rPr lang="en-US" sz="1400" b="1" dirty="0" err="1" smtClean="0">
                <a:solidFill>
                  <a:srgbClr val="000000"/>
                </a:solidFill>
              </a:rPr>
              <a:t>orestaciones</a:t>
            </a:r>
            <a:r>
              <a:rPr lang="en-US" sz="1400" b="1" dirty="0" smtClean="0">
                <a:solidFill>
                  <a:srgbClr val="000000"/>
                </a:solidFill>
              </a:rPr>
              <a:t> </a:t>
            </a:r>
            <a:r>
              <a:rPr lang="en-US" sz="1400" dirty="0">
                <a:solidFill>
                  <a:srgbClr val="000000"/>
                </a:solidFill>
              </a:rPr>
              <a:t>(</a:t>
            </a:r>
            <a:r>
              <a:rPr lang="en-US" sz="1400" dirty="0" err="1">
                <a:solidFill>
                  <a:srgbClr val="000000"/>
                </a:solidFill>
              </a:rPr>
              <a:t>madera</a:t>
            </a:r>
            <a:r>
              <a:rPr lang="en-US" sz="1400" dirty="0">
                <a:solidFill>
                  <a:srgbClr val="000000"/>
                </a:solidFill>
              </a:rPr>
              <a:t>) </a:t>
            </a:r>
            <a:endParaRPr lang="en-US" sz="1400" dirty="0" smtClean="0">
              <a:solidFill>
                <a:srgbClr val="000000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1400" b="1" dirty="0" err="1" smtClean="0">
                <a:solidFill>
                  <a:srgbClr val="000000"/>
                </a:solidFill>
              </a:rPr>
              <a:t>Frutales</a:t>
            </a:r>
            <a:endParaRPr lang="en-US" sz="1400" b="1" dirty="0">
              <a:solidFill>
                <a:srgbClr val="000000"/>
              </a:solidFill>
            </a:endParaRPr>
          </a:p>
          <a:p>
            <a:endParaRPr lang="en-US" sz="1400" dirty="0">
              <a:solidFill>
                <a:srgbClr val="000000"/>
              </a:solidFill>
            </a:endParaRPr>
          </a:p>
        </p:txBody>
      </p:sp>
      <p:grpSp>
        <p:nvGrpSpPr>
          <p:cNvPr id="77" name="Group 76"/>
          <p:cNvGrpSpPr/>
          <p:nvPr/>
        </p:nvGrpSpPr>
        <p:grpSpPr>
          <a:xfrm>
            <a:off x="2190232" y="2609996"/>
            <a:ext cx="5507445" cy="515278"/>
            <a:chOff x="2041952" y="1644649"/>
            <a:chExt cx="5507445" cy="515278"/>
          </a:xfrm>
        </p:grpSpPr>
        <p:sp>
          <p:nvSpPr>
            <p:cNvPr id="78" name="Oval 77"/>
            <p:cNvSpPr/>
            <p:nvPr/>
          </p:nvSpPr>
          <p:spPr bwMode="auto">
            <a:xfrm>
              <a:off x="2041952" y="1986882"/>
              <a:ext cx="173045" cy="173045"/>
            </a:xfrm>
            <a:prstGeom prst="ellipse">
              <a:avLst/>
            </a:prstGeom>
            <a:solidFill>
              <a:schemeClr val="bg1"/>
            </a:solidFill>
            <a:ln w="19050" cap="flat" cmpd="sng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0" tIns="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endParaRPr lang="en-US" smtClean="0">
                <a:solidFill>
                  <a:srgbClr val="000000"/>
                </a:solidFill>
              </a:endParaRPr>
            </a:p>
          </p:txBody>
        </p:sp>
        <p:sp>
          <p:nvSpPr>
            <p:cNvPr id="79" name="Oval 78"/>
            <p:cNvSpPr/>
            <p:nvPr/>
          </p:nvSpPr>
          <p:spPr bwMode="auto">
            <a:xfrm>
              <a:off x="4723953" y="1986882"/>
              <a:ext cx="173045" cy="173045"/>
            </a:xfrm>
            <a:prstGeom prst="ellipse">
              <a:avLst/>
            </a:prstGeom>
            <a:solidFill>
              <a:schemeClr val="bg1"/>
            </a:solidFill>
            <a:ln w="19050" cap="flat" cmpd="sng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0" tIns="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endParaRPr lang="en-US" smtClean="0">
                <a:solidFill>
                  <a:srgbClr val="000000"/>
                </a:solidFill>
              </a:endParaRPr>
            </a:p>
          </p:txBody>
        </p:sp>
        <p:sp>
          <p:nvSpPr>
            <p:cNvPr id="80" name="Oval 79"/>
            <p:cNvSpPr/>
            <p:nvPr/>
          </p:nvSpPr>
          <p:spPr bwMode="auto">
            <a:xfrm>
              <a:off x="7376352" y="1986882"/>
              <a:ext cx="173045" cy="173045"/>
            </a:xfrm>
            <a:prstGeom prst="ellipse">
              <a:avLst/>
            </a:prstGeom>
            <a:solidFill>
              <a:schemeClr val="bg1"/>
            </a:solidFill>
            <a:ln w="19050" cap="flat" cmpd="sng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0" tIns="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endParaRPr lang="en-US" smtClean="0">
                <a:solidFill>
                  <a:srgbClr val="000000"/>
                </a:solidFill>
              </a:endParaRPr>
            </a:p>
          </p:txBody>
        </p:sp>
        <p:grpSp>
          <p:nvGrpSpPr>
            <p:cNvPr id="81" name="Group 80"/>
            <p:cNvGrpSpPr/>
            <p:nvPr/>
          </p:nvGrpSpPr>
          <p:grpSpPr>
            <a:xfrm>
              <a:off x="2130480" y="1644649"/>
              <a:ext cx="5331529" cy="342233"/>
              <a:chOff x="2130480" y="1644649"/>
              <a:chExt cx="5331529" cy="342233"/>
            </a:xfrm>
          </p:grpSpPr>
          <p:sp>
            <p:nvSpPr>
              <p:cNvPr id="82" name="Left Bracket 81"/>
              <p:cNvSpPr/>
              <p:nvPr/>
            </p:nvSpPr>
            <p:spPr bwMode="auto">
              <a:xfrm rot="5400000" flipV="1">
                <a:off x="4625129" y="-849999"/>
                <a:ext cx="342232" cy="5331529"/>
              </a:xfrm>
              <a:prstGeom prst="leftBracket">
                <a:avLst>
                  <a:gd name="adj" fmla="val 0"/>
                </a:avLst>
              </a:prstGeom>
              <a:noFill/>
              <a:ln w="19050" cap="flat" cmpd="sng" algn="ctr">
                <a:solidFill>
                  <a:schemeClr val="tx1">
                    <a:lumMod val="75000"/>
                    <a:lumOff val="2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83" name="Straight Connector 82"/>
              <p:cNvCxnSpPr/>
              <p:nvPr/>
            </p:nvCxnSpPr>
            <p:spPr bwMode="auto">
              <a:xfrm>
                <a:off x="4810302" y="1644649"/>
                <a:ext cx="0" cy="342233"/>
              </a:xfrm>
              <a:prstGeom prst="line">
                <a:avLst/>
              </a:prstGeom>
              <a:noFill/>
              <a:ln w="19050" cap="flat" cmpd="sng" algn="ctr">
                <a:solidFill>
                  <a:schemeClr val="tx1">
                    <a:lumMod val="75000"/>
                    <a:lumOff val="2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  <p:sp>
        <p:nvSpPr>
          <p:cNvPr id="84" name="Rectangle 6"/>
          <p:cNvSpPr>
            <a:spLocks noChangeArrowheads="1"/>
          </p:cNvSpPr>
          <p:nvPr/>
        </p:nvSpPr>
        <p:spPr bwMode="auto">
          <a:xfrm>
            <a:off x="3875909" y="5347367"/>
            <a:ext cx="2494268" cy="64633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ctr">
            <a:spAutoFit/>
          </a:bodyPr>
          <a:lstStyle/>
          <a:p>
            <a:r>
              <a:rPr lang="pt-BR" sz="1400" b="1" dirty="0">
                <a:solidFill>
                  <a:srgbClr val="000000"/>
                </a:solidFill>
              </a:rPr>
              <a:t>Livestock: </a:t>
            </a:r>
            <a:r>
              <a:rPr lang="pt-BR" sz="1400" dirty="0">
                <a:solidFill>
                  <a:srgbClr val="000000"/>
                </a:solidFill>
              </a:rPr>
              <a:t>Vacunos, ovinos, equinos, porcinos, aves.</a:t>
            </a:r>
          </a:p>
          <a:p>
            <a:r>
              <a:rPr lang="en-US" sz="1400" b="1" dirty="0" err="1">
                <a:solidFill>
                  <a:srgbClr val="000000"/>
                </a:solidFill>
              </a:rPr>
              <a:t>Piscicultura</a:t>
            </a:r>
            <a:r>
              <a:rPr lang="en-US" sz="1400" b="1" dirty="0">
                <a:solidFill>
                  <a:srgbClr val="000000"/>
                </a:solidFill>
              </a:rPr>
              <a:t>: </a:t>
            </a:r>
            <a:r>
              <a:rPr lang="en-US" sz="1400" dirty="0" err="1">
                <a:solidFill>
                  <a:srgbClr val="000000"/>
                </a:solidFill>
              </a:rPr>
              <a:t>peces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en-US" sz="1400" dirty="0" smtClean="0">
                <a:solidFill>
                  <a:srgbClr val="000000"/>
                </a:solidFill>
              </a:rPr>
              <a:t> </a:t>
            </a:r>
            <a:endParaRPr lang="en-US" sz="1400" dirty="0">
              <a:solidFill>
                <a:srgbClr val="000000"/>
              </a:solidFill>
            </a:endParaRPr>
          </a:p>
        </p:txBody>
      </p:sp>
      <p:grpSp>
        <p:nvGrpSpPr>
          <p:cNvPr id="85" name="Group 164"/>
          <p:cNvGrpSpPr>
            <a:grpSpLocks noChangeAspect="1"/>
          </p:cNvGrpSpPr>
          <p:nvPr/>
        </p:nvGrpSpPr>
        <p:grpSpPr bwMode="auto">
          <a:xfrm>
            <a:off x="4564507" y="3818884"/>
            <a:ext cx="793865" cy="498764"/>
            <a:chOff x="2547" y="1855"/>
            <a:chExt cx="955" cy="600"/>
          </a:xfrm>
          <a:solidFill>
            <a:srgbClr val="FFFFFF"/>
          </a:solidFill>
        </p:grpSpPr>
        <p:sp>
          <p:nvSpPr>
            <p:cNvPr id="86" name="Freeform 165"/>
            <p:cNvSpPr>
              <a:spLocks noEditPoints="1"/>
            </p:cNvSpPr>
            <p:nvPr/>
          </p:nvSpPr>
          <p:spPr bwMode="auto">
            <a:xfrm>
              <a:off x="2547" y="1855"/>
              <a:ext cx="955" cy="600"/>
            </a:xfrm>
            <a:custGeom>
              <a:avLst/>
              <a:gdLst>
                <a:gd name="T0" fmla="*/ 397 w 404"/>
                <a:gd name="T1" fmla="*/ 151 h 254"/>
                <a:gd name="T2" fmla="*/ 398 w 404"/>
                <a:gd name="T3" fmla="*/ 134 h 254"/>
                <a:gd name="T4" fmla="*/ 400 w 404"/>
                <a:gd name="T5" fmla="*/ 106 h 254"/>
                <a:gd name="T6" fmla="*/ 372 w 404"/>
                <a:gd name="T7" fmla="*/ 117 h 254"/>
                <a:gd name="T8" fmla="*/ 379 w 404"/>
                <a:gd name="T9" fmla="*/ 121 h 254"/>
                <a:gd name="T10" fmla="*/ 386 w 404"/>
                <a:gd name="T11" fmla="*/ 127 h 254"/>
                <a:gd name="T12" fmla="*/ 390 w 404"/>
                <a:gd name="T13" fmla="*/ 141 h 254"/>
                <a:gd name="T14" fmla="*/ 395 w 404"/>
                <a:gd name="T15" fmla="*/ 189 h 254"/>
                <a:gd name="T16" fmla="*/ 383 w 404"/>
                <a:gd name="T17" fmla="*/ 195 h 254"/>
                <a:gd name="T18" fmla="*/ 342 w 404"/>
                <a:gd name="T19" fmla="*/ 158 h 254"/>
                <a:gd name="T20" fmla="*/ 332 w 404"/>
                <a:gd name="T21" fmla="*/ 128 h 254"/>
                <a:gd name="T22" fmla="*/ 329 w 404"/>
                <a:gd name="T23" fmla="*/ 148 h 254"/>
                <a:gd name="T24" fmla="*/ 270 w 404"/>
                <a:gd name="T25" fmla="*/ 177 h 254"/>
                <a:gd name="T26" fmla="*/ 253 w 404"/>
                <a:gd name="T27" fmla="*/ 245 h 254"/>
                <a:gd name="T28" fmla="*/ 230 w 404"/>
                <a:gd name="T29" fmla="*/ 144 h 254"/>
                <a:gd name="T30" fmla="*/ 109 w 404"/>
                <a:gd name="T31" fmla="*/ 142 h 254"/>
                <a:gd name="T32" fmla="*/ 59 w 404"/>
                <a:gd name="T33" fmla="*/ 245 h 254"/>
                <a:gd name="T34" fmla="*/ 45 w 404"/>
                <a:gd name="T35" fmla="*/ 158 h 254"/>
                <a:gd name="T36" fmla="*/ 54 w 404"/>
                <a:gd name="T37" fmla="*/ 60 h 254"/>
                <a:gd name="T38" fmla="*/ 64 w 404"/>
                <a:gd name="T39" fmla="*/ 13 h 254"/>
                <a:gd name="T40" fmla="*/ 227 w 404"/>
                <a:gd name="T41" fmla="*/ 12 h 254"/>
                <a:gd name="T42" fmla="*/ 278 w 404"/>
                <a:gd name="T43" fmla="*/ 19 h 254"/>
                <a:gd name="T44" fmla="*/ 365 w 404"/>
                <a:gd name="T45" fmla="*/ 113 h 254"/>
                <a:gd name="T46" fmla="*/ 376 w 404"/>
                <a:gd name="T47" fmla="*/ 101 h 254"/>
                <a:gd name="T48" fmla="*/ 380 w 404"/>
                <a:gd name="T49" fmla="*/ 102 h 254"/>
                <a:gd name="T50" fmla="*/ 383 w 404"/>
                <a:gd name="T51" fmla="*/ 92 h 254"/>
                <a:gd name="T52" fmla="*/ 374 w 404"/>
                <a:gd name="T53" fmla="*/ 91 h 254"/>
                <a:gd name="T54" fmla="*/ 361 w 404"/>
                <a:gd name="T55" fmla="*/ 104 h 254"/>
                <a:gd name="T56" fmla="*/ 261 w 404"/>
                <a:gd name="T57" fmla="*/ 3 h 254"/>
                <a:gd name="T58" fmla="*/ 18 w 404"/>
                <a:gd name="T59" fmla="*/ 72 h 254"/>
                <a:gd name="T60" fmla="*/ 16 w 404"/>
                <a:gd name="T61" fmla="*/ 88 h 254"/>
                <a:gd name="T62" fmla="*/ 2 w 404"/>
                <a:gd name="T63" fmla="*/ 107 h 254"/>
                <a:gd name="T64" fmla="*/ 2 w 404"/>
                <a:gd name="T65" fmla="*/ 128 h 254"/>
                <a:gd name="T66" fmla="*/ 8 w 404"/>
                <a:gd name="T67" fmla="*/ 137 h 254"/>
                <a:gd name="T68" fmla="*/ 24 w 404"/>
                <a:gd name="T69" fmla="*/ 128 h 254"/>
                <a:gd name="T70" fmla="*/ 28 w 404"/>
                <a:gd name="T71" fmla="*/ 102 h 254"/>
                <a:gd name="T72" fmla="*/ 15 w 404"/>
                <a:gd name="T73" fmla="*/ 123 h 254"/>
                <a:gd name="T74" fmla="*/ 10 w 404"/>
                <a:gd name="T75" fmla="*/ 124 h 254"/>
                <a:gd name="T76" fmla="*/ 18 w 404"/>
                <a:gd name="T77" fmla="*/ 97 h 254"/>
                <a:gd name="T78" fmla="*/ 27 w 404"/>
                <a:gd name="T79" fmla="*/ 72 h 254"/>
                <a:gd name="T80" fmla="*/ 53 w 404"/>
                <a:gd name="T81" fmla="*/ 18 h 254"/>
                <a:gd name="T82" fmla="*/ 57 w 404"/>
                <a:gd name="T83" fmla="*/ 122 h 254"/>
                <a:gd name="T84" fmla="*/ 35 w 404"/>
                <a:gd name="T85" fmla="*/ 246 h 254"/>
                <a:gd name="T86" fmla="*/ 68 w 404"/>
                <a:gd name="T87" fmla="*/ 246 h 254"/>
                <a:gd name="T88" fmla="*/ 106 w 404"/>
                <a:gd name="T89" fmla="*/ 239 h 254"/>
                <a:gd name="T90" fmla="*/ 128 w 404"/>
                <a:gd name="T91" fmla="*/ 244 h 254"/>
                <a:gd name="T92" fmla="*/ 120 w 404"/>
                <a:gd name="T93" fmla="*/ 181 h 254"/>
                <a:gd name="T94" fmla="*/ 185 w 404"/>
                <a:gd name="T95" fmla="*/ 236 h 254"/>
                <a:gd name="T96" fmla="*/ 209 w 404"/>
                <a:gd name="T97" fmla="*/ 244 h 254"/>
                <a:gd name="T98" fmla="*/ 237 w 404"/>
                <a:gd name="T99" fmla="*/ 177 h 254"/>
                <a:gd name="T100" fmla="*/ 251 w 404"/>
                <a:gd name="T101" fmla="*/ 254 h 254"/>
                <a:gd name="T102" fmla="*/ 279 w 404"/>
                <a:gd name="T103" fmla="*/ 180 h 254"/>
                <a:gd name="T104" fmla="*/ 291 w 404"/>
                <a:gd name="T105" fmla="*/ 156 h 254"/>
                <a:gd name="T106" fmla="*/ 333 w 404"/>
                <a:gd name="T107" fmla="*/ 160 h 254"/>
                <a:gd name="T108" fmla="*/ 378 w 404"/>
                <a:gd name="T109" fmla="*/ 202 h 254"/>
                <a:gd name="T110" fmla="*/ 398 w 404"/>
                <a:gd name="T111" fmla="*/ 199 h 254"/>
                <a:gd name="T112" fmla="*/ 125 w 404"/>
                <a:gd name="T113" fmla="*/ 235 h 254"/>
                <a:gd name="T114" fmla="*/ 90 w 404"/>
                <a:gd name="T115" fmla="*/ 170 h 254"/>
                <a:gd name="T116" fmla="*/ 121 w 404"/>
                <a:gd name="T117" fmla="*/ 147 h 254"/>
                <a:gd name="T118" fmla="*/ 112 w 404"/>
                <a:gd name="T119" fmla="*/ 178 h 254"/>
                <a:gd name="T120" fmla="*/ 194 w 404"/>
                <a:gd name="T121" fmla="*/ 235 h 254"/>
                <a:gd name="T122" fmla="*/ 217 w 404"/>
                <a:gd name="T123" fmla="*/ 147 h 254"/>
                <a:gd name="T124" fmla="*/ 233 w 404"/>
                <a:gd name="T125" fmla="*/ 16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04" h="254">
                  <a:moveTo>
                    <a:pt x="398" y="199"/>
                  </a:moveTo>
                  <a:cubicBezTo>
                    <a:pt x="402" y="197"/>
                    <a:pt x="404" y="192"/>
                    <a:pt x="403" y="187"/>
                  </a:cubicBezTo>
                  <a:cubicBezTo>
                    <a:pt x="397" y="151"/>
                    <a:pt x="397" y="151"/>
                    <a:pt x="397" y="151"/>
                  </a:cubicBezTo>
                  <a:cubicBezTo>
                    <a:pt x="397" y="149"/>
                    <a:pt x="397" y="148"/>
                    <a:pt x="397" y="146"/>
                  </a:cubicBezTo>
                  <a:cubicBezTo>
                    <a:pt x="398" y="144"/>
                    <a:pt x="398" y="144"/>
                    <a:pt x="398" y="144"/>
                  </a:cubicBezTo>
                  <a:cubicBezTo>
                    <a:pt x="400" y="141"/>
                    <a:pt x="399" y="137"/>
                    <a:pt x="398" y="134"/>
                  </a:cubicBezTo>
                  <a:cubicBezTo>
                    <a:pt x="395" y="129"/>
                    <a:pt x="395" y="129"/>
                    <a:pt x="395" y="129"/>
                  </a:cubicBezTo>
                  <a:cubicBezTo>
                    <a:pt x="402" y="116"/>
                    <a:pt x="402" y="116"/>
                    <a:pt x="402" y="116"/>
                  </a:cubicBezTo>
                  <a:cubicBezTo>
                    <a:pt x="404" y="112"/>
                    <a:pt x="403" y="108"/>
                    <a:pt x="400" y="106"/>
                  </a:cubicBezTo>
                  <a:cubicBezTo>
                    <a:pt x="399" y="105"/>
                    <a:pt x="397" y="105"/>
                    <a:pt x="396" y="105"/>
                  </a:cubicBezTo>
                  <a:cubicBezTo>
                    <a:pt x="388" y="106"/>
                    <a:pt x="380" y="109"/>
                    <a:pt x="373" y="114"/>
                  </a:cubicBezTo>
                  <a:cubicBezTo>
                    <a:pt x="372" y="115"/>
                    <a:pt x="372" y="116"/>
                    <a:pt x="372" y="117"/>
                  </a:cubicBezTo>
                  <a:cubicBezTo>
                    <a:pt x="371" y="118"/>
                    <a:pt x="372" y="119"/>
                    <a:pt x="372" y="120"/>
                  </a:cubicBezTo>
                  <a:cubicBezTo>
                    <a:pt x="373" y="121"/>
                    <a:pt x="374" y="122"/>
                    <a:pt x="375" y="122"/>
                  </a:cubicBezTo>
                  <a:cubicBezTo>
                    <a:pt x="377" y="122"/>
                    <a:pt x="378" y="122"/>
                    <a:pt x="379" y="121"/>
                  </a:cubicBezTo>
                  <a:cubicBezTo>
                    <a:pt x="382" y="119"/>
                    <a:pt x="386" y="117"/>
                    <a:pt x="390" y="115"/>
                  </a:cubicBezTo>
                  <a:cubicBezTo>
                    <a:pt x="393" y="114"/>
                    <a:pt x="393" y="114"/>
                    <a:pt x="393" y="114"/>
                  </a:cubicBezTo>
                  <a:cubicBezTo>
                    <a:pt x="386" y="127"/>
                    <a:pt x="386" y="127"/>
                    <a:pt x="386" y="127"/>
                  </a:cubicBezTo>
                  <a:cubicBezTo>
                    <a:pt x="385" y="128"/>
                    <a:pt x="385" y="130"/>
                    <a:pt x="386" y="131"/>
                  </a:cubicBezTo>
                  <a:cubicBezTo>
                    <a:pt x="390" y="138"/>
                    <a:pt x="390" y="138"/>
                    <a:pt x="390" y="138"/>
                  </a:cubicBezTo>
                  <a:cubicBezTo>
                    <a:pt x="390" y="139"/>
                    <a:pt x="390" y="140"/>
                    <a:pt x="390" y="141"/>
                  </a:cubicBezTo>
                  <a:cubicBezTo>
                    <a:pt x="389" y="143"/>
                    <a:pt x="389" y="143"/>
                    <a:pt x="389" y="143"/>
                  </a:cubicBezTo>
                  <a:cubicBezTo>
                    <a:pt x="388" y="146"/>
                    <a:pt x="388" y="149"/>
                    <a:pt x="388" y="152"/>
                  </a:cubicBezTo>
                  <a:cubicBezTo>
                    <a:pt x="395" y="189"/>
                    <a:pt x="395" y="189"/>
                    <a:pt x="395" y="189"/>
                  </a:cubicBezTo>
                  <a:cubicBezTo>
                    <a:pt x="395" y="190"/>
                    <a:pt x="394" y="191"/>
                    <a:pt x="393" y="191"/>
                  </a:cubicBezTo>
                  <a:cubicBezTo>
                    <a:pt x="387" y="195"/>
                    <a:pt x="387" y="195"/>
                    <a:pt x="387" y="195"/>
                  </a:cubicBezTo>
                  <a:cubicBezTo>
                    <a:pt x="385" y="196"/>
                    <a:pt x="384" y="196"/>
                    <a:pt x="383" y="195"/>
                  </a:cubicBezTo>
                  <a:cubicBezTo>
                    <a:pt x="383" y="194"/>
                    <a:pt x="382" y="194"/>
                    <a:pt x="382" y="194"/>
                  </a:cubicBezTo>
                  <a:cubicBezTo>
                    <a:pt x="373" y="190"/>
                    <a:pt x="365" y="184"/>
                    <a:pt x="357" y="177"/>
                  </a:cubicBezTo>
                  <a:cubicBezTo>
                    <a:pt x="352" y="171"/>
                    <a:pt x="347" y="165"/>
                    <a:pt x="342" y="158"/>
                  </a:cubicBezTo>
                  <a:cubicBezTo>
                    <a:pt x="338" y="150"/>
                    <a:pt x="336" y="141"/>
                    <a:pt x="336" y="133"/>
                  </a:cubicBezTo>
                  <a:cubicBezTo>
                    <a:pt x="336" y="131"/>
                    <a:pt x="336" y="130"/>
                    <a:pt x="335" y="129"/>
                  </a:cubicBezTo>
                  <a:cubicBezTo>
                    <a:pt x="334" y="129"/>
                    <a:pt x="333" y="128"/>
                    <a:pt x="332" y="128"/>
                  </a:cubicBezTo>
                  <a:cubicBezTo>
                    <a:pt x="329" y="128"/>
                    <a:pt x="327" y="130"/>
                    <a:pt x="327" y="133"/>
                  </a:cubicBezTo>
                  <a:cubicBezTo>
                    <a:pt x="327" y="137"/>
                    <a:pt x="328" y="142"/>
                    <a:pt x="329" y="147"/>
                  </a:cubicBezTo>
                  <a:cubicBezTo>
                    <a:pt x="329" y="148"/>
                    <a:pt x="329" y="148"/>
                    <a:pt x="329" y="148"/>
                  </a:cubicBezTo>
                  <a:cubicBezTo>
                    <a:pt x="291" y="147"/>
                    <a:pt x="291" y="147"/>
                    <a:pt x="291" y="147"/>
                  </a:cubicBezTo>
                  <a:cubicBezTo>
                    <a:pt x="286" y="147"/>
                    <a:pt x="282" y="149"/>
                    <a:pt x="281" y="153"/>
                  </a:cubicBezTo>
                  <a:cubicBezTo>
                    <a:pt x="270" y="177"/>
                    <a:pt x="270" y="177"/>
                    <a:pt x="270" y="177"/>
                  </a:cubicBezTo>
                  <a:cubicBezTo>
                    <a:pt x="270" y="178"/>
                    <a:pt x="270" y="178"/>
                    <a:pt x="270" y="179"/>
                  </a:cubicBezTo>
                  <a:cubicBezTo>
                    <a:pt x="267" y="245"/>
                    <a:pt x="267" y="245"/>
                    <a:pt x="267" y="245"/>
                  </a:cubicBezTo>
                  <a:cubicBezTo>
                    <a:pt x="253" y="245"/>
                    <a:pt x="253" y="245"/>
                    <a:pt x="253" y="245"/>
                  </a:cubicBezTo>
                  <a:cubicBezTo>
                    <a:pt x="245" y="166"/>
                    <a:pt x="245" y="166"/>
                    <a:pt x="245" y="166"/>
                  </a:cubicBezTo>
                  <a:cubicBezTo>
                    <a:pt x="245" y="165"/>
                    <a:pt x="245" y="164"/>
                    <a:pt x="244" y="163"/>
                  </a:cubicBezTo>
                  <a:cubicBezTo>
                    <a:pt x="230" y="144"/>
                    <a:pt x="230" y="144"/>
                    <a:pt x="230" y="144"/>
                  </a:cubicBezTo>
                  <a:cubicBezTo>
                    <a:pt x="226" y="140"/>
                    <a:pt x="222" y="138"/>
                    <a:pt x="217" y="138"/>
                  </a:cubicBezTo>
                  <a:cubicBezTo>
                    <a:pt x="121" y="138"/>
                    <a:pt x="121" y="138"/>
                    <a:pt x="121" y="138"/>
                  </a:cubicBezTo>
                  <a:cubicBezTo>
                    <a:pt x="117" y="138"/>
                    <a:pt x="113" y="140"/>
                    <a:pt x="109" y="142"/>
                  </a:cubicBezTo>
                  <a:cubicBezTo>
                    <a:pt x="61" y="183"/>
                    <a:pt x="61" y="183"/>
                    <a:pt x="61" y="183"/>
                  </a:cubicBezTo>
                  <a:cubicBezTo>
                    <a:pt x="60" y="183"/>
                    <a:pt x="59" y="185"/>
                    <a:pt x="59" y="186"/>
                  </a:cubicBezTo>
                  <a:cubicBezTo>
                    <a:pt x="59" y="245"/>
                    <a:pt x="59" y="245"/>
                    <a:pt x="59" y="245"/>
                  </a:cubicBezTo>
                  <a:cubicBezTo>
                    <a:pt x="44" y="245"/>
                    <a:pt x="44" y="245"/>
                    <a:pt x="44" y="245"/>
                  </a:cubicBezTo>
                  <a:cubicBezTo>
                    <a:pt x="44" y="164"/>
                    <a:pt x="44" y="164"/>
                    <a:pt x="44" y="164"/>
                  </a:cubicBezTo>
                  <a:cubicBezTo>
                    <a:pt x="44" y="162"/>
                    <a:pt x="44" y="160"/>
                    <a:pt x="45" y="158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6" y="125"/>
                    <a:pt x="66" y="123"/>
                    <a:pt x="66" y="122"/>
                  </a:cubicBezTo>
                  <a:cubicBezTo>
                    <a:pt x="54" y="60"/>
                    <a:pt x="54" y="60"/>
                    <a:pt x="54" y="60"/>
                  </a:cubicBezTo>
                  <a:cubicBezTo>
                    <a:pt x="53" y="58"/>
                    <a:pt x="53" y="56"/>
                    <a:pt x="54" y="54"/>
                  </a:cubicBezTo>
                  <a:cubicBezTo>
                    <a:pt x="63" y="14"/>
                    <a:pt x="63" y="14"/>
                    <a:pt x="63" y="14"/>
                  </a:cubicBezTo>
                  <a:cubicBezTo>
                    <a:pt x="64" y="13"/>
                    <a:pt x="64" y="13"/>
                    <a:pt x="64" y="13"/>
                  </a:cubicBezTo>
                  <a:cubicBezTo>
                    <a:pt x="71" y="11"/>
                    <a:pt x="78" y="11"/>
                    <a:pt x="86" y="12"/>
                  </a:cubicBezTo>
                  <a:cubicBezTo>
                    <a:pt x="86" y="12"/>
                    <a:pt x="86" y="12"/>
                    <a:pt x="86" y="12"/>
                  </a:cubicBezTo>
                  <a:cubicBezTo>
                    <a:pt x="113" y="12"/>
                    <a:pt x="184" y="12"/>
                    <a:pt x="227" y="12"/>
                  </a:cubicBezTo>
                  <a:cubicBezTo>
                    <a:pt x="229" y="12"/>
                    <a:pt x="229" y="12"/>
                    <a:pt x="229" y="12"/>
                  </a:cubicBezTo>
                  <a:cubicBezTo>
                    <a:pt x="244" y="12"/>
                    <a:pt x="256" y="12"/>
                    <a:pt x="262" y="12"/>
                  </a:cubicBezTo>
                  <a:cubicBezTo>
                    <a:pt x="268" y="11"/>
                    <a:pt x="274" y="14"/>
                    <a:pt x="278" y="19"/>
                  </a:cubicBezTo>
                  <a:cubicBezTo>
                    <a:pt x="355" y="111"/>
                    <a:pt x="355" y="111"/>
                    <a:pt x="355" y="111"/>
                  </a:cubicBezTo>
                  <a:cubicBezTo>
                    <a:pt x="356" y="112"/>
                    <a:pt x="357" y="112"/>
                    <a:pt x="358" y="112"/>
                  </a:cubicBezTo>
                  <a:cubicBezTo>
                    <a:pt x="365" y="113"/>
                    <a:pt x="365" y="113"/>
                    <a:pt x="365" y="113"/>
                  </a:cubicBezTo>
                  <a:cubicBezTo>
                    <a:pt x="365" y="113"/>
                    <a:pt x="365" y="113"/>
                    <a:pt x="365" y="113"/>
                  </a:cubicBezTo>
                  <a:cubicBezTo>
                    <a:pt x="367" y="113"/>
                    <a:pt x="368" y="112"/>
                    <a:pt x="369" y="110"/>
                  </a:cubicBezTo>
                  <a:cubicBezTo>
                    <a:pt x="371" y="106"/>
                    <a:pt x="373" y="103"/>
                    <a:pt x="376" y="101"/>
                  </a:cubicBezTo>
                  <a:cubicBezTo>
                    <a:pt x="377" y="100"/>
                    <a:pt x="377" y="100"/>
                    <a:pt x="377" y="100"/>
                  </a:cubicBezTo>
                  <a:cubicBezTo>
                    <a:pt x="377" y="101"/>
                    <a:pt x="377" y="101"/>
                    <a:pt x="377" y="101"/>
                  </a:cubicBezTo>
                  <a:cubicBezTo>
                    <a:pt x="378" y="101"/>
                    <a:pt x="379" y="102"/>
                    <a:pt x="380" y="102"/>
                  </a:cubicBezTo>
                  <a:cubicBezTo>
                    <a:pt x="380" y="102"/>
                    <a:pt x="380" y="102"/>
                    <a:pt x="380" y="102"/>
                  </a:cubicBezTo>
                  <a:cubicBezTo>
                    <a:pt x="383" y="102"/>
                    <a:pt x="385" y="100"/>
                    <a:pt x="385" y="97"/>
                  </a:cubicBezTo>
                  <a:cubicBezTo>
                    <a:pt x="385" y="96"/>
                    <a:pt x="384" y="94"/>
                    <a:pt x="383" y="92"/>
                  </a:cubicBezTo>
                  <a:cubicBezTo>
                    <a:pt x="381" y="91"/>
                    <a:pt x="380" y="90"/>
                    <a:pt x="378" y="90"/>
                  </a:cubicBezTo>
                  <a:cubicBezTo>
                    <a:pt x="378" y="90"/>
                    <a:pt x="378" y="90"/>
                    <a:pt x="378" y="90"/>
                  </a:cubicBezTo>
                  <a:cubicBezTo>
                    <a:pt x="376" y="90"/>
                    <a:pt x="375" y="91"/>
                    <a:pt x="374" y="91"/>
                  </a:cubicBezTo>
                  <a:cubicBezTo>
                    <a:pt x="369" y="94"/>
                    <a:pt x="365" y="98"/>
                    <a:pt x="363" y="103"/>
                  </a:cubicBezTo>
                  <a:cubicBezTo>
                    <a:pt x="362" y="104"/>
                    <a:pt x="362" y="104"/>
                    <a:pt x="362" y="104"/>
                  </a:cubicBezTo>
                  <a:cubicBezTo>
                    <a:pt x="361" y="104"/>
                    <a:pt x="361" y="104"/>
                    <a:pt x="361" y="104"/>
                  </a:cubicBezTo>
                  <a:cubicBezTo>
                    <a:pt x="361" y="103"/>
                    <a:pt x="361" y="103"/>
                    <a:pt x="361" y="103"/>
                  </a:cubicBezTo>
                  <a:cubicBezTo>
                    <a:pt x="285" y="14"/>
                    <a:pt x="285" y="14"/>
                    <a:pt x="285" y="14"/>
                  </a:cubicBezTo>
                  <a:cubicBezTo>
                    <a:pt x="279" y="6"/>
                    <a:pt x="270" y="2"/>
                    <a:pt x="261" y="3"/>
                  </a:cubicBezTo>
                  <a:cubicBezTo>
                    <a:pt x="87" y="3"/>
                    <a:pt x="87" y="3"/>
                    <a:pt x="87" y="3"/>
                  </a:cubicBezTo>
                  <a:cubicBezTo>
                    <a:pt x="65" y="0"/>
                    <a:pt x="45" y="8"/>
                    <a:pt x="31" y="25"/>
                  </a:cubicBezTo>
                  <a:cubicBezTo>
                    <a:pt x="19" y="40"/>
                    <a:pt x="18" y="57"/>
                    <a:pt x="18" y="72"/>
                  </a:cubicBezTo>
                  <a:cubicBezTo>
                    <a:pt x="18" y="77"/>
                    <a:pt x="17" y="82"/>
                    <a:pt x="17" y="87"/>
                  </a:cubicBezTo>
                  <a:cubicBezTo>
                    <a:pt x="17" y="87"/>
                    <a:pt x="17" y="87"/>
                    <a:pt x="17" y="87"/>
                  </a:cubicBezTo>
                  <a:cubicBezTo>
                    <a:pt x="16" y="88"/>
                    <a:pt x="16" y="88"/>
                    <a:pt x="16" y="88"/>
                  </a:cubicBezTo>
                  <a:cubicBezTo>
                    <a:pt x="15" y="88"/>
                    <a:pt x="14" y="89"/>
                    <a:pt x="14" y="90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8" y="94"/>
                    <a:pt x="4" y="100"/>
                    <a:pt x="2" y="107"/>
                  </a:cubicBezTo>
                  <a:cubicBezTo>
                    <a:pt x="0" y="111"/>
                    <a:pt x="0" y="117"/>
                    <a:pt x="0" y="122"/>
                  </a:cubicBezTo>
                  <a:cubicBezTo>
                    <a:pt x="1" y="124"/>
                    <a:pt x="1" y="126"/>
                    <a:pt x="1" y="128"/>
                  </a:cubicBezTo>
                  <a:cubicBezTo>
                    <a:pt x="2" y="128"/>
                    <a:pt x="2" y="128"/>
                    <a:pt x="2" y="128"/>
                  </a:cubicBezTo>
                  <a:cubicBezTo>
                    <a:pt x="2" y="129"/>
                    <a:pt x="2" y="130"/>
                    <a:pt x="2" y="131"/>
                  </a:cubicBezTo>
                  <a:cubicBezTo>
                    <a:pt x="3" y="134"/>
                    <a:pt x="4" y="136"/>
                    <a:pt x="6" y="136"/>
                  </a:cubicBezTo>
                  <a:cubicBezTo>
                    <a:pt x="7" y="137"/>
                    <a:pt x="7" y="137"/>
                    <a:pt x="8" y="137"/>
                  </a:cubicBezTo>
                  <a:cubicBezTo>
                    <a:pt x="10" y="136"/>
                    <a:pt x="13" y="135"/>
                    <a:pt x="15" y="133"/>
                  </a:cubicBezTo>
                  <a:cubicBezTo>
                    <a:pt x="16" y="132"/>
                    <a:pt x="17" y="132"/>
                    <a:pt x="19" y="131"/>
                  </a:cubicBezTo>
                  <a:cubicBezTo>
                    <a:pt x="21" y="130"/>
                    <a:pt x="22" y="129"/>
                    <a:pt x="24" y="128"/>
                  </a:cubicBezTo>
                  <a:cubicBezTo>
                    <a:pt x="30" y="122"/>
                    <a:pt x="34" y="115"/>
                    <a:pt x="35" y="106"/>
                  </a:cubicBezTo>
                  <a:cubicBezTo>
                    <a:pt x="35" y="104"/>
                    <a:pt x="33" y="102"/>
                    <a:pt x="31" y="101"/>
                  </a:cubicBezTo>
                  <a:cubicBezTo>
                    <a:pt x="30" y="101"/>
                    <a:pt x="29" y="101"/>
                    <a:pt x="28" y="102"/>
                  </a:cubicBezTo>
                  <a:cubicBezTo>
                    <a:pt x="27" y="103"/>
                    <a:pt x="26" y="104"/>
                    <a:pt x="26" y="105"/>
                  </a:cubicBezTo>
                  <a:cubicBezTo>
                    <a:pt x="25" y="111"/>
                    <a:pt x="23" y="117"/>
                    <a:pt x="18" y="121"/>
                  </a:cubicBezTo>
                  <a:cubicBezTo>
                    <a:pt x="17" y="122"/>
                    <a:pt x="16" y="123"/>
                    <a:pt x="15" y="123"/>
                  </a:cubicBezTo>
                  <a:cubicBezTo>
                    <a:pt x="14" y="124"/>
                    <a:pt x="12" y="124"/>
                    <a:pt x="11" y="125"/>
                  </a:cubicBezTo>
                  <a:cubicBezTo>
                    <a:pt x="10" y="126"/>
                    <a:pt x="10" y="126"/>
                    <a:pt x="10" y="126"/>
                  </a:cubicBezTo>
                  <a:cubicBezTo>
                    <a:pt x="10" y="124"/>
                    <a:pt x="10" y="124"/>
                    <a:pt x="10" y="124"/>
                  </a:cubicBezTo>
                  <a:cubicBezTo>
                    <a:pt x="9" y="123"/>
                    <a:pt x="9" y="122"/>
                    <a:pt x="9" y="121"/>
                  </a:cubicBezTo>
                  <a:cubicBezTo>
                    <a:pt x="9" y="117"/>
                    <a:pt x="9" y="113"/>
                    <a:pt x="10" y="110"/>
                  </a:cubicBezTo>
                  <a:cubicBezTo>
                    <a:pt x="12" y="105"/>
                    <a:pt x="14" y="101"/>
                    <a:pt x="18" y="97"/>
                  </a:cubicBezTo>
                  <a:cubicBezTo>
                    <a:pt x="20" y="96"/>
                    <a:pt x="22" y="95"/>
                    <a:pt x="23" y="94"/>
                  </a:cubicBezTo>
                  <a:cubicBezTo>
                    <a:pt x="24" y="93"/>
                    <a:pt x="25" y="92"/>
                    <a:pt x="25" y="91"/>
                  </a:cubicBezTo>
                  <a:cubicBezTo>
                    <a:pt x="26" y="85"/>
                    <a:pt x="27" y="78"/>
                    <a:pt x="27" y="72"/>
                  </a:cubicBezTo>
                  <a:cubicBezTo>
                    <a:pt x="26" y="58"/>
                    <a:pt x="28" y="43"/>
                    <a:pt x="38" y="30"/>
                  </a:cubicBezTo>
                  <a:cubicBezTo>
                    <a:pt x="42" y="25"/>
                    <a:pt x="46" y="22"/>
                    <a:pt x="51" y="19"/>
                  </a:cubicBezTo>
                  <a:cubicBezTo>
                    <a:pt x="53" y="18"/>
                    <a:pt x="53" y="18"/>
                    <a:pt x="53" y="18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44" y="55"/>
                    <a:pt x="44" y="58"/>
                    <a:pt x="45" y="61"/>
                  </a:cubicBezTo>
                  <a:cubicBezTo>
                    <a:pt x="57" y="122"/>
                    <a:pt x="57" y="122"/>
                    <a:pt x="57" y="122"/>
                  </a:cubicBezTo>
                  <a:cubicBezTo>
                    <a:pt x="38" y="153"/>
                    <a:pt x="38" y="153"/>
                    <a:pt x="38" y="153"/>
                  </a:cubicBezTo>
                  <a:cubicBezTo>
                    <a:pt x="36" y="156"/>
                    <a:pt x="35" y="160"/>
                    <a:pt x="35" y="164"/>
                  </a:cubicBezTo>
                  <a:cubicBezTo>
                    <a:pt x="35" y="246"/>
                    <a:pt x="35" y="246"/>
                    <a:pt x="35" y="246"/>
                  </a:cubicBezTo>
                  <a:cubicBezTo>
                    <a:pt x="35" y="251"/>
                    <a:pt x="38" y="254"/>
                    <a:pt x="43" y="254"/>
                  </a:cubicBezTo>
                  <a:cubicBezTo>
                    <a:pt x="60" y="254"/>
                    <a:pt x="60" y="254"/>
                    <a:pt x="60" y="254"/>
                  </a:cubicBezTo>
                  <a:cubicBezTo>
                    <a:pt x="65" y="254"/>
                    <a:pt x="68" y="251"/>
                    <a:pt x="68" y="246"/>
                  </a:cubicBezTo>
                  <a:cubicBezTo>
                    <a:pt x="68" y="188"/>
                    <a:pt x="68" y="188"/>
                    <a:pt x="68" y="188"/>
                  </a:cubicBezTo>
                  <a:cubicBezTo>
                    <a:pt x="83" y="176"/>
                    <a:pt x="83" y="176"/>
                    <a:pt x="83" y="176"/>
                  </a:cubicBezTo>
                  <a:cubicBezTo>
                    <a:pt x="106" y="239"/>
                    <a:pt x="106" y="239"/>
                    <a:pt x="106" y="239"/>
                  </a:cubicBezTo>
                  <a:cubicBezTo>
                    <a:pt x="107" y="242"/>
                    <a:pt x="109" y="244"/>
                    <a:pt x="112" y="244"/>
                  </a:cubicBezTo>
                  <a:cubicBezTo>
                    <a:pt x="128" y="244"/>
                    <a:pt x="128" y="244"/>
                    <a:pt x="128" y="244"/>
                  </a:cubicBezTo>
                  <a:cubicBezTo>
                    <a:pt x="128" y="244"/>
                    <a:pt x="128" y="244"/>
                    <a:pt x="128" y="244"/>
                  </a:cubicBezTo>
                  <a:cubicBezTo>
                    <a:pt x="130" y="244"/>
                    <a:pt x="132" y="243"/>
                    <a:pt x="133" y="241"/>
                  </a:cubicBezTo>
                  <a:cubicBezTo>
                    <a:pt x="134" y="239"/>
                    <a:pt x="135" y="237"/>
                    <a:pt x="134" y="235"/>
                  </a:cubicBezTo>
                  <a:cubicBezTo>
                    <a:pt x="120" y="181"/>
                    <a:pt x="120" y="181"/>
                    <a:pt x="120" y="181"/>
                  </a:cubicBezTo>
                  <a:cubicBezTo>
                    <a:pt x="144" y="147"/>
                    <a:pt x="144" y="147"/>
                    <a:pt x="144" y="147"/>
                  </a:cubicBezTo>
                  <a:cubicBezTo>
                    <a:pt x="200" y="147"/>
                    <a:pt x="200" y="147"/>
                    <a:pt x="200" y="147"/>
                  </a:cubicBezTo>
                  <a:cubicBezTo>
                    <a:pt x="185" y="236"/>
                    <a:pt x="185" y="236"/>
                    <a:pt x="185" y="236"/>
                  </a:cubicBezTo>
                  <a:cubicBezTo>
                    <a:pt x="184" y="240"/>
                    <a:pt x="187" y="243"/>
                    <a:pt x="191" y="244"/>
                  </a:cubicBezTo>
                  <a:cubicBezTo>
                    <a:pt x="191" y="244"/>
                    <a:pt x="191" y="244"/>
                    <a:pt x="192" y="244"/>
                  </a:cubicBezTo>
                  <a:cubicBezTo>
                    <a:pt x="209" y="244"/>
                    <a:pt x="209" y="244"/>
                    <a:pt x="209" y="244"/>
                  </a:cubicBezTo>
                  <a:cubicBezTo>
                    <a:pt x="209" y="244"/>
                    <a:pt x="209" y="244"/>
                    <a:pt x="209" y="244"/>
                  </a:cubicBezTo>
                  <a:cubicBezTo>
                    <a:pt x="212" y="244"/>
                    <a:pt x="215" y="242"/>
                    <a:pt x="216" y="239"/>
                  </a:cubicBezTo>
                  <a:cubicBezTo>
                    <a:pt x="237" y="177"/>
                    <a:pt x="237" y="177"/>
                    <a:pt x="237" y="177"/>
                  </a:cubicBezTo>
                  <a:cubicBezTo>
                    <a:pt x="245" y="248"/>
                    <a:pt x="245" y="248"/>
                    <a:pt x="245" y="248"/>
                  </a:cubicBezTo>
                  <a:cubicBezTo>
                    <a:pt x="245" y="249"/>
                    <a:pt x="245" y="251"/>
                    <a:pt x="246" y="252"/>
                  </a:cubicBezTo>
                  <a:cubicBezTo>
                    <a:pt x="248" y="253"/>
                    <a:pt x="249" y="254"/>
                    <a:pt x="251" y="254"/>
                  </a:cubicBezTo>
                  <a:cubicBezTo>
                    <a:pt x="269" y="254"/>
                    <a:pt x="269" y="254"/>
                    <a:pt x="269" y="254"/>
                  </a:cubicBezTo>
                  <a:cubicBezTo>
                    <a:pt x="273" y="254"/>
                    <a:pt x="276" y="251"/>
                    <a:pt x="276" y="247"/>
                  </a:cubicBezTo>
                  <a:cubicBezTo>
                    <a:pt x="279" y="180"/>
                    <a:pt x="279" y="180"/>
                    <a:pt x="279" y="180"/>
                  </a:cubicBezTo>
                  <a:cubicBezTo>
                    <a:pt x="289" y="157"/>
                    <a:pt x="289" y="157"/>
                    <a:pt x="289" y="157"/>
                  </a:cubicBezTo>
                  <a:cubicBezTo>
                    <a:pt x="289" y="156"/>
                    <a:pt x="290" y="156"/>
                    <a:pt x="291" y="156"/>
                  </a:cubicBezTo>
                  <a:cubicBezTo>
                    <a:pt x="291" y="156"/>
                    <a:pt x="291" y="156"/>
                    <a:pt x="291" y="156"/>
                  </a:cubicBezTo>
                  <a:cubicBezTo>
                    <a:pt x="332" y="157"/>
                    <a:pt x="332" y="157"/>
                    <a:pt x="332" y="157"/>
                  </a:cubicBezTo>
                  <a:cubicBezTo>
                    <a:pt x="332" y="158"/>
                    <a:pt x="332" y="158"/>
                    <a:pt x="332" y="158"/>
                  </a:cubicBezTo>
                  <a:cubicBezTo>
                    <a:pt x="332" y="158"/>
                    <a:pt x="333" y="159"/>
                    <a:pt x="333" y="160"/>
                  </a:cubicBezTo>
                  <a:cubicBezTo>
                    <a:pt x="334" y="161"/>
                    <a:pt x="334" y="161"/>
                    <a:pt x="334" y="161"/>
                  </a:cubicBezTo>
                  <a:cubicBezTo>
                    <a:pt x="339" y="170"/>
                    <a:pt x="344" y="177"/>
                    <a:pt x="352" y="184"/>
                  </a:cubicBezTo>
                  <a:cubicBezTo>
                    <a:pt x="359" y="191"/>
                    <a:pt x="368" y="197"/>
                    <a:pt x="378" y="202"/>
                  </a:cubicBezTo>
                  <a:cubicBezTo>
                    <a:pt x="378" y="202"/>
                    <a:pt x="378" y="202"/>
                    <a:pt x="378" y="202"/>
                  </a:cubicBezTo>
                  <a:cubicBezTo>
                    <a:pt x="381" y="205"/>
                    <a:pt x="387" y="205"/>
                    <a:pt x="391" y="203"/>
                  </a:cubicBezTo>
                  <a:lnTo>
                    <a:pt x="398" y="199"/>
                  </a:lnTo>
                  <a:close/>
                  <a:moveTo>
                    <a:pt x="112" y="178"/>
                  </a:moveTo>
                  <a:cubicBezTo>
                    <a:pt x="111" y="179"/>
                    <a:pt x="111" y="180"/>
                    <a:pt x="111" y="182"/>
                  </a:cubicBezTo>
                  <a:cubicBezTo>
                    <a:pt x="125" y="235"/>
                    <a:pt x="125" y="235"/>
                    <a:pt x="125" y="235"/>
                  </a:cubicBezTo>
                  <a:cubicBezTo>
                    <a:pt x="114" y="235"/>
                    <a:pt x="114" y="235"/>
                    <a:pt x="114" y="235"/>
                  </a:cubicBezTo>
                  <a:cubicBezTo>
                    <a:pt x="90" y="171"/>
                    <a:pt x="90" y="171"/>
                    <a:pt x="90" y="171"/>
                  </a:cubicBezTo>
                  <a:cubicBezTo>
                    <a:pt x="90" y="170"/>
                    <a:pt x="90" y="170"/>
                    <a:pt x="90" y="170"/>
                  </a:cubicBezTo>
                  <a:cubicBezTo>
                    <a:pt x="91" y="169"/>
                    <a:pt x="91" y="169"/>
                    <a:pt x="91" y="169"/>
                  </a:cubicBezTo>
                  <a:cubicBezTo>
                    <a:pt x="115" y="149"/>
                    <a:pt x="115" y="149"/>
                    <a:pt x="115" y="149"/>
                  </a:cubicBezTo>
                  <a:cubicBezTo>
                    <a:pt x="117" y="148"/>
                    <a:pt x="119" y="147"/>
                    <a:pt x="121" y="147"/>
                  </a:cubicBezTo>
                  <a:cubicBezTo>
                    <a:pt x="121" y="147"/>
                    <a:pt x="121" y="147"/>
                    <a:pt x="121" y="147"/>
                  </a:cubicBezTo>
                  <a:cubicBezTo>
                    <a:pt x="133" y="147"/>
                    <a:pt x="133" y="147"/>
                    <a:pt x="133" y="147"/>
                  </a:cubicBezTo>
                  <a:lnTo>
                    <a:pt x="112" y="178"/>
                  </a:lnTo>
                  <a:close/>
                  <a:moveTo>
                    <a:pt x="233" y="164"/>
                  </a:moveTo>
                  <a:cubicBezTo>
                    <a:pt x="208" y="235"/>
                    <a:pt x="208" y="235"/>
                    <a:pt x="208" y="235"/>
                  </a:cubicBezTo>
                  <a:cubicBezTo>
                    <a:pt x="194" y="235"/>
                    <a:pt x="194" y="235"/>
                    <a:pt x="194" y="235"/>
                  </a:cubicBezTo>
                  <a:cubicBezTo>
                    <a:pt x="209" y="147"/>
                    <a:pt x="209" y="147"/>
                    <a:pt x="209" y="147"/>
                  </a:cubicBezTo>
                  <a:cubicBezTo>
                    <a:pt x="217" y="147"/>
                    <a:pt x="217" y="147"/>
                    <a:pt x="217" y="147"/>
                  </a:cubicBezTo>
                  <a:cubicBezTo>
                    <a:pt x="217" y="147"/>
                    <a:pt x="217" y="147"/>
                    <a:pt x="217" y="147"/>
                  </a:cubicBezTo>
                  <a:cubicBezTo>
                    <a:pt x="219" y="147"/>
                    <a:pt x="221" y="148"/>
                    <a:pt x="223" y="150"/>
                  </a:cubicBezTo>
                  <a:cubicBezTo>
                    <a:pt x="233" y="163"/>
                    <a:pt x="233" y="163"/>
                    <a:pt x="233" y="163"/>
                  </a:cubicBezTo>
                  <a:lnTo>
                    <a:pt x="233" y="1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Rectangle 166"/>
            <p:cNvSpPr>
              <a:spLocks noChangeArrowheads="1"/>
            </p:cNvSpPr>
            <p:nvPr/>
          </p:nvSpPr>
          <p:spPr bwMode="auto">
            <a:xfrm>
              <a:off x="2547" y="2157"/>
              <a:ext cx="1" cy="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8" name="Freeform 134"/>
          <p:cNvSpPr>
            <a:spLocks noChangeAspect="1" noEditPoints="1"/>
          </p:cNvSpPr>
          <p:nvPr/>
        </p:nvSpPr>
        <p:spPr bwMode="auto">
          <a:xfrm>
            <a:off x="1992716" y="3818484"/>
            <a:ext cx="554037" cy="498764"/>
          </a:xfrm>
          <a:custGeom>
            <a:avLst/>
            <a:gdLst>
              <a:gd name="T0" fmla="*/ 303 w 361"/>
              <a:gd name="T1" fmla="*/ 54 h 325"/>
              <a:gd name="T2" fmla="*/ 176 w 361"/>
              <a:gd name="T3" fmla="*/ 42 h 325"/>
              <a:gd name="T4" fmla="*/ 23 w 361"/>
              <a:gd name="T5" fmla="*/ 15 h 325"/>
              <a:gd name="T6" fmla="*/ 63 w 361"/>
              <a:gd name="T7" fmla="*/ 263 h 325"/>
              <a:gd name="T8" fmla="*/ 295 w 361"/>
              <a:gd name="T9" fmla="*/ 310 h 325"/>
              <a:gd name="T10" fmla="*/ 361 w 361"/>
              <a:gd name="T11" fmla="*/ 292 h 325"/>
              <a:gd name="T12" fmla="*/ 224 w 361"/>
              <a:gd name="T13" fmla="*/ 147 h 325"/>
              <a:gd name="T14" fmla="*/ 166 w 361"/>
              <a:gd name="T15" fmla="*/ 197 h 325"/>
              <a:gd name="T16" fmla="*/ 129 w 361"/>
              <a:gd name="T17" fmla="*/ 183 h 325"/>
              <a:gd name="T18" fmla="*/ 141 w 361"/>
              <a:gd name="T19" fmla="*/ 167 h 325"/>
              <a:gd name="T20" fmla="*/ 169 w 361"/>
              <a:gd name="T21" fmla="*/ 121 h 325"/>
              <a:gd name="T22" fmla="*/ 196 w 361"/>
              <a:gd name="T23" fmla="*/ 145 h 325"/>
              <a:gd name="T24" fmla="*/ 167 w 361"/>
              <a:gd name="T25" fmla="*/ 168 h 325"/>
              <a:gd name="T26" fmla="*/ 69 w 361"/>
              <a:gd name="T27" fmla="*/ 80 h 325"/>
              <a:gd name="T28" fmla="*/ 55 w 361"/>
              <a:gd name="T29" fmla="*/ 46 h 325"/>
              <a:gd name="T30" fmla="*/ 108 w 361"/>
              <a:gd name="T31" fmla="*/ 63 h 325"/>
              <a:gd name="T32" fmla="*/ 131 w 361"/>
              <a:gd name="T33" fmla="*/ 85 h 325"/>
              <a:gd name="T34" fmla="*/ 81 w 361"/>
              <a:gd name="T35" fmla="*/ 113 h 325"/>
              <a:gd name="T36" fmla="*/ 160 w 361"/>
              <a:gd name="T37" fmla="*/ 98 h 325"/>
              <a:gd name="T38" fmla="*/ 126 w 361"/>
              <a:gd name="T39" fmla="*/ 143 h 325"/>
              <a:gd name="T40" fmla="*/ 175 w 361"/>
              <a:gd name="T41" fmla="*/ 178 h 325"/>
              <a:gd name="T42" fmla="*/ 226 w 361"/>
              <a:gd name="T43" fmla="*/ 158 h 325"/>
              <a:gd name="T44" fmla="*/ 177 w 361"/>
              <a:gd name="T45" fmla="*/ 198 h 325"/>
              <a:gd name="T46" fmla="*/ 214 w 361"/>
              <a:gd name="T47" fmla="*/ 78 h 325"/>
              <a:gd name="T48" fmla="*/ 197 w 361"/>
              <a:gd name="T49" fmla="*/ 119 h 325"/>
              <a:gd name="T50" fmla="*/ 170 w 361"/>
              <a:gd name="T51" fmla="*/ 97 h 325"/>
              <a:gd name="T52" fmla="*/ 171 w 361"/>
              <a:gd name="T53" fmla="*/ 50 h 325"/>
              <a:gd name="T54" fmla="*/ 164 w 361"/>
              <a:gd name="T55" fmla="*/ 88 h 325"/>
              <a:gd name="T56" fmla="*/ 171 w 361"/>
              <a:gd name="T57" fmla="*/ 49 h 325"/>
              <a:gd name="T58" fmla="*/ 135 w 361"/>
              <a:gd name="T59" fmla="*/ 54 h 325"/>
              <a:gd name="T60" fmla="*/ 106 w 361"/>
              <a:gd name="T61" fmla="*/ 54 h 325"/>
              <a:gd name="T62" fmla="*/ 65 w 361"/>
              <a:gd name="T63" fmla="*/ 9 h 325"/>
              <a:gd name="T64" fmla="*/ 97 w 361"/>
              <a:gd name="T65" fmla="*/ 32 h 325"/>
              <a:gd name="T66" fmla="*/ 63 w 361"/>
              <a:gd name="T67" fmla="*/ 10 h 325"/>
              <a:gd name="T68" fmla="*/ 55 w 361"/>
              <a:gd name="T69" fmla="*/ 33 h 325"/>
              <a:gd name="T70" fmla="*/ 23 w 361"/>
              <a:gd name="T71" fmla="*/ 36 h 325"/>
              <a:gd name="T72" fmla="*/ 17 w 361"/>
              <a:gd name="T73" fmla="*/ 48 h 325"/>
              <a:gd name="T74" fmla="*/ 43 w 361"/>
              <a:gd name="T75" fmla="*/ 79 h 325"/>
              <a:gd name="T76" fmla="*/ 52 w 361"/>
              <a:gd name="T77" fmla="*/ 137 h 325"/>
              <a:gd name="T78" fmla="*/ 65 w 361"/>
              <a:gd name="T79" fmla="*/ 92 h 325"/>
              <a:gd name="T80" fmla="*/ 78 w 361"/>
              <a:gd name="T81" fmla="*/ 172 h 325"/>
              <a:gd name="T82" fmla="*/ 81 w 361"/>
              <a:gd name="T83" fmla="*/ 124 h 325"/>
              <a:gd name="T84" fmla="*/ 102 w 361"/>
              <a:gd name="T85" fmla="*/ 142 h 325"/>
              <a:gd name="T86" fmla="*/ 106 w 361"/>
              <a:gd name="T87" fmla="*/ 200 h 325"/>
              <a:gd name="T88" fmla="*/ 113 w 361"/>
              <a:gd name="T89" fmla="*/ 150 h 325"/>
              <a:gd name="T90" fmla="*/ 130 w 361"/>
              <a:gd name="T91" fmla="*/ 171 h 325"/>
              <a:gd name="T92" fmla="*/ 95 w 361"/>
              <a:gd name="T93" fmla="*/ 258 h 325"/>
              <a:gd name="T94" fmla="*/ 219 w 361"/>
              <a:gd name="T95" fmla="*/ 209 h 325"/>
              <a:gd name="T96" fmla="*/ 277 w 361"/>
              <a:gd name="T97" fmla="*/ 280 h 325"/>
              <a:gd name="T98" fmla="*/ 125 w 361"/>
              <a:gd name="T99" fmla="*/ 246 h 325"/>
              <a:gd name="T100" fmla="*/ 292 w 361"/>
              <a:gd name="T101" fmla="*/ 299 h 325"/>
              <a:gd name="T102" fmla="*/ 253 w 361"/>
              <a:gd name="T103" fmla="*/ 226 h 325"/>
              <a:gd name="T104" fmla="*/ 253 w 361"/>
              <a:gd name="T105" fmla="*/ 102 h 325"/>
              <a:gd name="T106" fmla="*/ 333 w 361"/>
              <a:gd name="T107" fmla="*/ 265 h 325"/>
              <a:gd name="T108" fmla="*/ 336 w 361"/>
              <a:gd name="T109" fmla="*/ 313 h 325"/>
              <a:gd name="T110" fmla="*/ 339 w 361"/>
              <a:gd name="T111" fmla="*/ 274 h 3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61" h="325">
                <a:moveTo>
                  <a:pt x="361" y="292"/>
                </a:moveTo>
                <a:cubicBezTo>
                  <a:pt x="361" y="286"/>
                  <a:pt x="358" y="280"/>
                  <a:pt x="353" y="276"/>
                </a:cubicBezTo>
                <a:cubicBezTo>
                  <a:pt x="343" y="266"/>
                  <a:pt x="343" y="266"/>
                  <a:pt x="343" y="266"/>
                </a:cubicBezTo>
                <a:cubicBezTo>
                  <a:pt x="344" y="265"/>
                  <a:pt x="344" y="265"/>
                  <a:pt x="344" y="265"/>
                </a:cubicBezTo>
                <a:cubicBezTo>
                  <a:pt x="355" y="240"/>
                  <a:pt x="352" y="210"/>
                  <a:pt x="337" y="176"/>
                </a:cubicBezTo>
                <a:cubicBezTo>
                  <a:pt x="296" y="87"/>
                  <a:pt x="303" y="55"/>
                  <a:pt x="303" y="54"/>
                </a:cubicBezTo>
                <a:cubicBezTo>
                  <a:pt x="303" y="52"/>
                  <a:pt x="303" y="50"/>
                  <a:pt x="301" y="49"/>
                </a:cubicBezTo>
                <a:cubicBezTo>
                  <a:pt x="300" y="48"/>
                  <a:pt x="298" y="48"/>
                  <a:pt x="296" y="49"/>
                </a:cubicBezTo>
                <a:cubicBezTo>
                  <a:pt x="280" y="55"/>
                  <a:pt x="262" y="72"/>
                  <a:pt x="249" y="91"/>
                </a:cubicBezTo>
                <a:cubicBezTo>
                  <a:pt x="248" y="93"/>
                  <a:pt x="248" y="93"/>
                  <a:pt x="248" y="93"/>
                </a:cubicBezTo>
                <a:cubicBezTo>
                  <a:pt x="246" y="92"/>
                  <a:pt x="246" y="92"/>
                  <a:pt x="246" y="92"/>
                </a:cubicBezTo>
                <a:cubicBezTo>
                  <a:pt x="222" y="73"/>
                  <a:pt x="198" y="56"/>
                  <a:pt x="176" y="42"/>
                </a:cubicBezTo>
                <a:cubicBezTo>
                  <a:pt x="176" y="42"/>
                  <a:pt x="176" y="42"/>
                  <a:pt x="176" y="42"/>
                </a:cubicBezTo>
                <a:cubicBezTo>
                  <a:pt x="164" y="35"/>
                  <a:pt x="152" y="29"/>
                  <a:pt x="142" y="23"/>
                </a:cubicBezTo>
                <a:cubicBezTo>
                  <a:pt x="139" y="22"/>
                  <a:pt x="137" y="21"/>
                  <a:pt x="135" y="20"/>
                </a:cubicBezTo>
                <a:cubicBezTo>
                  <a:pt x="130" y="17"/>
                  <a:pt x="125" y="15"/>
                  <a:pt x="120" y="13"/>
                </a:cubicBezTo>
                <a:cubicBezTo>
                  <a:pt x="99" y="5"/>
                  <a:pt x="81" y="1"/>
                  <a:pt x="65" y="1"/>
                </a:cubicBezTo>
                <a:cubicBezTo>
                  <a:pt x="48" y="0"/>
                  <a:pt x="34" y="5"/>
                  <a:pt x="23" y="15"/>
                </a:cubicBezTo>
                <a:cubicBezTo>
                  <a:pt x="0" y="37"/>
                  <a:pt x="2" y="71"/>
                  <a:pt x="28" y="118"/>
                </a:cubicBezTo>
                <a:cubicBezTo>
                  <a:pt x="29" y="120"/>
                  <a:pt x="30" y="122"/>
                  <a:pt x="32" y="124"/>
                </a:cubicBezTo>
                <a:cubicBezTo>
                  <a:pt x="49" y="152"/>
                  <a:pt x="74" y="183"/>
                  <a:pt x="107" y="218"/>
                </a:cubicBezTo>
                <a:cubicBezTo>
                  <a:pt x="108" y="220"/>
                  <a:pt x="108" y="220"/>
                  <a:pt x="108" y="220"/>
                </a:cubicBezTo>
                <a:cubicBezTo>
                  <a:pt x="106" y="221"/>
                  <a:pt x="106" y="221"/>
                  <a:pt x="106" y="221"/>
                </a:cubicBezTo>
                <a:cubicBezTo>
                  <a:pt x="86" y="233"/>
                  <a:pt x="70" y="249"/>
                  <a:pt x="63" y="263"/>
                </a:cubicBezTo>
                <a:cubicBezTo>
                  <a:pt x="62" y="264"/>
                  <a:pt x="62" y="266"/>
                  <a:pt x="63" y="267"/>
                </a:cubicBezTo>
                <a:cubicBezTo>
                  <a:pt x="64" y="268"/>
                  <a:pt x="66" y="269"/>
                  <a:pt x="67" y="269"/>
                </a:cubicBezTo>
                <a:cubicBezTo>
                  <a:pt x="71" y="268"/>
                  <a:pt x="74" y="268"/>
                  <a:pt x="77" y="268"/>
                </a:cubicBezTo>
                <a:cubicBezTo>
                  <a:pt x="84" y="267"/>
                  <a:pt x="89" y="267"/>
                  <a:pt x="95" y="267"/>
                </a:cubicBezTo>
                <a:cubicBezTo>
                  <a:pt x="113" y="267"/>
                  <a:pt x="137" y="272"/>
                  <a:pt x="201" y="300"/>
                </a:cubicBezTo>
                <a:cubicBezTo>
                  <a:pt x="241" y="317"/>
                  <a:pt x="273" y="320"/>
                  <a:pt x="295" y="310"/>
                </a:cubicBezTo>
                <a:cubicBezTo>
                  <a:pt x="297" y="310"/>
                  <a:pt x="297" y="310"/>
                  <a:pt x="297" y="310"/>
                </a:cubicBezTo>
                <a:cubicBezTo>
                  <a:pt x="306" y="318"/>
                  <a:pt x="306" y="318"/>
                  <a:pt x="306" y="318"/>
                </a:cubicBezTo>
                <a:cubicBezTo>
                  <a:pt x="311" y="323"/>
                  <a:pt x="318" y="325"/>
                  <a:pt x="325" y="325"/>
                </a:cubicBezTo>
                <a:cubicBezTo>
                  <a:pt x="332" y="325"/>
                  <a:pt x="338" y="323"/>
                  <a:pt x="343" y="318"/>
                </a:cubicBezTo>
                <a:cubicBezTo>
                  <a:pt x="353" y="309"/>
                  <a:pt x="353" y="309"/>
                  <a:pt x="353" y="309"/>
                </a:cubicBezTo>
                <a:cubicBezTo>
                  <a:pt x="358" y="305"/>
                  <a:pt x="361" y="299"/>
                  <a:pt x="361" y="292"/>
                </a:cubicBezTo>
                <a:close/>
                <a:moveTo>
                  <a:pt x="239" y="102"/>
                </a:moveTo>
                <a:cubicBezTo>
                  <a:pt x="242" y="103"/>
                  <a:pt x="242" y="103"/>
                  <a:pt x="242" y="103"/>
                </a:cubicBezTo>
                <a:cubicBezTo>
                  <a:pt x="240" y="105"/>
                  <a:pt x="240" y="105"/>
                  <a:pt x="240" y="105"/>
                </a:cubicBezTo>
                <a:cubicBezTo>
                  <a:pt x="234" y="118"/>
                  <a:pt x="229" y="132"/>
                  <a:pt x="227" y="146"/>
                </a:cubicBezTo>
                <a:cubicBezTo>
                  <a:pt x="227" y="148"/>
                  <a:pt x="227" y="148"/>
                  <a:pt x="227" y="148"/>
                </a:cubicBezTo>
                <a:cubicBezTo>
                  <a:pt x="224" y="147"/>
                  <a:pt x="224" y="147"/>
                  <a:pt x="224" y="147"/>
                </a:cubicBezTo>
                <a:cubicBezTo>
                  <a:pt x="219" y="146"/>
                  <a:pt x="213" y="145"/>
                  <a:pt x="208" y="146"/>
                </a:cubicBezTo>
                <a:cubicBezTo>
                  <a:pt x="207" y="146"/>
                  <a:pt x="207" y="146"/>
                  <a:pt x="207" y="146"/>
                </a:cubicBezTo>
                <a:cubicBezTo>
                  <a:pt x="206" y="145"/>
                  <a:pt x="206" y="145"/>
                  <a:pt x="206" y="145"/>
                </a:cubicBezTo>
                <a:cubicBezTo>
                  <a:pt x="201" y="136"/>
                  <a:pt x="203" y="120"/>
                  <a:pt x="214" y="110"/>
                </a:cubicBezTo>
                <a:cubicBezTo>
                  <a:pt x="221" y="104"/>
                  <a:pt x="230" y="101"/>
                  <a:pt x="239" y="102"/>
                </a:cubicBezTo>
                <a:close/>
                <a:moveTo>
                  <a:pt x="166" y="197"/>
                </a:moveTo>
                <a:cubicBezTo>
                  <a:pt x="166" y="200"/>
                  <a:pt x="166" y="200"/>
                  <a:pt x="166" y="200"/>
                </a:cubicBezTo>
                <a:cubicBezTo>
                  <a:pt x="164" y="200"/>
                  <a:pt x="164" y="200"/>
                  <a:pt x="164" y="200"/>
                </a:cubicBezTo>
                <a:cubicBezTo>
                  <a:pt x="148" y="202"/>
                  <a:pt x="133" y="207"/>
                  <a:pt x="119" y="214"/>
                </a:cubicBezTo>
                <a:cubicBezTo>
                  <a:pt x="117" y="215"/>
                  <a:pt x="117" y="215"/>
                  <a:pt x="117" y="215"/>
                </a:cubicBezTo>
                <a:cubicBezTo>
                  <a:pt x="116" y="213"/>
                  <a:pt x="116" y="213"/>
                  <a:pt x="116" y="213"/>
                </a:cubicBezTo>
                <a:cubicBezTo>
                  <a:pt x="112" y="203"/>
                  <a:pt x="119" y="191"/>
                  <a:pt x="129" y="183"/>
                </a:cubicBezTo>
                <a:cubicBezTo>
                  <a:pt x="138" y="175"/>
                  <a:pt x="153" y="169"/>
                  <a:pt x="164" y="176"/>
                </a:cubicBezTo>
                <a:cubicBezTo>
                  <a:pt x="165" y="177"/>
                  <a:pt x="165" y="177"/>
                  <a:pt x="165" y="177"/>
                </a:cubicBezTo>
                <a:cubicBezTo>
                  <a:pt x="165" y="178"/>
                  <a:pt x="165" y="178"/>
                  <a:pt x="165" y="178"/>
                </a:cubicBezTo>
                <a:cubicBezTo>
                  <a:pt x="164" y="185"/>
                  <a:pt x="164" y="191"/>
                  <a:pt x="166" y="197"/>
                </a:cubicBezTo>
                <a:close/>
                <a:moveTo>
                  <a:pt x="142" y="166"/>
                </a:moveTo>
                <a:cubicBezTo>
                  <a:pt x="141" y="167"/>
                  <a:pt x="141" y="167"/>
                  <a:pt x="141" y="167"/>
                </a:cubicBezTo>
                <a:cubicBezTo>
                  <a:pt x="140" y="166"/>
                  <a:pt x="140" y="166"/>
                  <a:pt x="140" y="166"/>
                </a:cubicBezTo>
                <a:cubicBezTo>
                  <a:pt x="136" y="161"/>
                  <a:pt x="134" y="156"/>
                  <a:pt x="134" y="151"/>
                </a:cubicBezTo>
                <a:cubicBezTo>
                  <a:pt x="135" y="150"/>
                  <a:pt x="135" y="150"/>
                  <a:pt x="135" y="150"/>
                </a:cubicBezTo>
                <a:cubicBezTo>
                  <a:pt x="135" y="142"/>
                  <a:pt x="139" y="134"/>
                  <a:pt x="145" y="129"/>
                </a:cubicBezTo>
                <a:cubicBezTo>
                  <a:pt x="152" y="123"/>
                  <a:pt x="160" y="119"/>
                  <a:pt x="169" y="119"/>
                </a:cubicBezTo>
                <a:cubicBezTo>
                  <a:pt x="169" y="121"/>
                  <a:pt x="169" y="121"/>
                  <a:pt x="169" y="121"/>
                </a:cubicBezTo>
                <a:cubicBezTo>
                  <a:pt x="169" y="121"/>
                  <a:pt x="169" y="121"/>
                  <a:pt x="169" y="121"/>
                </a:cubicBezTo>
                <a:cubicBezTo>
                  <a:pt x="169" y="119"/>
                  <a:pt x="169" y="119"/>
                  <a:pt x="169" y="119"/>
                </a:cubicBezTo>
                <a:cubicBezTo>
                  <a:pt x="178" y="119"/>
                  <a:pt x="186" y="122"/>
                  <a:pt x="194" y="128"/>
                </a:cubicBezTo>
                <a:cubicBezTo>
                  <a:pt x="194" y="128"/>
                  <a:pt x="194" y="128"/>
                  <a:pt x="194" y="128"/>
                </a:cubicBezTo>
                <a:cubicBezTo>
                  <a:pt x="194" y="129"/>
                  <a:pt x="194" y="129"/>
                  <a:pt x="194" y="129"/>
                </a:cubicBezTo>
                <a:cubicBezTo>
                  <a:pt x="194" y="135"/>
                  <a:pt x="194" y="140"/>
                  <a:pt x="196" y="145"/>
                </a:cubicBezTo>
                <a:cubicBezTo>
                  <a:pt x="197" y="147"/>
                  <a:pt x="197" y="147"/>
                  <a:pt x="197" y="147"/>
                </a:cubicBezTo>
                <a:cubicBezTo>
                  <a:pt x="195" y="148"/>
                  <a:pt x="195" y="148"/>
                  <a:pt x="195" y="148"/>
                </a:cubicBezTo>
                <a:cubicBezTo>
                  <a:pt x="189" y="149"/>
                  <a:pt x="184" y="152"/>
                  <a:pt x="179" y="156"/>
                </a:cubicBezTo>
                <a:cubicBezTo>
                  <a:pt x="175" y="159"/>
                  <a:pt x="172" y="163"/>
                  <a:pt x="170" y="167"/>
                </a:cubicBezTo>
                <a:cubicBezTo>
                  <a:pt x="169" y="169"/>
                  <a:pt x="169" y="169"/>
                  <a:pt x="169" y="169"/>
                </a:cubicBezTo>
                <a:cubicBezTo>
                  <a:pt x="167" y="168"/>
                  <a:pt x="167" y="168"/>
                  <a:pt x="167" y="168"/>
                </a:cubicBezTo>
                <a:cubicBezTo>
                  <a:pt x="160" y="164"/>
                  <a:pt x="151" y="164"/>
                  <a:pt x="142" y="166"/>
                </a:cubicBezTo>
                <a:close/>
                <a:moveTo>
                  <a:pt x="95" y="55"/>
                </a:moveTo>
                <a:cubicBezTo>
                  <a:pt x="96" y="57"/>
                  <a:pt x="96" y="57"/>
                  <a:pt x="96" y="57"/>
                </a:cubicBezTo>
                <a:cubicBezTo>
                  <a:pt x="94" y="57"/>
                  <a:pt x="94" y="57"/>
                  <a:pt x="94" y="57"/>
                </a:cubicBezTo>
                <a:cubicBezTo>
                  <a:pt x="88" y="59"/>
                  <a:pt x="83" y="62"/>
                  <a:pt x="78" y="67"/>
                </a:cubicBezTo>
                <a:cubicBezTo>
                  <a:pt x="74" y="70"/>
                  <a:pt x="71" y="75"/>
                  <a:pt x="69" y="80"/>
                </a:cubicBezTo>
                <a:cubicBezTo>
                  <a:pt x="68" y="82"/>
                  <a:pt x="68" y="82"/>
                  <a:pt x="68" y="82"/>
                </a:cubicBezTo>
                <a:cubicBezTo>
                  <a:pt x="66" y="81"/>
                  <a:pt x="66" y="81"/>
                  <a:pt x="66" y="81"/>
                </a:cubicBezTo>
                <a:cubicBezTo>
                  <a:pt x="62" y="80"/>
                  <a:pt x="58" y="79"/>
                  <a:pt x="55" y="79"/>
                </a:cubicBezTo>
                <a:cubicBezTo>
                  <a:pt x="54" y="79"/>
                  <a:pt x="54" y="79"/>
                  <a:pt x="54" y="79"/>
                </a:cubicBezTo>
                <a:cubicBezTo>
                  <a:pt x="53" y="78"/>
                  <a:pt x="53" y="78"/>
                  <a:pt x="53" y="78"/>
                </a:cubicBezTo>
                <a:cubicBezTo>
                  <a:pt x="44" y="67"/>
                  <a:pt x="48" y="54"/>
                  <a:pt x="55" y="46"/>
                </a:cubicBezTo>
                <a:cubicBezTo>
                  <a:pt x="61" y="39"/>
                  <a:pt x="75" y="33"/>
                  <a:pt x="92" y="41"/>
                </a:cubicBezTo>
                <a:cubicBezTo>
                  <a:pt x="93" y="41"/>
                  <a:pt x="93" y="41"/>
                  <a:pt x="93" y="41"/>
                </a:cubicBezTo>
                <a:cubicBezTo>
                  <a:pt x="93" y="43"/>
                  <a:pt x="93" y="43"/>
                  <a:pt x="93" y="43"/>
                </a:cubicBezTo>
                <a:cubicBezTo>
                  <a:pt x="93" y="47"/>
                  <a:pt x="93" y="51"/>
                  <a:pt x="95" y="55"/>
                </a:cubicBezTo>
                <a:close/>
                <a:moveTo>
                  <a:pt x="85" y="72"/>
                </a:moveTo>
                <a:cubicBezTo>
                  <a:pt x="91" y="67"/>
                  <a:pt x="99" y="63"/>
                  <a:pt x="108" y="63"/>
                </a:cubicBezTo>
                <a:cubicBezTo>
                  <a:pt x="116" y="63"/>
                  <a:pt x="123" y="65"/>
                  <a:pt x="128" y="69"/>
                </a:cubicBezTo>
                <a:cubicBezTo>
                  <a:pt x="129" y="70"/>
                  <a:pt x="129" y="70"/>
                  <a:pt x="129" y="70"/>
                </a:cubicBezTo>
                <a:cubicBezTo>
                  <a:pt x="129" y="71"/>
                  <a:pt x="129" y="71"/>
                  <a:pt x="129" y="71"/>
                </a:cubicBezTo>
                <a:cubicBezTo>
                  <a:pt x="129" y="75"/>
                  <a:pt x="130" y="78"/>
                  <a:pt x="132" y="82"/>
                </a:cubicBezTo>
                <a:cubicBezTo>
                  <a:pt x="133" y="84"/>
                  <a:pt x="133" y="84"/>
                  <a:pt x="133" y="84"/>
                </a:cubicBezTo>
                <a:cubicBezTo>
                  <a:pt x="131" y="85"/>
                  <a:pt x="131" y="85"/>
                  <a:pt x="131" y="85"/>
                </a:cubicBezTo>
                <a:cubicBezTo>
                  <a:pt x="123" y="87"/>
                  <a:pt x="115" y="91"/>
                  <a:pt x="109" y="97"/>
                </a:cubicBezTo>
                <a:cubicBezTo>
                  <a:pt x="104" y="102"/>
                  <a:pt x="101" y="108"/>
                  <a:pt x="99" y="114"/>
                </a:cubicBezTo>
                <a:cubicBezTo>
                  <a:pt x="98" y="116"/>
                  <a:pt x="98" y="116"/>
                  <a:pt x="98" y="116"/>
                </a:cubicBezTo>
                <a:cubicBezTo>
                  <a:pt x="96" y="115"/>
                  <a:pt x="96" y="115"/>
                  <a:pt x="96" y="115"/>
                </a:cubicBezTo>
                <a:cubicBezTo>
                  <a:pt x="92" y="113"/>
                  <a:pt x="87" y="113"/>
                  <a:pt x="82" y="113"/>
                </a:cubicBezTo>
                <a:cubicBezTo>
                  <a:pt x="81" y="113"/>
                  <a:pt x="81" y="113"/>
                  <a:pt x="81" y="113"/>
                </a:cubicBezTo>
                <a:cubicBezTo>
                  <a:pt x="81" y="112"/>
                  <a:pt x="81" y="112"/>
                  <a:pt x="81" y="112"/>
                </a:cubicBezTo>
                <a:cubicBezTo>
                  <a:pt x="71" y="101"/>
                  <a:pt x="73" y="83"/>
                  <a:pt x="85" y="72"/>
                </a:cubicBezTo>
                <a:close/>
                <a:moveTo>
                  <a:pt x="116" y="103"/>
                </a:moveTo>
                <a:cubicBezTo>
                  <a:pt x="125" y="93"/>
                  <a:pt x="142" y="86"/>
                  <a:pt x="159" y="95"/>
                </a:cubicBezTo>
                <a:cubicBezTo>
                  <a:pt x="161" y="96"/>
                  <a:pt x="161" y="96"/>
                  <a:pt x="161" y="96"/>
                </a:cubicBezTo>
                <a:cubicBezTo>
                  <a:pt x="160" y="98"/>
                  <a:pt x="160" y="98"/>
                  <a:pt x="160" y="98"/>
                </a:cubicBezTo>
                <a:cubicBezTo>
                  <a:pt x="159" y="102"/>
                  <a:pt x="160" y="106"/>
                  <a:pt x="161" y="109"/>
                </a:cubicBezTo>
                <a:cubicBezTo>
                  <a:pt x="161" y="111"/>
                  <a:pt x="161" y="111"/>
                  <a:pt x="161" y="111"/>
                </a:cubicBezTo>
                <a:cubicBezTo>
                  <a:pt x="159" y="112"/>
                  <a:pt x="159" y="112"/>
                  <a:pt x="159" y="112"/>
                </a:cubicBezTo>
                <a:cubicBezTo>
                  <a:pt x="152" y="114"/>
                  <a:pt x="144" y="118"/>
                  <a:pt x="139" y="123"/>
                </a:cubicBezTo>
                <a:cubicBezTo>
                  <a:pt x="133" y="128"/>
                  <a:pt x="129" y="134"/>
                  <a:pt x="127" y="141"/>
                </a:cubicBezTo>
                <a:cubicBezTo>
                  <a:pt x="126" y="143"/>
                  <a:pt x="126" y="143"/>
                  <a:pt x="126" y="143"/>
                </a:cubicBezTo>
                <a:cubicBezTo>
                  <a:pt x="124" y="142"/>
                  <a:pt x="124" y="142"/>
                  <a:pt x="124" y="142"/>
                </a:cubicBezTo>
                <a:cubicBezTo>
                  <a:pt x="121" y="141"/>
                  <a:pt x="118" y="141"/>
                  <a:pt x="114" y="141"/>
                </a:cubicBezTo>
                <a:cubicBezTo>
                  <a:pt x="113" y="141"/>
                  <a:pt x="113" y="141"/>
                  <a:pt x="113" y="141"/>
                </a:cubicBezTo>
                <a:cubicBezTo>
                  <a:pt x="112" y="140"/>
                  <a:pt x="112" y="140"/>
                  <a:pt x="112" y="140"/>
                </a:cubicBezTo>
                <a:cubicBezTo>
                  <a:pt x="102" y="128"/>
                  <a:pt x="107" y="112"/>
                  <a:pt x="116" y="103"/>
                </a:cubicBezTo>
                <a:close/>
                <a:moveTo>
                  <a:pt x="175" y="178"/>
                </a:moveTo>
                <a:cubicBezTo>
                  <a:pt x="175" y="178"/>
                  <a:pt x="175" y="178"/>
                  <a:pt x="175" y="178"/>
                </a:cubicBezTo>
                <a:cubicBezTo>
                  <a:pt x="175" y="177"/>
                  <a:pt x="176" y="177"/>
                  <a:pt x="176" y="177"/>
                </a:cubicBezTo>
                <a:cubicBezTo>
                  <a:pt x="178" y="171"/>
                  <a:pt x="181" y="166"/>
                  <a:pt x="186" y="162"/>
                </a:cubicBezTo>
                <a:cubicBezTo>
                  <a:pt x="197" y="152"/>
                  <a:pt x="213" y="153"/>
                  <a:pt x="224" y="156"/>
                </a:cubicBezTo>
                <a:cubicBezTo>
                  <a:pt x="226" y="157"/>
                  <a:pt x="226" y="157"/>
                  <a:pt x="226" y="157"/>
                </a:cubicBezTo>
                <a:cubicBezTo>
                  <a:pt x="226" y="158"/>
                  <a:pt x="226" y="158"/>
                  <a:pt x="226" y="158"/>
                </a:cubicBezTo>
                <a:cubicBezTo>
                  <a:pt x="225" y="170"/>
                  <a:pt x="226" y="182"/>
                  <a:pt x="229" y="193"/>
                </a:cubicBezTo>
                <a:cubicBezTo>
                  <a:pt x="229" y="196"/>
                  <a:pt x="230" y="198"/>
                  <a:pt x="231" y="200"/>
                </a:cubicBezTo>
                <a:cubicBezTo>
                  <a:pt x="232" y="204"/>
                  <a:pt x="232" y="204"/>
                  <a:pt x="232" y="204"/>
                </a:cubicBezTo>
                <a:cubicBezTo>
                  <a:pt x="228" y="203"/>
                  <a:pt x="228" y="203"/>
                  <a:pt x="228" y="203"/>
                </a:cubicBezTo>
                <a:cubicBezTo>
                  <a:pt x="226" y="202"/>
                  <a:pt x="223" y="202"/>
                  <a:pt x="221" y="201"/>
                </a:cubicBezTo>
                <a:cubicBezTo>
                  <a:pt x="206" y="198"/>
                  <a:pt x="192" y="197"/>
                  <a:pt x="177" y="198"/>
                </a:cubicBezTo>
                <a:cubicBezTo>
                  <a:pt x="176" y="198"/>
                  <a:pt x="176" y="198"/>
                  <a:pt x="176" y="198"/>
                </a:cubicBezTo>
                <a:cubicBezTo>
                  <a:pt x="175" y="197"/>
                  <a:pt x="175" y="197"/>
                  <a:pt x="175" y="197"/>
                </a:cubicBezTo>
                <a:cubicBezTo>
                  <a:pt x="174" y="192"/>
                  <a:pt x="173" y="186"/>
                  <a:pt x="175" y="178"/>
                </a:cubicBezTo>
                <a:close/>
                <a:moveTo>
                  <a:pt x="212" y="78"/>
                </a:moveTo>
                <a:cubicBezTo>
                  <a:pt x="213" y="78"/>
                  <a:pt x="213" y="78"/>
                  <a:pt x="213" y="78"/>
                </a:cubicBezTo>
                <a:cubicBezTo>
                  <a:pt x="214" y="78"/>
                  <a:pt x="214" y="78"/>
                  <a:pt x="214" y="78"/>
                </a:cubicBezTo>
                <a:cubicBezTo>
                  <a:pt x="219" y="82"/>
                  <a:pt x="224" y="86"/>
                  <a:pt x="230" y="90"/>
                </a:cubicBezTo>
                <a:cubicBezTo>
                  <a:pt x="234" y="93"/>
                  <a:pt x="234" y="93"/>
                  <a:pt x="234" y="93"/>
                </a:cubicBezTo>
                <a:cubicBezTo>
                  <a:pt x="229" y="94"/>
                  <a:pt x="229" y="94"/>
                  <a:pt x="229" y="94"/>
                </a:cubicBezTo>
                <a:cubicBezTo>
                  <a:pt x="221" y="95"/>
                  <a:pt x="213" y="99"/>
                  <a:pt x="207" y="104"/>
                </a:cubicBezTo>
                <a:cubicBezTo>
                  <a:pt x="203" y="108"/>
                  <a:pt x="200" y="112"/>
                  <a:pt x="198" y="117"/>
                </a:cubicBezTo>
                <a:cubicBezTo>
                  <a:pt x="197" y="119"/>
                  <a:pt x="197" y="119"/>
                  <a:pt x="197" y="119"/>
                </a:cubicBezTo>
                <a:cubicBezTo>
                  <a:pt x="195" y="118"/>
                  <a:pt x="195" y="118"/>
                  <a:pt x="195" y="118"/>
                </a:cubicBezTo>
                <a:cubicBezTo>
                  <a:pt x="188" y="113"/>
                  <a:pt x="180" y="111"/>
                  <a:pt x="172" y="111"/>
                </a:cubicBezTo>
                <a:cubicBezTo>
                  <a:pt x="171" y="111"/>
                  <a:pt x="171" y="111"/>
                  <a:pt x="171" y="111"/>
                </a:cubicBezTo>
                <a:cubicBezTo>
                  <a:pt x="171" y="110"/>
                  <a:pt x="171" y="110"/>
                  <a:pt x="171" y="110"/>
                </a:cubicBezTo>
                <a:cubicBezTo>
                  <a:pt x="169" y="106"/>
                  <a:pt x="169" y="102"/>
                  <a:pt x="170" y="98"/>
                </a:cubicBezTo>
                <a:cubicBezTo>
                  <a:pt x="170" y="97"/>
                  <a:pt x="170" y="97"/>
                  <a:pt x="170" y="97"/>
                </a:cubicBezTo>
                <a:cubicBezTo>
                  <a:pt x="171" y="96"/>
                  <a:pt x="171" y="95"/>
                  <a:pt x="171" y="95"/>
                </a:cubicBezTo>
                <a:cubicBezTo>
                  <a:pt x="171" y="94"/>
                  <a:pt x="171" y="94"/>
                  <a:pt x="171" y="94"/>
                </a:cubicBezTo>
                <a:cubicBezTo>
                  <a:pt x="173" y="90"/>
                  <a:pt x="175" y="86"/>
                  <a:pt x="179" y="83"/>
                </a:cubicBezTo>
                <a:cubicBezTo>
                  <a:pt x="189" y="74"/>
                  <a:pt x="201" y="72"/>
                  <a:pt x="212" y="78"/>
                </a:cubicBezTo>
                <a:close/>
                <a:moveTo>
                  <a:pt x="171" y="49"/>
                </a:moveTo>
                <a:cubicBezTo>
                  <a:pt x="171" y="50"/>
                  <a:pt x="171" y="50"/>
                  <a:pt x="171" y="50"/>
                </a:cubicBezTo>
                <a:cubicBezTo>
                  <a:pt x="178" y="54"/>
                  <a:pt x="185" y="59"/>
                  <a:pt x="193" y="63"/>
                </a:cubicBezTo>
                <a:cubicBezTo>
                  <a:pt x="197" y="66"/>
                  <a:pt x="197" y="66"/>
                  <a:pt x="197" y="66"/>
                </a:cubicBezTo>
                <a:cubicBezTo>
                  <a:pt x="192" y="67"/>
                  <a:pt x="192" y="67"/>
                  <a:pt x="192" y="67"/>
                </a:cubicBezTo>
                <a:cubicBezTo>
                  <a:pt x="185" y="68"/>
                  <a:pt x="178" y="72"/>
                  <a:pt x="172" y="77"/>
                </a:cubicBezTo>
                <a:cubicBezTo>
                  <a:pt x="169" y="80"/>
                  <a:pt x="167" y="83"/>
                  <a:pt x="165" y="86"/>
                </a:cubicBezTo>
                <a:cubicBezTo>
                  <a:pt x="164" y="88"/>
                  <a:pt x="164" y="88"/>
                  <a:pt x="164" y="88"/>
                </a:cubicBezTo>
                <a:cubicBezTo>
                  <a:pt x="162" y="87"/>
                  <a:pt x="162" y="87"/>
                  <a:pt x="162" y="87"/>
                </a:cubicBezTo>
                <a:cubicBezTo>
                  <a:pt x="156" y="85"/>
                  <a:pt x="151" y="83"/>
                  <a:pt x="145" y="83"/>
                </a:cubicBezTo>
                <a:cubicBezTo>
                  <a:pt x="144" y="83"/>
                  <a:pt x="144" y="83"/>
                  <a:pt x="144" y="83"/>
                </a:cubicBezTo>
                <a:cubicBezTo>
                  <a:pt x="143" y="82"/>
                  <a:pt x="143" y="82"/>
                  <a:pt x="143" y="82"/>
                </a:cubicBezTo>
                <a:cubicBezTo>
                  <a:pt x="136" y="74"/>
                  <a:pt x="138" y="64"/>
                  <a:pt x="143" y="58"/>
                </a:cubicBezTo>
                <a:cubicBezTo>
                  <a:pt x="147" y="52"/>
                  <a:pt x="158" y="45"/>
                  <a:pt x="171" y="49"/>
                </a:cubicBezTo>
                <a:close/>
                <a:moveTo>
                  <a:pt x="130" y="27"/>
                </a:moveTo>
                <a:cubicBezTo>
                  <a:pt x="131" y="27"/>
                  <a:pt x="131" y="27"/>
                  <a:pt x="131" y="27"/>
                </a:cubicBezTo>
                <a:cubicBezTo>
                  <a:pt x="137" y="31"/>
                  <a:pt x="144" y="34"/>
                  <a:pt x="151" y="38"/>
                </a:cubicBezTo>
                <a:cubicBezTo>
                  <a:pt x="155" y="40"/>
                  <a:pt x="155" y="40"/>
                  <a:pt x="155" y="40"/>
                </a:cubicBezTo>
                <a:cubicBezTo>
                  <a:pt x="151" y="42"/>
                  <a:pt x="151" y="42"/>
                  <a:pt x="151" y="42"/>
                </a:cubicBezTo>
                <a:cubicBezTo>
                  <a:pt x="144" y="44"/>
                  <a:pt x="139" y="48"/>
                  <a:pt x="135" y="54"/>
                </a:cubicBezTo>
                <a:cubicBezTo>
                  <a:pt x="133" y="55"/>
                  <a:pt x="133" y="57"/>
                  <a:pt x="132" y="59"/>
                </a:cubicBezTo>
                <a:cubicBezTo>
                  <a:pt x="131" y="61"/>
                  <a:pt x="131" y="61"/>
                  <a:pt x="131" y="61"/>
                </a:cubicBezTo>
                <a:cubicBezTo>
                  <a:pt x="129" y="60"/>
                  <a:pt x="129" y="60"/>
                  <a:pt x="129" y="60"/>
                </a:cubicBezTo>
                <a:cubicBezTo>
                  <a:pt x="123" y="56"/>
                  <a:pt x="116" y="55"/>
                  <a:pt x="108" y="55"/>
                </a:cubicBezTo>
                <a:cubicBezTo>
                  <a:pt x="107" y="55"/>
                  <a:pt x="107" y="55"/>
                  <a:pt x="107" y="55"/>
                </a:cubicBezTo>
                <a:cubicBezTo>
                  <a:pt x="106" y="54"/>
                  <a:pt x="106" y="54"/>
                  <a:pt x="106" y="54"/>
                </a:cubicBezTo>
                <a:cubicBezTo>
                  <a:pt x="103" y="50"/>
                  <a:pt x="102" y="45"/>
                  <a:pt x="103" y="40"/>
                </a:cubicBezTo>
                <a:cubicBezTo>
                  <a:pt x="104" y="37"/>
                  <a:pt x="105" y="35"/>
                  <a:pt x="107" y="33"/>
                </a:cubicBezTo>
                <a:cubicBezTo>
                  <a:pt x="113" y="26"/>
                  <a:pt x="122" y="24"/>
                  <a:pt x="130" y="27"/>
                </a:cubicBezTo>
                <a:close/>
                <a:moveTo>
                  <a:pt x="63" y="10"/>
                </a:moveTo>
                <a:cubicBezTo>
                  <a:pt x="64" y="9"/>
                  <a:pt x="64" y="9"/>
                  <a:pt x="64" y="9"/>
                </a:cubicBezTo>
                <a:cubicBezTo>
                  <a:pt x="65" y="9"/>
                  <a:pt x="65" y="9"/>
                  <a:pt x="65" y="9"/>
                </a:cubicBezTo>
                <a:cubicBezTo>
                  <a:pt x="77" y="9"/>
                  <a:pt x="91" y="12"/>
                  <a:pt x="107" y="18"/>
                </a:cubicBezTo>
                <a:cubicBezTo>
                  <a:pt x="111" y="19"/>
                  <a:pt x="111" y="19"/>
                  <a:pt x="111" y="19"/>
                </a:cubicBezTo>
                <a:cubicBezTo>
                  <a:pt x="108" y="21"/>
                  <a:pt x="108" y="21"/>
                  <a:pt x="108" y="21"/>
                </a:cubicBezTo>
                <a:cubicBezTo>
                  <a:pt x="105" y="23"/>
                  <a:pt x="102" y="25"/>
                  <a:pt x="100" y="28"/>
                </a:cubicBezTo>
                <a:cubicBezTo>
                  <a:pt x="100" y="28"/>
                  <a:pt x="100" y="28"/>
                  <a:pt x="100" y="28"/>
                </a:cubicBezTo>
                <a:cubicBezTo>
                  <a:pt x="99" y="29"/>
                  <a:pt x="98" y="30"/>
                  <a:pt x="97" y="32"/>
                </a:cubicBezTo>
                <a:cubicBezTo>
                  <a:pt x="96" y="33"/>
                  <a:pt x="96" y="33"/>
                  <a:pt x="96" y="33"/>
                </a:cubicBezTo>
                <a:cubicBezTo>
                  <a:pt x="94" y="32"/>
                  <a:pt x="94" y="32"/>
                  <a:pt x="94" y="32"/>
                </a:cubicBezTo>
                <a:cubicBezTo>
                  <a:pt x="84" y="28"/>
                  <a:pt x="74" y="28"/>
                  <a:pt x="64" y="31"/>
                </a:cubicBezTo>
                <a:cubicBezTo>
                  <a:pt x="62" y="31"/>
                  <a:pt x="62" y="31"/>
                  <a:pt x="62" y="31"/>
                </a:cubicBezTo>
                <a:cubicBezTo>
                  <a:pt x="62" y="30"/>
                  <a:pt x="62" y="30"/>
                  <a:pt x="62" y="30"/>
                </a:cubicBezTo>
                <a:cubicBezTo>
                  <a:pt x="61" y="27"/>
                  <a:pt x="58" y="21"/>
                  <a:pt x="63" y="10"/>
                </a:cubicBezTo>
                <a:close/>
                <a:moveTo>
                  <a:pt x="21" y="33"/>
                </a:moveTo>
                <a:cubicBezTo>
                  <a:pt x="23" y="28"/>
                  <a:pt x="26" y="24"/>
                  <a:pt x="30" y="21"/>
                </a:cubicBezTo>
                <a:cubicBezTo>
                  <a:pt x="36" y="15"/>
                  <a:pt x="43" y="12"/>
                  <a:pt x="52" y="10"/>
                </a:cubicBezTo>
                <a:cubicBezTo>
                  <a:pt x="55" y="9"/>
                  <a:pt x="55" y="9"/>
                  <a:pt x="55" y="9"/>
                </a:cubicBezTo>
                <a:cubicBezTo>
                  <a:pt x="54" y="13"/>
                  <a:pt x="54" y="13"/>
                  <a:pt x="54" y="13"/>
                </a:cubicBezTo>
                <a:cubicBezTo>
                  <a:pt x="51" y="22"/>
                  <a:pt x="53" y="29"/>
                  <a:pt x="55" y="33"/>
                </a:cubicBezTo>
                <a:cubicBezTo>
                  <a:pt x="55" y="35"/>
                  <a:pt x="55" y="35"/>
                  <a:pt x="55" y="35"/>
                </a:cubicBezTo>
                <a:cubicBezTo>
                  <a:pt x="54" y="36"/>
                  <a:pt x="54" y="36"/>
                  <a:pt x="54" y="36"/>
                </a:cubicBezTo>
                <a:cubicBezTo>
                  <a:pt x="52" y="37"/>
                  <a:pt x="51" y="38"/>
                  <a:pt x="49" y="39"/>
                </a:cubicBezTo>
                <a:cubicBezTo>
                  <a:pt x="48" y="40"/>
                  <a:pt x="48" y="40"/>
                  <a:pt x="48" y="40"/>
                </a:cubicBezTo>
                <a:cubicBezTo>
                  <a:pt x="47" y="39"/>
                  <a:pt x="47" y="39"/>
                  <a:pt x="47" y="39"/>
                </a:cubicBezTo>
                <a:cubicBezTo>
                  <a:pt x="43" y="37"/>
                  <a:pt x="33" y="34"/>
                  <a:pt x="23" y="36"/>
                </a:cubicBezTo>
                <a:cubicBezTo>
                  <a:pt x="19" y="37"/>
                  <a:pt x="19" y="37"/>
                  <a:pt x="19" y="37"/>
                </a:cubicBezTo>
                <a:lnTo>
                  <a:pt x="21" y="33"/>
                </a:lnTo>
                <a:close/>
                <a:moveTo>
                  <a:pt x="30" y="94"/>
                </a:moveTo>
                <a:cubicBezTo>
                  <a:pt x="28" y="97"/>
                  <a:pt x="28" y="97"/>
                  <a:pt x="28" y="97"/>
                </a:cubicBezTo>
                <a:cubicBezTo>
                  <a:pt x="26" y="93"/>
                  <a:pt x="26" y="93"/>
                  <a:pt x="26" y="93"/>
                </a:cubicBezTo>
                <a:cubicBezTo>
                  <a:pt x="19" y="76"/>
                  <a:pt x="16" y="61"/>
                  <a:pt x="17" y="48"/>
                </a:cubicBezTo>
                <a:cubicBezTo>
                  <a:pt x="17" y="47"/>
                  <a:pt x="17" y="47"/>
                  <a:pt x="17" y="47"/>
                </a:cubicBezTo>
                <a:cubicBezTo>
                  <a:pt x="18" y="46"/>
                  <a:pt x="18" y="46"/>
                  <a:pt x="18" y="46"/>
                </a:cubicBezTo>
                <a:cubicBezTo>
                  <a:pt x="26" y="42"/>
                  <a:pt x="35" y="43"/>
                  <a:pt x="41" y="45"/>
                </a:cubicBezTo>
                <a:cubicBezTo>
                  <a:pt x="43" y="46"/>
                  <a:pt x="43" y="46"/>
                  <a:pt x="43" y="46"/>
                </a:cubicBezTo>
                <a:cubicBezTo>
                  <a:pt x="42" y="48"/>
                  <a:pt x="42" y="48"/>
                  <a:pt x="42" y="48"/>
                </a:cubicBezTo>
                <a:cubicBezTo>
                  <a:pt x="37" y="58"/>
                  <a:pt x="37" y="70"/>
                  <a:pt x="43" y="79"/>
                </a:cubicBezTo>
                <a:cubicBezTo>
                  <a:pt x="44" y="81"/>
                  <a:pt x="44" y="81"/>
                  <a:pt x="44" y="81"/>
                </a:cubicBezTo>
                <a:cubicBezTo>
                  <a:pt x="42" y="82"/>
                  <a:pt x="42" y="82"/>
                  <a:pt x="42" y="82"/>
                </a:cubicBezTo>
                <a:cubicBezTo>
                  <a:pt x="40" y="83"/>
                  <a:pt x="38" y="84"/>
                  <a:pt x="37" y="86"/>
                </a:cubicBezTo>
                <a:cubicBezTo>
                  <a:pt x="34" y="88"/>
                  <a:pt x="32" y="91"/>
                  <a:pt x="30" y="94"/>
                </a:cubicBezTo>
                <a:close/>
                <a:moveTo>
                  <a:pt x="53" y="134"/>
                </a:moveTo>
                <a:cubicBezTo>
                  <a:pt x="52" y="137"/>
                  <a:pt x="52" y="137"/>
                  <a:pt x="52" y="137"/>
                </a:cubicBezTo>
                <a:cubicBezTo>
                  <a:pt x="50" y="134"/>
                  <a:pt x="50" y="134"/>
                  <a:pt x="50" y="134"/>
                </a:cubicBezTo>
                <a:cubicBezTo>
                  <a:pt x="45" y="127"/>
                  <a:pt x="41" y="121"/>
                  <a:pt x="37" y="114"/>
                </a:cubicBezTo>
                <a:cubicBezTo>
                  <a:pt x="33" y="104"/>
                  <a:pt x="38" y="96"/>
                  <a:pt x="43" y="92"/>
                </a:cubicBezTo>
                <a:cubicBezTo>
                  <a:pt x="48" y="88"/>
                  <a:pt x="56" y="85"/>
                  <a:pt x="64" y="90"/>
                </a:cubicBezTo>
                <a:cubicBezTo>
                  <a:pt x="66" y="91"/>
                  <a:pt x="66" y="91"/>
                  <a:pt x="66" y="91"/>
                </a:cubicBezTo>
                <a:cubicBezTo>
                  <a:pt x="65" y="92"/>
                  <a:pt x="65" y="92"/>
                  <a:pt x="65" y="92"/>
                </a:cubicBezTo>
                <a:cubicBezTo>
                  <a:pt x="65" y="100"/>
                  <a:pt x="67" y="107"/>
                  <a:pt x="70" y="114"/>
                </a:cubicBezTo>
                <a:cubicBezTo>
                  <a:pt x="72" y="115"/>
                  <a:pt x="72" y="115"/>
                  <a:pt x="72" y="115"/>
                </a:cubicBezTo>
                <a:cubicBezTo>
                  <a:pt x="70" y="116"/>
                  <a:pt x="70" y="116"/>
                  <a:pt x="70" y="116"/>
                </a:cubicBezTo>
                <a:cubicBezTo>
                  <a:pt x="67" y="117"/>
                  <a:pt x="65" y="119"/>
                  <a:pt x="64" y="120"/>
                </a:cubicBezTo>
                <a:cubicBezTo>
                  <a:pt x="59" y="124"/>
                  <a:pt x="55" y="128"/>
                  <a:pt x="53" y="134"/>
                </a:cubicBezTo>
                <a:close/>
                <a:moveTo>
                  <a:pt x="78" y="172"/>
                </a:moveTo>
                <a:cubicBezTo>
                  <a:pt x="76" y="170"/>
                  <a:pt x="76" y="170"/>
                  <a:pt x="76" y="170"/>
                </a:cubicBezTo>
                <a:cubicBezTo>
                  <a:pt x="72" y="165"/>
                  <a:pt x="69" y="161"/>
                  <a:pt x="66" y="157"/>
                </a:cubicBezTo>
                <a:cubicBezTo>
                  <a:pt x="66" y="156"/>
                  <a:pt x="66" y="156"/>
                  <a:pt x="66" y="156"/>
                </a:cubicBezTo>
                <a:cubicBezTo>
                  <a:pt x="57" y="143"/>
                  <a:pt x="62" y="132"/>
                  <a:pt x="70" y="126"/>
                </a:cubicBezTo>
                <a:cubicBezTo>
                  <a:pt x="73" y="124"/>
                  <a:pt x="76" y="122"/>
                  <a:pt x="80" y="122"/>
                </a:cubicBezTo>
                <a:cubicBezTo>
                  <a:pt x="81" y="124"/>
                  <a:pt x="81" y="124"/>
                  <a:pt x="81" y="124"/>
                </a:cubicBezTo>
                <a:cubicBezTo>
                  <a:pt x="81" y="124"/>
                  <a:pt x="81" y="124"/>
                  <a:pt x="81" y="124"/>
                </a:cubicBezTo>
                <a:cubicBezTo>
                  <a:pt x="81" y="122"/>
                  <a:pt x="81" y="122"/>
                  <a:pt x="81" y="122"/>
                </a:cubicBezTo>
                <a:cubicBezTo>
                  <a:pt x="87" y="121"/>
                  <a:pt x="92" y="122"/>
                  <a:pt x="96" y="125"/>
                </a:cubicBezTo>
                <a:cubicBezTo>
                  <a:pt x="97" y="125"/>
                  <a:pt x="97" y="125"/>
                  <a:pt x="97" y="125"/>
                </a:cubicBezTo>
                <a:cubicBezTo>
                  <a:pt x="97" y="126"/>
                  <a:pt x="97" y="126"/>
                  <a:pt x="97" y="126"/>
                </a:cubicBezTo>
                <a:cubicBezTo>
                  <a:pt x="97" y="132"/>
                  <a:pt x="99" y="137"/>
                  <a:pt x="102" y="142"/>
                </a:cubicBezTo>
                <a:cubicBezTo>
                  <a:pt x="103" y="143"/>
                  <a:pt x="103" y="143"/>
                  <a:pt x="103" y="143"/>
                </a:cubicBezTo>
                <a:cubicBezTo>
                  <a:pt x="101" y="144"/>
                  <a:pt x="101" y="144"/>
                  <a:pt x="101" y="144"/>
                </a:cubicBezTo>
                <a:cubicBezTo>
                  <a:pt x="98" y="146"/>
                  <a:pt x="95" y="148"/>
                  <a:pt x="92" y="151"/>
                </a:cubicBezTo>
                <a:cubicBezTo>
                  <a:pt x="86" y="156"/>
                  <a:pt x="81" y="163"/>
                  <a:pt x="79" y="169"/>
                </a:cubicBezTo>
                <a:lnTo>
                  <a:pt x="78" y="172"/>
                </a:lnTo>
                <a:close/>
                <a:moveTo>
                  <a:pt x="106" y="200"/>
                </a:moveTo>
                <a:cubicBezTo>
                  <a:pt x="105" y="203"/>
                  <a:pt x="105" y="203"/>
                  <a:pt x="105" y="203"/>
                </a:cubicBezTo>
                <a:cubicBezTo>
                  <a:pt x="103" y="201"/>
                  <a:pt x="103" y="201"/>
                  <a:pt x="103" y="201"/>
                </a:cubicBezTo>
                <a:cubicBezTo>
                  <a:pt x="99" y="196"/>
                  <a:pt x="95" y="192"/>
                  <a:pt x="92" y="188"/>
                </a:cubicBezTo>
                <a:cubicBezTo>
                  <a:pt x="81" y="175"/>
                  <a:pt x="93" y="162"/>
                  <a:pt x="99" y="157"/>
                </a:cubicBezTo>
                <a:cubicBezTo>
                  <a:pt x="102" y="153"/>
                  <a:pt x="107" y="151"/>
                  <a:pt x="111" y="150"/>
                </a:cubicBezTo>
                <a:cubicBezTo>
                  <a:pt x="112" y="150"/>
                  <a:pt x="113" y="150"/>
                  <a:pt x="113" y="150"/>
                </a:cubicBezTo>
                <a:cubicBezTo>
                  <a:pt x="117" y="149"/>
                  <a:pt x="121" y="150"/>
                  <a:pt x="124" y="151"/>
                </a:cubicBezTo>
                <a:cubicBezTo>
                  <a:pt x="125" y="152"/>
                  <a:pt x="125" y="152"/>
                  <a:pt x="125" y="152"/>
                </a:cubicBezTo>
                <a:cubicBezTo>
                  <a:pt x="125" y="153"/>
                  <a:pt x="125" y="153"/>
                  <a:pt x="125" y="153"/>
                </a:cubicBezTo>
                <a:cubicBezTo>
                  <a:pt x="125" y="158"/>
                  <a:pt x="127" y="164"/>
                  <a:pt x="131" y="169"/>
                </a:cubicBezTo>
                <a:cubicBezTo>
                  <a:pt x="132" y="170"/>
                  <a:pt x="132" y="170"/>
                  <a:pt x="132" y="170"/>
                </a:cubicBezTo>
                <a:cubicBezTo>
                  <a:pt x="130" y="171"/>
                  <a:pt x="130" y="171"/>
                  <a:pt x="130" y="171"/>
                </a:cubicBezTo>
                <a:cubicBezTo>
                  <a:pt x="127" y="173"/>
                  <a:pt x="124" y="175"/>
                  <a:pt x="122" y="177"/>
                </a:cubicBezTo>
                <a:cubicBezTo>
                  <a:pt x="114" y="184"/>
                  <a:pt x="109" y="192"/>
                  <a:pt x="106" y="200"/>
                </a:cubicBezTo>
                <a:close/>
                <a:moveTo>
                  <a:pt x="292" y="302"/>
                </a:moveTo>
                <a:cubicBezTo>
                  <a:pt x="284" y="306"/>
                  <a:pt x="276" y="307"/>
                  <a:pt x="266" y="307"/>
                </a:cubicBezTo>
                <a:cubicBezTo>
                  <a:pt x="249" y="307"/>
                  <a:pt x="229" y="302"/>
                  <a:pt x="206" y="292"/>
                </a:cubicBezTo>
                <a:cubicBezTo>
                  <a:pt x="139" y="264"/>
                  <a:pt x="115" y="258"/>
                  <a:pt x="95" y="258"/>
                </a:cubicBezTo>
                <a:cubicBezTo>
                  <a:pt x="89" y="258"/>
                  <a:pt x="84" y="259"/>
                  <a:pt x="80" y="259"/>
                </a:cubicBezTo>
                <a:cubicBezTo>
                  <a:pt x="75" y="260"/>
                  <a:pt x="75" y="260"/>
                  <a:pt x="75" y="260"/>
                </a:cubicBezTo>
                <a:cubicBezTo>
                  <a:pt x="78" y="256"/>
                  <a:pt x="78" y="256"/>
                  <a:pt x="78" y="256"/>
                </a:cubicBezTo>
                <a:cubicBezTo>
                  <a:pt x="94" y="236"/>
                  <a:pt x="128" y="212"/>
                  <a:pt x="173" y="207"/>
                </a:cubicBezTo>
                <a:cubicBezTo>
                  <a:pt x="179" y="207"/>
                  <a:pt x="184" y="206"/>
                  <a:pt x="189" y="206"/>
                </a:cubicBezTo>
                <a:cubicBezTo>
                  <a:pt x="199" y="206"/>
                  <a:pt x="209" y="207"/>
                  <a:pt x="219" y="209"/>
                </a:cubicBezTo>
                <a:cubicBezTo>
                  <a:pt x="224" y="210"/>
                  <a:pt x="230" y="212"/>
                  <a:pt x="236" y="215"/>
                </a:cubicBezTo>
                <a:cubicBezTo>
                  <a:pt x="237" y="215"/>
                  <a:pt x="237" y="215"/>
                  <a:pt x="237" y="215"/>
                </a:cubicBezTo>
                <a:cubicBezTo>
                  <a:pt x="237" y="216"/>
                  <a:pt x="237" y="216"/>
                  <a:pt x="237" y="216"/>
                </a:cubicBezTo>
                <a:cubicBezTo>
                  <a:pt x="239" y="220"/>
                  <a:pt x="241" y="224"/>
                  <a:pt x="244" y="229"/>
                </a:cubicBezTo>
                <a:cubicBezTo>
                  <a:pt x="245" y="231"/>
                  <a:pt x="245" y="231"/>
                  <a:pt x="245" y="231"/>
                </a:cubicBezTo>
                <a:cubicBezTo>
                  <a:pt x="255" y="250"/>
                  <a:pt x="268" y="268"/>
                  <a:pt x="277" y="280"/>
                </a:cubicBezTo>
                <a:cubicBezTo>
                  <a:pt x="280" y="284"/>
                  <a:pt x="280" y="284"/>
                  <a:pt x="280" y="284"/>
                </a:cubicBezTo>
                <a:cubicBezTo>
                  <a:pt x="276" y="283"/>
                  <a:pt x="276" y="283"/>
                  <a:pt x="276" y="283"/>
                </a:cubicBezTo>
                <a:cubicBezTo>
                  <a:pt x="251" y="282"/>
                  <a:pt x="231" y="273"/>
                  <a:pt x="209" y="263"/>
                </a:cubicBezTo>
                <a:cubicBezTo>
                  <a:pt x="186" y="252"/>
                  <a:pt x="161" y="241"/>
                  <a:pt x="129" y="239"/>
                </a:cubicBezTo>
                <a:cubicBezTo>
                  <a:pt x="127" y="239"/>
                  <a:pt x="125" y="241"/>
                  <a:pt x="124" y="243"/>
                </a:cubicBezTo>
                <a:cubicBezTo>
                  <a:pt x="124" y="244"/>
                  <a:pt x="125" y="245"/>
                  <a:pt x="125" y="246"/>
                </a:cubicBezTo>
                <a:cubicBezTo>
                  <a:pt x="126" y="247"/>
                  <a:pt x="128" y="247"/>
                  <a:pt x="129" y="247"/>
                </a:cubicBezTo>
                <a:cubicBezTo>
                  <a:pt x="159" y="249"/>
                  <a:pt x="182" y="260"/>
                  <a:pt x="205" y="270"/>
                </a:cubicBezTo>
                <a:cubicBezTo>
                  <a:pt x="229" y="281"/>
                  <a:pt x="254" y="293"/>
                  <a:pt x="285" y="292"/>
                </a:cubicBezTo>
                <a:cubicBezTo>
                  <a:pt x="286" y="292"/>
                  <a:pt x="286" y="292"/>
                  <a:pt x="286" y="292"/>
                </a:cubicBezTo>
                <a:cubicBezTo>
                  <a:pt x="287" y="293"/>
                  <a:pt x="287" y="293"/>
                  <a:pt x="287" y="293"/>
                </a:cubicBezTo>
                <a:cubicBezTo>
                  <a:pt x="289" y="295"/>
                  <a:pt x="291" y="297"/>
                  <a:pt x="292" y="299"/>
                </a:cubicBezTo>
                <a:cubicBezTo>
                  <a:pt x="294" y="301"/>
                  <a:pt x="294" y="301"/>
                  <a:pt x="294" y="301"/>
                </a:cubicBezTo>
                <a:lnTo>
                  <a:pt x="292" y="302"/>
                </a:lnTo>
                <a:close/>
                <a:moveTo>
                  <a:pt x="302" y="297"/>
                </a:moveTo>
                <a:cubicBezTo>
                  <a:pt x="301" y="296"/>
                  <a:pt x="301" y="296"/>
                  <a:pt x="301" y="296"/>
                </a:cubicBezTo>
                <a:cubicBezTo>
                  <a:pt x="298" y="292"/>
                  <a:pt x="273" y="261"/>
                  <a:pt x="255" y="229"/>
                </a:cubicBezTo>
                <a:cubicBezTo>
                  <a:pt x="253" y="226"/>
                  <a:pt x="253" y="226"/>
                  <a:pt x="253" y="226"/>
                </a:cubicBezTo>
                <a:cubicBezTo>
                  <a:pt x="250" y="220"/>
                  <a:pt x="247" y="215"/>
                  <a:pt x="245" y="210"/>
                </a:cubicBezTo>
                <a:cubicBezTo>
                  <a:pt x="245" y="210"/>
                  <a:pt x="245" y="210"/>
                  <a:pt x="245" y="210"/>
                </a:cubicBezTo>
                <a:cubicBezTo>
                  <a:pt x="242" y="203"/>
                  <a:pt x="239" y="197"/>
                  <a:pt x="238" y="192"/>
                </a:cubicBezTo>
                <a:cubicBezTo>
                  <a:pt x="229" y="154"/>
                  <a:pt x="241" y="122"/>
                  <a:pt x="252" y="103"/>
                </a:cubicBezTo>
                <a:cubicBezTo>
                  <a:pt x="252" y="103"/>
                  <a:pt x="252" y="103"/>
                  <a:pt x="252" y="103"/>
                </a:cubicBezTo>
                <a:cubicBezTo>
                  <a:pt x="253" y="102"/>
                  <a:pt x="253" y="102"/>
                  <a:pt x="253" y="102"/>
                </a:cubicBezTo>
                <a:cubicBezTo>
                  <a:pt x="253" y="102"/>
                  <a:pt x="253" y="102"/>
                  <a:pt x="253" y="101"/>
                </a:cubicBezTo>
                <a:cubicBezTo>
                  <a:pt x="263" y="85"/>
                  <a:pt x="276" y="71"/>
                  <a:pt x="290" y="62"/>
                </a:cubicBezTo>
                <a:cubicBezTo>
                  <a:pt x="293" y="60"/>
                  <a:pt x="293" y="60"/>
                  <a:pt x="293" y="60"/>
                </a:cubicBezTo>
                <a:cubicBezTo>
                  <a:pt x="293" y="64"/>
                  <a:pt x="293" y="64"/>
                  <a:pt x="293" y="64"/>
                </a:cubicBezTo>
                <a:cubicBezTo>
                  <a:pt x="293" y="79"/>
                  <a:pt x="299" y="115"/>
                  <a:pt x="328" y="179"/>
                </a:cubicBezTo>
                <a:cubicBezTo>
                  <a:pt x="343" y="213"/>
                  <a:pt x="345" y="242"/>
                  <a:pt x="333" y="265"/>
                </a:cubicBezTo>
                <a:cubicBezTo>
                  <a:pt x="333" y="266"/>
                  <a:pt x="333" y="266"/>
                  <a:pt x="333" y="266"/>
                </a:cubicBezTo>
                <a:cubicBezTo>
                  <a:pt x="332" y="268"/>
                  <a:pt x="331" y="270"/>
                  <a:pt x="329" y="273"/>
                </a:cubicBezTo>
                <a:cubicBezTo>
                  <a:pt x="321" y="285"/>
                  <a:pt x="309" y="293"/>
                  <a:pt x="304" y="296"/>
                </a:cubicBezTo>
                <a:lnTo>
                  <a:pt x="302" y="297"/>
                </a:lnTo>
                <a:close/>
                <a:moveTo>
                  <a:pt x="347" y="303"/>
                </a:moveTo>
                <a:cubicBezTo>
                  <a:pt x="336" y="313"/>
                  <a:pt x="336" y="313"/>
                  <a:pt x="336" y="313"/>
                </a:cubicBezTo>
                <a:cubicBezTo>
                  <a:pt x="333" y="316"/>
                  <a:pt x="329" y="317"/>
                  <a:pt x="325" y="317"/>
                </a:cubicBezTo>
                <a:cubicBezTo>
                  <a:pt x="320" y="317"/>
                  <a:pt x="316" y="316"/>
                  <a:pt x="313" y="313"/>
                </a:cubicBezTo>
                <a:cubicBezTo>
                  <a:pt x="305" y="305"/>
                  <a:pt x="305" y="305"/>
                  <a:pt x="305" y="305"/>
                </a:cubicBezTo>
                <a:cubicBezTo>
                  <a:pt x="307" y="304"/>
                  <a:pt x="307" y="304"/>
                  <a:pt x="307" y="304"/>
                </a:cubicBezTo>
                <a:cubicBezTo>
                  <a:pt x="314" y="300"/>
                  <a:pt x="327" y="292"/>
                  <a:pt x="337" y="278"/>
                </a:cubicBezTo>
                <a:cubicBezTo>
                  <a:pt x="339" y="274"/>
                  <a:pt x="339" y="274"/>
                  <a:pt x="339" y="274"/>
                </a:cubicBezTo>
                <a:cubicBezTo>
                  <a:pt x="347" y="281"/>
                  <a:pt x="347" y="281"/>
                  <a:pt x="347" y="281"/>
                </a:cubicBezTo>
                <a:cubicBezTo>
                  <a:pt x="350" y="284"/>
                  <a:pt x="352" y="288"/>
                  <a:pt x="352" y="292"/>
                </a:cubicBezTo>
                <a:cubicBezTo>
                  <a:pt x="352" y="297"/>
                  <a:pt x="350" y="300"/>
                  <a:pt x="347" y="30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" name="Freeform 144"/>
          <p:cNvSpPr>
            <a:spLocks noChangeAspect="1" noEditPoints="1"/>
          </p:cNvSpPr>
          <p:nvPr/>
        </p:nvSpPr>
        <p:spPr bwMode="auto">
          <a:xfrm>
            <a:off x="7304014" y="3738235"/>
            <a:ext cx="631252" cy="548640"/>
          </a:xfrm>
          <a:custGeom>
            <a:avLst/>
            <a:gdLst>
              <a:gd name="T0" fmla="*/ 422 w 424"/>
              <a:gd name="T1" fmla="*/ 312 h 368"/>
              <a:gd name="T2" fmla="*/ 401 w 424"/>
              <a:gd name="T3" fmla="*/ 231 h 368"/>
              <a:gd name="T4" fmla="*/ 406 w 424"/>
              <a:gd name="T5" fmla="*/ 222 h 368"/>
              <a:gd name="T6" fmla="*/ 371 w 424"/>
              <a:gd name="T7" fmla="*/ 140 h 368"/>
              <a:gd name="T8" fmla="*/ 376 w 424"/>
              <a:gd name="T9" fmla="*/ 131 h 368"/>
              <a:gd name="T10" fmla="*/ 288 w 424"/>
              <a:gd name="T11" fmla="*/ 0 h 368"/>
              <a:gd name="T12" fmla="*/ 235 w 424"/>
              <a:gd name="T13" fmla="*/ 76 h 368"/>
              <a:gd name="T14" fmla="*/ 212 w 424"/>
              <a:gd name="T15" fmla="*/ 46 h 368"/>
              <a:gd name="T16" fmla="*/ 189 w 424"/>
              <a:gd name="T17" fmla="*/ 76 h 368"/>
              <a:gd name="T18" fmla="*/ 136 w 424"/>
              <a:gd name="T19" fmla="*/ 0 h 368"/>
              <a:gd name="T20" fmla="*/ 48 w 424"/>
              <a:gd name="T21" fmla="*/ 131 h 368"/>
              <a:gd name="T22" fmla="*/ 53 w 424"/>
              <a:gd name="T23" fmla="*/ 140 h 368"/>
              <a:gd name="T24" fmla="*/ 18 w 424"/>
              <a:gd name="T25" fmla="*/ 222 h 368"/>
              <a:gd name="T26" fmla="*/ 23 w 424"/>
              <a:gd name="T27" fmla="*/ 231 h 368"/>
              <a:gd name="T28" fmla="*/ 2 w 424"/>
              <a:gd name="T29" fmla="*/ 312 h 368"/>
              <a:gd name="T30" fmla="*/ 8 w 424"/>
              <a:gd name="T31" fmla="*/ 322 h 368"/>
              <a:gd name="T32" fmla="*/ 78 w 424"/>
              <a:gd name="T33" fmla="*/ 358 h 368"/>
              <a:gd name="T34" fmla="*/ 83 w 424"/>
              <a:gd name="T35" fmla="*/ 368 h 368"/>
              <a:gd name="T36" fmla="*/ 347 w 424"/>
              <a:gd name="T37" fmla="*/ 365 h 368"/>
              <a:gd name="T38" fmla="*/ 326 w 424"/>
              <a:gd name="T39" fmla="*/ 322 h 368"/>
              <a:gd name="T40" fmla="*/ 423 w 424"/>
              <a:gd name="T41" fmla="*/ 319 h 368"/>
              <a:gd name="T42" fmla="*/ 58 w 424"/>
              <a:gd name="T43" fmla="*/ 237 h 368"/>
              <a:gd name="T44" fmla="*/ 49 w 424"/>
              <a:gd name="T45" fmla="*/ 220 h 368"/>
              <a:gd name="T46" fmla="*/ 81 w 424"/>
              <a:gd name="T47" fmla="*/ 145 h 368"/>
              <a:gd name="T48" fmla="*/ 72 w 424"/>
              <a:gd name="T49" fmla="*/ 129 h 368"/>
              <a:gd name="T50" fmla="*/ 136 w 424"/>
              <a:gd name="T51" fmla="*/ 15 h 368"/>
              <a:gd name="T52" fmla="*/ 124 w 424"/>
              <a:gd name="T53" fmla="*/ 176 h 368"/>
              <a:gd name="T54" fmla="*/ 129 w 424"/>
              <a:gd name="T55" fmla="*/ 186 h 368"/>
              <a:gd name="T56" fmla="*/ 93 w 424"/>
              <a:gd name="T57" fmla="*/ 267 h 368"/>
              <a:gd name="T58" fmla="*/ 99 w 424"/>
              <a:gd name="T59" fmla="*/ 277 h 368"/>
              <a:gd name="T60" fmla="*/ 105 w 424"/>
              <a:gd name="T61" fmla="*/ 311 h 368"/>
              <a:gd name="T62" fmla="*/ 333 w 424"/>
              <a:gd name="T63" fmla="*/ 356 h 368"/>
              <a:gd name="T64" fmla="*/ 134 w 424"/>
              <a:gd name="T65" fmla="*/ 282 h 368"/>
              <a:gd name="T66" fmla="*/ 125 w 424"/>
              <a:gd name="T67" fmla="*/ 266 h 368"/>
              <a:gd name="T68" fmla="*/ 156 w 424"/>
              <a:gd name="T69" fmla="*/ 191 h 368"/>
              <a:gd name="T70" fmla="*/ 148 w 424"/>
              <a:gd name="T71" fmla="*/ 175 h 368"/>
              <a:gd name="T72" fmla="*/ 212 w 424"/>
              <a:gd name="T73" fmla="*/ 60 h 368"/>
              <a:gd name="T74" fmla="*/ 276 w 424"/>
              <a:gd name="T75" fmla="*/ 175 h 368"/>
              <a:gd name="T76" fmla="*/ 268 w 424"/>
              <a:gd name="T77" fmla="*/ 191 h 368"/>
              <a:gd name="T78" fmla="*/ 300 w 424"/>
              <a:gd name="T79" fmla="*/ 266 h 368"/>
              <a:gd name="T80" fmla="*/ 290 w 424"/>
              <a:gd name="T81" fmla="*/ 282 h 368"/>
              <a:gd name="T82" fmla="*/ 319 w 424"/>
              <a:gd name="T83" fmla="*/ 311 h 368"/>
              <a:gd name="T84" fmla="*/ 326 w 424"/>
              <a:gd name="T85" fmla="*/ 277 h 368"/>
              <a:gd name="T86" fmla="*/ 331 w 424"/>
              <a:gd name="T87" fmla="*/ 267 h 368"/>
              <a:gd name="T88" fmla="*/ 295 w 424"/>
              <a:gd name="T89" fmla="*/ 186 h 368"/>
              <a:gd name="T90" fmla="*/ 301 w 424"/>
              <a:gd name="T91" fmla="*/ 176 h 368"/>
              <a:gd name="T92" fmla="*/ 288 w 424"/>
              <a:gd name="T93" fmla="*/ 15 h 368"/>
              <a:gd name="T94" fmla="*/ 352 w 424"/>
              <a:gd name="T95" fmla="*/ 129 h 368"/>
              <a:gd name="T96" fmla="*/ 343 w 424"/>
              <a:gd name="T97" fmla="*/ 145 h 368"/>
              <a:gd name="T98" fmla="*/ 375 w 424"/>
              <a:gd name="T99" fmla="*/ 220 h 368"/>
              <a:gd name="T100" fmla="*/ 366 w 424"/>
              <a:gd name="T101" fmla="*/ 237 h 368"/>
              <a:gd name="T102" fmla="*/ 319 w 424"/>
              <a:gd name="T103" fmla="*/ 311 h 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424" h="368">
                <a:moveTo>
                  <a:pt x="423" y="319"/>
                </a:moveTo>
                <a:cubicBezTo>
                  <a:pt x="424" y="317"/>
                  <a:pt x="424" y="315"/>
                  <a:pt x="422" y="312"/>
                </a:cubicBezTo>
                <a:cubicBezTo>
                  <a:pt x="375" y="231"/>
                  <a:pt x="375" y="231"/>
                  <a:pt x="375" y="231"/>
                </a:cubicBezTo>
                <a:cubicBezTo>
                  <a:pt x="401" y="231"/>
                  <a:pt x="401" y="231"/>
                  <a:pt x="401" y="231"/>
                </a:cubicBezTo>
                <a:cubicBezTo>
                  <a:pt x="404" y="231"/>
                  <a:pt x="407" y="230"/>
                  <a:pt x="408" y="229"/>
                </a:cubicBezTo>
                <a:cubicBezTo>
                  <a:pt x="409" y="227"/>
                  <a:pt x="408" y="224"/>
                  <a:pt x="406" y="222"/>
                </a:cubicBezTo>
                <a:cubicBezTo>
                  <a:pt x="353" y="140"/>
                  <a:pt x="353" y="140"/>
                  <a:pt x="353" y="140"/>
                </a:cubicBezTo>
                <a:cubicBezTo>
                  <a:pt x="371" y="140"/>
                  <a:pt x="371" y="140"/>
                  <a:pt x="371" y="140"/>
                </a:cubicBezTo>
                <a:cubicBezTo>
                  <a:pt x="374" y="140"/>
                  <a:pt x="377" y="139"/>
                  <a:pt x="377" y="138"/>
                </a:cubicBezTo>
                <a:cubicBezTo>
                  <a:pt x="378" y="136"/>
                  <a:pt x="378" y="134"/>
                  <a:pt x="376" y="131"/>
                </a:cubicBezTo>
                <a:cubicBezTo>
                  <a:pt x="294" y="5"/>
                  <a:pt x="294" y="5"/>
                  <a:pt x="294" y="5"/>
                </a:cubicBezTo>
                <a:cubicBezTo>
                  <a:pt x="292" y="2"/>
                  <a:pt x="290" y="0"/>
                  <a:pt x="288" y="0"/>
                </a:cubicBezTo>
                <a:cubicBezTo>
                  <a:pt x="285" y="0"/>
                  <a:pt x="283" y="2"/>
                  <a:pt x="281" y="5"/>
                </a:cubicBezTo>
                <a:cubicBezTo>
                  <a:pt x="235" y="76"/>
                  <a:pt x="235" y="76"/>
                  <a:pt x="235" y="76"/>
                </a:cubicBezTo>
                <a:cubicBezTo>
                  <a:pt x="219" y="50"/>
                  <a:pt x="219" y="50"/>
                  <a:pt x="219" y="50"/>
                </a:cubicBezTo>
                <a:cubicBezTo>
                  <a:pt x="217" y="47"/>
                  <a:pt x="214" y="46"/>
                  <a:pt x="212" y="46"/>
                </a:cubicBezTo>
                <a:cubicBezTo>
                  <a:pt x="210" y="46"/>
                  <a:pt x="207" y="47"/>
                  <a:pt x="205" y="50"/>
                </a:cubicBezTo>
                <a:cubicBezTo>
                  <a:pt x="189" y="76"/>
                  <a:pt x="189" y="76"/>
                  <a:pt x="189" y="76"/>
                </a:cubicBezTo>
                <a:cubicBezTo>
                  <a:pt x="143" y="5"/>
                  <a:pt x="143" y="5"/>
                  <a:pt x="143" y="5"/>
                </a:cubicBezTo>
                <a:cubicBezTo>
                  <a:pt x="141" y="2"/>
                  <a:pt x="139" y="0"/>
                  <a:pt x="136" y="0"/>
                </a:cubicBezTo>
                <a:cubicBezTo>
                  <a:pt x="134" y="0"/>
                  <a:pt x="132" y="2"/>
                  <a:pt x="130" y="5"/>
                </a:cubicBezTo>
                <a:cubicBezTo>
                  <a:pt x="48" y="131"/>
                  <a:pt x="48" y="131"/>
                  <a:pt x="48" y="131"/>
                </a:cubicBezTo>
                <a:cubicBezTo>
                  <a:pt x="46" y="134"/>
                  <a:pt x="46" y="136"/>
                  <a:pt x="47" y="138"/>
                </a:cubicBezTo>
                <a:cubicBezTo>
                  <a:pt x="47" y="139"/>
                  <a:pt x="50" y="140"/>
                  <a:pt x="53" y="140"/>
                </a:cubicBezTo>
                <a:cubicBezTo>
                  <a:pt x="71" y="140"/>
                  <a:pt x="71" y="140"/>
                  <a:pt x="71" y="140"/>
                </a:cubicBezTo>
                <a:cubicBezTo>
                  <a:pt x="18" y="222"/>
                  <a:pt x="18" y="222"/>
                  <a:pt x="18" y="222"/>
                </a:cubicBezTo>
                <a:cubicBezTo>
                  <a:pt x="16" y="224"/>
                  <a:pt x="15" y="227"/>
                  <a:pt x="16" y="229"/>
                </a:cubicBezTo>
                <a:cubicBezTo>
                  <a:pt x="17" y="230"/>
                  <a:pt x="20" y="231"/>
                  <a:pt x="23" y="231"/>
                </a:cubicBezTo>
                <a:cubicBezTo>
                  <a:pt x="49" y="231"/>
                  <a:pt x="49" y="231"/>
                  <a:pt x="49" y="231"/>
                </a:cubicBezTo>
                <a:cubicBezTo>
                  <a:pt x="2" y="312"/>
                  <a:pt x="2" y="312"/>
                  <a:pt x="2" y="312"/>
                </a:cubicBezTo>
                <a:cubicBezTo>
                  <a:pt x="0" y="315"/>
                  <a:pt x="0" y="317"/>
                  <a:pt x="1" y="319"/>
                </a:cubicBezTo>
                <a:cubicBezTo>
                  <a:pt x="2" y="321"/>
                  <a:pt x="4" y="322"/>
                  <a:pt x="8" y="322"/>
                </a:cubicBezTo>
                <a:cubicBezTo>
                  <a:pt x="98" y="322"/>
                  <a:pt x="98" y="322"/>
                  <a:pt x="98" y="322"/>
                </a:cubicBezTo>
                <a:cubicBezTo>
                  <a:pt x="78" y="358"/>
                  <a:pt x="78" y="358"/>
                  <a:pt x="78" y="358"/>
                </a:cubicBezTo>
                <a:cubicBezTo>
                  <a:pt x="76" y="360"/>
                  <a:pt x="76" y="363"/>
                  <a:pt x="77" y="365"/>
                </a:cubicBezTo>
                <a:cubicBezTo>
                  <a:pt x="78" y="366"/>
                  <a:pt x="80" y="368"/>
                  <a:pt x="83" y="368"/>
                </a:cubicBezTo>
                <a:cubicBezTo>
                  <a:pt x="341" y="368"/>
                  <a:pt x="341" y="368"/>
                  <a:pt x="341" y="368"/>
                </a:cubicBezTo>
                <a:cubicBezTo>
                  <a:pt x="344" y="368"/>
                  <a:pt x="346" y="367"/>
                  <a:pt x="347" y="365"/>
                </a:cubicBezTo>
                <a:cubicBezTo>
                  <a:pt x="348" y="363"/>
                  <a:pt x="348" y="360"/>
                  <a:pt x="347" y="358"/>
                </a:cubicBezTo>
                <a:cubicBezTo>
                  <a:pt x="326" y="322"/>
                  <a:pt x="326" y="322"/>
                  <a:pt x="326" y="322"/>
                </a:cubicBezTo>
                <a:cubicBezTo>
                  <a:pt x="416" y="322"/>
                  <a:pt x="416" y="322"/>
                  <a:pt x="416" y="322"/>
                </a:cubicBezTo>
                <a:cubicBezTo>
                  <a:pt x="420" y="322"/>
                  <a:pt x="422" y="321"/>
                  <a:pt x="423" y="319"/>
                </a:cubicBezTo>
                <a:close/>
                <a:moveTo>
                  <a:pt x="15" y="311"/>
                </a:moveTo>
                <a:cubicBezTo>
                  <a:pt x="58" y="237"/>
                  <a:pt x="58" y="237"/>
                  <a:pt x="58" y="237"/>
                </a:cubicBezTo>
                <a:cubicBezTo>
                  <a:pt x="61" y="232"/>
                  <a:pt x="62" y="228"/>
                  <a:pt x="60" y="225"/>
                </a:cubicBezTo>
                <a:cubicBezTo>
                  <a:pt x="58" y="222"/>
                  <a:pt x="54" y="220"/>
                  <a:pt x="49" y="220"/>
                </a:cubicBezTo>
                <a:cubicBezTo>
                  <a:pt x="32" y="220"/>
                  <a:pt x="32" y="220"/>
                  <a:pt x="32" y="220"/>
                </a:cubicBezTo>
                <a:cubicBezTo>
                  <a:pt x="81" y="145"/>
                  <a:pt x="81" y="145"/>
                  <a:pt x="81" y="145"/>
                </a:cubicBezTo>
                <a:cubicBezTo>
                  <a:pt x="84" y="141"/>
                  <a:pt x="84" y="137"/>
                  <a:pt x="83" y="134"/>
                </a:cubicBezTo>
                <a:cubicBezTo>
                  <a:pt x="81" y="131"/>
                  <a:pt x="77" y="129"/>
                  <a:pt x="72" y="129"/>
                </a:cubicBezTo>
                <a:cubicBezTo>
                  <a:pt x="62" y="129"/>
                  <a:pt x="62" y="129"/>
                  <a:pt x="62" y="129"/>
                </a:cubicBezTo>
                <a:cubicBezTo>
                  <a:pt x="136" y="15"/>
                  <a:pt x="136" y="15"/>
                  <a:pt x="136" y="15"/>
                </a:cubicBezTo>
                <a:cubicBezTo>
                  <a:pt x="182" y="86"/>
                  <a:pt x="182" y="86"/>
                  <a:pt x="182" y="86"/>
                </a:cubicBezTo>
                <a:cubicBezTo>
                  <a:pt x="124" y="176"/>
                  <a:pt x="124" y="176"/>
                  <a:pt x="124" y="176"/>
                </a:cubicBezTo>
                <a:cubicBezTo>
                  <a:pt x="122" y="179"/>
                  <a:pt x="121" y="181"/>
                  <a:pt x="122" y="183"/>
                </a:cubicBezTo>
                <a:cubicBezTo>
                  <a:pt x="123" y="185"/>
                  <a:pt x="126" y="186"/>
                  <a:pt x="129" y="186"/>
                </a:cubicBezTo>
                <a:cubicBezTo>
                  <a:pt x="146" y="186"/>
                  <a:pt x="146" y="186"/>
                  <a:pt x="146" y="186"/>
                </a:cubicBezTo>
                <a:cubicBezTo>
                  <a:pt x="93" y="267"/>
                  <a:pt x="93" y="267"/>
                  <a:pt x="93" y="267"/>
                </a:cubicBezTo>
                <a:cubicBezTo>
                  <a:pt x="92" y="270"/>
                  <a:pt x="91" y="272"/>
                  <a:pt x="92" y="274"/>
                </a:cubicBezTo>
                <a:cubicBezTo>
                  <a:pt x="93" y="276"/>
                  <a:pt x="95" y="277"/>
                  <a:pt x="99" y="277"/>
                </a:cubicBezTo>
                <a:cubicBezTo>
                  <a:pt x="125" y="277"/>
                  <a:pt x="125" y="277"/>
                  <a:pt x="125" y="277"/>
                </a:cubicBezTo>
                <a:cubicBezTo>
                  <a:pt x="105" y="311"/>
                  <a:pt x="105" y="311"/>
                  <a:pt x="105" y="311"/>
                </a:cubicBezTo>
                <a:lnTo>
                  <a:pt x="15" y="311"/>
                </a:lnTo>
                <a:close/>
                <a:moveTo>
                  <a:pt x="333" y="356"/>
                </a:moveTo>
                <a:cubicBezTo>
                  <a:pt x="91" y="356"/>
                  <a:pt x="91" y="356"/>
                  <a:pt x="91" y="356"/>
                </a:cubicBezTo>
                <a:cubicBezTo>
                  <a:pt x="134" y="282"/>
                  <a:pt x="134" y="282"/>
                  <a:pt x="134" y="282"/>
                </a:cubicBezTo>
                <a:cubicBezTo>
                  <a:pt x="137" y="278"/>
                  <a:pt x="137" y="273"/>
                  <a:pt x="136" y="270"/>
                </a:cubicBezTo>
                <a:cubicBezTo>
                  <a:pt x="134" y="267"/>
                  <a:pt x="130" y="266"/>
                  <a:pt x="125" y="266"/>
                </a:cubicBezTo>
                <a:cubicBezTo>
                  <a:pt x="107" y="266"/>
                  <a:pt x="107" y="266"/>
                  <a:pt x="107" y="266"/>
                </a:cubicBezTo>
                <a:cubicBezTo>
                  <a:pt x="156" y="191"/>
                  <a:pt x="156" y="191"/>
                  <a:pt x="156" y="191"/>
                </a:cubicBezTo>
                <a:cubicBezTo>
                  <a:pt x="159" y="186"/>
                  <a:pt x="160" y="182"/>
                  <a:pt x="158" y="179"/>
                </a:cubicBezTo>
                <a:cubicBezTo>
                  <a:pt x="157" y="176"/>
                  <a:pt x="153" y="175"/>
                  <a:pt x="148" y="175"/>
                </a:cubicBezTo>
                <a:cubicBezTo>
                  <a:pt x="137" y="175"/>
                  <a:pt x="137" y="175"/>
                  <a:pt x="137" y="175"/>
                </a:cubicBezTo>
                <a:cubicBezTo>
                  <a:pt x="212" y="60"/>
                  <a:pt x="212" y="60"/>
                  <a:pt x="212" y="60"/>
                </a:cubicBezTo>
                <a:cubicBezTo>
                  <a:pt x="287" y="175"/>
                  <a:pt x="287" y="175"/>
                  <a:pt x="287" y="175"/>
                </a:cubicBezTo>
                <a:cubicBezTo>
                  <a:pt x="276" y="175"/>
                  <a:pt x="276" y="175"/>
                  <a:pt x="276" y="175"/>
                </a:cubicBezTo>
                <a:cubicBezTo>
                  <a:pt x="271" y="175"/>
                  <a:pt x="267" y="176"/>
                  <a:pt x="266" y="179"/>
                </a:cubicBezTo>
                <a:cubicBezTo>
                  <a:pt x="264" y="182"/>
                  <a:pt x="265" y="186"/>
                  <a:pt x="268" y="191"/>
                </a:cubicBezTo>
                <a:cubicBezTo>
                  <a:pt x="317" y="266"/>
                  <a:pt x="317" y="266"/>
                  <a:pt x="317" y="266"/>
                </a:cubicBezTo>
                <a:cubicBezTo>
                  <a:pt x="300" y="266"/>
                  <a:pt x="300" y="266"/>
                  <a:pt x="300" y="266"/>
                </a:cubicBezTo>
                <a:cubicBezTo>
                  <a:pt x="294" y="266"/>
                  <a:pt x="290" y="267"/>
                  <a:pt x="288" y="270"/>
                </a:cubicBezTo>
                <a:cubicBezTo>
                  <a:pt x="287" y="273"/>
                  <a:pt x="287" y="278"/>
                  <a:pt x="290" y="282"/>
                </a:cubicBezTo>
                <a:lnTo>
                  <a:pt x="333" y="356"/>
                </a:lnTo>
                <a:close/>
                <a:moveTo>
                  <a:pt x="319" y="311"/>
                </a:moveTo>
                <a:cubicBezTo>
                  <a:pt x="299" y="277"/>
                  <a:pt x="299" y="277"/>
                  <a:pt x="299" y="277"/>
                </a:cubicBezTo>
                <a:cubicBezTo>
                  <a:pt x="326" y="277"/>
                  <a:pt x="326" y="277"/>
                  <a:pt x="326" y="277"/>
                </a:cubicBezTo>
                <a:cubicBezTo>
                  <a:pt x="329" y="277"/>
                  <a:pt x="331" y="276"/>
                  <a:pt x="332" y="274"/>
                </a:cubicBezTo>
                <a:cubicBezTo>
                  <a:pt x="333" y="272"/>
                  <a:pt x="333" y="270"/>
                  <a:pt x="331" y="267"/>
                </a:cubicBezTo>
                <a:cubicBezTo>
                  <a:pt x="278" y="186"/>
                  <a:pt x="278" y="186"/>
                  <a:pt x="278" y="186"/>
                </a:cubicBezTo>
                <a:cubicBezTo>
                  <a:pt x="295" y="186"/>
                  <a:pt x="295" y="186"/>
                  <a:pt x="295" y="186"/>
                </a:cubicBezTo>
                <a:cubicBezTo>
                  <a:pt x="298" y="186"/>
                  <a:pt x="301" y="185"/>
                  <a:pt x="302" y="183"/>
                </a:cubicBezTo>
                <a:cubicBezTo>
                  <a:pt x="303" y="181"/>
                  <a:pt x="302" y="179"/>
                  <a:pt x="301" y="176"/>
                </a:cubicBezTo>
                <a:cubicBezTo>
                  <a:pt x="242" y="86"/>
                  <a:pt x="242" y="86"/>
                  <a:pt x="242" y="86"/>
                </a:cubicBezTo>
                <a:cubicBezTo>
                  <a:pt x="288" y="15"/>
                  <a:pt x="288" y="15"/>
                  <a:pt x="288" y="15"/>
                </a:cubicBezTo>
                <a:cubicBezTo>
                  <a:pt x="362" y="129"/>
                  <a:pt x="362" y="129"/>
                  <a:pt x="362" y="129"/>
                </a:cubicBezTo>
                <a:cubicBezTo>
                  <a:pt x="352" y="129"/>
                  <a:pt x="352" y="129"/>
                  <a:pt x="352" y="129"/>
                </a:cubicBezTo>
                <a:cubicBezTo>
                  <a:pt x="347" y="129"/>
                  <a:pt x="343" y="131"/>
                  <a:pt x="341" y="134"/>
                </a:cubicBezTo>
                <a:cubicBezTo>
                  <a:pt x="340" y="137"/>
                  <a:pt x="341" y="141"/>
                  <a:pt x="343" y="145"/>
                </a:cubicBezTo>
                <a:cubicBezTo>
                  <a:pt x="393" y="220"/>
                  <a:pt x="393" y="220"/>
                  <a:pt x="393" y="220"/>
                </a:cubicBezTo>
                <a:cubicBezTo>
                  <a:pt x="375" y="220"/>
                  <a:pt x="375" y="220"/>
                  <a:pt x="375" y="220"/>
                </a:cubicBezTo>
                <a:cubicBezTo>
                  <a:pt x="370" y="220"/>
                  <a:pt x="366" y="222"/>
                  <a:pt x="364" y="225"/>
                </a:cubicBezTo>
                <a:cubicBezTo>
                  <a:pt x="362" y="228"/>
                  <a:pt x="363" y="232"/>
                  <a:pt x="366" y="237"/>
                </a:cubicBezTo>
                <a:cubicBezTo>
                  <a:pt x="409" y="311"/>
                  <a:pt x="409" y="311"/>
                  <a:pt x="409" y="311"/>
                </a:cubicBezTo>
                <a:lnTo>
                  <a:pt x="319" y="31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923651" y="2191482"/>
            <a:ext cx="220227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419" b="1" dirty="0">
                <a:solidFill>
                  <a:schemeClr val="accent4">
                    <a:lumMod val="50000"/>
                  </a:schemeClr>
                </a:solidFill>
              </a:rPr>
              <a:t>Bienes a Asegurar</a:t>
            </a:r>
            <a:endParaRPr lang="en-US" b="1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927362" y="1440449"/>
            <a:ext cx="7997139" cy="584775"/>
          </a:xfrm>
          <a:prstGeom prst="rect">
            <a:avLst/>
          </a:prstGeom>
          <a:solidFill>
            <a:srgbClr val="EE3D8B"/>
          </a:solidFill>
        </p:spPr>
        <p:txBody>
          <a:bodyPr wrap="square">
            <a:spAutoFit/>
          </a:bodyPr>
          <a:lstStyle/>
          <a:p>
            <a:r>
              <a:rPr lang="es-AR" sz="16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tección </a:t>
            </a:r>
            <a:r>
              <a:rPr lang="es-AR" sz="16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ra la actividad agropecuaria contra los </a:t>
            </a:r>
            <a:r>
              <a:rPr lang="es-AR" sz="16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ños</a:t>
            </a:r>
            <a:r>
              <a:rPr lang="es-AR" sz="16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que generan los </a:t>
            </a:r>
            <a:r>
              <a:rPr lang="es-AR" sz="16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ventos climáticos </a:t>
            </a:r>
            <a:r>
              <a:rPr lang="es-AR" sz="16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obre sus </a:t>
            </a:r>
            <a:r>
              <a:rPr lang="es-AR" sz="16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ducciones</a:t>
            </a:r>
            <a:r>
              <a:rPr lang="es-AR" sz="16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ya sean cultivos, ganado, forestales, peces, etc.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378827" y="1741113"/>
            <a:ext cx="2063530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AR" sz="1400" dirty="0" smtClean="0">
                <a:solidFill>
                  <a:srgbClr val="1F497D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erramienta que </a:t>
            </a:r>
            <a:r>
              <a:rPr lang="es-AR" sz="1400" b="1" dirty="0" smtClean="0">
                <a:solidFill>
                  <a:srgbClr val="1F497D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tabiliza la </a:t>
            </a:r>
            <a:r>
              <a:rPr lang="es-AR" sz="1400" b="1" dirty="0">
                <a:solidFill>
                  <a:srgbClr val="1F497D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ducción</a:t>
            </a:r>
            <a:r>
              <a:rPr lang="es-AR" sz="1400" dirty="0">
                <a:solidFill>
                  <a:srgbClr val="1F497D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atenuando el daño que provocan los eventos climáticos sobre la </a:t>
            </a:r>
            <a:r>
              <a:rPr lang="es-AR" sz="1400" dirty="0" smtClean="0">
                <a:solidFill>
                  <a:srgbClr val="1F497D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isma</a:t>
            </a:r>
            <a:endParaRPr lang="en-US" sz="14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pSp>
        <p:nvGrpSpPr>
          <p:cNvPr id="29" name="Group 72"/>
          <p:cNvGrpSpPr>
            <a:grpSpLocks noChangeAspect="1"/>
          </p:cNvGrpSpPr>
          <p:nvPr/>
        </p:nvGrpSpPr>
        <p:grpSpPr bwMode="auto">
          <a:xfrm>
            <a:off x="10134412" y="991428"/>
            <a:ext cx="552360" cy="576072"/>
            <a:chOff x="5682" y="533"/>
            <a:chExt cx="792" cy="826"/>
          </a:xfrm>
          <a:solidFill>
            <a:srgbClr val="FFBE00"/>
          </a:solidFill>
        </p:grpSpPr>
        <p:sp>
          <p:nvSpPr>
            <p:cNvPr id="30" name="Freeform 73"/>
            <p:cNvSpPr>
              <a:spLocks noEditPoints="1"/>
            </p:cNvSpPr>
            <p:nvPr/>
          </p:nvSpPr>
          <p:spPr bwMode="auto">
            <a:xfrm>
              <a:off x="5838" y="682"/>
              <a:ext cx="477" cy="677"/>
            </a:xfrm>
            <a:custGeom>
              <a:avLst/>
              <a:gdLst>
                <a:gd name="T0" fmla="*/ 124 w 202"/>
                <a:gd name="T1" fmla="*/ 280 h 287"/>
                <a:gd name="T2" fmla="*/ 85 w 202"/>
                <a:gd name="T3" fmla="*/ 287 h 287"/>
                <a:gd name="T4" fmla="*/ 78 w 202"/>
                <a:gd name="T5" fmla="*/ 272 h 287"/>
                <a:gd name="T6" fmla="*/ 52 w 202"/>
                <a:gd name="T7" fmla="*/ 250 h 287"/>
                <a:gd name="T8" fmla="*/ 50 w 202"/>
                <a:gd name="T9" fmla="*/ 219 h 287"/>
                <a:gd name="T10" fmla="*/ 40 w 202"/>
                <a:gd name="T11" fmla="*/ 179 h 287"/>
                <a:gd name="T12" fmla="*/ 7 w 202"/>
                <a:gd name="T13" fmla="*/ 118 h 287"/>
                <a:gd name="T14" fmla="*/ 193 w 202"/>
                <a:gd name="T15" fmla="*/ 81 h 287"/>
                <a:gd name="T16" fmla="*/ 168 w 202"/>
                <a:gd name="T17" fmla="*/ 172 h 287"/>
                <a:gd name="T18" fmla="*/ 162 w 202"/>
                <a:gd name="T19" fmla="*/ 202 h 287"/>
                <a:gd name="T20" fmla="*/ 150 w 202"/>
                <a:gd name="T21" fmla="*/ 223 h 287"/>
                <a:gd name="T22" fmla="*/ 129 w 202"/>
                <a:gd name="T23" fmla="*/ 272 h 287"/>
                <a:gd name="T24" fmla="*/ 135 w 202"/>
                <a:gd name="T25" fmla="*/ 211 h 287"/>
                <a:gd name="T26" fmla="*/ 151 w 202"/>
                <a:gd name="T27" fmla="*/ 175 h 287"/>
                <a:gd name="T28" fmla="*/ 183 w 202"/>
                <a:gd name="T29" fmla="*/ 87 h 287"/>
                <a:gd name="T30" fmla="*/ 18 w 202"/>
                <a:gd name="T31" fmla="*/ 113 h 287"/>
                <a:gd name="T32" fmla="*/ 51 w 202"/>
                <a:gd name="T33" fmla="*/ 175 h 287"/>
                <a:gd name="T34" fmla="*/ 59 w 202"/>
                <a:gd name="T35" fmla="*/ 210 h 287"/>
                <a:gd name="T36" fmla="*/ 67 w 202"/>
                <a:gd name="T37" fmla="*/ 208 h 287"/>
                <a:gd name="T38" fmla="*/ 67 w 202"/>
                <a:gd name="T39" fmla="*/ 100 h 287"/>
                <a:gd name="T40" fmla="*/ 79 w 202"/>
                <a:gd name="T41" fmla="*/ 100 h 287"/>
                <a:gd name="T42" fmla="*/ 79 w 202"/>
                <a:gd name="T43" fmla="*/ 114 h 287"/>
                <a:gd name="T44" fmla="*/ 96 w 202"/>
                <a:gd name="T45" fmla="*/ 100 h 287"/>
                <a:gd name="T46" fmla="*/ 107 w 202"/>
                <a:gd name="T47" fmla="*/ 99 h 287"/>
                <a:gd name="T48" fmla="*/ 107 w 202"/>
                <a:gd name="T49" fmla="*/ 114 h 287"/>
                <a:gd name="T50" fmla="*/ 123 w 202"/>
                <a:gd name="T51" fmla="*/ 111 h 287"/>
                <a:gd name="T52" fmla="*/ 128 w 202"/>
                <a:gd name="T53" fmla="*/ 95 h 287"/>
                <a:gd name="T54" fmla="*/ 135 w 202"/>
                <a:gd name="T55" fmla="*/ 101 h 287"/>
                <a:gd name="T56" fmla="*/ 135 w 202"/>
                <a:gd name="T57" fmla="*/ 211 h 287"/>
                <a:gd name="T58" fmla="*/ 123 w 202"/>
                <a:gd name="T59" fmla="*/ 126 h 287"/>
                <a:gd name="T60" fmla="*/ 107 w 202"/>
                <a:gd name="T61" fmla="*/ 138 h 287"/>
                <a:gd name="T62" fmla="*/ 100 w 202"/>
                <a:gd name="T63" fmla="*/ 145 h 287"/>
                <a:gd name="T64" fmla="*/ 96 w 202"/>
                <a:gd name="T65" fmla="*/ 126 h 287"/>
                <a:gd name="T66" fmla="*/ 79 w 202"/>
                <a:gd name="T67" fmla="*/ 211 h 287"/>
                <a:gd name="T68" fmla="*/ 63 w 202"/>
                <a:gd name="T69" fmla="*/ 236 h 287"/>
                <a:gd name="T70" fmla="*/ 139 w 202"/>
                <a:gd name="T71" fmla="*/ 225 h 287"/>
                <a:gd name="T72" fmla="*/ 66 w 202"/>
                <a:gd name="T73" fmla="*/ 222 h 287"/>
                <a:gd name="T74" fmla="*/ 63 w 202"/>
                <a:gd name="T75" fmla="*/ 224 h 287"/>
                <a:gd name="T76" fmla="*/ 63 w 202"/>
                <a:gd name="T77" fmla="*/ 248 h 287"/>
                <a:gd name="T78" fmla="*/ 129 w 202"/>
                <a:gd name="T79" fmla="*/ 260 h 287"/>
                <a:gd name="T80" fmla="*/ 63 w 202"/>
                <a:gd name="T81" fmla="*/ 248 h 287"/>
                <a:gd name="T82" fmla="*/ 112 w 202"/>
                <a:gd name="T83" fmla="*/ 275 h 287"/>
                <a:gd name="T84" fmla="*/ 90 w 202"/>
                <a:gd name="T85" fmla="*/ 27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2" h="287">
                  <a:moveTo>
                    <a:pt x="124" y="272"/>
                  </a:moveTo>
                  <a:cubicBezTo>
                    <a:pt x="124" y="275"/>
                    <a:pt x="124" y="277"/>
                    <a:pt x="124" y="280"/>
                  </a:cubicBezTo>
                  <a:cubicBezTo>
                    <a:pt x="124" y="285"/>
                    <a:pt x="122" y="287"/>
                    <a:pt x="117" y="287"/>
                  </a:cubicBezTo>
                  <a:cubicBezTo>
                    <a:pt x="107" y="287"/>
                    <a:pt x="96" y="287"/>
                    <a:pt x="85" y="287"/>
                  </a:cubicBezTo>
                  <a:cubicBezTo>
                    <a:pt x="80" y="287"/>
                    <a:pt x="78" y="285"/>
                    <a:pt x="78" y="280"/>
                  </a:cubicBezTo>
                  <a:cubicBezTo>
                    <a:pt x="78" y="278"/>
                    <a:pt x="78" y="275"/>
                    <a:pt x="78" y="272"/>
                  </a:cubicBezTo>
                  <a:cubicBezTo>
                    <a:pt x="75" y="272"/>
                    <a:pt x="72" y="272"/>
                    <a:pt x="69" y="271"/>
                  </a:cubicBezTo>
                  <a:cubicBezTo>
                    <a:pt x="59" y="269"/>
                    <a:pt x="52" y="260"/>
                    <a:pt x="52" y="250"/>
                  </a:cubicBezTo>
                  <a:cubicBezTo>
                    <a:pt x="52" y="241"/>
                    <a:pt x="52" y="232"/>
                    <a:pt x="52" y="222"/>
                  </a:cubicBezTo>
                  <a:cubicBezTo>
                    <a:pt x="52" y="221"/>
                    <a:pt x="51" y="220"/>
                    <a:pt x="50" y="219"/>
                  </a:cubicBezTo>
                  <a:cubicBezTo>
                    <a:pt x="43" y="215"/>
                    <a:pt x="40" y="209"/>
                    <a:pt x="40" y="201"/>
                  </a:cubicBezTo>
                  <a:cubicBezTo>
                    <a:pt x="40" y="193"/>
                    <a:pt x="40" y="186"/>
                    <a:pt x="40" y="179"/>
                  </a:cubicBezTo>
                  <a:cubicBezTo>
                    <a:pt x="40" y="178"/>
                    <a:pt x="39" y="176"/>
                    <a:pt x="38" y="175"/>
                  </a:cubicBezTo>
                  <a:cubicBezTo>
                    <a:pt x="21" y="160"/>
                    <a:pt x="10" y="141"/>
                    <a:pt x="7" y="118"/>
                  </a:cubicBezTo>
                  <a:cubicBezTo>
                    <a:pt x="0" y="67"/>
                    <a:pt x="33" y="22"/>
                    <a:pt x="79" y="12"/>
                  </a:cubicBezTo>
                  <a:cubicBezTo>
                    <a:pt x="130" y="0"/>
                    <a:pt x="181" y="30"/>
                    <a:pt x="193" y="81"/>
                  </a:cubicBezTo>
                  <a:cubicBezTo>
                    <a:pt x="202" y="114"/>
                    <a:pt x="193" y="144"/>
                    <a:pt x="170" y="170"/>
                  </a:cubicBezTo>
                  <a:cubicBezTo>
                    <a:pt x="169" y="170"/>
                    <a:pt x="169" y="171"/>
                    <a:pt x="168" y="172"/>
                  </a:cubicBezTo>
                  <a:cubicBezTo>
                    <a:pt x="163" y="175"/>
                    <a:pt x="162" y="179"/>
                    <a:pt x="162" y="184"/>
                  </a:cubicBezTo>
                  <a:cubicBezTo>
                    <a:pt x="163" y="190"/>
                    <a:pt x="163" y="196"/>
                    <a:pt x="162" y="202"/>
                  </a:cubicBezTo>
                  <a:cubicBezTo>
                    <a:pt x="162" y="209"/>
                    <a:pt x="158" y="215"/>
                    <a:pt x="152" y="219"/>
                  </a:cubicBezTo>
                  <a:cubicBezTo>
                    <a:pt x="151" y="220"/>
                    <a:pt x="150" y="221"/>
                    <a:pt x="150" y="223"/>
                  </a:cubicBezTo>
                  <a:cubicBezTo>
                    <a:pt x="150" y="232"/>
                    <a:pt x="150" y="241"/>
                    <a:pt x="150" y="250"/>
                  </a:cubicBezTo>
                  <a:cubicBezTo>
                    <a:pt x="150" y="262"/>
                    <a:pt x="141" y="272"/>
                    <a:pt x="129" y="272"/>
                  </a:cubicBezTo>
                  <a:cubicBezTo>
                    <a:pt x="127" y="272"/>
                    <a:pt x="126" y="272"/>
                    <a:pt x="124" y="272"/>
                  </a:cubicBezTo>
                  <a:close/>
                  <a:moveTo>
                    <a:pt x="135" y="211"/>
                  </a:moveTo>
                  <a:cubicBezTo>
                    <a:pt x="146" y="212"/>
                    <a:pt x="152" y="208"/>
                    <a:pt x="151" y="197"/>
                  </a:cubicBezTo>
                  <a:cubicBezTo>
                    <a:pt x="151" y="190"/>
                    <a:pt x="151" y="183"/>
                    <a:pt x="151" y="175"/>
                  </a:cubicBezTo>
                  <a:cubicBezTo>
                    <a:pt x="151" y="172"/>
                    <a:pt x="152" y="170"/>
                    <a:pt x="154" y="169"/>
                  </a:cubicBezTo>
                  <a:cubicBezTo>
                    <a:pt x="179" y="147"/>
                    <a:pt x="189" y="119"/>
                    <a:pt x="183" y="87"/>
                  </a:cubicBezTo>
                  <a:cubicBezTo>
                    <a:pt x="174" y="43"/>
                    <a:pt x="131" y="14"/>
                    <a:pt x="86" y="22"/>
                  </a:cubicBezTo>
                  <a:cubicBezTo>
                    <a:pt x="44" y="29"/>
                    <a:pt x="13" y="70"/>
                    <a:pt x="18" y="113"/>
                  </a:cubicBezTo>
                  <a:cubicBezTo>
                    <a:pt x="21" y="136"/>
                    <a:pt x="31" y="154"/>
                    <a:pt x="48" y="169"/>
                  </a:cubicBezTo>
                  <a:cubicBezTo>
                    <a:pt x="50" y="170"/>
                    <a:pt x="51" y="172"/>
                    <a:pt x="51" y="175"/>
                  </a:cubicBezTo>
                  <a:cubicBezTo>
                    <a:pt x="51" y="184"/>
                    <a:pt x="51" y="192"/>
                    <a:pt x="51" y="201"/>
                  </a:cubicBezTo>
                  <a:cubicBezTo>
                    <a:pt x="51" y="205"/>
                    <a:pt x="54" y="209"/>
                    <a:pt x="59" y="210"/>
                  </a:cubicBezTo>
                  <a:cubicBezTo>
                    <a:pt x="61" y="211"/>
                    <a:pt x="64" y="211"/>
                    <a:pt x="67" y="211"/>
                  </a:cubicBezTo>
                  <a:cubicBezTo>
                    <a:pt x="67" y="210"/>
                    <a:pt x="67" y="209"/>
                    <a:pt x="67" y="208"/>
                  </a:cubicBezTo>
                  <a:cubicBezTo>
                    <a:pt x="67" y="172"/>
                    <a:pt x="67" y="137"/>
                    <a:pt x="67" y="102"/>
                  </a:cubicBezTo>
                  <a:cubicBezTo>
                    <a:pt x="67" y="101"/>
                    <a:pt x="67" y="101"/>
                    <a:pt x="67" y="100"/>
                  </a:cubicBezTo>
                  <a:cubicBezTo>
                    <a:pt x="68" y="97"/>
                    <a:pt x="70" y="94"/>
                    <a:pt x="73" y="94"/>
                  </a:cubicBezTo>
                  <a:cubicBezTo>
                    <a:pt x="77" y="94"/>
                    <a:pt x="79" y="97"/>
                    <a:pt x="79" y="100"/>
                  </a:cubicBezTo>
                  <a:cubicBezTo>
                    <a:pt x="79" y="102"/>
                    <a:pt x="79" y="103"/>
                    <a:pt x="79" y="104"/>
                  </a:cubicBezTo>
                  <a:cubicBezTo>
                    <a:pt x="79" y="107"/>
                    <a:pt x="79" y="111"/>
                    <a:pt x="79" y="114"/>
                  </a:cubicBezTo>
                  <a:cubicBezTo>
                    <a:pt x="85" y="114"/>
                    <a:pt x="90" y="114"/>
                    <a:pt x="95" y="114"/>
                  </a:cubicBezTo>
                  <a:cubicBezTo>
                    <a:pt x="95" y="109"/>
                    <a:pt x="95" y="104"/>
                    <a:pt x="96" y="100"/>
                  </a:cubicBezTo>
                  <a:cubicBezTo>
                    <a:pt x="96" y="97"/>
                    <a:pt x="98" y="95"/>
                    <a:pt x="101" y="94"/>
                  </a:cubicBezTo>
                  <a:cubicBezTo>
                    <a:pt x="104" y="94"/>
                    <a:pt x="106" y="96"/>
                    <a:pt x="107" y="99"/>
                  </a:cubicBezTo>
                  <a:cubicBezTo>
                    <a:pt x="107" y="100"/>
                    <a:pt x="107" y="102"/>
                    <a:pt x="107" y="103"/>
                  </a:cubicBezTo>
                  <a:cubicBezTo>
                    <a:pt x="107" y="107"/>
                    <a:pt x="107" y="110"/>
                    <a:pt x="107" y="114"/>
                  </a:cubicBezTo>
                  <a:cubicBezTo>
                    <a:pt x="113" y="114"/>
                    <a:pt x="118" y="114"/>
                    <a:pt x="123" y="114"/>
                  </a:cubicBezTo>
                  <a:cubicBezTo>
                    <a:pt x="123" y="113"/>
                    <a:pt x="123" y="112"/>
                    <a:pt x="123" y="111"/>
                  </a:cubicBezTo>
                  <a:cubicBezTo>
                    <a:pt x="123" y="107"/>
                    <a:pt x="123" y="104"/>
                    <a:pt x="123" y="100"/>
                  </a:cubicBezTo>
                  <a:cubicBezTo>
                    <a:pt x="124" y="97"/>
                    <a:pt x="125" y="95"/>
                    <a:pt x="128" y="95"/>
                  </a:cubicBezTo>
                  <a:cubicBezTo>
                    <a:pt x="130" y="94"/>
                    <a:pt x="133" y="95"/>
                    <a:pt x="134" y="97"/>
                  </a:cubicBezTo>
                  <a:cubicBezTo>
                    <a:pt x="135" y="98"/>
                    <a:pt x="135" y="100"/>
                    <a:pt x="135" y="101"/>
                  </a:cubicBezTo>
                  <a:cubicBezTo>
                    <a:pt x="135" y="137"/>
                    <a:pt x="135" y="172"/>
                    <a:pt x="135" y="207"/>
                  </a:cubicBezTo>
                  <a:cubicBezTo>
                    <a:pt x="135" y="208"/>
                    <a:pt x="135" y="210"/>
                    <a:pt x="135" y="211"/>
                  </a:cubicBezTo>
                  <a:close/>
                  <a:moveTo>
                    <a:pt x="123" y="211"/>
                  </a:moveTo>
                  <a:cubicBezTo>
                    <a:pt x="123" y="182"/>
                    <a:pt x="123" y="154"/>
                    <a:pt x="123" y="126"/>
                  </a:cubicBezTo>
                  <a:cubicBezTo>
                    <a:pt x="118" y="126"/>
                    <a:pt x="112" y="126"/>
                    <a:pt x="107" y="126"/>
                  </a:cubicBezTo>
                  <a:cubicBezTo>
                    <a:pt x="107" y="130"/>
                    <a:pt x="107" y="134"/>
                    <a:pt x="107" y="138"/>
                  </a:cubicBezTo>
                  <a:cubicBezTo>
                    <a:pt x="107" y="139"/>
                    <a:pt x="107" y="141"/>
                    <a:pt x="106" y="142"/>
                  </a:cubicBezTo>
                  <a:cubicBezTo>
                    <a:pt x="105" y="144"/>
                    <a:pt x="103" y="146"/>
                    <a:pt x="100" y="145"/>
                  </a:cubicBezTo>
                  <a:cubicBezTo>
                    <a:pt x="97" y="145"/>
                    <a:pt x="96" y="143"/>
                    <a:pt x="96" y="140"/>
                  </a:cubicBezTo>
                  <a:cubicBezTo>
                    <a:pt x="95" y="135"/>
                    <a:pt x="96" y="131"/>
                    <a:pt x="96" y="126"/>
                  </a:cubicBezTo>
                  <a:cubicBezTo>
                    <a:pt x="90" y="126"/>
                    <a:pt x="84" y="126"/>
                    <a:pt x="79" y="126"/>
                  </a:cubicBezTo>
                  <a:cubicBezTo>
                    <a:pt x="79" y="154"/>
                    <a:pt x="79" y="182"/>
                    <a:pt x="79" y="211"/>
                  </a:cubicBezTo>
                  <a:cubicBezTo>
                    <a:pt x="94" y="211"/>
                    <a:pt x="108" y="211"/>
                    <a:pt x="123" y="211"/>
                  </a:cubicBezTo>
                  <a:close/>
                  <a:moveTo>
                    <a:pt x="63" y="236"/>
                  </a:moveTo>
                  <a:cubicBezTo>
                    <a:pt x="89" y="236"/>
                    <a:pt x="114" y="236"/>
                    <a:pt x="139" y="236"/>
                  </a:cubicBezTo>
                  <a:cubicBezTo>
                    <a:pt x="139" y="232"/>
                    <a:pt x="139" y="228"/>
                    <a:pt x="139" y="225"/>
                  </a:cubicBezTo>
                  <a:cubicBezTo>
                    <a:pt x="139" y="223"/>
                    <a:pt x="138" y="222"/>
                    <a:pt x="136" y="222"/>
                  </a:cubicBezTo>
                  <a:cubicBezTo>
                    <a:pt x="113" y="222"/>
                    <a:pt x="89" y="222"/>
                    <a:pt x="66" y="222"/>
                  </a:cubicBezTo>
                  <a:cubicBezTo>
                    <a:pt x="65" y="222"/>
                    <a:pt x="64" y="222"/>
                    <a:pt x="63" y="222"/>
                  </a:cubicBezTo>
                  <a:cubicBezTo>
                    <a:pt x="63" y="223"/>
                    <a:pt x="63" y="223"/>
                    <a:pt x="63" y="224"/>
                  </a:cubicBezTo>
                  <a:cubicBezTo>
                    <a:pt x="63" y="228"/>
                    <a:pt x="63" y="232"/>
                    <a:pt x="63" y="236"/>
                  </a:cubicBezTo>
                  <a:close/>
                  <a:moveTo>
                    <a:pt x="63" y="248"/>
                  </a:moveTo>
                  <a:cubicBezTo>
                    <a:pt x="63" y="256"/>
                    <a:pt x="67" y="260"/>
                    <a:pt x="74" y="260"/>
                  </a:cubicBezTo>
                  <a:cubicBezTo>
                    <a:pt x="93" y="260"/>
                    <a:pt x="111" y="260"/>
                    <a:pt x="129" y="260"/>
                  </a:cubicBezTo>
                  <a:cubicBezTo>
                    <a:pt x="136" y="260"/>
                    <a:pt x="140" y="255"/>
                    <a:pt x="139" y="248"/>
                  </a:cubicBezTo>
                  <a:cubicBezTo>
                    <a:pt x="114" y="248"/>
                    <a:pt x="89" y="248"/>
                    <a:pt x="63" y="248"/>
                  </a:cubicBezTo>
                  <a:close/>
                  <a:moveTo>
                    <a:pt x="90" y="275"/>
                  </a:moveTo>
                  <a:cubicBezTo>
                    <a:pt x="98" y="275"/>
                    <a:pt x="105" y="275"/>
                    <a:pt x="112" y="275"/>
                  </a:cubicBezTo>
                  <a:cubicBezTo>
                    <a:pt x="112" y="274"/>
                    <a:pt x="112" y="273"/>
                    <a:pt x="112" y="272"/>
                  </a:cubicBezTo>
                  <a:cubicBezTo>
                    <a:pt x="105" y="272"/>
                    <a:pt x="97" y="272"/>
                    <a:pt x="90" y="272"/>
                  </a:cubicBezTo>
                  <a:cubicBezTo>
                    <a:pt x="90" y="273"/>
                    <a:pt x="90" y="274"/>
                    <a:pt x="90" y="2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74"/>
            <p:cNvSpPr>
              <a:spLocks/>
            </p:cNvSpPr>
            <p:nvPr/>
          </p:nvSpPr>
          <p:spPr bwMode="auto">
            <a:xfrm>
              <a:off x="6270" y="644"/>
              <a:ext cx="95" cy="89"/>
            </a:xfrm>
            <a:custGeom>
              <a:avLst/>
              <a:gdLst>
                <a:gd name="T0" fmla="*/ 32 w 40"/>
                <a:gd name="T1" fmla="*/ 0 h 38"/>
                <a:gd name="T2" fmla="*/ 37 w 40"/>
                <a:gd name="T3" fmla="*/ 9 h 38"/>
                <a:gd name="T4" fmla="*/ 36 w 40"/>
                <a:gd name="T5" fmla="*/ 10 h 38"/>
                <a:gd name="T6" fmla="*/ 11 w 40"/>
                <a:gd name="T7" fmla="*/ 36 h 38"/>
                <a:gd name="T8" fmla="*/ 2 w 40"/>
                <a:gd name="T9" fmla="*/ 36 h 38"/>
                <a:gd name="T10" fmla="*/ 3 w 40"/>
                <a:gd name="T11" fmla="*/ 28 h 38"/>
                <a:gd name="T12" fmla="*/ 28 w 40"/>
                <a:gd name="T13" fmla="*/ 2 h 38"/>
                <a:gd name="T14" fmla="*/ 32 w 40"/>
                <a:gd name="T15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38">
                  <a:moveTo>
                    <a:pt x="32" y="0"/>
                  </a:moveTo>
                  <a:cubicBezTo>
                    <a:pt x="37" y="0"/>
                    <a:pt x="40" y="5"/>
                    <a:pt x="37" y="9"/>
                  </a:cubicBezTo>
                  <a:cubicBezTo>
                    <a:pt x="37" y="9"/>
                    <a:pt x="37" y="10"/>
                    <a:pt x="36" y="10"/>
                  </a:cubicBezTo>
                  <a:cubicBezTo>
                    <a:pt x="28" y="19"/>
                    <a:pt x="19" y="27"/>
                    <a:pt x="11" y="36"/>
                  </a:cubicBezTo>
                  <a:cubicBezTo>
                    <a:pt x="8" y="38"/>
                    <a:pt x="4" y="38"/>
                    <a:pt x="2" y="36"/>
                  </a:cubicBezTo>
                  <a:cubicBezTo>
                    <a:pt x="0" y="34"/>
                    <a:pt x="0" y="30"/>
                    <a:pt x="3" y="28"/>
                  </a:cubicBezTo>
                  <a:cubicBezTo>
                    <a:pt x="11" y="19"/>
                    <a:pt x="20" y="11"/>
                    <a:pt x="28" y="2"/>
                  </a:cubicBezTo>
                  <a:cubicBezTo>
                    <a:pt x="29" y="1"/>
                    <a:pt x="31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75"/>
            <p:cNvSpPr>
              <a:spLocks/>
            </p:cNvSpPr>
            <p:nvPr/>
          </p:nvSpPr>
          <p:spPr bwMode="auto">
            <a:xfrm>
              <a:off x="6062" y="533"/>
              <a:ext cx="29" cy="113"/>
            </a:xfrm>
            <a:custGeom>
              <a:avLst/>
              <a:gdLst>
                <a:gd name="T0" fmla="*/ 0 w 12"/>
                <a:gd name="T1" fmla="*/ 24 h 48"/>
                <a:gd name="T2" fmla="*/ 0 w 12"/>
                <a:gd name="T3" fmla="*/ 6 h 48"/>
                <a:gd name="T4" fmla="*/ 6 w 12"/>
                <a:gd name="T5" fmla="*/ 0 h 48"/>
                <a:gd name="T6" fmla="*/ 12 w 12"/>
                <a:gd name="T7" fmla="*/ 6 h 48"/>
                <a:gd name="T8" fmla="*/ 12 w 12"/>
                <a:gd name="T9" fmla="*/ 42 h 48"/>
                <a:gd name="T10" fmla="*/ 6 w 12"/>
                <a:gd name="T11" fmla="*/ 48 h 48"/>
                <a:gd name="T12" fmla="*/ 0 w 12"/>
                <a:gd name="T13" fmla="*/ 42 h 48"/>
                <a:gd name="T14" fmla="*/ 0 w 12"/>
                <a:gd name="T15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48">
                  <a:moveTo>
                    <a:pt x="0" y="24"/>
                  </a:moveTo>
                  <a:cubicBezTo>
                    <a:pt x="0" y="18"/>
                    <a:pt x="0" y="12"/>
                    <a:pt x="0" y="6"/>
                  </a:cubicBezTo>
                  <a:cubicBezTo>
                    <a:pt x="1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8"/>
                    <a:pt x="12" y="30"/>
                    <a:pt x="12" y="42"/>
                  </a:cubicBezTo>
                  <a:cubicBezTo>
                    <a:pt x="12" y="46"/>
                    <a:pt x="9" y="48"/>
                    <a:pt x="6" y="48"/>
                  </a:cubicBezTo>
                  <a:cubicBezTo>
                    <a:pt x="3" y="48"/>
                    <a:pt x="0" y="46"/>
                    <a:pt x="0" y="42"/>
                  </a:cubicBezTo>
                  <a:cubicBezTo>
                    <a:pt x="0" y="36"/>
                    <a:pt x="0" y="30"/>
                    <a:pt x="0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76"/>
            <p:cNvSpPr>
              <a:spLocks/>
            </p:cNvSpPr>
            <p:nvPr/>
          </p:nvSpPr>
          <p:spPr bwMode="auto">
            <a:xfrm>
              <a:off x="5682" y="913"/>
              <a:ext cx="113" cy="28"/>
            </a:xfrm>
            <a:custGeom>
              <a:avLst/>
              <a:gdLst>
                <a:gd name="T0" fmla="*/ 24 w 48"/>
                <a:gd name="T1" fmla="*/ 1 h 12"/>
                <a:gd name="T2" fmla="*/ 42 w 48"/>
                <a:gd name="T3" fmla="*/ 1 h 12"/>
                <a:gd name="T4" fmla="*/ 48 w 48"/>
                <a:gd name="T5" fmla="*/ 6 h 12"/>
                <a:gd name="T6" fmla="*/ 42 w 48"/>
                <a:gd name="T7" fmla="*/ 12 h 12"/>
                <a:gd name="T8" fmla="*/ 6 w 48"/>
                <a:gd name="T9" fmla="*/ 12 h 12"/>
                <a:gd name="T10" fmla="*/ 0 w 48"/>
                <a:gd name="T11" fmla="*/ 6 h 12"/>
                <a:gd name="T12" fmla="*/ 6 w 48"/>
                <a:gd name="T13" fmla="*/ 1 h 12"/>
                <a:gd name="T14" fmla="*/ 24 w 48"/>
                <a:gd name="T15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12">
                  <a:moveTo>
                    <a:pt x="24" y="1"/>
                  </a:moveTo>
                  <a:cubicBezTo>
                    <a:pt x="30" y="1"/>
                    <a:pt x="36" y="1"/>
                    <a:pt x="42" y="1"/>
                  </a:cubicBezTo>
                  <a:cubicBezTo>
                    <a:pt x="46" y="1"/>
                    <a:pt x="48" y="3"/>
                    <a:pt x="48" y="6"/>
                  </a:cubicBezTo>
                  <a:cubicBezTo>
                    <a:pt x="48" y="9"/>
                    <a:pt x="46" y="12"/>
                    <a:pt x="42" y="12"/>
                  </a:cubicBezTo>
                  <a:cubicBezTo>
                    <a:pt x="30" y="12"/>
                    <a:pt x="18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1"/>
                    <a:pt x="6" y="1"/>
                  </a:cubicBezTo>
                  <a:cubicBezTo>
                    <a:pt x="12" y="0"/>
                    <a:pt x="18" y="1"/>
                    <a:pt x="2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77"/>
            <p:cNvSpPr>
              <a:spLocks/>
            </p:cNvSpPr>
            <p:nvPr/>
          </p:nvSpPr>
          <p:spPr bwMode="auto">
            <a:xfrm>
              <a:off x="6358" y="913"/>
              <a:ext cx="116" cy="28"/>
            </a:xfrm>
            <a:custGeom>
              <a:avLst/>
              <a:gdLst>
                <a:gd name="T0" fmla="*/ 24 w 49"/>
                <a:gd name="T1" fmla="*/ 12 h 12"/>
                <a:gd name="T2" fmla="*/ 6 w 49"/>
                <a:gd name="T3" fmla="*/ 12 h 12"/>
                <a:gd name="T4" fmla="*/ 0 w 49"/>
                <a:gd name="T5" fmla="*/ 8 h 12"/>
                <a:gd name="T6" fmla="*/ 2 w 49"/>
                <a:gd name="T7" fmla="*/ 2 h 12"/>
                <a:gd name="T8" fmla="*/ 6 w 49"/>
                <a:gd name="T9" fmla="*/ 1 h 12"/>
                <a:gd name="T10" fmla="*/ 43 w 49"/>
                <a:gd name="T11" fmla="*/ 1 h 12"/>
                <a:gd name="T12" fmla="*/ 49 w 49"/>
                <a:gd name="T13" fmla="*/ 6 h 12"/>
                <a:gd name="T14" fmla="*/ 43 w 49"/>
                <a:gd name="T15" fmla="*/ 12 h 12"/>
                <a:gd name="T16" fmla="*/ 24 w 49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" h="12">
                  <a:moveTo>
                    <a:pt x="24" y="12"/>
                  </a:moveTo>
                  <a:cubicBezTo>
                    <a:pt x="18" y="12"/>
                    <a:pt x="12" y="12"/>
                    <a:pt x="6" y="12"/>
                  </a:cubicBezTo>
                  <a:cubicBezTo>
                    <a:pt x="3" y="12"/>
                    <a:pt x="1" y="10"/>
                    <a:pt x="0" y="8"/>
                  </a:cubicBezTo>
                  <a:cubicBezTo>
                    <a:pt x="0" y="5"/>
                    <a:pt x="0" y="3"/>
                    <a:pt x="2" y="2"/>
                  </a:cubicBezTo>
                  <a:cubicBezTo>
                    <a:pt x="3" y="1"/>
                    <a:pt x="5" y="1"/>
                    <a:pt x="6" y="1"/>
                  </a:cubicBezTo>
                  <a:cubicBezTo>
                    <a:pt x="18" y="0"/>
                    <a:pt x="30" y="1"/>
                    <a:pt x="43" y="1"/>
                  </a:cubicBezTo>
                  <a:cubicBezTo>
                    <a:pt x="46" y="1"/>
                    <a:pt x="49" y="3"/>
                    <a:pt x="49" y="6"/>
                  </a:cubicBezTo>
                  <a:cubicBezTo>
                    <a:pt x="49" y="9"/>
                    <a:pt x="46" y="12"/>
                    <a:pt x="43" y="12"/>
                  </a:cubicBezTo>
                  <a:cubicBezTo>
                    <a:pt x="37" y="12"/>
                    <a:pt x="30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78"/>
            <p:cNvSpPr>
              <a:spLocks/>
            </p:cNvSpPr>
            <p:nvPr/>
          </p:nvSpPr>
          <p:spPr bwMode="auto">
            <a:xfrm>
              <a:off x="5793" y="644"/>
              <a:ext cx="90" cy="89"/>
            </a:xfrm>
            <a:custGeom>
              <a:avLst/>
              <a:gdLst>
                <a:gd name="T0" fmla="*/ 0 w 38"/>
                <a:gd name="T1" fmla="*/ 6 h 38"/>
                <a:gd name="T2" fmla="*/ 3 w 38"/>
                <a:gd name="T3" fmla="*/ 1 h 38"/>
                <a:gd name="T4" fmla="*/ 10 w 38"/>
                <a:gd name="T5" fmla="*/ 2 h 38"/>
                <a:gd name="T6" fmla="*/ 16 w 38"/>
                <a:gd name="T7" fmla="*/ 8 h 38"/>
                <a:gd name="T8" fmla="*/ 36 w 38"/>
                <a:gd name="T9" fmla="*/ 28 h 38"/>
                <a:gd name="T10" fmla="*/ 37 w 38"/>
                <a:gd name="T11" fmla="*/ 34 h 38"/>
                <a:gd name="T12" fmla="*/ 33 w 38"/>
                <a:gd name="T13" fmla="*/ 38 h 38"/>
                <a:gd name="T14" fmla="*/ 28 w 38"/>
                <a:gd name="T15" fmla="*/ 36 h 38"/>
                <a:gd name="T16" fmla="*/ 2 w 38"/>
                <a:gd name="T17" fmla="*/ 10 h 38"/>
                <a:gd name="T18" fmla="*/ 0 w 38"/>
                <a:gd name="T19" fmla="*/ 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8">
                  <a:moveTo>
                    <a:pt x="0" y="6"/>
                  </a:moveTo>
                  <a:cubicBezTo>
                    <a:pt x="0" y="3"/>
                    <a:pt x="1" y="1"/>
                    <a:pt x="3" y="1"/>
                  </a:cubicBezTo>
                  <a:cubicBezTo>
                    <a:pt x="6" y="0"/>
                    <a:pt x="8" y="0"/>
                    <a:pt x="10" y="2"/>
                  </a:cubicBezTo>
                  <a:cubicBezTo>
                    <a:pt x="12" y="4"/>
                    <a:pt x="14" y="6"/>
                    <a:pt x="16" y="8"/>
                  </a:cubicBezTo>
                  <a:cubicBezTo>
                    <a:pt x="23" y="15"/>
                    <a:pt x="29" y="21"/>
                    <a:pt x="36" y="28"/>
                  </a:cubicBezTo>
                  <a:cubicBezTo>
                    <a:pt x="37" y="29"/>
                    <a:pt x="38" y="31"/>
                    <a:pt x="37" y="34"/>
                  </a:cubicBezTo>
                  <a:cubicBezTo>
                    <a:pt x="37" y="36"/>
                    <a:pt x="35" y="38"/>
                    <a:pt x="33" y="38"/>
                  </a:cubicBezTo>
                  <a:cubicBezTo>
                    <a:pt x="31" y="38"/>
                    <a:pt x="29" y="37"/>
                    <a:pt x="28" y="36"/>
                  </a:cubicBezTo>
                  <a:cubicBezTo>
                    <a:pt x="19" y="27"/>
                    <a:pt x="10" y="19"/>
                    <a:pt x="2" y="10"/>
                  </a:cubicBezTo>
                  <a:cubicBezTo>
                    <a:pt x="1" y="9"/>
                    <a:pt x="0" y="7"/>
                    <a:pt x="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966632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419" dirty="0"/>
              <a:t>Seguro Agropecuario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GB" smtClean="0"/>
              <a:pPr algn="r"/>
              <a:t>23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s-419" dirty="0" smtClean="0"/>
              <a:t>Riesgos Cubiertos 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3554603" y="1738644"/>
            <a:ext cx="5058054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ES" sz="1100" dirty="0" smtClean="0"/>
              <a:t>- Granizo</a:t>
            </a:r>
            <a:endParaRPr lang="es-ES" sz="1100" dirty="0"/>
          </a:p>
          <a:p>
            <a:r>
              <a:rPr lang="es-ES" sz="1100" dirty="0" smtClean="0"/>
              <a:t>- Vientos</a:t>
            </a:r>
            <a:endParaRPr lang="es-ES" sz="1100" dirty="0"/>
          </a:p>
          <a:p>
            <a:r>
              <a:rPr lang="es-ES" sz="1100" dirty="0" smtClean="0"/>
              <a:t>- Heladas </a:t>
            </a:r>
            <a:endParaRPr lang="es-ES" sz="1100" dirty="0"/>
          </a:p>
          <a:p>
            <a:r>
              <a:rPr lang="es-ES" sz="1100" dirty="0"/>
              <a:t>Se liquidan por tablas de daños directo al cultivo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554603" y="2707038"/>
            <a:ext cx="5058055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ES" sz="1100" dirty="0" smtClean="0"/>
              <a:t>- Inundación</a:t>
            </a:r>
            <a:endParaRPr lang="es-ES" sz="1100" dirty="0"/>
          </a:p>
          <a:p>
            <a:r>
              <a:rPr lang="es-ES" sz="1100" dirty="0" smtClean="0"/>
              <a:t>- Sequía </a:t>
            </a:r>
            <a:endParaRPr lang="es-ES" sz="1100" dirty="0"/>
          </a:p>
          <a:p>
            <a:r>
              <a:rPr lang="es-ES" sz="1100" dirty="0" smtClean="0"/>
              <a:t>- Granizo</a:t>
            </a:r>
            <a:endParaRPr lang="es-ES" sz="1100" dirty="0"/>
          </a:p>
          <a:p>
            <a:r>
              <a:rPr lang="es-ES" sz="1100" dirty="0" smtClean="0"/>
              <a:t>- Vientos</a:t>
            </a:r>
            <a:endParaRPr lang="es-ES" sz="1100" dirty="0"/>
          </a:p>
          <a:p>
            <a:r>
              <a:rPr lang="es-ES" sz="1100" dirty="0" smtClean="0"/>
              <a:t>- Heladas </a:t>
            </a:r>
            <a:endParaRPr lang="es-ES" sz="1100" dirty="0"/>
          </a:p>
          <a:p>
            <a:r>
              <a:rPr lang="es-ES" sz="1100" dirty="0"/>
              <a:t> </a:t>
            </a:r>
            <a:r>
              <a:rPr lang="es-ES" sz="1100" dirty="0" smtClean="0"/>
              <a:t>Se </a:t>
            </a:r>
            <a:r>
              <a:rPr lang="es-ES" sz="1100" dirty="0"/>
              <a:t>liquidan por diferencia de rendimientos, entre lo asegurado y lo cosechado</a:t>
            </a:r>
          </a:p>
          <a:p>
            <a:pPr algn="l"/>
            <a:endParaRPr lang="en-US" sz="11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554604" y="3963193"/>
            <a:ext cx="5058055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ES" sz="1100" dirty="0"/>
              <a:t>Se fija un parámetro y a partir de alcanzar el mismo se activa la cobertura.</a:t>
            </a:r>
          </a:p>
          <a:p>
            <a:endParaRPr lang="es-ES" sz="1100" dirty="0"/>
          </a:p>
          <a:p>
            <a:r>
              <a:rPr lang="es-ES" sz="1100" dirty="0"/>
              <a:t>Ejemplo: que lluevan más o menos de 600 mml en una zona </a:t>
            </a:r>
            <a:r>
              <a:rPr lang="es-ES" sz="1100" dirty="0" smtClean="0"/>
              <a:t>determinada</a:t>
            </a:r>
            <a:endParaRPr lang="en-US" sz="11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554602" y="4926229"/>
            <a:ext cx="505805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dirty="0"/>
              <a:t>Vida y </a:t>
            </a:r>
            <a:r>
              <a:rPr lang="en-US" sz="1100" dirty="0" err="1"/>
              <a:t>enfermedades</a:t>
            </a:r>
            <a:r>
              <a:rPr lang="en-US" sz="1100" dirty="0"/>
              <a:t>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554601" y="5828181"/>
            <a:ext cx="505805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dirty="0" err="1" smtClean="0"/>
              <a:t>Incendio</a:t>
            </a:r>
            <a:r>
              <a:rPr lang="en-US" sz="1100" dirty="0" smtClean="0"/>
              <a:t>, </a:t>
            </a:r>
            <a:r>
              <a:rPr lang="en-US" sz="1100" dirty="0" err="1" smtClean="0"/>
              <a:t>vientos</a:t>
            </a:r>
            <a:r>
              <a:rPr lang="en-US" sz="1100" dirty="0" smtClean="0"/>
              <a:t> y </a:t>
            </a:r>
            <a:r>
              <a:rPr lang="en-US" sz="1100" dirty="0" err="1" smtClean="0"/>
              <a:t>heladas</a:t>
            </a:r>
            <a:endParaRPr lang="en-US" sz="1100" b="1" dirty="0"/>
          </a:p>
        </p:txBody>
      </p:sp>
      <p:cxnSp>
        <p:nvCxnSpPr>
          <p:cNvPr id="16" name="Straight Connector 15"/>
          <p:cNvCxnSpPr/>
          <p:nvPr/>
        </p:nvCxnSpPr>
        <p:spPr bwMode="auto">
          <a:xfrm>
            <a:off x="539666" y="2567302"/>
            <a:ext cx="8072993" cy="0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Straight Connector 16"/>
          <p:cNvCxnSpPr/>
          <p:nvPr/>
        </p:nvCxnSpPr>
        <p:spPr bwMode="auto">
          <a:xfrm>
            <a:off x="539665" y="3740427"/>
            <a:ext cx="8072994" cy="0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Straight Connector 17"/>
          <p:cNvCxnSpPr/>
          <p:nvPr/>
        </p:nvCxnSpPr>
        <p:spPr bwMode="auto">
          <a:xfrm>
            <a:off x="542201" y="4626009"/>
            <a:ext cx="8070458" cy="0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Straight Connector 18"/>
          <p:cNvCxnSpPr/>
          <p:nvPr/>
        </p:nvCxnSpPr>
        <p:spPr bwMode="auto">
          <a:xfrm>
            <a:off x="542201" y="5521359"/>
            <a:ext cx="8070458" cy="0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TextBox 19"/>
          <p:cNvSpPr txBox="1"/>
          <p:nvPr/>
        </p:nvSpPr>
        <p:spPr>
          <a:xfrm>
            <a:off x="539665" y="1176392"/>
            <a:ext cx="866627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EE3D8B"/>
                </a:solidFill>
              </a:rPr>
              <a:t>COBERTURAS</a:t>
            </a:r>
            <a:endParaRPr lang="en-US" sz="1600" b="1" dirty="0">
              <a:solidFill>
                <a:srgbClr val="EE3D8B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85776" y="1732583"/>
            <a:ext cx="283923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err="1"/>
              <a:t>Daños</a:t>
            </a:r>
            <a:r>
              <a:rPr lang="en-US" b="1" dirty="0"/>
              <a:t> </a:t>
            </a:r>
            <a:r>
              <a:rPr lang="en-US" b="1" dirty="0" err="1"/>
              <a:t>Directo</a:t>
            </a:r>
            <a:r>
              <a:rPr lang="en-US" b="1" dirty="0"/>
              <a:t> (</a:t>
            </a:r>
            <a:r>
              <a:rPr lang="en-US" b="1" dirty="0" err="1"/>
              <a:t>cultivos</a:t>
            </a:r>
            <a:r>
              <a:rPr lang="en-US" b="1" dirty="0"/>
              <a:t>)</a:t>
            </a:r>
          </a:p>
        </p:txBody>
      </p:sp>
      <p:sp>
        <p:nvSpPr>
          <p:cNvPr id="22" name="Rectangle 21"/>
          <p:cNvSpPr/>
          <p:nvPr/>
        </p:nvSpPr>
        <p:spPr>
          <a:xfrm>
            <a:off x="485775" y="2707040"/>
            <a:ext cx="280076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es-AR" altLang="es-ES" b="1" dirty="0"/>
              <a:t>Rendimientos (cultivos)</a:t>
            </a:r>
          </a:p>
        </p:txBody>
      </p:sp>
      <p:sp>
        <p:nvSpPr>
          <p:cNvPr id="23" name="Rectangle 22"/>
          <p:cNvSpPr/>
          <p:nvPr/>
        </p:nvSpPr>
        <p:spPr>
          <a:xfrm>
            <a:off x="542203" y="3946707"/>
            <a:ext cx="16337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altLang="es-ES" b="1" dirty="0"/>
              <a:t>Paramétricas</a:t>
            </a:r>
            <a:endParaRPr lang="en-US" dirty="0"/>
          </a:p>
        </p:txBody>
      </p:sp>
      <p:sp>
        <p:nvSpPr>
          <p:cNvPr id="24" name="Rectangle 23"/>
          <p:cNvSpPr/>
          <p:nvPr/>
        </p:nvSpPr>
        <p:spPr>
          <a:xfrm>
            <a:off x="542203" y="4924961"/>
            <a:ext cx="12105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es-AR" altLang="es-ES" b="1" dirty="0"/>
              <a:t>Animales</a:t>
            </a:r>
          </a:p>
        </p:txBody>
      </p:sp>
      <p:sp>
        <p:nvSpPr>
          <p:cNvPr id="25" name="Rectangle 24"/>
          <p:cNvSpPr/>
          <p:nvPr/>
        </p:nvSpPr>
        <p:spPr>
          <a:xfrm>
            <a:off x="539665" y="5823058"/>
            <a:ext cx="13388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es-AR" altLang="es-ES" b="1" dirty="0"/>
              <a:t>Forestale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t="7790"/>
          <a:stretch/>
        </p:blipFill>
        <p:spPr>
          <a:xfrm>
            <a:off x="7891579" y="1547415"/>
            <a:ext cx="2628720" cy="1614704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01280" y="3854573"/>
            <a:ext cx="2628720" cy="1657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844793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ounded Rectangle 57"/>
          <p:cNvSpPr/>
          <p:nvPr/>
        </p:nvSpPr>
        <p:spPr bwMode="auto">
          <a:xfrm>
            <a:off x="6804160" y="3661198"/>
            <a:ext cx="4544188" cy="747720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none" lIns="0" tIns="0" rIns="91224" bIns="45612" numCol="1" rtlCol="0" anchor="ctr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7" name="Rounded Rectangle 56"/>
          <p:cNvSpPr/>
          <p:nvPr/>
        </p:nvSpPr>
        <p:spPr bwMode="auto">
          <a:xfrm>
            <a:off x="6805493" y="2077841"/>
            <a:ext cx="4544188" cy="728429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none" lIns="0" tIns="0" rIns="91224" bIns="45612" numCol="1" rtlCol="0" anchor="ctr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419" dirty="0"/>
              <a:t>Seguro Agropecuario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GB" smtClean="0"/>
              <a:pPr algn="r"/>
              <a:t>24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s-419" dirty="0"/>
              <a:t>¿A quién están dirigidas las Coberturas?</a:t>
            </a:r>
            <a:endParaRPr lang="en-US" dirty="0"/>
          </a:p>
        </p:txBody>
      </p:sp>
      <p:sp>
        <p:nvSpPr>
          <p:cNvPr id="26" name="Rounded Rectangle 25"/>
          <p:cNvSpPr/>
          <p:nvPr/>
        </p:nvSpPr>
        <p:spPr bwMode="auto">
          <a:xfrm>
            <a:off x="2699439" y="2094059"/>
            <a:ext cx="3137835" cy="655442"/>
          </a:xfrm>
          <a:prstGeom prst="roundRect">
            <a:avLst/>
          </a:prstGeom>
          <a:solidFill>
            <a:srgbClr val="006D9E"/>
          </a:solidFill>
          <a:ln w="28575" cap="flat" cmpd="sng" algn="ctr">
            <a:solidFill>
              <a:srgbClr val="006D9E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91224" bIns="45612" numCol="1" rtlCol="0" anchor="ctr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27" name="Rounded Rectangle 26"/>
          <p:cNvSpPr/>
          <p:nvPr/>
        </p:nvSpPr>
        <p:spPr bwMode="auto">
          <a:xfrm>
            <a:off x="2699439" y="3685910"/>
            <a:ext cx="3137835" cy="655442"/>
          </a:xfrm>
          <a:prstGeom prst="roundRect">
            <a:avLst/>
          </a:prstGeom>
          <a:solidFill>
            <a:srgbClr val="006D9E"/>
          </a:solidFill>
          <a:ln w="28575" cap="flat" cmpd="sng" algn="ctr">
            <a:solidFill>
              <a:srgbClr val="006D9E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91224" bIns="45612" numCol="1" rtlCol="0" anchor="ctr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2807735" y="3844463"/>
            <a:ext cx="3028204" cy="338336"/>
          </a:xfrm>
          <a:prstGeom prst="rect">
            <a:avLst/>
          </a:prstGeom>
        </p:spPr>
        <p:txBody>
          <a:bodyPr wrap="square" lIns="91224" tIns="45612" rIns="91224" bIns="45612">
            <a:spAutoFit/>
          </a:bodyPr>
          <a:lstStyle/>
          <a:p>
            <a:pPr>
              <a:lnSpc>
                <a:spcPct val="100000"/>
              </a:lnSpc>
            </a:pPr>
            <a:r>
              <a:rPr lang="en-US" sz="1600" b="1" dirty="0" err="1">
                <a:solidFill>
                  <a:schemeClr val="bg1"/>
                </a:solidFill>
              </a:rPr>
              <a:t>Coberturas</a:t>
            </a:r>
            <a:r>
              <a:rPr lang="en-US" sz="1600" b="1" dirty="0">
                <a:solidFill>
                  <a:schemeClr val="bg1"/>
                </a:solidFill>
              </a:rPr>
              <a:t> </a:t>
            </a:r>
            <a:r>
              <a:rPr lang="en-US" sz="1600" b="1" dirty="0" err="1">
                <a:solidFill>
                  <a:schemeClr val="bg1"/>
                </a:solidFill>
              </a:rPr>
              <a:t>Paramétricas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2807735" y="2151978"/>
            <a:ext cx="2921239" cy="584557"/>
          </a:xfrm>
          <a:prstGeom prst="rect">
            <a:avLst/>
          </a:prstGeom>
        </p:spPr>
        <p:txBody>
          <a:bodyPr wrap="square" lIns="91224" tIns="45612" rIns="91224" bIns="45612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600" b="1" dirty="0" err="1">
                <a:solidFill>
                  <a:schemeClr val="bg1"/>
                </a:solidFill>
              </a:rPr>
              <a:t>Coberturas</a:t>
            </a:r>
            <a:r>
              <a:rPr lang="en-US" sz="1600" b="1" dirty="0">
                <a:solidFill>
                  <a:schemeClr val="bg1"/>
                </a:solidFill>
              </a:rPr>
              <a:t> de </a:t>
            </a:r>
            <a:r>
              <a:rPr lang="en-US" sz="1600" b="1" dirty="0" err="1">
                <a:solidFill>
                  <a:schemeClr val="bg1"/>
                </a:solidFill>
              </a:rPr>
              <a:t>Daño</a:t>
            </a:r>
            <a:r>
              <a:rPr lang="en-US" sz="1600" b="1" dirty="0">
                <a:solidFill>
                  <a:schemeClr val="bg1"/>
                </a:solidFill>
              </a:rPr>
              <a:t> </a:t>
            </a:r>
            <a:r>
              <a:rPr lang="en-US" sz="1600" b="1" dirty="0" err="1">
                <a:solidFill>
                  <a:schemeClr val="bg1"/>
                </a:solidFill>
              </a:rPr>
              <a:t>Directo</a:t>
            </a:r>
            <a:r>
              <a:rPr lang="en-US" sz="1600" b="1" dirty="0">
                <a:solidFill>
                  <a:schemeClr val="bg1"/>
                </a:solidFill>
              </a:rPr>
              <a:t> o de </a:t>
            </a:r>
            <a:r>
              <a:rPr lang="en-US" sz="1600" b="1" dirty="0" err="1">
                <a:solidFill>
                  <a:schemeClr val="bg1"/>
                </a:solidFill>
              </a:rPr>
              <a:t>Rendimiento</a:t>
            </a:r>
            <a:endParaRPr lang="en-US" sz="1600" b="1" dirty="0">
              <a:solidFill>
                <a:schemeClr val="bg1"/>
              </a:solidFill>
            </a:endParaRPr>
          </a:p>
        </p:txBody>
      </p:sp>
      <p:cxnSp>
        <p:nvCxnSpPr>
          <p:cNvPr id="31" name="Straight Arrow Connector 30"/>
          <p:cNvCxnSpPr/>
          <p:nvPr/>
        </p:nvCxnSpPr>
        <p:spPr bwMode="auto">
          <a:xfrm flipV="1">
            <a:off x="1764021" y="2479860"/>
            <a:ext cx="812027" cy="462823"/>
          </a:xfrm>
          <a:prstGeom prst="straightConnector1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headEnd type="none" w="lg" len="med"/>
            <a:tailEnd type="arrow" w="lg" len="med"/>
          </a:ln>
          <a:effectLst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 bwMode="auto">
          <a:xfrm>
            <a:off x="1764021" y="3455176"/>
            <a:ext cx="812027" cy="522271"/>
          </a:xfrm>
          <a:prstGeom prst="straightConnector1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headEnd type="none" w="lg" len="med"/>
            <a:tailEnd type="arrow" w="lg" len="med"/>
          </a:ln>
          <a:effectLst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4" name="Oval 33"/>
          <p:cNvSpPr/>
          <p:nvPr/>
        </p:nvSpPr>
        <p:spPr bwMode="auto">
          <a:xfrm>
            <a:off x="787696" y="2722924"/>
            <a:ext cx="830479" cy="830478"/>
          </a:xfrm>
          <a:prstGeom prst="ellips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91224" bIns="45612" numCol="1" rtlCol="0" anchor="ctr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cxnSp>
        <p:nvCxnSpPr>
          <p:cNvPr id="35" name="Straight Arrow Connector 34"/>
          <p:cNvCxnSpPr/>
          <p:nvPr/>
        </p:nvCxnSpPr>
        <p:spPr bwMode="auto">
          <a:xfrm>
            <a:off x="5993027" y="2421780"/>
            <a:ext cx="635497" cy="0"/>
          </a:xfrm>
          <a:prstGeom prst="straightConnector1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headEnd type="none" w="lg" len="med"/>
            <a:tailEnd type="arrow" w="lg" len="med"/>
          </a:ln>
          <a:effectLst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 bwMode="auto">
          <a:xfrm>
            <a:off x="5993027" y="4039231"/>
            <a:ext cx="656274" cy="0"/>
          </a:xfrm>
          <a:prstGeom prst="straightConnector1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headEnd type="none" w="lg" len="med"/>
            <a:tailEnd type="arrow" w="lg" len="med"/>
          </a:ln>
          <a:effectLst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/>
        </p:nvSpPr>
        <p:spPr>
          <a:xfrm>
            <a:off x="6805493" y="2241840"/>
            <a:ext cx="454418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1600" dirty="0" smtClean="0">
                <a:solidFill>
                  <a:schemeClr val="accent4">
                    <a:lumMod val="50000"/>
                  </a:schemeClr>
                </a:solidFill>
              </a:rPr>
              <a:t>Productores </a:t>
            </a:r>
            <a:r>
              <a:rPr lang="es-ES" sz="1600" b="1" dirty="0" smtClean="0">
                <a:solidFill>
                  <a:schemeClr val="accent4">
                    <a:lumMod val="50000"/>
                  </a:schemeClr>
                </a:solidFill>
              </a:rPr>
              <a:t>Individuales</a:t>
            </a:r>
            <a:r>
              <a:rPr lang="es-ES" sz="1600" dirty="0">
                <a:solidFill>
                  <a:schemeClr val="accent4">
                    <a:lumMod val="50000"/>
                  </a:schemeClr>
                </a:solidFill>
              </a:rPr>
              <a:t>, </a:t>
            </a:r>
            <a:r>
              <a:rPr lang="es-ES" sz="1600" dirty="0" smtClean="0">
                <a:solidFill>
                  <a:schemeClr val="accent4">
                    <a:lumMod val="50000"/>
                  </a:schemeClr>
                </a:solidFill>
              </a:rPr>
              <a:t>Acopios</a:t>
            </a:r>
            <a:r>
              <a:rPr lang="es-ES" sz="1600" dirty="0">
                <a:solidFill>
                  <a:schemeClr val="accent4">
                    <a:lumMod val="50000"/>
                  </a:schemeClr>
                </a:solidFill>
              </a:rPr>
              <a:t>, </a:t>
            </a:r>
            <a:r>
              <a:rPr lang="es-ES" sz="1600" dirty="0" smtClean="0">
                <a:solidFill>
                  <a:schemeClr val="accent4">
                    <a:lumMod val="50000"/>
                  </a:schemeClr>
                </a:solidFill>
              </a:rPr>
              <a:t>Bancos</a:t>
            </a:r>
            <a:r>
              <a:rPr lang="es-ES" sz="1600" dirty="0">
                <a:solidFill>
                  <a:schemeClr val="accent4">
                    <a:lumMod val="50000"/>
                  </a:schemeClr>
                </a:solidFill>
              </a:rPr>
              <a:t>, </a:t>
            </a:r>
            <a:r>
              <a:rPr lang="es-ES" sz="1600" dirty="0" err="1">
                <a:solidFill>
                  <a:schemeClr val="accent4">
                    <a:lumMod val="50000"/>
                  </a:schemeClr>
                </a:solidFill>
              </a:rPr>
              <a:t>etc</a:t>
            </a:r>
            <a:endParaRPr lang="en-US" sz="1600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805493" y="3602633"/>
            <a:ext cx="454285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1600" b="1" dirty="0">
                <a:solidFill>
                  <a:schemeClr val="accent4">
                    <a:lumMod val="50000"/>
                  </a:schemeClr>
                </a:solidFill>
              </a:rPr>
              <a:t>Grupos de </a:t>
            </a:r>
            <a:r>
              <a:rPr lang="es-ES" sz="1600" b="1" dirty="0" smtClean="0">
                <a:solidFill>
                  <a:schemeClr val="accent4">
                    <a:lumMod val="50000"/>
                  </a:schemeClr>
                </a:solidFill>
              </a:rPr>
              <a:t>Compradores</a:t>
            </a:r>
            <a:r>
              <a:rPr lang="es-ES" sz="1600" dirty="0">
                <a:solidFill>
                  <a:schemeClr val="accent4">
                    <a:lumMod val="50000"/>
                  </a:schemeClr>
                </a:solidFill>
              </a:rPr>
              <a:t>: Estado, Bancos, Acopios, Asociaciones, etc. Siempre se debe tener en cuenta el riesgo base</a:t>
            </a:r>
            <a:endParaRPr lang="en-US" sz="1600" dirty="0">
              <a:solidFill>
                <a:schemeClr val="accent4">
                  <a:lumMod val="50000"/>
                </a:schemeClr>
              </a:solidFill>
            </a:endParaRPr>
          </a:p>
        </p:txBody>
      </p:sp>
      <p:grpSp>
        <p:nvGrpSpPr>
          <p:cNvPr id="52" name="Group 189"/>
          <p:cNvGrpSpPr>
            <a:grpSpLocks noChangeAspect="1"/>
          </p:cNvGrpSpPr>
          <p:nvPr/>
        </p:nvGrpSpPr>
        <p:grpSpPr bwMode="auto">
          <a:xfrm>
            <a:off x="987155" y="2940673"/>
            <a:ext cx="431559" cy="340663"/>
            <a:chOff x="2410" y="1821"/>
            <a:chExt cx="902" cy="678"/>
          </a:xfrm>
          <a:solidFill>
            <a:schemeClr val="bg1"/>
          </a:solidFill>
        </p:grpSpPr>
        <p:sp>
          <p:nvSpPr>
            <p:cNvPr id="53" name="Freeform 190"/>
            <p:cNvSpPr>
              <a:spLocks noEditPoints="1"/>
            </p:cNvSpPr>
            <p:nvPr/>
          </p:nvSpPr>
          <p:spPr bwMode="auto">
            <a:xfrm>
              <a:off x="2733" y="2194"/>
              <a:ext cx="579" cy="305"/>
            </a:xfrm>
            <a:custGeom>
              <a:avLst/>
              <a:gdLst>
                <a:gd name="T0" fmla="*/ 122 w 245"/>
                <a:gd name="T1" fmla="*/ 0 h 129"/>
                <a:gd name="T2" fmla="*/ 0 w 245"/>
                <a:gd name="T3" fmla="*/ 123 h 129"/>
                <a:gd name="T4" fmla="*/ 6 w 245"/>
                <a:gd name="T5" fmla="*/ 129 h 129"/>
                <a:gd name="T6" fmla="*/ 239 w 245"/>
                <a:gd name="T7" fmla="*/ 129 h 129"/>
                <a:gd name="T8" fmla="*/ 245 w 245"/>
                <a:gd name="T9" fmla="*/ 123 h 129"/>
                <a:gd name="T10" fmla="*/ 122 w 245"/>
                <a:gd name="T11" fmla="*/ 0 h 129"/>
                <a:gd name="T12" fmla="*/ 12 w 245"/>
                <a:gd name="T13" fmla="*/ 117 h 129"/>
                <a:gd name="T14" fmla="*/ 122 w 245"/>
                <a:gd name="T15" fmla="*/ 12 h 129"/>
                <a:gd name="T16" fmla="*/ 233 w 245"/>
                <a:gd name="T17" fmla="*/ 117 h 129"/>
                <a:gd name="T18" fmla="*/ 12 w 245"/>
                <a:gd name="T19" fmla="*/ 117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5" h="129">
                  <a:moveTo>
                    <a:pt x="122" y="0"/>
                  </a:moveTo>
                  <a:cubicBezTo>
                    <a:pt x="55" y="0"/>
                    <a:pt x="0" y="55"/>
                    <a:pt x="0" y="123"/>
                  </a:cubicBezTo>
                  <a:cubicBezTo>
                    <a:pt x="0" y="126"/>
                    <a:pt x="2" y="129"/>
                    <a:pt x="6" y="129"/>
                  </a:cubicBezTo>
                  <a:cubicBezTo>
                    <a:pt x="239" y="129"/>
                    <a:pt x="239" y="129"/>
                    <a:pt x="239" y="129"/>
                  </a:cubicBezTo>
                  <a:cubicBezTo>
                    <a:pt x="243" y="129"/>
                    <a:pt x="245" y="126"/>
                    <a:pt x="245" y="123"/>
                  </a:cubicBezTo>
                  <a:cubicBezTo>
                    <a:pt x="245" y="55"/>
                    <a:pt x="190" y="0"/>
                    <a:pt x="122" y="0"/>
                  </a:cubicBezTo>
                  <a:close/>
                  <a:moveTo>
                    <a:pt x="12" y="117"/>
                  </a:moveTo>
                  <a:cubicBezTo>
                    <a:pt x="15" y="59"/>
                    <a:pt x="63" y="12"/>
                    <a:pt x="122" y="12"/>
                  </a:cubicBezTo>
                  <a:cubicBezTo>
                    <a:pt x="182" y="12"/>
                    <a:pt x="230" y="59"/>
                    <a:pt x="233" y="117"/>
                  </a:cubicBezTo>
                  <a:lnTo>
                    <a:pt x="12" y="117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000000"/>
                </a:solidFill>
              </a:endParaRPr>
            </a:p>
          </p:txBody>
        </p:sp>
        <p:sp>
          <p:nvSpPr>
            <p:cNvPr id="54" name="Freeform 191"/>
            <p:cNvSpPr>
              <a:spLocks noEditPoints="1"/>
            </p:cNvSpPr>
            <p:nvPr/>
          </p:nvSpPr>
          <p:spPr bwMode="auto">
            <a:xfrm>
              <a:off x="2849" y="1821"/>
              <a:ext cx="335" cy="335"/>
            </a:xfrm>
            <a:custGeom>
              <a:avLst/>
              <a:gdLst>
                <a:gd name="T0" fmla="*/ 71 w 142"/>
                <a:gd name="T1" fmla="*/ 142 h 142"/>
                <a:gd name="T2" fmla="*/ 142 w 142"/>
                <a:gd name="T3" fmla="*/ 71 h 142"/>
                <a:gd name="T4" fmla="*/ 71 w 142"/>
                <a:gd name="T5" fmla="*/ 0 h 142"/>
                <a:gd name="T6" fmla="*/ 0 w 142"/>
                <a:gd name="T7" fmla="*/ 71 h 142"/>
                <a:gd name="T8" fmla="*/ 71 w 142"/>
                <a:gd name="T9" fmla="*/ 142 h 142"/>
                <a:gd name="T10" fmla="*/ 71 w 142"/>
                <a:gd name="T11" fmla="*/ 12 h 142"/>
                <a:gd name="T12" fmla="*/ 130 w 142"/>
                <a:gd name="T13" fmla="*/ 71 h 142"/>
                <a:gd name="T14" fmla="*/ 71 w 142"/>
                <a:gd name="T15" fmla="*/ 130 h 142"/>
                <a:gd name="T16" fmla="*/ 12 w 142"/>
                <a:gd name="T17" fmla="*/ 71 h 142"/>
                <a:gd name="T18" fmla="*/ 71 w 142"/>
                <a:gd name="T19" fmla="*/ 1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2" h="142">
                  <a:moveTo>
                    <a:pt x="71" y="142"/>
                  </a:moveTo>
                  <a:cubicBezTo>
                    <a:pt x="110" y="142"/>
                    <a:pt x="142" y="110"/>
                    <a:pt x="142" y="71"/>
                  </a:cubicBezTo>
                  <a:cubicBezTo>
                    <a:pt x="142" y="32"/>
                    <a:pt x="110" y="0"/>
                    <a:pt x="71" y="0"/>
                  </a:cubicBezTo>
                  <a:cubicBezTo>
                    <a:pt x="32" y="0"/>
                    <a:pt x="0" y="32"/>
                    <a:pt x="0" y="71"/>
                  </a:cubicBezTo>
                  <a:cubicBezTo>
                    <a:pt x="0" y="110"/>
                    <a:pt x="32" y="142"/>
                    <a:pt x="71" y="142"/>
                  </a:cubicBezTo>
                  <a:close/>
                  <a:moveTo>
                    <a:pt x="71" y="12"/>
                  </a:moveTo>
                  <a:cubicBezTo>
                    <a:pt x="103" y="12"/>
                    <a:pt x="130" y="39"/>
                    <a:pt x="130" y="71"/>
                  </a:cubicBezTo>
                  <a:cubicBezTo>
                    <a:pt x="130" y="104"/>
                    <a:pt x="103" y="130"/>
                    <a:pt x="71" y="130"/>
                  </a:cubicBezTo>
                  <a:cubicBezTo>
                    <a:pt x="39" y="130"/>
                    <a:pt x="12" y="104"/>
                    <a:pt x="12" y="71"/>
                  </a:cubicBezTo>
                  <a:cubicBezTo>
                    <a:pt x="12" y="39"/>
                    <a:pt x="39" y="12"/>
                    <a:pt x="71" y="12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000000"/>
                </a:solidFill>
              </a:endParaRPr>
            </a:p>
          </p:txBody>
        </p:sp>
        <p:sp>
          <p:nvSpPr>
            <p:cNvPr id="55" name="Freeform 192"/>
            <p:cNvSpPr>
              <a:spLocks/>
            </p:cNvSpPr>
            <p:nvPr/>
          </p:nvSpPr>
          <p:spPr bwMode="auto">
            <a:xfrm>
              <a:off x="2410" y="2265"/>
              <a:ext cx="337" cy="234"/>
            </a:xfrm>
            <a:custGeom>
              <a:avLst/>
              <a:gdLst>
                <a:gd name="T0" fmla="*/ 93 w 143"/>
                <a:gd name="T1" fmla="*/ 12 h 99"/>
                <a:gd name="T2" fmla="*/ 134 w 143"/>
                <a:gd name="T3" fmla="*/ 24 h 99"/>
                <a:gd name="T4" fmla="*/ 142 w 143"/>
                <a:gd name="T5" fmla="*/ 21 h 99"/>
                <a:gd name="T6" fmla="*/ 140 w 143"/>
                <a:gd name="T7" fmla="*/ 13 h 99"/>
                <a:gd name="T8" fmla="*/ 93 w 143"/>
                <a:gd name="T9" fmla="*/ 0 h 99"/>
                <a:gd name="T10" fmla="*/ 0 w 143"/>
                <a:gd name="T11" fmla="*/ 93 h 99"/>
                <a:gd name="T12" fmla="*/ 6 w 143"/>
                <a:gd name="T13" fmla="*/ 99 h 99"/>
                <a:gd name="T14" fmla="*/ 114 w 143"/>
                <a:gd name="T15" fmla="*/ 99 h 99"/>
                <a:gd name="T16" fmla="*/ 120 w 143"/>
                <a:gd name="T17" fmla="*/ 93 h 99"/>
                <a:gd name="T18" fmla="*/ 114 w 143"/>
                <a:gd name="T19" fmla="*/ 87 h 99"/>
                <a:gd name="T20" fmla="*/ 12 w 143"/>
                <a:gd name="T21" fmla="*/ 87 h 99"/>
                <a:gd name="T22" fmla="*/ 93 w 143"/>
                <a:gd name="T23" fmla="*/ 12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3" h="99">
                  <a:moveTo>
                    <a:pt x="93" y="12"/>
                  </a:moveTo>
                  <a:cubicBezTo>
                    <a:pt x="107" y="12"/>
                    <a:pt x="121" y="16"/>
                    <a:pt x="134" y="24"/>
                  </a:cubicBezTo>
                  <a:cubicBezTo>
                    <a:pt x="136" y="25"/>
                    <a:pt x="140" y="24"/>
                    <a:pt x="142" y="21"/>
                  </a:cubicBezTo>
                  <a:cubicBezTo>
                    <a:pt x="143" y="19"/>
                    <a:pt x="143" y="15"/>
                    <a:pt x="140" y="13"/>
                  </a:cubicBezTo>
                  <a:cubicBezTo>
                    <a:pt x="126" y="5"/>
                    <a:pt x="109" y="0"/>
                    <a:pt x="93" y="0"/>
                  </a:cubicBezTo>
                  <a:cubicBezTo>
                    <a:pt x="41" y="0"/>
                    <a:pt x="0" y="42"/>
                    <a:pt x="0" y="93"/>
                  </a:cubicBezTo>
                  <a:cubicBezTo>
                    <a:pt x="0" y="97"/>
                    <a:pt x="3" y="99"/>
                    <a:pt x="6" y="99"/>
                  </a:cubicBezTo>
                  <a:cubicBezTo>
                    <a:pt x="114" y="99"/>
                    <a:pt x="114" y="99"/>
                    <a:pt x="114" y="99"/>
                  </a:cubicBezTo>
                  <a:cubicBezTo>
                    <a:pt x="117" y="99"/>
                    <a:pt x="120" y="97"/>
                    <a:pt x="120" y="93"/>
                  </a:cubicBezTo>
                  <a:cubicBezTo>
                    <a:pt x="120" y="90"/>
                    <a:pt x="117" y="87"/>
                    <a:pt x="114" y="87"/>
                  </a:cubicBezTo>
                  <a:cubicBezTo>
                    <a:pt x="12" y="87"/>
                    <a:pt x="12" y="87"/>
                    <a:pt x="12" y="87"/>
                  </a:cubicBezTo>
                  <a:cubicBezTo>
                    <a:pt x="15" y="45"/>
                    <a:pt x="50" y="12"/>
                    <a:pt x="93" y="12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000000"/>
                </a:solidFill>
              </a:endParaRPr>
            </a:p>
          </p:txBody>
        </p:sp>
        <p:sp>
          <p:nvSpPr>
            <p:cNvPr id="56" name="Freeform 193"/>
            <p:cNvSpPr>
              <a:spLocks noEditPoints="1"/>
            </p:cNvSpPr>
            <p:nvPr/>
          </p:nvSpPr>
          <p:spPr bwMode="auto">
            <a:xfrm>
              <a:off x="2497" y="1965"/>
              <a:ext cx="258" cy="257"/>
            </a:xfrm>
            <a:custGeom>
              <a:avLst/>
              <a:gdLst>
                <a:gd name="T0" fmla="*/ 54 w 109"/>
                <a:gd name="T1" fmla="*/ 109 h 109"/>
                <a:gd name="T2" fmla="*/ 109 w 109"/>
                <a:gd name="T3" fmla="*/ 55 h 109"/>
                <a:gd name="T4" fmla="*/ 54 w 109"/>
                <a:gd name="T5" fmla="*/ 0 h 109"/>
                <a:gd name="T6" fmla="*/ 0 w 109"/>
                <a:gd name="T7" fmla="*/ 55 h 109"/>
                <a:gd name="T8" fmla="*/ 54 w 109"/>
                <a:gd name="T9" fmla="*/ 109 h 109"/>
                <a:gd name="T10" fmla="*/ 54 w 109"/>
                <a:gd name="T11" fmla="*/ 12 h 109"/>
                <a:gd name="T12" fmla="*/ 97 w 109"/>
                <a:gd name="T13" fmla="*/ 55 h 109"/>
                <a:gd name="T14" fmla="*/ 54 w 109"/>
                <a:gd name="T15" fmla="*/ 97 h 109"/>
                <a:gd name="T16" fmla="*/ 12 w 109"/>
                <a:gd name="T17" fmla="*/ 55 h 109"/>
                <a:gd name="T18" fmla="*/ 54 w 109"/>
                <a:gd name="T19" fmla="*/ 1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9" h="109">
                  <a:moveTo>
                    <a:pt x="54" y="109"/>
                  </a:moveTo>
                  <a:cubicBezTo>
                    <a:pt x="84" y="109"/>
                    <a:pt x="109" y="85"/>
                    <a:pt x="109" y="55"/>
                  </a:cubicBezTo>
                  <a:cubicBezTo>
                    <a:pt x="109" y="25"/>
                    <a:pt x="84" y="0"/>
                    <a:pt x="54" y="0"/>
                  </a:cubicBezTo>
                  <a:cubicBezTo>
                    <a:pt x="24" y="0"/>
                    <a:pt x="0" y="25"/>
                    <a:pt x="0" y="55"/>
                  </a:cubicBezTo>
                  <a:cubicBezTo>
                    <a:pt x="0" y="85"/>
                    <a:pt x="24" y="109"/>
                    <a:pt x="54" y="109"/>
                  </a:cubicBezTo>
                  <a:close/>
                  <a:moveTo>
                    <a:pt x="54" y="12"/>
                  </a:moveTo>
                  <a:cubicBezTo>
                    <a:pt x="78" y="12"/>
                    <a:pt x="97" y="31"/>
                    <a:pt x="97" y="55"/>
                  </a:cubicBezTo>
                  <a:cubicBezTo>
                    <a:pt x="97" y="78"/>
                    <a:pt x="78" y="97"/>
                    <a:pt x="54" y="97"/>
                  </a:cubicBezTo>
                  <a:cubicBezTo>
                    <a:pt x="31" y="97"/>
                    <a:pt x="12" y="78"/>
                    <a:pt x="12" y="55"/>
                  </a:cubicBezTo>
                  <a:cubicBezTo>
                    <a:pt x="12" y="31"/>
                    <a:pt x="31" y="12"/>
                    <a:pt x="54" y="12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000000"/>
                </a:solidFill>
              </a:endParaRPr>
            </a:p>
          </p:txBody>
        </p:sp>
      </p:grpSp>
      <p:sp>
        <p:nvSpPr>
          <p:cNvPr id="62" name="Rectangle 61"/>
          <p:cNvSpPr/>
          <p:nvPr/>
        </p:nvSpPr>
        <p:spPr>
          <a:xfrm>
            <a:off x="1473811" y="5114792"/>
            <a:ext cx="9278517" cy="1097190"/>
          </a:xfrm>
          <a:prstGeom prst="rect">
            <a:avLst/>
          </a:prstGeom>
          <a:solidFill>
            <a:srgbClr val="EE3D8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 smtClean="0"/>
              <a:t>La </a:t>
            </a:r>
            <a:r>
              <a:rPr lang="es-ES" dirty="0"/>
              <a:t>tormenta tropical </a:t>
            </a:r>
            <a:r>
              <a:rPr lang="es-ES" b="1" dirty="0"/>
              <a:t>Eta </a:t>
            </a:r>
            <a:r>
              <a:rPr lang="es-ES" dirty="0"/>
              <a:t>en Centroamérica dejó en </a:t>
            </a:r>
            <a:r>
              <a:rPr lang="es-ES" b="1" dirty="0"/>
              <a:t>territorio guatemalteco </a:t>
            </a:r>
            <a:r>
              <a:rPr lang="es-ES" dirty="0"/>
              <a:t>pérdidas en el sector agrícola de </a:t>
            </a:r>
            <a:r>
              <a:rPr lang="es-ES" dirty="0" smtClean="0"/>
              <a:t>unos </a:t>
            </a:r>
            <a:r>
              <a:rPr lang="es-ES" b="1" dirty="0"/>
              <a:t>4,2 millones dólares</a:t>
            </a:r>
            <a:r>
              <a:rPr lang="es-ES" dirty="0"/>
              <a:t>, según revela </a:t>
            </a:r>
            <a:r>
              <a:rPr lang="es-ES" dirty="0" smtClean="0"/>
              <a:t>el </a:t>
            </a:r>
            <a:r>
              <a:rPr lang="es-ES" dirty="0"/>
              <a:t>ministerio de Agricultura y Ganadería de </a:t>
            </a:r>
            <a:r>
              <a:rPr lang="es-ES" dirty="0" smtClean="0"/>
              <a:t>Guatemala</a:t>
            </a:r>
            <a:endParaRPr lang="es-419" dirty="0"/>
          </a:p>
        </p:txBody>
      </p:sp>
    </p:spTree>
    <p:extLst>
      <p:ext uri="{BB962C8B-B14F-4D97-AF65-F5344CB8AC3E}">
        <p14:creationId xmlns:p14="http://schemas.microsoft.com/office/powerpoint/2010/main" val="162851599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  <p:custDataLst>
              <p:custData r:id="rId1"/>
            </p:custDataLst>
          </p:nvPr>
        </p:nvSpPr>
        <p:spPr/>
        <p:txBody>
          <a:bodyPr/>
          <a:lstStyle/>
          <a:p>
            <a:r>
              <a:rPr lang="en-GB" dirty="0" smtClean="0"/>
              <a:t>Guy Carpenter &amp; Company Limited registered in England and Wales with company number 335308. </a:t>
            </a:r>
          </a:p>
          <a:p>
            <a:r>
              <a:rPr lang="en-GB" dirty="0" smtClean="0"/>
              <a:t>Registered Office: 1 Tower Place West, Tower Place, London, EC3R 5BU, United Kingdom.  </a:t>
            </a:r>
          </a:p>
          <a:p>
            <a:endParaRPr lang="en-GB" dirty="0" smtClean="0"/>
          </a:p>
          <a:p>
            <a:r>
              <a:rPr lang="en-GB" dirty="0" smtClean="0"/>
              <a:t>Guy Carpenter &amp; Company Limited is an agent and appointed representative of Marsh Limited. Marsh Limited is authorised and regulated by the Financial Conduct Authority (FCA)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4833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Inflación</a:t>
            </a:r>
            <a:r>
              <a:rPr lang="es-ES" dirty="0"/>
              <a:t/>
            </a:r>
            <a:br>
              <a:rPr lang="es-ES" dirty="0"/>
            </a:b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419" dirty="0"/>
              <a:t>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64623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419" dirty="0" smtClean="0"/>
              <a:t>Inflació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GB" smtClean="0"/>
              <a:pPr algn="r"/>
              <a:t>4</a:t>
            </a:fld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s-419" dirty="0" smtClean="0"/>
              <a:t>Impactos de la Inflación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C3E472D-E704-48F0-84CA-B4CBB4D61523}"/>
              </a:ext>
            </a:extLst>
          </p:cNvPr>
          <p:cNvSpPr/>
          <p:nvPr/>
        </p:nvSpPr>
        <p:spPr>
          <a:xfrm>
            <a:off x="599776" y="3259203"/>
            <a:ext cx="10980658" cy="64787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Este es el punto que </a:t>
            </a:r>
            <a:r>
              <a:rPr lang="es-ES" dirty="0" smtClean="0"/>
              <a:t>más </a:t>
            </a:r>
            <a:r>
              <a:rPr lang="es-ES" dirty="0"/>
              <a:t>afecta </a:t>
            </a:r>
            <a:r>
              <a:rPr lang="es-ES" dirty="0" smtClean="0"/>
              <a:t>a nuestra </a:t>
            </a:r>
            <a:r>
              <a:rPr lang="es-ES" dirty="0"/>
              <a:t>industria inmediatamente ya que el </a:t>
            </a:r>
            <a:r>
              <a:rPr lang="es-ES" b="1" dirty="0"/>
              <a:t>costo de los reclamos </a:t>
            </a:r>
            <a:r>
              <a:rPr lang="es-ES" dirty="0"/>
              <a:t>seguirá </a:t>
            </a:r>
            <a:r>
              <a:rPr lang="es-ES" b="1" dirty="0"/>
              <a:t>subiendo</a:t>
            </a:r>
            <a:r>
              <a:rPr lang="es-ES" dirty="0"/>
              <a:t> y el </a:t>
            </a:r>
            <a:r>
              <a:rPr lang="es-ES" b="1" dirty="0"/>
              <a:t>primer impacto </a:t>
            </a:r>
            <a:r>
              <a:rPr lang="es-ES" dirty="0"/>
              <a:t>se verá </a:t>
            </a:r>
            <a:r>
              <a:rPr lang="es-ES" dirty="0" smtClean="0"/>
              <a:t>en:</a:t>
            </a:r>
            <a:endParaRPr lang="es-ES" dirty="0"/>
          </a:p>
        </p:txBody>
      </p:sp>
      <p:sp>
        <p:nvSpPr>
          <p:cNvPr id="8" name="Rounded Rectangle 7"/>
          <p:cNvSpPr/>
          <p:nvPr/>
        </p:nvSpPr>
        <p:spPr bwMode="auto">
          <a:xfrm>
            <a:off x="1683086" y="1550431"/>
            <a:ext cx="2303622" cy="1261703"/>
          </a:xfrm>
          <a:prstGeom prst="roundRect">
            <a:avLst>
              <a:gd name="adj" fmla="val 7435"/>
            </a:avLst>
          </a:prstGeom>
          <a:solidFill>
            <a:schemeClr val="accent1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s-ES" dirty="0">
                <a:solidFill>
                  <a:schemeClr val="bg1"/>
                </a:solidFill>
              </a:rPr>
              <a:t>La inflación </a:t>
            </a:r>
            <a:r>
              <a:rPr lang="es-ES" dirty="0" smtClean="0">
                <a:solidFill>
                  <a:schemeClr val="bg1"/>
                </a:solidFill>
              </a:rPr>
              <a:t>está </a:t>
            </a:r>
          </a:p>
          <a:p>
            <a:pPr algn="ctr"/>
            <a:r>
              <a:rPr lang="es-ES" dirty="0" smtClean="0">
                <a:solidFill>
                  <a:schemeClr val="bg1"/>
                </a:solidFill>
              </a:rPr>
              <a:t>afectando </a:t>
            </a:r>
          </a:p>
          <a:p>
            <a:pPr algn="ctr"/>
            <a:r>
              <a:rPr lang="es-ES" dirty="0" smtClean="0">
                <a:solidFill>
                  <a:schemeClr val="bg1"/>
                </a:solidFill>
              </a:rPr>
              <a:t>globalment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4903930" y="1550431"/>
            <a:ext cx="2303622" cy="1261703"/>
          </a:xfrm>
          <a:prstGeom prst="roundRect">
            <a:avLst>
              <a:gd name="adj" fmla="val 7435"/>
            </a:avLst>
          </a:prstGeom>
          <a:solidFill>
            <a:schemeClr val="accent1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Fortaleza </a:t>
            </a:r>
            <a:r>
              <a:rPr lang="en-US" dirty="0">
                <a:solidFill>
                  <a:schemeClr val="bg1"/>
                </a:solidFill>
              </a:rPr>
              <a:t>del </a:t>
            </a:r>
            <a:r>
              <a:rPr lang="en-US" dirty="0" err="1">
                <a:solidFill>
                  <a:schemeClr val="bg1"/>
                </a:solidFill>
              </a:rPr>
              <a:t>dólar</a:t>
            </a:r>
            <a:r>
              <a:rPr lang="en-US" dirty="0">
                <a:solidFill>
                  <a:schemeClr val="bg1"/>
                </a:solidFill>
              </a:rPr>
              <a:t> </a:t>
            </a:r>
            <a:endParaRPr lang="en-US" dirty="0" smtClean="0">
              <a:solidFill>
                <a:schemeClr val="bg1"/>
              </a:solidFill>
            </a:endParaRPr>
          </a:p>
          <a:p>
            <a:pPr algn="ctr"/>
            <a:r>
              <a:rPr lang="en-US" dirty="0" err="1" smtClean="0">
                <a:solidFill>
                  <a:schemeClr val="bg1"/>
                </a:solidFill>
              </a:rPr>
              <a:t>en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en-US" dirty="0" err="1" smtClean="0">
                <a:solidFill>
                  <a:schemeClr val="bg1"/>
                </a:solidFill>
              </a:rPr>
              <a:t>nuestros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en-US" dirty="0" err="1" smtClean="0">
                <a:solidFill>
                  <a:schemeClr val="bg1"/>
                </a:solidFill>
              </a:rPr>
              <a:t>paíse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8124774" y="1550430"/>
            <a:ext cx="2303622" cy="1261703"/>
          </a:xfrm>
          <a:prstGeom prst="roundRect">
            <a:avLst>
              <a:gd name="adj" fmla="val 7435"/>
            </a:avLst>
          </a:prstGeom>
          <a:solidFill>
            <a:srgbClr val="FF8C00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s-ES" dirty="0" smtClean="0">
                <a:solidFill>
                  <a:schemeClr val="bg1"/>
                </a:solidFill>
              </a:rPr>
              <a:t>FENÓMENO </a:t>
            </a:r>
          </a:p>
          <a:p>
            <a:pPr algn="ctr"/>
            <a:r>
              <a:rPr lang="es-ES" dirty="0" smtClean="0">
                <a:solidFill>
                  <a:schemeClr val="bg1"/>
                </a:solidFill>
              </a:rPr>
              <a:t>AÚN MÁS SEVERO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450466" y="2004285"/>
            <a:ext cx="44908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/>
              <a:t>=</a:t>
            </a:r>
            <a:endParaRPr lang="en-US" dirty="0"/>
          </a:p>
        </p:txBody>
      </p:sp>
      <p:cxnSp>
        <p:nvCxnSpPr>
          <p:cNvPr id="13" name="Straight Arrow Connector 12"/>
          <p:cNvCxnSpPr/>
          <p:nvPr/>
        </p:nvCxnSpPr>
        <p:spPr>
          <a:xfrm flipV="1">
            <a:off x="4187844" y="2177425"/>
            <a:ext cx="524833" cy="10822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Freeform 331"/>
          <p:cNvSpPr>
            <a:spLocks noChangeAspect="1" noEditPoints="1"/>
          </p:cNvSpPr>
          <p:nvPr/>
        </p:nvSpPr>
        <p:spPr bwMode="auto">
          <a:xfrm>
            <a:off x="4529446" y="4777167"/>
            <a:ext cx="791995" cy="412202"/>
          </a:xfrm>
          <a:custGeom>
            <a:avLst/>
            <a:gdLst>
              <a:gd name="T0" fmla="*/ 331 w 331"/>
              <a:gd name="T1" fmla="*/ 92 h 172"/>
              <a:gd name="T2" fmla="*/ 331 w 331"/>
              <a:gd name="T3" fmla="*/ 62 h 172"/>
              <a:gd name="T4" fmla="*/ 325 w 331"/>
              <a:gd name="T5" fmla="*/ 57 h 172"/>
              <a:gd name="T6" fmla="*/ 298 w 331"/>
              <a:gd name="T7" fmla="*/ 54 h 172"/>
              <a:gd name="T8" fmla="*/ 234 w 331"/>
              <a:gd name="T9" fmla="*/ 0 h 172"/>
              <a:gd name="T10" fmla="*/ 193 w 331"/>
              <a:gd name="T11" fmla="*/ 0 h 172"/>
              <a:gd name="T12" fmla="*/ 109 w 331"/>
              <a:gd name="T13" fmla="*/ 20 h 172"/>
              <a:gd name="T14" fmla="*/ 86 w 331"/>
              <a:gd name="T15" fmla="*/ 46 h 172"/>
              <a:gd name="T16" fmla="*/ 78 w 331"/>
              <a:gd name="T17" fmla="*/ 55 h 172"/>
              <a:gd name="T18" fmla="*/ 72 w 331"/>
              <a:gd name="T19" fmla="*/ 57 h 172"/>
              <a:gd name="T20" fmla="*/ 33 w 331"/>
              <a:gd name="T21" fmla="*/ 57 h 172"/>
              <a:gd name="T22" fmla="*/ 0 w 331"/>
              <a:gd name="T23" fmla="*/ 90 h 172"/>
              <a:gd name="T24" fmla="*/ 0 w 331"/>
              <a:gd name="T25" fmla="*/ 127 h 172"/>
              <a:gd name="T26" fmla="*/ 46 w 331"/>
              <a:gd name="T27" fmla="*/ 138 h 172"/>
              <a:gd name="T28" fmla="*/ 89 w 331"/>
              <a:gd name="T29" fmla="*/ 172 h 172"/>
              <a:gd name="T30" fmla="*/ 131 w 331"/>
              <a:gd name="T31" fmla="*/ 138 h 172"/>
              <a:gd name="T32" fmla="*/ 212 w 331"/>
              <a:gd name="T33" fmla="*/ 143 h 172"/>
              <a:gd name="T34" fmla="*/ 285 w 331"/>
              <a:gd name="T35" fmla="*/ 142 h 172"/>
              <a:gd name="T36" fmla="*/ 293 w 331"/>
              <a:gd name="T37" fmla="*/ 138 h 172"/>
              <a:gd name="T38" fmla="*/ 331 w 331"/>
              <a:gd name="T39" fmla="*/ 107 h 172"/>
              <a:gd name="T40" fmla="*/ 194 w 331"/>
              <a:gd name="T41" fmla="*/ 10 h 172"/>
              <a:gd name="T42" fmla="*/ 212 w 331"/>
              <a:gd name="T43" fmla="*/ 8 h 172"/>
              <a:gd name="T44" fmla="*/ 271 w 331"/>
              <a:gd name="T45" fmla="*/ 27 h 172"/>
              <a:gd name="T46" fmla="*/ 281 w 331"/>
              <a:gd name="T47" fmla="*/ 43 h 172"/>
              <a:gd name="T48" fmla="*/ 287 w 331"/>
              <a:gd name="T49" fmla="*/ 55 h 172"/>
              <a:gd name="T50" fmla="*/ 283 w 331"/>
              <a:gd name="T51" fmla="*/ 57 h 172"/>
              <a:gd name="T52" fmla="*/ 247 w 331"/>
              <a:gd name="T53" fmla="*/ 57 h 172"/>
              <a:gd name="T54" fmla="*/ 198 w 331"/>
              <a:gd name="T55" fmla="*/ 57 h 172"/>
              <a:gd name="T56" fmla="*/ 193 w 331"/>
              <a:gd name="T57" fmla="*/ 53 h 172"/>
              <a:gd name="T58" fmla="*/ 94 w 331"/>
              <a:gd name="T59" fmla="*/ 49 h 172"/>
              <a:gd name="T60" fmla="*/ 105 w 331"/>
              <a:gd name="T61" fmla="*/ 36 h 172"/>
              <a:gd name="T62" fmla="*/ 150 w 331"/>
              <a:gd name="T63" fmla="*/ 8 h 172"/>
              <a:gd name="T64" fmla="*/ 180 w 331"/>
              <a:gd name="T65" fmla="*/ 8 h 172"/>
              <a:gd name="T66" fmla="*/ 185 w 331"/>
              <a:gd name="T67" fmla="*/ 13 h 172"/>
              <a:gd name="T68" fmla="*/ 184 w 331"/>
              <a:gd name="T69" fmla="*/ 56 h 172"/>
              <a:gd name="T70" fmla="*/ 113 w 331"/>
              <a:gd name="T71" fmla="*/ 57 h 172"/>
              <a:gd name="T72" fmla="*/ 94 w 331"/>
              <a:gd name="T73" fmla="*/ 49 h 172"/>
              <a:gd name="T74" fmla="*/ 89 w 331"/>
              <a:gd name="T75" fmla="*/ 164 h 172"/>
              <a:gd name="T76" fmla="*/ 68 w 331"/>
              <a:gd name="T77" fmla="*/ 113 h 172"/>
              <a:gd name="T78" fmla="*/ 118 w 331"/>
              <a:gd name="T79" fmla="*/ 134 h 172"/>
              <a:gd name="T80" fmla="*/ 269 w 331"/>
              <a:gd name="T81" fmla="*/ 155 h 172"/>
              <a:gd name="T82" fmla="*/ 227 w 331"/>
              <a:gd name="T83" fmla="*/ 155 h 172"/>
              <a:gd name="T84" fmla="*/ 248 w 331"/>
              <a:gd name="T85" fmla="*/ 104 h 172"/>
              <a:gd name="T86" fmla="*/ 269 w 331"/>
              <a:gd name="T87" fmla="*/ 155 h 172"/>
              <a:gd name="T88" fmla="*/ 294 w 331"/>
              <a:gd name="T89" fmla="*/ 130 h 172"/>
              <a:gd name="T90" fmla="*/ 285 w 331"/>
              <a:gd name="T91" fmla="*/ 126 h 172"/>
              <a:gd name="T92" fmla="*/ 212 w 331"/>
              <a:gd name="T93" fmla="*/ 126 h 172"/>
              <a:gd name="T94" fmla="*/ 131 w 331"/>
              <a:gd name="T95" fmla="*/ 130 h 172"/>
              <a:gd name="T96" fmla="*/ 89 w 331"/>
              <a:gd name="T97" fmla="*/ 96 h 172"/>
              <a:gd name="T98" fmla="*/ 47 w 331"/>
              <a:gd name="T99" fmla="*/ 130 h 172"/>
              <a:gd name="T100" fmla="*/ 13 w 331"/>
              <a:gd name="T101" fmla="*/ 130 h 172"/>
              <a:gd name="T102" fmla="*/ 8 w 331"/>
              <a:gd name="T103" fmla="*/ 125 h 172"/>
              <a:gd name="T104" fmla="*/ 8 w 331"/>
              <a:gd name="T105" fmla="*/ 89 h 172"/>
              <a:gd name="T106" fmla="*/ 34 w 331"/>
              <a:gd name="T107" fmla="*/ 65 h 172"/>
              <a:gd name="T108" fmla="*/ 246 w 331"/>
              <a:gd name="T109" fmla="*/ 65 h 172"/>
              <a:gd name="T110" fmla="*/ 322 w 331"/>
              <a:gd name="T111" fmla="*/ 67 h 172"/>
              <a:gd name="T112" fmla="*/ 323 w 331"/>
              <a:gd name="T113" fmla="*/ 88 h 172"/>
              <a:gd name="T114" fmla="*/ 305 w 331"/>
              <a:gd name="T115" fmla="*/ 129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31" h="172">
                <a:moveTo>
                  <a:pt x="331" y="107"/>
                </a:moveTo>
                <a:cubicBezTo>
                  <a:pt x="331" y="102"/>
                  <a:pt x="331" y="97"/>
                  <a:pt x="331" y="92"/>
                </a:cubicBezTo>
                <a:cubicBezTo>
                  <a:pt x="331" y="90"/>
                  <a:pt x="331" y="87"/>
                  <a:pt x="331" y="85"/>
                </a:cubicBezTo>
                <a:cubicBezTo>
                  <a:pt x="331" y="62"/>
                  <a:pt x="331" y="62"/>
                  <a:pt x="331" y="62"/>
                </a:cubicBezTo>
                <a:cubicBezTo>
                  <a:pt x="331" y="59"/>
                  <a:pt x="329" y="57"/>
                  <a:pt x="326" y="57"/>
                </a:cubicBezTo>
                <a:cubicBezTo>
                  <a:pt x="325" y="57"/>
                  <a:pt x="325" y="57"/>
                  <a:pt x="325" y="57"/>
                </a:cubicBezTo>
                <a:cubicBezTo>
                  <a:pt x="318" y="57"/>
                  <a:pt x="311" y="57"/>
                  <a:pt x="304" y="57"/>
                </a:cubicBezTo>
                <a:cubicBezTo>
                  <a:pt x="301" y="57"/>
                  <a:pt x="299" y="56"/>
                  <a:pt x="298" y="54"/>
                </a:cubicBezTo>
                <a:cubicBezTo>
                  <a:pt x="292" y="44"/>
                  <a:pt x="286" y="35"/>
                  <a:pt x="279" y="25"/>
                </a:cubicBezTo>
                <a:cubicBezTo>
                  <a:pt x="269" y="9"/>
                  <a:pt x="253" y="0"/>
                  <a:pt x="234" y="0"/>
                </a:cubicBezTo>
                <a:cubicBezTo>
                  <a:pt x="221" y="0"/>
                  <a:pt x="208" y="0"/>
                  <a:pt x="195" y="0"/>
                </a:cubicBezTo>
                <a:cubicBezTo>
                  <a:pt x="193" y="0"/>
                  <a:pt x="193" y="0"/>
                  <a:pt x="193" y="0"/>
                </a:cubicBezTo>
                <a:cubicBezTo>
                  <a:pt x="179" y="0"/>
                  <a:pt x="165" y="0"/>
                  <a:pt x="151" y="0"/>
                </a:cubicBezTo>
                <a:cubicBezTo>
                  <a:pt x="135" y="0"/>
                  <a:pt x="121" y="6"/>
                  <a:pt x="109" y="20"/>
                </a:cubicBezTo>
                <a:cubicBezTo>
                  <a:pt x="104" y="24"/>
                  <a:pt x="100" y="29"/>
                  <a:pt x="96" y="34"/>
                </a:cubicBezTo>
                <a:cubicBezTo>
                  <a:pt x="93" y="38"/>
                  <a:pt x="90" y="42"/>
                  <a:pt x="86" y="46"/>
                </a:cubicBezTo>
                <a:cubicBezTo>
                  <a:pt x="85" y="47"/>
                  <a:pt x="83" y="49"/>
                  <a:pt x="82" y="51"/>
                </a:cubicBezTo>
                <a:cubicBezTo>
                  <a:pt x="80" y="52"/>
                  <a:pt x="79" y="54"/>
                  <a:pt x="78" y="55"/>
                </a:cubicBezTo>
                <a:cubicBezTo>
                  <a:pt x="76" y="57"/>
                  <a:pt x="74" y="57"/>
                  <a:pt x="73" y="57"/>
                </a:cubicBezTo>
                <a:cubicBezTo>
                  <a:pt x="72" y="57"/>
                  <a:pt x="72" y="57"/>
                  <a:pt x="72" y="57"/>
                </a:cubicBezTo>
                <a:cubicBezTo>
                  <a:pt x="64" y="57"/>
                  <a:pt x="64" y="57"/>
                  <a:pt x="64" y="57"/>
                </a:cubicBezTo>
                <a:cubicBezTo>
                  <a:pt x="54" y="57"/>
                  <a:pt x="44" y="57"/>
                  <a:pt x="33" y="57"/>
                </a:cubicBezTo>
                <a:cubicBezTo>
                  <a:pt x="19" y="58"/>
                  <a:pt x="9" y="64"/>
                  <a:pt x="3" y="76"/>
                </a:cubicBezTo>
                <a:cubicBezTo>
                  <a:pt x="1" y="80"/>
                  <a:pt x="0" y="85"/>
                  <a:pt x="0" y="90"/>
                </a:cubicBezTo>
                <a:cubicBezTo>
                  <a:pt x="0" y="97"/>
                  <a:pt x="0" y="104"/>
                  <a:pt x="0" y="111"/>
                </a:cubicBezTo>
                <a:cubicBezTo>
                  <a:pt x="0" y="127"/>
                  <a:pt x="0" y="127"/>
                  <a:pt x="0" y="127"/>
                </a:cubicBezTo>
                <a:cubicBezTo>
                  <a:pt x="0" y="134"/>
                  <a:pt x="5" y="138"/>
                  <a:pt x="12" y="138"/>
                </a:cubicBezTo>
                <a:cubicBezTo>
                  <a:pt x="23" y="138"/>
                  <a:pt x="35" y="138"/>
                  <a:pt x="46" y="138"/>
                </a:cubicBezTo>
                <a:cubicBezTo>
                  <a:pt x="48" y="138"/>
                  <a:pt x="51" y="138"/>
                  <a:pt x="52" y="143"/>
                </a:cubicBezTo>
                <a:cubicBezTo>
                  <a:pt x="56" y="160"/>
                  <a:pt x="71" y="172"/>
                  <a:pt x="89" y="172"/>
                </a:cubicBezTo>
                <a:cubicBezTo>
                  <a:pt x="106" y="172"/>
                  <a:pt x="122" y="160"/>
                  <a:pt x="125" y="143"/>
                </a:cubicBezTo>
                <a:cubicBezTo>
                  <a:pt x="126" y="140"/>
                  <a:pt x="128" y="138"/>
                  <a:pt x="131" y="138"/>
                </a:cubicBezTo>
                <a:cubicBezTo>
                  <a:pt x="158" y="138"/>
                  <a:pt x="182" y="138"/>
                  <a:pt x="206" y="138"/>
                </a:cubicBezTo>
                <a:cubicBezTo>
                  <a:pt x="209" y="138"/>
                  <a:pt x="211" y="140"/>
                  <a:pt x="212" y="143"/>
                </a:cubicBezTo>
                <a:cubicBezTo>
                  <a:pt x="215" y="159"/>
                  <a:pt x="231" y="172"/>
                  <a:pt x="248" y="172"/>
                </a:cubicBezTo>
                <a:cubicBezTo>
                  <a:pt x="266" y="172"/>
                  <a:pt x="281" y="159"/>
                  <a:pt x="285" y="142"/>
                </a:cubicBezTo>
                <a:cubicBezTo>
                  <a:pt x="286" y="140"/>
                  <a:pt x="287" y="138"/>
                  <a:pt x="290" y="138"/>
                </a:cubicBezTo>
                <a:cubicBezTo>
                  <a:pt x="293" y="138"/>
                  <a:pt x="293" y="138"/>
                  <a:pt x="293" y="138"/>
                </a:cubicBezTo>
                <a:cubicBezTo>
                  <a:pt x="298" y="138"/>
                  <a:pt x="302" y="138"/>
                  <a:pt x="307" y="137"/>
                </a:cubicBezTo>
                <a:cubicBezTo>
                  <a:pt x="321" y="133"/>
                  <a:pt x="330" y="121"/>
                  <a:pt x="331" y="107"/>
                </a:cubicBezTo>
                <a:close/>
                <a:moveTo>
                  <a:pt x="193" y="13"/>
                </a:moveTo>
                <a:cubicBezTo>
                  <a:pt x="193" y="12"/>
                  <a:pt x="193" y="11"/>
                  <a:pt x="194" y="10"/>
                </a:cubicBezTo>
                <a:cubicBezTo>
                  <a:pt x="195" y="9"/>
                  <a:pt x="197" y="8"/>
                  <a:pt x="198" y="8"/>
                </a:cubicBezTo>
                <a:cubicBezTo>
                  <a:pt x="202" y="8"/>
                  <a:pt x="207" y="8"/>
                  <a:pt x="212" y="8"/>
                </a:cubicBezTo>
                <a:cubicBezTo>
                  <a:pt x="220" y="8"/>
                  <a:pt x="228" y="8"/>
                  <a:pt x="235" y="8"/>
                </a:cubicBezTo>
                <a:cubicBezTo>
                  <a:pt x="250" y="9"/>
                  <a:pt x="262" y="15"/>
                  <a:pt x="271" y="27"/>
                </a:cubicBezTo>
                <a:cubicBezTo>
                  <a:pt x="274" y="32"/>
                  <a:pt x="278" y="37"/>
                  <a:pt x="281" y="43"/>
                </a:cubicBezTo>
                <a:cubicBezTo>
                  <a:pt x="281" y="43"/>
                  <a:pt x="281" y="43"/>
                  <a:pt x="281" y="43"/>
                </a:cubicBezTo>
                <a:cubicBezTo>
                  <a:pt x="283" y="46"/>
                  <a:pt x="285" y="48"/>
                  <a:pt x="286" y="51"/>
                </a:cubicBezTo>
                <a:cubicBezTo>
                  <a:pt x="287" y="51"/>
                  <a:pt x="288" y="53"/>
                  <a:pt x="287" y="55"/>
                </a:cubicBezTo>
                <a:cubicBezTo>
                  <a:pt x="287" y="57"/>
                  <a:pt x="285" y="57"/>
                  <a:pt x="284" y="57"/>
                </a:cubicBezTo>
                <a:cubicBezTo>
                  <a:pt x="283" y="57"/>
                  <a:pt x="283" y="57"/>
                  <a:pt x="283" y="57"/>
                </a:cubicBezTo>
                <a:cubicBezTo>
                  <a:pt x="283" y="57"/>
                  <a:pt x="283" y="57"/>
                  <a:pt x="283" y="57"/>
                </a:cubicBezTo>
                <a:cubicBezTo>
                  <a:pt x="271" y="57"/>
                  <a:pt x="259" y="57"/>
                  <a:pt x="247" y="57"/>
                </a:cubicBezTo>
                <a:cubicBezTo>
                  <a:pt x="231" y="57"/>
                  <a:pt x="231" y="57"/>
                  <a:pt x="231" y="57"/>
                </a:cubicBezTo>
                <a:cubicBezTo>
                  <a:pt x="220" y="57"/>
                  <a:pt x="209" y="57"/>
                  <a:pt x="198" y="57"/>
                </a:cubicBezTo>
                <a:cubicBezTo>
                  <a:pt x="197" y="57"/>
                  <a:pt x="196" y="57"/>
                  <a:pt x="194" y="56"/>
                </a:cubicBezTo>
                <a:cubicBezTo>
                  <a:pt x="193" y="55"/>
                  <a:pt x="193" y="54"/>
                  <a:pt x="193" y="53"/>
                </a:cubicBezTo>
                <a:cubicBezTo>
                  <a:pt x="193" y="39"/>
                  <a:pt x="193" y="26"/>
                  <a:pt x="193" y="13"/>
                </a:cubicBezTo>
                <a:close/>
                <a:moveTo>
                  <a:pt x="94" y="49"/>
                </a:moveTo>
                <a:cubicBezTo>
                  <a:pt x="95" y="48"/>
                  <a:pt x="97" y="46"/>
                  <a:pt x="98" y="44"/>
                </a:cubicBezTo>
                <a:cubicBezTo>
                  <a:pt x="101" y="41"/>
                  <a:pt x="103" y="39"/>
                  <a:pt x="105" y="36"/>
                </a:cubicBezTo>
                <a:cubicBezTo>
                  <a:pt x="109" y="31"/>
                  <a:pt x="114" y="26"/>
                  <a:pt x="118" y="21"/>
                </a:cubicBezTo>
                <a:cubicBezTo>
                  <a:pt x="128" y="13"/>
                  <a:pt x="138" y="8"/>
                  <a:pt x="150" y="8"/>
                </a:cubicBezTo>
                <a:cubicBezTo>
                  <a:pt x="152" y="8"/>
                  <a:pt x="152" y="8"/>
                  <a:pt x="152" y="8"/>
                </a:cubicBezTo>
                <a:cubicBezTo>
                  <a:pt x="162" y="8"/>
                  <a:pt x="171" y="8"/>
                  <a:pt x="180" y="8"/>
                </a:cubicBezTo>
                <a:cubicBezTo>
                  <a:pt x="181" y="8"/>
                  <a:pt x="183" y="8"/>
                  <a:pt x="184" y="10"/>
                </a:cubicBezTo>
                <a:cubicBezTo>
                  <a:pt x="185" y="11"/>
                  <a:pt x="185" y="12"/>
                  <a:pt x="185" y="13"/>
                </a:cubicBezTo>
                <a:cubicBezTo>
                  <a:pt x="185" y="25"/>
                  <a:pt x="185" y="39"/>
                  <a:pt x="185" y="52"/>
                </a:cubicBezTo>
                <a:cubicBezTo>
                  <a:pt x="185" y="53"/>
                  <a:pt x="185" y="55"/>
                  <a:pt x="184" y="56"/>
                </a:cubicBezTo>
                <a:cubicBezTo>
                  <a:pt x="183" y="57"/>
                  <a:pt x="181" y="57"/>
                  <a:pt x="180" y="57"/>
                </a:cubicBezTo>
                <a:cubicBezTo>
                  <a:pt x="157" y="57"/>
                  <a:pt x="135" y="57"/>
                  <a:pt x="113" y="57"/>
                </a:cubicBezTo>
                <a:cubicBezTo>
                  <a:pt x="86" y="57"/>
                  <a:pt x="86" y="57"/>
                  <a:pt x="86" y="57"/>
                </a:cubicBezTo>
                <a:lnTo>
                  <a:pt x="94" y="49"/>
                </a:lnTo>
                <a:close/>
                <a:moveTo>
                  <a:pt x="110" y="155"/>
                </a:moveTo>
                <a:cubicBezTo>
                  <a:pt x="104" y="161"/>
                  <a:pt x="97" y="164"/>
                  <a:pt x="89" y="164"/>
                </a:cubicBezTo>
                <a:cubicBezTo>
                  <a:pt x="72" y="164"/>
                  <a:pt x="59" y="150"/>
                  <a:pt x="59" y="134"/>
                </a:cubicBezTo>
                <a:cubicBezTo>
                  <a:pt x="59" y="126"/>
                  <a:pt x="62" y="119"/>
                  <a:pt x="68" y="113"/>
                </a:cubicBezTo>
                <a:cubicBezTo>
                  <a:pt x="73" y="108"/>
                  <a:pt x="81" y="104"/>
                  <a:pt x="89" y="104"/>
                </a:cubicBezTo>
                <a:cubicBezTo>
                  <a:pt x="105" y="104"/>
                  <a:pt x="118" y="118"/>
                  <a:pt x="118" y="134"/>
                </a:cubicBezTo>
                <a:cubicBezTo>
                  <a:pt x="118" y="142"/>
                  <a:pt x="115" y="149"/>
                  <a:pt x="110" y="155"/>
                </a:cubicBezTo>
                <a:close/>
                <a:moveTo>
                  <a:pt x="269" y="155"/>
                </a:moveTo>
                <a:cubicBezTo>
                  <a:pt x="264" y="161"/>
                  <a:pt x="256" y="164"/>
                  <a:pt x="248" y="164"/>
                </a:cubicBezTo>
                <a:cubicBezTo>
                  <a:pt x="240" y="164"/>
                  <a:pt x="233" y="161"/>
                  <a:pt x="227" y="155"/>
                </a:cubicBezTo>
                <a:cubicBezTo>
                  <a:pt x="222" y="149"/>
                  <a:pt x="219" y="142"/>
                  <a:pt x="219" y="134"/>
                </a:cubicBezTo>
                <a:cubicBezTo>
                  <a:pt x="219" y="118"/>
                  <a:pt x="232" y="104"/>
                  <a:pt x="248" y="104"/>
                </a:cubicBezTo>
                <a:cubicBezTo>
                  <a:pt x="265" y="104"/>
                  <a:pt x="278" y="118"/>
                  <a:pt x="278" y="134"/>
                </a:cubicBezTo>
                <a:cubicBezTo>
                  <a:pt x="278" y="142"/>
                  <a:pt x="275" y="149"/>
                  <a:pt x="269" y="155"/>
                </a:cubicBezTo>
                <a:close/>
                <a:moveTo>
                  <a:pt x="295" y="130"/>
                </a:moveTo>
                <a:cubicBezTo>
                  <a:pt x="294" y="130"/>
                  <a:pt x="294" y="130"/>
                  <a:pt x="294" y="130"/>
                </a:cubicBezTo>
                <a:cubicBezTo>
                  <a:pt x="293" y="130"/>
                  <a:pt x="292" y="130"/>
                  <a:pt x="290" y="130"/>
                </a:cubicBezTo>
                <a:cubicBezTo>
                  <a:pt x="289" y="130"/>
                  <a:pt x="286" y="130"/>
                  <a:pt x="285" y="126"/>
                </a:cubicBezTo>
                <a:cubicBezTo>
                  <a:pt x="281" y="109"/>
                  <a:pt x="266" y="96"/>
                  <a:pt x="248" y="96"/>
                </a:cubicBezTo>
                <a:cubicBezTo>
                  <a:pt x="231" y="96"/>
                  <a:pt x="215" y="109"/>
                  <a:pt x="212" y="126"/>
                </a:cubicBezTo>
                <a:cubicBezTo>
                  <a:pt x="211" y="129"/>
                  <a:pt x="209" y="130"/>
                  <a:pt x="206" y="130"/>
                </a:cubicBezTo>
                <a:cubicBezTo>
                  <a:pt x="178" y="130"/>
                  <a:pt x="154" y="130"/>
                  <a:pt x="131" y="130"/>
                </a:cubicBezTo>
                <a:cubicBezTo>
                  <a:pt x="128" y="130"/>
                  <a:pt x="126" y="129"/>
                  <a:pt x="125" y="125"/>
                </a:cubicBezTo>
                <a:cubicBezTo>
                  <a:pt x="121" y="109"/>
                  <a:pt x="106" y="96"/>
                  <a:pt x="89" y="96"/>
                </a:cubicBezTo>
                <a:cubicBezTo>
                  <a:pt x="71" y="96"/>
                  <a:pt x="56" y="109"/>
                  <a:pt x="52" y="126"/>
                </a:cubicBezTo>
                <a:cubicBezTo>
                  <a:pt x="51" y="129"/>
                  <a:pt x="49" y="130"/>
                  <a:pt x="47" y="130"/>
                </a:cubicBezTo>
                <a:cubicBezTo>
                  <a:pt x="47" y="130"/>
                  <a:pt x="47" y="130"/>
                  <a:pt x="46" y="130"/>
                </a:cubicBezTo>
                <a:cubicBezTo>
                  <a:pt x="36" y="130"/>
                  <a:pt x="24" y="130"/>
                  <a:pt x="13" y="130"/>
                </a:cubicBezTo>
                <a:cubicBezTo>
                  <a:pt x="12" y="130"/>
                  <a:pt x="10" y="130"/>
                  <a:pt x="9" y="129"/>
                </a:cubicBezTo>
                <a:cubicBezTo>
                  <a:pt x="8" y="128"/>
                  <a:pt x="8" y="126"/>
                  <a:pt x="8" y="125"/>
                </a:cubicBezTo>
                <a:cubicBezTo>
                  <a:pt x="8" y="117"/>
                  <a:pt x="8" y="109"/>
                  <a:pt x="8" y="101"/>
                </a:cubicBezTo>
                <a:cubicBezTo>
                  <a:pt x="8" y="89"/>
                  <a:pt x="8" y="89"/>
                  <a:pt x="8" y="89"/>
                </a:cubicBezTo>
                <a:cubicBezTo>
                  <a:pt x="8" y="85"/>
                  <a:pt x="9" y="82"/>
                  <a:pt x="11" y="79"/>
                </a:cubicBezTo>
                <a:cubicBezTo>
                  <a:pt x="15" y="70"/>
                  <a:pt x="23" y="65"/>
                  <a:pt x="34" y="65"/>
                </a:cubicBezTo>
                <a:cubicBezTo>
                  <a:pt x="69" y="65"/>
                  <a:pt x="104" y="65"/>
                  <a:pt x="140" y="65"/>
                </a:cubicBezTo>
                <a:cubicBezTo>
                  <a:pt x="246" y="65"/>
                  <a:pt x="246" y="65"/>
                  <a:pt x="246" y="65"/>
                </a:cubicBezTo>
                <a:cubicBezTo>
                  <a:pt x="270" y="65"/>
                  <a:pt x="294" y="65"/>
                  <a:pt x="318" y="65"/>
                </a:cubicBezTo>
                <a:cubicBezTo>
                  <a:pt x="319" y="65"/>
                  <a:pt x="320" y="65"/>
                  <a:pt x="322" y="67"/>
                </a:cubicBezTo>
                <a:cubicBezTo>
                  <a:pt x="323" y="68"/>
                  <a:pt x="323" y="70"/>
                  <a:pt x="323" y="70"/>
                </a:cubicBezTo>
                <a:cubicBezTo>
                  <a:pt x="323" y="76"/>
                  <a:pt x="323" y="82"/>
                  <a:pt x="323" y="88"/>
                </a:cubicBezTo>
                <a:cubicBezTo>
                  <a:pt x="323" y="94"/>
                  <a:pt x="323" y="100"/>
                  <a:pt x="323" y="106"/>
                </a:cubicBezTo>
                <a:cubicBezTo>
                  <a:pt x="323" y="117"/>
                  <a:pt x="315" y="127"/>
                  <a:pt x="305" y="129"/>
                </a:cubicBezTo>
                <a:cubicBezTo>
                  <a:pt x="301" y="130"/>
                  <a:pt x="298" y="130"/>
                  <a:pt x="295" y="130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rgbClr val="00B0F0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Rounded Rectangle 16"/>
          <p:cNvSpPr/>
          <p:nvPr/>
        </p:nvSpPr>
        <p:spPr>
          <a:xfrm>
            <a:off x="4166275" y="5361442"/>
            <a:ext cx="1548222" cy="837658"/>
          </a:xfrm>
          <a:prstGeom prst="roundRect">
            <a:avLst/>
          </a:prstGeom>
          <a:noFill/>
          <a:ln>
            <a:solidFill>
              <a:srgbClr val="00B0F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r>
              <a:rPr lang="es-ES" sz="1400" b="1" kern="0" dirty="0" smtClean="0">
                <a:solidFill>
                  <a:srgbClr val="00B0F0"/>
                </a:solidFill>
              </a:rPr>
              <a:t>Seguros </a:t>
            </a:r>
            <a:r>
              <a:rPr lang="es-ES" sz="1400" b="1" kern="0" dirty="0">
                <a:solidFill>
                  <a:srgbClr val="00B0F0"/>
                </a:solidFill>
              </a:rPr>
              <a:t>de </a:t>
            </a:r>
            <a:r>
              <a:rPr lang="es-ES" sz="1400" b="1" kern="0" dirty="0" smtClean="0">
                <a:solidFill>
                  <a:srgbClr val="00B0F0"/>
                </a:solidFill>
              </a:rPr>
              <a:t>Automóviles </a:t>
            </a:r>
            <a:endParaRPr lang="es-ES" sz="1400" b="1" kern="0" dirty="0">
              <a:solidFill>
                <a:srgbClr val="00B0F0"/>
              </a:solidFill>
            </a:endParaRPr>
          </a:p>
        </p:txBody>
      </p:sp>
      <p:grpSp>
        <p:nvGrpSpPr>
          <p:cNvPr id="20" name="Group 19"/>
          <p:cNvGrpSpPr>
            <a:grpSpLocks noChangeAspect="1"/>
          </p:cNvGrpSpPr>
          <p:nvPr/>
        </p:nvGrpSpPr>
        <p:grpSpPr bwMode="auto">
          <a:xfrm>
            <a:off x="6982829" y="4743417"/>
            <a:ext cx="517042" cy="479701"/>
            <a:chOff x="2468" y="1588"/>
            <a:chExt cx="1080" cy="1146"/>
          </a:xfrm>
        </p:grpSpPr>
        <p:sp>
          <p:nvSpPr>
            <p:cNvPr id="21" name="Freeform 20"/>
            <p:cNvSpPr>
              <a:spLocks noEditPoints="1"/>
            </p:cNvSpPr>
            <p:nvPr/>
          </p:nvSpPr>
          <p:spPr bwMode="auto">
            <a:xfrm>
              <a:off x="2468" y="1588"/>
              <a:ext cx="1080" cy="1146"/>
            </a:xfrm>
            <a:custGeom>
              <a:avLst/>
              <a:gdLst>
                <a:gd name="T0" fmla="*/ 418 w 457"/>
                <a:gd name="T1" fmla="*/ 362 h 485"/>
                <a:gd name="T2" fmla="*/ 418 w 457"/>
                <a:gd name="T3" fmla="*/ 319 h 485"/>
                <a:gd name="T4" fmla="*/ 356 w 457"/>
                <a:gd name="T5" fmla="*/ 256 h 485"/>
                <a:gd name="T6" fmla="*/ 293 w 457"/>
                <a:gd name="T7" fmla="*/ 319 h 485"/>
                <a:gd name="T8" fmla="*/ 293 w 457"/>
                <a:gd name="T9" fmla="*/ 410 h 485"/>
                <a:gd name="T10" fmla="*/ 233 w 457"/>
                <a:gd name="T11" fmla="*/ 471 h 485"/>
                <a:gd name="T12" fmla="*/ 172 w 457"/>
                <a:gd name="T13" fmla="*/ 410 h 485"/>
                <a:gd name="T14" fmla="*/ 172 w 457"/>
                <a:gd name="T15" fmla="*/ 344 h 485"/>
                <a:gd name="T16" fmla="*/ 309 w 457"/>
                <a:gd name="T17" fmla="*/ 178 h 485"/>
                <a:gd name="T18" fmla="*/ 317 w 457"/>
                <a:gd name="T19" fmla="*/ 67 h 485"/>
                <a:gd name="T20" fmla="*/ 254 w 457"/>
                <a:gd name="T21" fmla="*/ 26 h 485"/>
                <a:gd name="T22" fmla="*/ 222 w 457"/>
                <a:gd name="T23" fmla="*/ 0 h 485"/>
                <a:gd name="T24" fmla="*/ 191 w 457"/>
                <a:gd name="T25" fmla="*/ 32 h 485"/>
                <a:gd name="T26" fmla="*/ 222 w 457"/>
                <a:gd name="T27" fmla="*/ 64 h 485"/>
                <a:gd name="T28" fmla="*/ 253 w 457"/>
                <a:gd name="T29" fmla="*/ 40 h 485"/>
                <a:gd name="T30" fmla="*/ 304 w 457"/>
                <a:gd name="T31" fmla="*/ 74 h 485"/>
                <a:gd name="T32" fmla="*/ 296 w 457"/>
                <a:gd name="T33" fmla="*/ 173 h 485"/>
                <a:gd name="T34" fmla="*/ 166 w 457"/>
                <a:gd name="T35" fmla="*/ 329 h 485"/>
                <a:gd name="T36" fmla="*/ 163 w 457"/>
                <a:gd name="T37" fmla="*/ 329 h 485"/>
                <a:gd name="T38" fmla="*/ 46 w 457"/>
                <a:gd name="T39" fmla="*/ 178 h 485"/>
                <a:gd name="T40" fmla="*/ 32 w 457"/>
                <a:gd name="T41" fmla="*/ 80 h 485"/>
                <a:gd name="T42" fmla="*/ 79 w 457"/>
                <a:gd name="T43" fmla="*/ 47 h 485"/>
                <a:gd name="T44" fmla="*/ 108 w 457"/>
                <a:gd name="T45" fmla="*/ 64 h 485"/>
                <a:gd name="T46" fmla="*/ 139 w 457"/>
                <a:gd name="T47" fmla="*/ 32 h 485"/>
                <a:gd name="T48" fmla="*/ 108 w 457"/>
                <a:gd name="T49" fmla="*/ 0 h 485"/>
                <a:gd name="T50" fmla="*/ 76 w 457"/>
                <a:gd name="T51" fmla="*/ 32 h 485"/>
                <a:gd name="T52" fmla="*/ 76 w 457"/>
                <a:gd name="T53" fmla="*/ 33 h 485"/>
                <a:gd name="T54" fmla="*/ 19 w 457"/>
                <a:gd name="T55" fmla="*/ 73 h 485"/>
                <a:gd name="T56" fmla="*/ 33 w 457"/>
                <a:gd name="T57" fmla="*/ 184 h 485"/>
                <a:gd name="T58" fmla="*/ 157 w 457"/>
                <a:gd name="T59" fmla="*/ 344 h 485"/>
                <a:gd name="T60" fmla="*/ 157 w 457"/>
                <a:gd name="T61" fmla="*/ 410 h 485"/>
                <a:gd name="T62" fmla="*/ 232 w 457"/>
                <a:gd name="T63" fmla="*/ 485 h 485"/>
                <a:gd name="T64" fmla="*/ 307 w 457"/>
                <a:gd name="T65" fmla="*/ 410 h 485"/>
                <a:gd name="T66" fmla="*/ 307 w 457"/>
                <a:gd name="T67" fmla="*/ 319 h 485"/>
                <a:gd name="T68" fmla="*/ 355 w 457"/>
                <a:gd name="T69" fmla="*/ 271 h 485"/>
                <a:gd name="T70" fmla="*/ 403 w 457"/>
                <a:gd name="T71" fmla="*/ 319 h 485"/>
                <a:gd name="T72" fmla="*/ 403 w 457"/>
                <a:gd name="T73" fmla="*/ 362 h 485"/>
                <a:gd name="T74" fmla="*/ 362 w 457"/>
                <a:gd name="T75" fmla="*/ 409 h 485"/>
                <a:gd name="T76" fmla="*/ 409 w 457"/>
                <a:gd name="T77" fmla="*/ 456 h 485"/>
                <a:gd name="T78" fmla="*/ 457 w 457"/>
                <a:gd name="T79" fmla="*/ 409 h 485"/>
                <a:gd name="T80" fmla="*/ 418 w 457"/>
                <a:gd name="T81" fmla="*/ 362 h 485"/>
                <a:gd name="T82" fmla="*/ 222 w 457"/>
                <a:gd name="T83" fmla="*/ 50 h 485"/>
                <a:gd name="T84" fmla="*/ 205 w 457"/>
                <a:gd name="T85" fmla="*/ 33 h 485"/>
                <a:gd name="T86" fmla="*/ 222 w 457"/>
                <a:gd name="T87" fmla="*/ 16 h 485"/>
                <a:gd name="T88" fmla="*/ 239 w 457"/>
                <a:gd name="T89" fmla="*/ 33 h 485"/>
                <a:gd name="T90" fmla="*/ 222 w 457"/>
                <a:gd name="T91" fmla="*/ 50 h 485"/>
                <a:gd name="T92" fmla="*/ 107 w 457"/>
                <a:gd name="T93" fmla="*/ 15 h 485"/>
                <a:gd name="T94" fmla="*/ 124 w 457"/>
                <a:gd name="T95" fmla="*/ 32 h 485"/>
                <a:gd name="T96" fmla="*/ 107 w 457"/>
                <a:gd name="T97" fmla="*/ 50 h 485"/>
                <a:gd name="T98" fmla="*/ 90 w 457"/>
                <a:gd name="T99" fmla="*/ 32 h 485"/>
                <a:gd name="T100" fmla="*/ 107 w 457"/>
                <a:gd name="T101" fmla="*/ 15 h 485"/>
                <a:gd name="T102" fmla="*/ 409 w 457"/>
                <a:gd name="T103" fmla="*/ 443 h 485"/>
                <a:gd name="T104" fmla="*/ 375 w 457"/>
                <a:gd name="T105" fmla="*/ 409 h 485"/>
                <a:gd name="T106" fmla="*/ 409 w 457"/>
                <a:gd name="T107" fmla="*/ 374 h 485"/>
                <a:gd name="T108" fmla="*/ 444 w 457"/>
                <a:gd name="T109" fmla="*/ 409 h 485"/>
                <a:gd name="T110" fmla="*/ 409 w 457"/>
                <a:gd name="T111" fmla="*/ 443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57" h="485">
                  <a:moveTo>
                    <a:pt x="418" y="362"/>
                  </a:moveTo>
                  <a:cubicBezTo>
                    <a:pt x="418" y="319"/>
                    <a:pt x="418" y="319"/>
                    <a:pt x="418" y="319"/>
                  </a:cubicBezTo>
                  <a:cubicBezTo>
                    <a:pt x="418" y="284"/>
                    <a:pt x="390" y="256"/>
                    <a:pt x="356" y="256"/>
                  </a:cubicBezTo>
                  <a:cubicBezTo>
                    <a:pt x="321" y="256"/>
                    <a:pt x="293" y="284"/>
                    <a:pt x="293" y="319"/>
                  </a:cubicBezTo>
                  <a:cubicBezTo>
                    <a:pt x="293" y="410"/>
                    <a:pt x="293" y="410"/>
                    <a:pt x="293" y="410"/>
                  </a:cubicBezTo>
                  <a:cubicBezTo>
                    <a:pt x="293" y="444"/>
                    <a:pt x="266" y="471"/>
                    <a:pt x="233" y="471"/>
                  </a:cubicBezTo>
                  <a:cubicBezTo>
                    <a:pt x="200" y="471"/>
                    <a:pt x="172" y="444"/>
                    <a:pt x="172" y="410"/>
                  </a:cubicBezTo>
                  <a:cubicBezTo>
                    <a:pt x="172" y="344"/>
                    <a:pt x="172" y="344"/>
                    <a:pt x="172" y="344"/>
                  </a:cubicBezTo>
                  <a:cubicBezTo>
                    <a:pt x="222" y="340"/>
                    <a:pt x="268" y="284"/>
                    <a:pt x="309" y="178"/>
                  </a:cubicBezTo>
                  <a:cubicBezTo>
                    <a:pt x="322" y="147"/>
                    <a:pt x="338" y="104"/>
                    <a:pt x="317" y="67"/>
                  </a:cubicBezTo>
                  <a:cubicBezTo>
                    <a:pt x="302" y="42"/>
                    <a:pt x="275" y="30"/>
                    <a:pt x="254" y="26"/>
                  </a:cubicBezTo>
                  <a:cubicBezTo>
                    <a:pt x="251" y="11"/>
                    <a:pt x="238" y="0"/>
                    <a:pt x="222" y="0"/>
                  </a:cubicBezTo>
                  <a:cubicBezTo>
                    <a:pt x="205" y="0"/>
                    <a:pt x="191" y="14"/>
                    <a:pt x="191" y="32"/>
                  </a:cubicBezTo>
                  <a:cubicBezTo>
                    <a:pt x="191" y="50"/>
                    <a:pt x="205" y="64"/>
                    <a:pt x="222" y="64"/>
                  </a:cubicBezTo>
                  <a:cubicBezTo>
                    <a:pt x="237" y="64"/>
                    <a:pt x="250" y="53"/>
                    <a:pt x="253" y="40"/>
                  </a:cubicBezTo>
                  <a:cubicBezTo>
                    <a:pt x="271" y="45"/>
                    <a:pt x="292" y="54"/>
                    <a:pt x="304" y="74"/>
                  </a:cubicBezTo>
                  <a:cubicBezTo>
                    <a:pt x="322" y="105"/>
                    <a:pt x="307" y="142"/>
                    <a:pt x="296" y="173"/>
                  </a:cubicBezTo>
                  <a:cubicBezTo>
                    <a:pt x="256" y="277"/>
                    <a:pt x="212" y="329"/>
                    <a:pt x="166" y="329"/>
                  </a:cubicBezTo>
                  <a:cubicBezTo>
                    <a:pt x="165" y="329"/>
                    <a:pt x="164" y="329"/>
                    <a:pt x="163" y="329"/>
                  </a:cubicBezTo>
                  <a:cubicBezTo>
                    <a:pt x="110" y="326"/>
                    <a:pt x="76" y="247"/>
                    <a:pt x="46" y="178"/>
                  </a:cubicBezTo>
                  <a:cubicBezTo>
                    <a:pt x="26" y="132"/>
                    <a:pt x="21" y="99"/>
                    <a:pt x="32" y="80"/>
                  </a:cubicBezTo>
                  <a:cubicBezTo>
                    <a:pt x="42" y="61"/>
                    <a:pt x="62" y="51"/>
                    <a:pt x="79" y="47"/>
                  </a:cubicBezTo>
                  <a:cubicBezTo>
                    <a:pt x="85" y="57"/>
                    <a:pt x="96" y="64"/>
                    <a:pt x="108" y="64"/>
                  </a:cubicBezTo>
                  <a:cubicBezTo>
                    <a:pt x="125" y="64"/>
                    <a:pt x="139" y="50"/>
                    <a:pt x="139" y="32"/>
                  </a:cubicBezTo>
                  <a:cubicBezTo>
                    <a:pt x="139" y="14"/>
                    <a:pt x="125" y="0"/>
                    <a:pt x="108" y="0"/>
                  </a:cubicBezTo>
                  <a:cubicBezTo>
                    <a:pt x="90" y="0"/>
                    <a:pt x="76" y="14"/>
                    <a:pt x="76" y="32"/>
                  </a:cubicBezTo>
                  <a:cubicBezTo>
                    <a:pt x="76" y="32"/>
                    <a:pt x="76" y="32"/>
                    <a:pt x="76" y="33"/>
                  </a:cubicBezTo>
                  <a:cubicBezTo>
                    <a:pt x="56" y="38"/>
                    <a:pt x="33" y="50"/>
                    <a:pt x="19" y="73"/>
                  </a:cubicBezTo>
                  <a:cubicBezTo>
                    <a:pt x="15" y="82"/>
                    <a:pt x="0" y="108"/>
                    <a:pt x="33" y="184"/>
                  </a:cubicBezTo>
                  <a:cubicBezTo>
                    <a:pt x="62" y="256"/>
                    <a:pt x="97" y="337"/>
                    <a:pt x="157" y="344"/>
                  </a:cubicBezTo>
                  <a:cubicBezTo>
                    <a:pt x="157" y="410"/>
                    <a:pt x="157" y="410"/>
                    <a:pt x="157" y="410"/>
                  </a:cubicBezTo>
                  <a:cubicBezTo>
                    <a:pt x="157" y="451"/>
                    <a:pt x="191" y="485"/>
                    <a:pt x="232" y="485"/>
                  </a:cubicBezTo>
                  <a:cubicBezTo>
                    <a:pt x="274" y="485"/>
                    <a:pt x="307" y="451"/>
                    <a:pt x="307" y="410"/>
                  </a:cubicBezTo>
                  <a:cubicBezTo>
                    <a:pt x="307" y="319"/>
                    <a:pt x="307" y="319"/>
                    <a:pt x="307" y="319"/>
                  </a:cubicBezTo>
                  <a:cubicBezTo>
                    <a:pt x="307" y="292"/>
                    <a:pt x="329" y="271"/>
                    <a:pt x="355" y="271"/>
                  </a:cubicBezTo>
                  <a:cubicBezTo>
                    <a:pt x="382" y="271"/>
                    <a:pt x="403" y="292"/>
                    <a:pt x="403" y="319"/>
                  </a:cubicBezTo>
                  <a:cubicBezTo>
                    <a:pt x="403" y="362"/>
                    <a:pt x="403" y="362"/>
                    <a:pt x="403" y="362"/>
                  </a:cubicBezTo>
                  <a:cubicBezTo>
                    <a:pt x="380" y="365"/>
                    <a:pt x="362" y="385"/>
                    <a:pt x="362" y="409"/>
                  </a:cubicBezTo>
                  <a:cubicBezTo>
                    <a:pt x="362" y="435"/>
                    <a:pt x="383" y="456"/>
                    <a:pt x="409" y="456"/>
                  </a:cubicBezTo>
                  <a:cubicBezTo>
                    <a:pt x="435" y="456"/>
                    <a:pt x="457" y="435"/>
                    <a:pt x="457" y="409"/>
                  </a:cubicBezTo>
                  <a:cubicBezTo>
                    <a:pt x="457" y="386"/>
                    <a:pt x="440" y="366"/>
                    <a:pt x="418" y="362"/>
                  </a:cubicBezTo>
                  <a:close/>
                  <a:moveTo>
                    <a:pt x="222" y="50"/>
                  </a:moveTo>
                  <a:cubicBezTo>
                    <a:pt x="212" y="50"/>
                    <a:pt x="205" y="42"/>
                    <a:pt x="205" y="33"/>
                  </a:cubicBezTo>
                  <a:cubicBezTo>
                    <a:pt x="205" y="24"/>
                    <a:pt x="213" y="16"/>
                    <a:pt x="222" y="16"/>
                  </a:cubicBezTo>
                  <a:cubicBezTo>
                    <a:pt x="231" y="16"/>
                    <a:pt x="239" y="24"/>
                    <a:pt x="239" y="33"/>
                  </a:cubicBezTo>
                  <a:cubicBezTo>
                    <a:pt x="239" y="42"/>
                    <a:pt x="232" y="50"/>
                    <a:pt x="222" y="50"/>
                  </a:cubicBezTo>
                  <a:close/>
                  <a:moveTo>
                    <a:pt x="107" y="15"/>
                  </a:moveTo>
                  <a:cubicBezTo>
                    <a:pt x="117" y="15"/>
                    <a:pt x="124" y="23"/>
                    <a:pt x="124" y="32"/>
                  </a:cubicBezTo>
                  <a:cubicBezTo>
                    <a:pt x="124" y="42"/>
                    <a:pt x="116" y="50"/>
                    <a:pt x="107" y="50"/>
                  </a:cubicBezTo>
                  <a:cubicBezTo>
                    <a:pt x="98" y="50"/>
                    <a:pt x="90" y="42"/>
                    <a:pt x="90" y="32"/>
                  </a:cubicBezTo>
                  <a:cubicBezTo>
                    <a:pt x="90" y="23"/>
                    <a:pt x="98" y="15"/>
                    <a:pt x="107" y="15"/>
                  </a:cubicBezTo>
                  <a:close/>
                  <a:moveTo>
                    <a:pt x="409" y="443"/>
                  </a:moveTo>
                  <a:cubicBezTo>
                    <a:pt x="391" y="443"/>
                    <a:pt x="375" y="427"/>
                    <a:pt x="375" y="409"/>
                  </a:cubicBezTo>
                  <a:cubicBezTo>
                    <a:pt x="375" y="390"/>
                    <a:pt x="391" y="374"/>
                    <a:pt x="409" y="374"/>
                  </a:cubicBezTo>
                  <a:cubicBezTo>
                    <a:pt x="428" y="374"/>
                    <a:pt x="444" y="390"/>
                    <a:pt x="444" y="409"/>
                  </a:cubicBezTo>
                  <a:cubicBezTo>
                    <a:pt x="444" y="427"/>
                    <a:pt x="428" y="443"/>
                    <a:pt x="409" y="443"/>
                  </a:cubicBezTo>
                  <a:close/>
                </a:path>
              </a:pathLst>
            </a:custGeom>
            <a:solidFill>
              <a:srgbClr val="00A8C8"/>
            </a:solidFill>
            <a:ln w="9525">
              <a:solidFill>
                <a:srgbClr val="00B0F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B0F0"/>
                </a:solidFill>
              </a:endParaRPr>
            </a:p>
          </p:txBody>
        </p:sp>
        <p:sp>
          <p:nvSpPr>
            <p:cNvPr id="22" name="Oval 21"/>
            <p:cNvSpPr>
              <a:spLocks noChangeArrowheads="1"/>
            </p:cNvSpPr>
            <p:nvPr/>
          </p:nvSpPr>
          <p:spPr bwMode="auto">
            <a:xfrm>
              <a:off x="3399" y="2517"/>
              <a:ext cx="73" cy="73"/>
            </a:xfrm>
            <a:prstGeom prst="ellipse">
              <a:avLst/>
            </a:prstGeom>
            <a:solidFill>
              <a:srgbClr val="00A8C8"/>
            </a:solidFill>
            <a:ln w="9525">
              <a:solidFill>
                <a:srgbClr val="00B0F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B0F0"/>
                </a:solidFill>
              </a:endParaRPr>
            </a:p>
          </p:txBody>
        </p:sp>
      </p:grpSp>
      <p:cxnSp>
        <p:nvCxnSpPr>
          <p:cNvPr id="23" name="Straight Arrow Connector 22"/>
          <p:cNvCxnSpPr/>
          <p:nvPr/>
        </p:nvCxnSpPr>
        <p:spPr>
          <a:xfrm flipH="1">
            <a:off x="5112685" y="4010554"/>
            <a:ext cx="417511" cy="602195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6639434" y="4014350"/>
            <a:ext cx="420624" cy="603504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Rounded Rectangle 29"/>
          <p:cNvSpPr/>
          <p:nvPr/>
        </p:nvSpPr>
        <p:spPr>
          <a:xfrm>
            <a:off x="6467239" y="5358235"/>
            <a:ext cx="1548222" cy="837658"/>
          </a:xfrm>
          <a:prstGeom prst="roundRect">
            <a:avLst/>
          </a:prstGeom>
          <a:noFill/>
          <a:ln>
            <a:solidFill>
              <a:srgbClr val="00B0F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r>
              <a:rPr lang="es-ES" sz="1400" b="1" kern="0" dirty="0">
                <a:solidFill>
                  <a:srgbClr val="00B0F0"/>
                </a:solidFill>
              </a:rPr>
              <a:t>Seguros de </a:t>
            </a:r>
          </a:p>
          <a:p>
            <a:pPr lvl="0" algn="ctr">
              <a:defRPr/>
            </a:pPr>
            <a:r>
              <a:rPr lang="es-ES" sz="1400" b="1" kern="0" dirty="0">
                <a:solidFill>
                  <a:srgbClr val="00B0F0"/>
                </a:solidFill>
              </a:rPr>
              <a:t>Salud</a:t>
            </a:r>
          </a:p>
        </p:txBody>
      </p:sp>
    </p:spTree>
    <p:extLst>
      <p:ext uri="{BB962C8B-B14F-4D97-AF65-F5344CB8AC3E}">
        <p14:creationId xmlns:p14="http://schemas.microsoft.com/office/powerpoint/2010/main" val="17760825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Inflación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s-ES" dirty="0"/>
              <a:t>Perspectiva General de la Inflación</a:t>
            </a:r>
          </a:p>
          <a:p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5616576" y="6669823"/>
            <a:ext cx="6096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ES" sz="400" dirty="0"/>
              <a:t>1. Wellington Management, con fines meramente ilustrativos</a:t>
            </a:r>
          </a:p>
          <a:p>
            <a:r>
              <a:rPr lang="es-ES" sz="400" dirty="0" smtClean="0"/>
              <a:t>2. Mercedes </a:t>
            </a:r>
            <a:r>
              <a:rPr lang="es-ES" sz="400" dirty="0"/>
              <a:t>Pardo-Buendía, catedrática y directora del grupo de investigación Sociología del Cambio Climático y Desarrollo Sostenible de la Universidad Carlos III, España.</a:t>
            </a:r>
            <a:endParaRPr lang="en-US" sz="400" dirty="0"/>
          </a:p>
        </p:txBody>
      </p:sp>
      <p:pic>
        <p:nvPicPr>
          <p:cNvPr id="18" name="Content Placeholder 17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455" y="1575147"/>
            <a:ext cx="7143091" cy="4147919"/>
          </a:xfrm>
        </p:spPr>
      </p:pic>
      <p:cxnSp>
        <p:nvCxnSpPr>
          <p:cNvPr id="21" name="Straight Connector 20"/>
          <p:cNvCxnSpPr/>
          <p:nvPr/>
        </p:nvCxnSpPr>
        <p:spPr>
          <a:xfrm>
            <a:off x="572496" y="3280349"/>
            <a:ext cx="0" cy="881200"/>
          </a:xfrm>
          <a:prstGeom prst="line">
            <a:avLst/>
          </a:prstGeom>
          <a:ln w="28575">
            <a:solidFill>
              <a:srgbClr val="C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572496" y="4173589"/>
            <a:ext cx="7002105" cy="0"/>
          </a:xfrm>
          <a:prstGeom prst="line">
            <a:avLst/>
          </a:prstGeom>
          <a:ln w="19050">
            <a:solidFill>
              <a:srgbClr val="C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572496" y="3286245"/>
            <a:ext cx="7002105" cy="0"/>
          </a:xfrm>
          <a:prstGeom prst="line">
            <a:avLst/>
          </a:prstGeom>
          <a:ln w="19050">
            <a:solidFill>
              <a:srgbClr val="C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7585600" y="3286244"/>
            <a:ext cx="0" cy="881200"/>
          </a:xfrm>
          <a:prstGeom prst="line">
            <a:avLst/>
          </a:prstGeom>
          <a:ln w="28575">
            <a:solidFill>
              <a:srgbClr val="C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Rectangle 27"/>
          <p:cNvSpPr/>
          <p:nvPr/>
        </p:nvSpPr>
        <p:spPr>
          <a:xfrm>
            <a:off x="648462" y="5753021"/>
            <a:ext cx="7087051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s-ES" sz="800" baseline="30000" dirty="0" smtClean="0">
                <a:solidFill>
                  <a:schemeClr val="tx2"/>
                </a:solidFill>
              </a:rPr>
              <a:t>1</a:t>
            </a:r>
            <a:endParaRPr lang="en-GB" sz="800" kern="0" dirty="0">
              <a:solidFill>
                <a:srgbClr val="006D9E"/>
              </a:solidFill>
            </a:endParaRPr>
          </a:p>
        </p:txBody>
      </p:sp>
      <p:sp>
        <p:nvSpPr>
          <p:cNvPr id="34" name="Pentagon 33"/>
          <p:cNvSpPr/>
          <p:nvPr/>
        </p:nvSpPr>
        <p:spPr>
          <a:xfrm>
            <a:off x="628538" y="3320788"/>
            <a:ext cx="1519490" cy="812111"/>
          </a:xfrm>
          <a:prstGeom prst="homePlate">
            <a:avLst/>
          </a:prstGeom>
          <a:solidFill>
            <a:srgbClr val="FF8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639358" y="3445430"/>
            <a:ext cx="1184030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419" sz="1000" b="1" dirty="0" smtClean="0">
                <a:solidFill>
                  <a:schemeClr val="bg1"/>
                </a:solidFill>
              </a:rPr>
              <a:t>Cambio Climático, Precios de los Insumos e Inflación de Costes</a:t>
            </a:r>
            <a:endParaRPr lang="en-US" sz="1000" b="1" dirty="0" err="1">
              <a:solidFill>
                <a:schemeClr val="bg1"/>
              </a:solidFill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7820197" y="1625613"/>
            <a:ext cx="3892379" cy="1358349"/>
          </a:xfrm>
          <a:prstGeom prst="round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s-ES" sz="1200" b="1" kern="0" dirty="0" smtClean="0">
              <a:solidFill>
                <a:schemeClr val="accent3"/>
              </a:solidFill>
            </a:endParaRPr>
          </a:p>
          <a:p>
            <a:pPr lvl="0" algn="ctr">
              <a:defRPr/>
            </a:pPr>
            <a:endParaRPr lang="es-ES" sz="1200" b="1" kern="0" dirty="0">
              <a:solidFill>
                <a:schemeClr val="accent3"/>
              </a:solidFill>
            </a:endParaRPr>
          </a:p>
          <a:p>
            <a:pPr algn="ctr">
              <a:defRPr/>
            </a:pPr>
            <a:r>
              <a:rPr lang="es-ES" sz="1200" b="1" kern="0" dirty="0" smtClean="0">
                <a:solidFill>
                  <a:schemeClr val="accent3"/>
                </a:solidFill>
              </a:rPr>
              <a:t>CUALQUIER CATÁSTROFE INCIDE FUERTEMENTE EN LA ACTIVIDAD ECONÓMICA Y, POR TANTO, EN EL PRECIO DE LOS PRODUCTOS</a:t>
            </a:r>
            <a:r>
              <a:rPr lang="es-ES" sz="1000" baseline="30000" dirty="0" smtClean="0">
                <a:solidFill>
                  <a:schemeClr val="tx2"/>
                </a:solidFill>
              </a:rPr>
              <a:t>2</a:t>
            </a:r>
            <a:endParaRPr lang="en-GB" sz="1000" kern="0" dirty="0" smtClean="0">
              <a:solidFill>
                <a:srgbClr val="006D9E"/>
              </a:solidFill>
              <a:latin typeface="Arial"/>
            </a:endParaRPr>
          </a:p>
          <a:p>
            <a:pPr lvl="0" algn="ctr">
              <a:defRPr/>
            </a:pPr>
            <a:endParaRPr kumimoji="0" lang="en-GB" sz="1000" i="0" u="none" strike="noStrike" kern="0" cap="none" spc="0" normalizeH="0" baseline="0" dirty="0">
              <a:ln>
                <a:noFill/>
              </a:ln>
              <a:solidFill>
                <a:srgbClr val="006D9E"/>
              </a:solidFill>
              <a:effectLst/>
              <a:uLnTx/>
              <a:uFillTx/>
              <a:latin typeface="Arial"/>
            </a:endParaRPr>
          </a:p>
          <a:p>
            <a:pPr lvl="0" algn="ctr">
              <a:defRPr/>
            </a:pPr>
            <a:endParaRPr kumimoji="0" lang="en-GB" sz="1000" i="0" u="none" strike="noStrike" kern="0" cap="none" spc="0" normalizeH="0" baseline="0" dirty="0" smtClean="0">
              <a:ln>
                <a:noFill/>
              </a:ln>
              <a:solidFill>
                <a:srgbClr val="006D9E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29557" y="3252702"/>
            <a:ext cx="3673657" cy="2371688"/>
          </a:xfrm>
          <a:prstGeom prst="rect">
            <a:avLst/>
          </a:prstGeom>
        </p:spPr>
      </p:pic>
      <p:sp>
        <p:nvSpPr>
          <p:cNvPr id="38" name="Rectangle 37"/>
          <p:cNvSpPr/>
          <p:nvPr/>
        </p:nvSpPr>
        <p:spPr>
          <a:xfrm>
            <a:off x="7949525" y="5625334"/>
            <a:ext cx="3712681" cy="5309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050" dirty="0" smtClean="0">
                <a:solidFill>
                  <a:srgbClr val="333333"/>
                </a:solidFill>
                <a:latin typeface="Open Sans"/>
              </a:rPr>
              <a:t>  </a:t>
            </a:r>
            <a:r>
              <a:rPr lang="es-ES" sz="900" dirty="0" smtClean="0">
                <a:solidFill>
                  <a:srgbClr val="333333"/>
                </a:solidFill>
                <a:latin typeface="Open Sans"/>
              </a:rPr>
              <a:t>Velocidad </a:t>
            </a:r>
            <a:r>
              <a:rPr lang="es-ES" sz="900" dirty="0">
                <a:solidFill>
                  <a:srgbClr val="333333"/>
                </a:solidFill>
                <a:latin typeface="Open Sans"/>
              </a:rPr>
              <a:t>máxima sostenida del viento </a:t>
            </a:r>
            <a:endParaRPr lang="es-ES" sz="900" dirty="0" smtClean="0">
              <a:solidFill>
                <a:srgbClr val="333333"/>
              </a:solidFill>
              <a:latin typeface="Open Sans"/>
            </a:endParaRPr>
          </a:p>
          <a:p>
            <a:r>
              <a:rPr lang="es-ES" sz="900" dirty="0">
                <a:solidFill>
                  <a:srgbClr val="333333"/>
                </a:solidFill>
                <a:latin typeface="Open Sans"/>
              </a:rPr>
              <a:t> </a:t>
            </a:r>
            <a:r>
              <a:rPr lang="es-ES" sz="900" dirty="0" smtClean="0">
                <a:solidFill>
                  <a:srgbClr val="333333"/>
                </a:solidFill>
                <a:latin typeface="Open Sans"/>
              </a:rPr>
              <a:t> Índice </a:t>
            </a:r>
            <a:r>
              <a:rPr lang="es-ES" sz="900" dirty="0">
                <a:solidFill>
                  <a:srgbClr val="333333"/>
                </a:solidFill>
                <a:latin typeface="Open Sans"/>
              </a:rPr>
              <a:t>de huracanes </a:t>
            </a:r>
            <a:endParaRPr lang="es-ES" sz="900" dirty="0" smtClean="0">
              <a:solidFill>
                <a:srgbClr val="333333"/>
              </a:solidFill>
              <a:latin typeface="Open Sans"/>
            </a:endParaRPr>
          </a:p>
          <a:p>
            <a:r>
              <a:rPr lang="es-ES" sz="900" dirty="0">
                <a:solidFill>
                  <a:srgbClr val="333333"/>
                </a:solidFill>
                <a:latin typeface="Open Sans"/>
              </a:rPr>
              <a:t> </a:t>
            </a:r>
            <a:r>
              <a:rPr lang="es-ES" sz="900" dirty="0" smtClean="0">
                <a:solidFill>
                  <a:srgbClr val="333333"/>
                </a:solidFill>
                <a:latin typeface="Open Sans"/>
              </a:rPr>
              <a:t> Índice </a:t>
            </a:r>
            <a:r>
              <a:rPr lang="es-ES" sz="900" dirty="0">
                <a:solidFill>
                  <a:srgbClr val="333333"/>
                </a:solidFill>
                <a:latin typeface="Open Sans"/>
              </a:rPr>
              <a:t>de exposición al </a:t>
            </a:r>
            <a:r>
              <a:rPr lang="es-ES" sz="900" dirty="0" smtClean="0">
                <a:solidFill>
                  <a:srgbClr val="333333"/>
                </a:solidFill>
                <a:latin typeface="Open Sans"/>
              </a:rPr>
              <a:t>viento</a:t>
            </a:r>
            <a:endParaRPr lang="en-US" sz="900" dirty="0"/>
          </a:p>
        </p:txBody>
      </p:sp>
      <p:sp>
        <p:nvSpPr>
          <p:cNvPr id="39" name="Rectangle 38"/>
          <p:cNvSpPr/>
          <p:nvPr/>
        </p:nvSpPr>
        <p:spPr>
          <a:xfrm>
            <a:off x="7978251" y="5699996"/>
            <a:ext cx="72802" cy="76793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7979149" y="5852396"/>
            <a:ext cx="72802" cy="76793"/>
          </a:xfrm>
          <a:prstGeom prst="rect">
            <a:avLst/>
          </a:prstGeom>
          <a:solidFill>
            <a:srgbClr val="FF8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7980047" y="6004796"/>
            <a:ext cx="72802" cy="7679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GB" smtClean="0"/>
              <a:pPr algn="r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91432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Cambio Climático</a:t>
            </a:r>
            <a:r>
              <a:rPr lang="es-ES" dirty="0"/>
              <a:t/>
            </a:r>
            <a:br>
              <a:rPr lang="es-ES" dirty="0"/>
            </a:b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419" dirty="0" smtClean="0"/>
              <a:t>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02457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mbio </a:t>
            </a:r>
            <a:r>
              <a:rPr lang="en-US" dirty="0" err="1" smtClean="0"/>
              <a:t>Climátic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err="1" smtClean="0"/>
              <a:t>Impactos</a:t>
            </a:r>
            <a:r>
              <a:rPr lang="en-US" dirty="0" smtClean="0"/>
              <a:t> </a:t>
            </a:r>
            <a:r>
              <a:rPr lang="en-US" dirty="0"/>
              <a:t>del Cambio </a:t>
            </a:r>
            <a:r>
              <a:rPr lang="en-US" dirty="0" err="1"/>
              <a:t>Climático</a:t>
            </a:r>
            <a:r>
              <a:rPr lang="en-US" dirty="0"/>
              <a:t> </a:t>
            </a:r>
          </a:p>
        </p:txBody>
      </p:sp>
      <p:sp>
        <p:nvSpPr>
          <p:cNvPr id="8" name="Rectangle 7"/>
          <p:cNvSpPr/>
          <p:nvPr/>
        </p:nvSpPr>
        <p:spPr>
          <a:xfrm>
            <a:off x="485775" y="2756973"/>
            <a:ext cx="688894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600" b="1" dirty="0" smtClean="0">
                <a:solidFill>
                  <a:srgbClr val="576825"/>
                </a:solidFill>
                <a:latin typeface="Nunito"/>
              </a:rPr>
              <a:t>Los Efectos del Cambio </a:t>
            </a:r>
            <a:r>
              <a:rPr lang="es-ES" sz="1600" b="1" dirty="0">
                <a:solidFill>
                  <a:srgbClr val="576825"/>
                </a:solidFill>
                <a:latin typeface="Nunito"/>
              </a:rPr>
              <a:t>C</a:t>
            </a:r>
            <a:r>
              <a:rPr lang="es-ES" sz="1600" b="1" dirty="0" smtClean="0">
                <a:solidFill>
                  <a:srgbClr val="576825"/>
                </a:solidFill>
                <a:latin typeface="Nunito"/>
              </a:rPr>
              <a:t>limático en la Severidad de los Huracanes:</a:t>
            </a:r>
          </a:p>
          <a:p>
            <a:endParaRPr lang="es-ES" sz="1600" b="1" dirty="0">
              <a:solidFill>
                <a:srgbClr val="576825"/>
              </a:solidFill>
              <a:latin typeface="Nunito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s-ES" sz="1600" b="1" dirty="0">
                <a:solidFill>
                  <a:srgbClr val="444444"/>
                </a:solidFill>
                <a:latin typeface="Nunito"/>
              </a:rPr>
              <a:t>Los </a:t>
            </a:r>
            <a:r>
              <a:rPr lang="es-ES" sz="1600" b="1" dirty="0" smtClean="0">
                <a:solidFill>
                  <a:srgbClr val="444444"/>
                </a:solidFill>
                <a:latin typeface="Nunito"/>
              </a:rPr>
              <a:t>fortalece</a:t>
            </a:r>
            <a:r>
              <a:rPr lang="es-ES" sz="1600" dirty="0">
                <a:solidFill>
                  <a:srgbClr val="444444"/>
                </a:solidFill>
                <a:latin typeface="Nunito"/>
              </a:rPr>
              <a:t> 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s-ES" sz="1600" b="1" dirty="0">
                <a:solidFill>
                  <a:srgbClr val="444444"/>
                </a:solidFill>
                <a:latin typeface="Nunito"/>
              </a:rPr>
              <a:t>Lluvias </a:t>
            </a:r>
            <a:r>
              <a:rPr lang="es-ES" sz="1600" b="1" dirty="0" smtClean="0">
                <a:solidFill>
                  <a:srgbClr val="444444"/>
                </a:solidFill>
                <a:latin typeface="Nunito"/>
              </a:rPr>
              <a:t>extremas</a:t>
            </a:r>
            <a:r>
              <a:rPr lang="es-ES" sz="1600" dirty="0">
                <a:solidFill>
                  <a:srgbClr val="444444"/>
                </a:solidFill>
                <a:latin typeface="Nunito"/>
              </a:rPr>
              <a:t> </a:t>
            </a:r>
            <a:endParaRPr lang="es-ES" sz="1600" dirty="0" smtClean="0">
              <a:solidFill>
                <a:srgbClr val="444444"/>
              </a:solidFill>
              <a:latin typeface="Nunito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s-ES" sz="1600" b="1" dirty="0" smtClean="0">
                <a:solidFill>
                  <a:srgbClr val="444444"/>
                </a:solidFill>
                <a:latin typeface="Nunito"/>
              </a:rPr>
              <a:t>Tormentas </a:t>
            </a:r>
            <a:r>
              <a:rPr lang="es-ES" sz="1600" b="1" dirty="0">
                <a:solidFill>
                  <a:srgbClr val="444444"/>
                </a:solidFill>
                <a:latin typeface="Nunito"/>
              </a:rPr>
              <a:t>más </a:t>
            </a:r>
            <a:r>
              <a:rPr lang="es-ES" sz="1600" b="1" dirty="0" smtClean="0">
                <a:solidFill>
                  <a:srgbClr val="444444"/>
                </a:solidFill>
                <a:latin typeface="Nunito"/>
              </a:rPr>
              <a:t>fuertes</a:t>
            </a:r>
            <a:r>
              <a:rPr lang="es-ES" sz="1600" dirty="0">
                <a:solidFill>
                  <a:srgbClr val="444444"/>
                </a:solidFill>
                <a:latin typeface="Nunito"/>
              </a:rPr>
              <a:t> </a:t>
            </a:r>
            <a:endParaRPr lang="es-ES" sz="1600" b="0" i="0" dirty="0">
              <a:solidFill>
                <a:srgbClr val="444444"/>
              </a:solidFill>
              <a:effectLst/>
              <a:latin typeface="Nunito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>
          <a:xfrm>
            <a:off x="485776" y="1609724"/>
            <a:ext cx="11223624" cy="933281"/>
          </a:xfrm>
          <a:prstGeom prst="rect">
            <a:avLst/>
          </a:prstGeom>
          <a:solidFill>
            <a:srgbClr val="00AC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es-ES" dirty="0"/>
              <a:t>“Desafortunadamente la ciencia es muy clara: los </a:t>
            </a:r>
            <a:r>
              <a:rPr lang="es-ES" b="1" dirty="0"/>
              <a:t>huracanes</a:t>
            </a:r>
            <a:r>
              <a:rPr lang="es-ES" dirty="0"/>
              <a:t> consiguen su </a:t>
            </a:r>
            <a:r>
              <a:rPr lang="es-ES" b="1" dirty="0"/>
              <a:t>energía destructiva del calor </a:t>
            </a:r>
            <a:r>
              <a:rPr lang="es-ES" dirty="0"/>
              <a:t>del océano, y las temperaturas del agua de la región son muy elevadas</a:t>
            </a:r>
            <a:r>
              <a:rPr lang="es-ES" dirty="0" smtClean="0"/>
              <a:t>” </a:t>
            </a:r>
          </a:p>
          <a:p>
            <a:pPr marL="0" indent="0" algn="ctr">
              <a:buNone/>
            </a:pPr>
            <a:r>
              <a:rPr lang="es-ES" sz="1200" dirty="0" smtClean="0"/>
              <a:t>dijo </a:t>
            </a:r>
            <a:r>
              <a:rPr lang="es-ES" sz="1200" dirty="0" err="1"/>
              <a:t>Anders</a:t>
            </a:r>
            <a:r>
              <a:rPr lang="es-ES" sz="1200" dirty="0"/>
              <a:t> </a:t>
            </a:r>
            <a:r>
              <a:rPr lang="es-ES" sz="1200" dirty="0" err="1"/>
              <a:t>Levermann</a:t>
            </a:r>
            <a:r>
              <a:rPr lang="es-ES" sz="1200" dirty="0"/>
              <a:t>, científico del clima en el Instituto Potsdam para la Investigación del Impacto Climático.</a:t>
            </a:r>
          </a:p>
        </p:txBody>
      </p:sp>
      <p:sp>
        <p:nvSpPr>
          <p:cNvPr id="21" name="Rounded Rectangle 20"/>
          <p:cNvSpPr/>
          <p:nvPr/>
        </p:nvSpPr>
        <p:spPr bwMode="auto">
          <a:xfrm>
            <a:off x="3290043" y="4407480"/>
            <a:ext cx="2303622" cy="1261703"/>
          </a:xfrm>
          <a:prstGeom prst="roundRect">
            <a:avLst>
              <a:gd name="adj" fmla="val 7435"/>
            </a:avLst>
          </a:prstGeom>
          <a:solidFill>
            <a:schemeClr val="accent1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Cambio </a:t>
            </a:r>
            <a:r>
              <a:rPr lang="en-US" dirty="0" err="1" smtClean="0">
                <a:solidFill>
                  <a:schemeClr val="bg1"/>
                </a:solidFill>
              </a:rPr>
              <a:t>Climático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2" name="Rounded Rectangle 21"/>
          <p:cNvSpPr/>
          <p:nvPr/>
        </p:nvSpPr>
        <p:spPr bwMode="auto">
          <a:xfrm>
            <a:off x="6611516" y="3662549"/>
            <a:ext cx="2554128" cy="430223"/>
          </a:xfrm>
          <a:prstGeom prst="roundRect">
            <a:avLst>
              <a:gd name="adj" fmla="val 7435"/>
            </a:avLst>
          </a:prstGeom>
          <a:solidFill>
            <a:srgbClr val="0070C0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Severidad </a:t>
            </a:r>
            <a:r>
              <a:rPr lang="en-US" sz="1600" dirty="0" err="1" smtClean="0">
                <a:solidFill>
                  <a:schemeClr val="bg1"/>
                </a:solidFill>
              </a:rPr>
              <a:t>Huracanes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6611516" y="4412311"/>
            <a:ext cx="2554128" cy="430223"/>
          </a:xfrm>
          <a:prstGeom prst="roundRect">
            <a:avLst>
              <a:gd name="adj" fmla="val 7435"/>
            </a:avLst>
          </a:prstGeom>
          <a:solidFill>
            <a:srgbClr val="0070C0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en-US" sz="1600" dirty="0" err="1" smtClean="0">
                <a:solidFill>
                  <a:schemeClr val="bg1"/>
                </a:solidFill>
              </a:rPr>
              <a:t>Inundación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6611516" y="5162073"/>
            <a:ext cx="2554128" cy="430223"/>
          </a:xfrm>
          <a:prstGeom prst="roundRect">
            <a:avLst>
              <a:gd name="adj" fmla="val 7435"/>
            </a:avLst>
          </a:prstGeom>
          <a:solidFill>
            <a:srgbClr val="0070C0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en-US" sz="1600" dirty="0" err="1" smtClean="0">
                <a:solidFill>
                  <a:schemeClr val="bg1"/>
                </a:solidFill>
              </a:rPr>
              <a:t>Sequía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4" name="Rounded Rectangle 13"/>
          <p:cNvSpPr/>
          <p:nvPr/>
        </p:nvSpPr>
        <p:spPr bwMode="auto">
          <a:xfrm>
            <a:off x="6611516" y="5911835"/>
            <a:ext cx="2554128" cy="430223"/>
          </a:xfrm>
          <a:prstGeom prst="roundRect">
            <a:avLst>
              <a:gd name="adj" fmla="val 7435"/>
            </a:avLst>
          </a:prstGeom>
          <a:solidFill>
            <a:srgbClr val="0070C0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es-ES" sz="1600" dirty="0">
                <a:solidFill>
                  <a:schemeClr val="bg1"/>
                </a:solidFill>
              </a:rPr>
              <a:t>Aumento del Nivel de Mar 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5432298" y="5049571"/>
            <a:ext cx="748794" cy="0"/>
          </a:xfrm>
          <a:prstGeom prst="line">
            <a:avLst/>
          </a:prstGeom>
          <a:ln w="38100">
            <a:solidFill>
              <a:schemeClr val="accent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reeform 15"/>
          <p:cNvSpPr/>
          <p:nvPr/>
        </p:nvSpPr>
        <p:spPr>
          <a:xfrm>
            <a:off x="6243890" y="3662549"/>
            <a:ext cx="193139" cy="2679509"/>
          </a:xfrm>
          <a:custGeom>
            <a:avLst/>
            <a:gdLst>
              <a:gd name="connsiteX0" fmla="*/ 335756 w 338138"/>
              <a:gd name="connsiteY0" fmla="*/ 0 h 1600200"/>
              <a:gd name="connsiteX1" fmla="*/ 0 w 338138"/>
              <a:gd name="connsiteY1" fmla="*/ 0 h 1600200"/>
              <a:gd name="connsiteX2" fmla="*/ 0 w 338138"/>
              <a:gd name="connsiteY2" fmla="*/ 1600200 h 1600200"/>
              <a:gd name="connsiteX3" fmla="*/ 338138 w 338138"/>
              <a:gd name="connsiteY3" fmla="*/ 1600200 h 160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8138" h="1600200">
                <a:moveTo>
                  <a:pt x="335756" y="0"/>
                </a:moveTo>
                <a:lnTo>
                  <a:pt x="0" y="0"/>
                </a:lnTo>
                <a:lnTo>
                  <a:pt x="0" y="1600200"/>
                </a:lnTo>
                <a:lnTo>
                  <a:pt x="338138" y="1600200"/>
                </a:lnTo>
              </a:path>
            </a:pathLst>
          </a:cu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GB" smtClean="0"/>
              <a:pPr algn="r"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15415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82600" y="358774"/>
            <a:ext cx="9240949" cy="5762626"/>
          </a:xfrm>
        </p:spPr>
        <p:txBody>
          <a:bodyPr/>
          <a:lstStyle/>
          <a:p>
            <a:r>
              <a:rPr lang="es-ES" dirty="0"/>
              <a:t>Auge migratorio en México, Centroamérica y República Dominicana: Papel de las Cooperativa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3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2828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85776" y="355601"/>
            <a:ext cx="11586775" cy="495299"/>
          </a:xfrm>
        </p:spPr>
        <p:txBody>
          <a:bodyPr/>
          <a:lstStyle/>
          <a:p>
            <a:r>
              <a:rPr lang="es-ES" sz="2800" dirty="0"/>
              <a:t>Auge migratorio en México, </a:t>
            </a:r>
            <a:r>
              <a:rPr lang="es-ES" sz="2800" dirty="0" smtClean="0"/>
              <a:t>Centroamérica y República </a:t>
            </a:r>
            <a:r>
              <a:rPr lang="es-ES" sz="2800" dirty="0"/>
              <a:t>Dominicana</a:t>
            </a:r>
            <a:br>
              <a:rPr lang="es-ES" sz="2800" dirty="0"/>
            </a:br>
            <a:r>
              <a:rPr lang="es-ES" dirty="0"/>
              <a:t/>
            </a:r>
            <a:br>
              <a:rPr lang="es-ES" dirty="0"/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US" smtClean="0"/>
              <a:pPr algn="r"/>
              <a:t>9</a:t>
            </a:fld>
            <a:endParaRPr lang="en-US" dirty="0"/>
          </a:p>
        </p:txBody>
      </p:sp>
      <p:grpSp>
        <p:nvGrpSpPr>
          <p:cNvPr id="9" name="Group 8"/>
          <p:cNvGrpSpPr/>
          <p:nvPr/>
        </p:nvGrpSpPr>
        <p:grpSpPr>
          <a:xfrm>
            <a:off x="505541" y="1600528"/>
            <a:ext cx="4122180" cy="3570775"/>
            <a:chOff x="2425057" y="1435608"/>
            <a:chExt cx="3239277" cy="4185796"/>
          </a:xfrm>
          <a:solidFill>
            <a:schemeClr val="accent1"/>
          </a:solidFill>
        </p:grpSpPr>
        <p:sp>
          <p:nvSpPr>
            <p:cNvPr id="10" name="Rectangle 9"/>
            <p:cNvSpPr/>
            <p:nvPr/>
          </p:nvSpPr>
          <p:spPr>
            <a:xfrm>
              <a:off x="2425057" y="1435608"/>
              <a:ext cx="3111500" cy="418579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Isosceles Triangle 10"/>
            <p:cNvSpPr/>
            <p:nvPr/>
          </p:nvSpPr>
          <p:spPr>
            <a:xfrm rot="5400000">
              <a:off x="5475711" y="3407030"/>
              <a:ext cx="249560" cy="127687"/>
            </a:xfrm>
            <a:prstGeom prst="triangl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aphicFrame>
        <p:nvGraphicFramePr>
          <p:cNvPr id="25" name="Table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83448"/>
              </p:ext>
            </p:extLst>
          </p:nvPr>
        </p:nvGraphicFramePr>
        <p:xfrm>
          <a:off x="5100007" y="2024657"/>
          <a:ext cx="6657447" cy="2722515"/>
        </p:xfrm>
        <a:graphic>
          <a:graphicData uri="http://schemas.openxmlformats.org/drawingml/2006/table">
            <a:tbl>
              <a:tblPr firstRow="1" bandRow="1"/>
              <a:tblGrid>
                <a:gridCol w="380214">
                  <a:extLst>
                    <a:ext uri="{9D8B030D-6E8A-4147-A177-3AD203B41FA5}">
                      <a16:colId xmlns:a16="http://schemas.microsoft.com/office/drawing/2014/main" val="2243605504"/>
                    </a:ext>
                  </a:extLst>
                </a:gridCol>
                <a:gridCol w="6277233">
                  <a:extLst>
                    <a:ext uri="{9D8B030D-6E8A-4147-A177-3AD203B41FA5}">
                      <a16:colId xmlns:a16="http://schemas.microsoft.com/office/drawing/2014/main" val="2593177168"/>
                    </a:ext>
                  </a:extLst>
                </a:gridCol>
              </a:tblGrid>
              <a:tr h="907505">
                <a:tc>
                  <a:txBody>
                    <a:bodyPr/>
                    <a:lstStyle/>
                    <a:p>
                      <a:pPr marL="457200" indent="-457200">
                        <a:buFont typeface="Wingdings" panose="05000000000000000000" pitchFamily="2" charset="2"/>
                        <a:buChar char="§"/>
                      </a:pPr>
                      <a:r>
                        <a:rPr lang="es-419" sz="3000" b="0" dirty="0" smtClean="0">
                          <a:solidFill>
                            <a:schemeClr val="accent2"/>
                          </a:solidFill>
                        </a:rPr>
                        <a:t> </a:t>
                      </a:r>
                      <a:endParaRPr lang="en-US" sz="3000" b="0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DAD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600" b="0" dirty="0" smtClean="0">
                          <a:solidFill>
                            <a:schemeClr val="tx1"/>
                          </a:solidFill>
                        </a:rPr>
                        <a:t>Muy especialmente</a:t>
                      </a:r>
                      <a:r>
                        <a:rPr lang="es-ES" sz="1600" b="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s-ES" sz="1600" b="1" dirty="0" smtClean="0">
                          <a:solidFill>
                            <a:schemeClr val="tx1"/>
                          </a:solidFill>
                        </a:rPr>
                        <a:t>México, Centroamérica y República Dominicana </a:t>
                      </a:r>
                      <a:r>
                        <a:rPr lang="es-ES" sz="1600" b="0" dirty="0" smtClean="0">
                          <a:solidFill>
                            <a:schemeClr val="tx1"/>
                          </a:solidFill>
                        </a:rPr>
                        <a:t>podrían contar con</a:t>
                      </a:r>
                      <a:r>
                        <a:rPr lang="es-ES" sz="1600" b="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s-ES" sz="1600" b="1" dirty="0" smtClean="0">
                          <a:solidFill>
                            <a:schemeClr val="tx1"/>
                          </a:solidFill>
                        </a:rPr>
                        <a:t>3.9 millones </a:t>
                      </a:r>
                      <a:r>
                        <a:rPr lang="es-ES" sz="1600" b="0" dirty="0" smtClean="0">
                          <a:solidFill>
                            <a:schemeClr val="tx1"/>
                          </a:solidFill>
                        </a:rPr>
                        <a:t>de ciudadanos migrantes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DAD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0021636"/>
                  </a:ext>
                </a:extLst>
              </a:tr>
              <a:tr h="907505">
                <a:tc>
                  <a:txBody>
                    <a:bodyPr/>
                    <a:lstStyle/>
                    <a:p>
                      <a:pPr marL="457200" indent="-457200">
                        <a:buFont typeface="Wingdings" panose="05000000000000000000" pitchFamily="2" charset="2"/>
                        <a:buChar char="§"/>
                      </a:pPr>
                      <a:r>
                        <a:rPr lang="es-419" sz="3000" b="0" dirty="0" smtClean="0">
                          <a:solidFill>
                            <a:schemeClr val="accent2"/>
                          </a:solidFill>
                        </a:rPr>
                        <a:t> </a:t>
                      </a:r>
                      <a:endParaRPr lang="en-US" sz="3000" b="0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DAD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DAD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600" b="0" dirty="0" smtClean="0">
                          <a:solidFill>
                            <a:schemeClr val="tx1"/>
                          </a:solidFill>
                        </a:rPr>
                        <a:t>En buena parte, los migrantes centroamericanos </a:t>
                      </a:r>
                      <a:r>
                        <a:rPr lang="es-ES" sz="1600" b="1" dirty="0" smtClean="0">
                          <a:solidFill>
                            <a:schemeClr val="tx1"/>
                          </a:solidFill>
                        </a:rPr>
                        <a:t>son jóvenes de alto potencial</a:t>
                      </a:r>
                      <a:r>
                        <a:rPr lang="es-ES" sz="1600" b="0" dirty="0" smtClean="0">
                          <a:solidFill>
                            <a:schemeClr val="tx1"/>
                          </a:solidFill>
                        </a:rPr>
                        <a:t>, que juegan un rol clave en el desarrollo de sus países de origen y destino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DAD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DAD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2960809"/>
                  </a:ext>
                </a:extLst>
              </a:tr>
              <a:tr h="907505">
                <a:tc>
                  <a:txBody>
                    <a:bodyPr/>
                    <a:lstStyle/>
                    <a:p>
                      <a:pPr marL="457200" indent="-457200">
                        <a:buFont typeface="Wingdings" panose="05000000000000000000" pitchFamily="2" charset="2"/>
                        <a:buChar char="§"/>
                      </a:pPr>
                      <a:r>
                        <a:rPr lang="es-419" sz="3000" b="0" dirty="0" smtClean="0">
                          <a:solidFill>
                            <a:schemeClr val="accent2"/>
                          </a:solidFill>
                        </a:rPr>
                        <a:t> </a:t>
                      </a:r>
                      <a:endParaRPr lang="en-US" sz="3000" b="0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DAD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DAD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600" b="0" dirty="0" smtClean="0">
                          <a:solidFill>
                            <a:schemeClr val="tx1"/>
                          </a:solidFill>
                        </a:rPr>
                        <a:t>Los </a:t>
                      </a:r>
                      <a:r>
                        <a:rPr lang="es-ES" sz="1600" b="1" dirty="0" smtClean="0">
                          <a:solidFill>
                            <a:schemeClr val="tx1"/>
                          </a:solidFill>
                        </a:rPr>
                        <a:t>beneficios </a:t>
                      </a:r>
                      <a:r>
                        <a:rPr lang="es-ES" sz="1600" b="0" dirty="0" smtClean="0">
                          <a:solidFill>
                            <a:schemeClr val="tx1"/>
                          </a:solidFill>
                        </a:rPr>
                        <a:t>generados por este dividendo demográfico están </a:t>
                      </a:r>
                      <a:r>
                        <a:rPr lang="es-ES" sz="1600" b="1" dirty="0" smtClean="0">
                          <a:solidFill>
                            <a:schemeClr val="tx1"/>
                          </a:solidFill>
                        </a:rPr>
                        <a:t>siendo disfrutados por los países de destino</a:t>
                      </a:r>
                      <a:r>
                        <a:rPr lang="es-ES" sz="1600" b="0" dirty="0" smtClean="0">
                          <a:solidFill>
                            <a:schemeClr val="tx1"/>
                          </a:solidFill>
                        </a:rPr>
                        <a:t>, en particular por Estados Unidos. 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DAD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DAD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3325542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669759" y="2921252"/>
            <a:ext cx="363114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ES" b="1" dirty="0" smtClean="0">
                <a:solidFill>
                  <a:schemeClr val="bg1"/>
                </a:solidFill>
              </a:rPr>
              <a:t>Se </a:t>
            </a:r>
            <a:r>
              <a:rPr lang="es-ES" b="1" dirty="0">
                <a:solidFill>
                  <a:schemeClr val="bg1"/>
                </a:solidFill>
              </a:rPr>
              <a:t>estima </a:t>
            </a:r>
            <a:r>
              <a:rPr lang="es-ES" b="1" dirty="0" smtClean="0">
                <a:solidFill>
                  <a:schemeClr val="bg1"/>
                </a:solidFill>
              </a:rPr>
              <a:t>que </a:t>
            </a:r>
            <a:r>
              <a:rPr lang="es-ES" b="1" dirty="0">
                <a:solidFill>
                  <a:schemeClr val="bg1"/>
                </a:solidFill>
              </a:rPr>
              <a:t>para 2050, hasta 17 millones de personas tendrán que migrar en América Latina</a:t>
            </a:r>
            <a:endParaRPr lang="en-US" b="1" dirty="0" err="1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587" y="5645029"/>
            <a:ext cx="12192000" cy="605479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Por ejemplo, los migrantes centroamericanos que llegaron a los Estados Unidos recientemente tienen en promedio 26 años, y el 70 % alcanzó al menos un nivel de educación secundaria.</a:t>
            </a:r>
            <a:endParaRPr lang="es-419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485775" y="806400"/>
            <a:ext cx="11225025" cy="320400"/>
          </a:xfrm>
        </p:spPr>
        <p:txBody>
          <a:bodyPr/>
          <a:lstStyle/>
          <a:p>
            <a:r>
              <a:rPr lang="en-US" dirty="0" err="1" smtClean="0"/>
              <a:t>Datos</a:t>
            </a:r>
            <a:r>
              <a:rPr lang="en-US" dirty="0" smtClean="0"/>
              <a:t> </a:t>
            </a:r>
            <a:r>
              <a:rPr lang="en-US" dirty="0" err="1" smtClean="0"/>
              <a:t>Principales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8806074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rsh McLennan">
  <a:themeElements>
    <a:clrScheme name="MMC">
      <a:dk1>
        <a:srgbClr val="202020"/>
      </a:dk1>
      <a:lt1>
        <a:srgbClr val="FFFFFF"/>
      </a:lt1>
      <a:dk2>
        <a:srgbClr val="565656"/>
      </a:dk2>
      <a:lt2>
        <a:srgbClr val="F0F0F0"/>
      </a:lt2>
      <a:accent1>
        <a:srgbClr val="002C77"/>
      </a:accent1>
      <a:accent2>
        <a:srgbClr val="009DE0"/>
      </a:accent2>
      <a:accent3>
        <a:srgbClr val="00AC41"/>
      </a:accent3>
      <a:accent4>
        <a:srgbClr val="76D3FF"/>
      </a:accent4>
      <a:accent5>
        <a:srgbClr val="949494"/>
      </a:accent5>
      <a:accent6>
        <a:srgbClr val="8096B2"/>
      </a:accent6>
      <a:hlink>
        <a:srgbClr val="2C6EF2"/>
      </a:hlink>
      <a:folHlink>
        <a:srgbClr val="8246A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2C77"/>
        </a:solidFill>
        <a:ln>
          <a:noFill/>
        </a:ln>
        <a:effectLst/>
      </a:spPr>
      <a:bodyPr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/>
        </a:defPPr>
      </a:lstStyle>
    </a:txDef>
  </a:objectDefaults>
  <a:extraClrSchemeLst/>
  <a:custClrLst>
    <a:custClr name="Dark blue">
      <a:srgbClr val="002C77"/>
    </a:custClr>
    <a:custClr name="Blue">
      <a:srgbClr val="009DE0"/>
    </a:custClr>
    <a:custClr name="Light blue">
      <a:srgbClr val="76D3FF"/>
    </a:custClr>
    <a:custClr name="Dark teal">
      <a:srgbClr val="004C6C"/>
    </a:custClr>
    <a:custClr name="Teal">
      <a:srgbClr val="0077A0"/>
    </a:custClr>
    <a:custClr name="Light teal">
      <a:srgbClr val="9CD9E4"/>
    </a:custClr>
    <a:custClr name="Dark turquoise">
      <a:srgbClr val="005E5D"/>
    </a:custClr>
    <a:custClr name="Turquoise">
      <a:srgbClr val="00968F"/>
    </a:custClr>
    <a:custClr name="Light turquoise">
      <a:srgbClr val="98DBCE"/>
    </a:custClr>
    <a:custClr name="White">
      <a:srgbClr val="FFFFFF"/>
    </a:custClr>
    <a:custClr name="Dark green">
      <a:srgbClr val="275D38"/>
    </a:custClr>
    <a:custClr name="Green">
      <a:srgbClr val="00AC41"/>
    </a:custClr>
    <a:custClr name="Light green">
      <a:srgbClr val="ADDFB3"/>
    </a:custClr>
    <a:custClr name="Dark purple">
      <a:srgbClr val="463282"/>
    </a:custClr>
    <a:custClr name="Purple">
      <a:srgbClr val="8246AF"/>
    </a:custClr>
    <a:custClr name="Light purple">
      <a:srgbClr val="CCB3E0"/>
    </a:custClr>
    <a:custClr name="Dark pink">
      <a:srgbClr val="B2025B"/>
    </a:custClr>
    <a:custClr name="Pink">
      <a:srgbClr val="EE3D8B"/>
    </a:custClr>
    <a:custClr name="Light pink">
      <a:srgbClr val="F8ACBE"/>
    </a:custClr>
    <a:custClr name="White">
      <a:srgbClr val="FFFFFF"/>
    </a:custClr>
    <a:custClr name="Dark crimson">
      <a:srgbClr val="9A1C1F"/>
    </a:custClr>
    <a:custClr name="Crimson">
      <a:srgbClr val="EF4E45"/>
    </a:custClr>
    <a:custClr name="Light crimson">
      <a:srgbClr val="FFAEA6"/>
    </a:custClr>
    <a:custClr name="Dark orange">
      <a:srgbClr val="A32E00"/>
    </a:custClr>
    <a:custClr name="Orange">
      <a:srgbClr val="FF8C00"/>
    </a:custClr>
    <a:custClr name="Light orange">
      <a:srgbClr val="FFCA94"/>
    </a:custClr>
    <a:custClr name="Dark yellow">
      <a:srgbClr val="965D00"/>
    </a:custClr>
    <a:custClr name="Yellow">
      <a:srgbClr val="FFBE00"/>
    </a:custClr>
    <a:custClr name="Light yellow">
      <a:srgbClr val="FFE580"/>
    </a:custClr>
    <a:custClr name="White">
      <a:srgbClr val="FFFFFF"/>
    </a:custClr>
    <a:custClr name="Dark blue gray">
      <a:srgbClr val="4E6287"/>
    </a:custClr>
    <a:custClr name="Blue gray">
      <a:srgbClr val="8096B2"/>
    </a:custClr>
    <a:custClr name="Light blue gray">
      <a:srgbClr val="BED3E4"/>
    </a:custClr>
    <a:custClr name="Dark gray">
      <a:srgbClr val="565656"/>
    </a:custClr>
    <a:custClr name="Gray">
      <a:srgbClr val="949494"/>
    </a:custClr>
    <a:custClr name="Light gray">
      <a:srgbClr val="DADADA"/>
    </a:custClr>
    <a:custClr name="Background gray">
      <a:srgbClr val="F0F0F0"/>
    </a:custClr>
    <a:custClr name="Link blue">
      <a:srgbClr val="2C6EF2"/>
    </a:custClr>
    <a:custClr name="Warning red">
      <a:srgbClr val="C53532"/>
    </a:custClr>
    <a:custClr name="Success green">
      <a:srgbClr val="14853D"/>
    </a:custClr>
  </a:custClrLst>
  <a:extLst>
    <a:ext uri="{05A4C25C-085E-4340-85A3-A5531E510DB2}">
      <thm15:themeFamily xmlns:thm15="http://schemas.microsoft.com/office/thememl/2012/main" name="MMC2021.Classic16x9.potx" id="{1E02728C-430E-40A4-A88D-63B5E0DB2EC5}" vid="{FBCF0A22-C69C-40BB-B44A-F70827371A1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2.xml"/></Relationships>
</file>

<file path=customXml/_rels/item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3.xml"/></Relationships>
</file>

<file path=customXml/_rels/item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4.xml"/></Relationships>
</file>

<file path=customXml/_rels/item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5.xml"/></Relationships>
</file>

<file path=customXml/_rels/item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6.xml"/></Relationships>
</file>

<file path=customXml/_rels/item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7.xml"/></Relationships>
</file>

<file path=customXml/_rels/item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8.xml"/></Relationships>
</file>

<file path=customXml/_rels/item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9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0.xml"/></Relationships>
</file>

<file path=customXml/_rels/item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1.xml"/></Relationships>
</file>

<file path=customXml/_rels/item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2.xml"/></Relationships>
</file>

<file path=customXml/_rels/item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3.xml"/></Relationships>
</file>

<file path=customXml/_rels/item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4.xml"/></Relationships>
</file>

<file path=customXml/_rels/item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5.xml"/></Relationships>
</file>

<file path=customXml/_rels/item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6.xml"/></Relationships>
</file>

<file path=customXml/_rels/item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7.xml"/></Relationships>
</file>

<file path=customXml/_rels/item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8.xml"/></Relationships>
</file>

<file path=customXml/_rels/item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9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0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S u b t i t l e < / P r e s e n t a t i o n O b j e c t T a g >  
     < P r e s e n t a t i o n O b j e c t T a g   T a g N a m e = " M M C 0 9 _ P L A C E H O L D E R T E X T " > [ M M C 2 0 2 1 P P T e m p l a t e . P l a c e h o l d e r S l i d e S u b T i t l e ] < / P r e s e n t a t i o n O b j e c t T a g >  
 < / M M C O A _ O b j e c t T a g s > 
</file>

<file path=customXml/item10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[ M M C 2 0 2 1 P P T e m p l a t e . F i r s t S l i d e W o r d i n g ] < / P r e s e n t a t i o n O b j e c t T a g >  
     < P r e s e n t a t i o n O b j e c t T a g   T a g N a m e = " M M C 0 9 _ S E T I N D E N T L E V E L S " > & g t ; < / P r e s e n t a t i o n O b j e c t T a g >  
 < / M M C O A _ O b j e c t T a g s > 
</file>

<file path=customXml/item11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12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O A _ S A M P L E S L I D E _ I D " > b a 7 9 0 8 f 9 - e 2 f 5 - 4 3 7 b - 8 e d 9 - 9 3 4 5 5 a 8 a 3 3 1 1 < / P r e s e n t a t i o n O b j e c t T a g >  
 < / M M C O A _ O b j e c t T a g s > 
</file>

<file path=customXml/item13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14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/ > 
</file>

<file path=customXml/item15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T e x t < / P r e s e n t a t i o n O b j e c t T a g >  
     < P r e s e n t a t i o n O b j e c t T a g   T a g N a m e = " M M C 0 9 _ P O P U L A T E T E X T " > { B r a n d E x t r a W o r d i n g 1 } < / P r e s e n t a t i o n O b j e c t T a g >  
 < / M M C O A _ O b j e c t T a g s > 
</file>

<file path=customXml/item16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T i t l e ] < / P r e s e n t a t i o n O b j e c t T a g >  
 < / M M C O A _ O b j e c t T a g s > 
</file>

<file path=customXml/item17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T a g l i n e < / P r e s e n t a t i o n O b j e c t T a g >  
     < P r e s e n t a t i o n O b j e c t T a g   T a g N a m e = " M M C 0 9 _ P O P U L A T E T E X T " > { T a g l i n e E x t r a W o r d i n g } < / P r e s e n t a t i o n O b j e c t T a g >  
 < / M M C O A _ O b j e c t T a g s > 
</file>

<file path=customXml/item18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[ M M C 2 0 2 1 P P T e m p l a t e . F i r s t S l i d e W o r d i n g ] < / P r e s e n t a t i o n O b j e c t T a g >  
     < P r e s e n t a t i o n O b j e c t T a g   T a g N a m e = " M M C 0 9 _ S E T I N D E N T L E V E L S " > & g t ; < / P r e s e n t a t i o n O b j e c t T a g >  
 < / M M C O A _ O b j e c t T a g s > 
</file>

<file path=customXml/item19.xml>��< ? x m l   v e r s i o n = " 1 . 0 "   e n c o d i n g = " u t f - 1 6 " ? > < M M C O A _ O b j e c t T a g s   x m l n s : x s d = " h t t p : / / w w w . w 3 . o r g / 2 0 0 1 / X M L S c h e m a "   x m l n s : x s i = " h t t p : / / w w w . w 3 . o r g / 2 0 0 1 / X M L S c h e m a - i n s t a n c e " >  
     < P r e s e n t a t i o n O b j e c t T a g   T a g N a m e = " M M C 0 9 _ L A Y O U T " > F r o n t C o v e r < / P r e s e n t a t i o n O b j e c t T a g >  
     < P r e s e n t a t i o n O b j e c t T a g   T a g N a m e = " M M C 0 9 _ B A C K G R O U N D S T Y L E " > F r o n t C o v e r < / P r e s e n t a t i o n O b j e c t T a g >  
     < P r e s e n t a t i o n O b j e c t T a g   T a g N a m e = " M M C 0 9 _ A D D L O G O S " > C o v e r M a i n L o g o , F r o n t L o g o , 3 8 . 2 7 , 2 7 . 2 1 < / P r e s e n t a t i o n O b j e c t T a g >  
     < P r e s e n t a t i o n O b j e c t T a g   T a g N a m e = " M M C O A _ B A C K G R O U N D _ L O G O _ O P T I O N " > C O L O U R < / P r e s e n t a t i o n O b j e c t T a g >  
     < P r e s e n t a t i o n O b j e c t T a g   T a g N a m e = " M M C O A _ B A C K G R O U N D _ D I G E S T " > f u l l i m a g e ; D A R K < / P r e s e n t a t i o n O b j e c t T a g >  
     < P r e s e n t a t i o n O b j e c t T a g   T a g N a m e = " M M C O A _ F U L L I M A G E _ I D " > f 9 7 e 7 b 1 0 - 8 8 3 2 - 4 7 2 f - b b 8 6 - 0 0 6 d 8 a c 4 2 f 8 7 < / P r e s e n t a t i o n O b j e c t T a g >  
     < P r e s e n t a t i o n O b j e c t T a g   T a g N a m e = " M M C O A _ S I L H O U E T T E _ I D " / >  
 < / M M C O A _ O b j e c t T a g s > 
</file>

<file path=customXml/item2.xml>��< ? x m l   v e r s i o n = " 1 . 0 "   e n c o d i n g = " u t f - 1 6 " ? > < M M C O A _ O b j e c t T a g s   x m l n s : x s d = " h t t p : / / w w w . w 3 . o r g / 2 0 0 1 / X M L S c h e m a "   x m l n s : x s i = " h t t p : / / w w w . w 3 . o r g / 2 0 0 1 / X M L S c h e m a - i n s t a n c e " >  
     < P r e s e n t a t i o n O b j e c t T a g   T a g N a m e = " M M C 0 9 _ L A Y O U T " > B a c k C o v e r < / P r e s e n t a t i o n O b j e c t T a g >  
     < P r e s e n t a t i o n O b j e c t T a g   T a g N a m e = " M M C 0 9 _ B A C K G R O U N D S T Y L E " > B a c k C o v e r < / P r e s e n t a t i o n O b j e c t T a g >  
     < P r e s e n t a t i o n O b j e c t T a g   T a g N a m e = " M M C 0 9 _ A D D L O G O S " > M a i n B a c k L o g o , F r o n t L o g o , 3 8 . 2 7 , 2 7 . 2 1 < / P r e s e n t a t i o n O b j e c t T a g >  
     < P r e s e n t a t i o n O b j e c t T a g   T a g N a m e = " M M C O A _ B A C K G R O U N D _ D I G E S T " > g r a d ; s i m p l e - d a r k - t u r q u o i s e < / P r e s e n t a t i o n O b j e c t T a g >  
     < P r e s e n t a t i o n O b j e c t T a g   T a g N a m e = " M M C O A _ B A C K G R O U N D _ L O G O _ O P T I O N " > W H I T E < / P r e s e n t a t i o n O b j e c t T a g >  
 < / M M C O A _ O b j e c t T a g s > 
</file>

<file path=customXml/item20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P l a c e h o l d e r   f o r   t h i r d   p a r t y   o r   c l i e n t   l o g o < / P r e s e n t a t i o n O b j e c t T a g >  
     < P r e s e n t a t i o n O b j e c t T a g   T a g N a m e = " M M C 0 9 _ B R A N D F O N T S T Y L E " > C o v e r T e x t < / P r e s e n t a t i o n O b j e c t T a g >  
     < P r e s e n t a t i o n O b j e c t T a g   T a g N a m e = " M M C 0 9 _ P L A C E H O L D E R T E X T " > [ M M C 2 0 2 1 P P T e m p l a t e . P l a c e h o l d e r C l i e n t ] < / P r e s e n t a t i o n O b j e c t T a g >  
 < / M M C O A _ O b j e c t T a g s > 
</file>

<file path=customXml/item21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T e x t < / P r e s e n t a t i o n O b j e c t T a g >  
     < P r e s e n t a t i o n O b j e c t T a g   T a g N a m e = " M M C 0 9 _ P O P U L A T E T E X T " > { L e g a l F r o n t } < / P r e s e n t a t i o n O b j e c t T a g >  
 < / M M C O A _ O b j e c t T a g s > 
</file>

<file path=customXml/item22.xml>��< ? x m l   v e r s i o n = " 1 . 0 "   e n c o d i n g = " u t f - 1 6 " ? > < M M C O A _ O b j e c t T a g s   x m l n s : x s d = " h t t p : / / w w w . w 3 . o r g / 2 0 0 1 / X M L S c h e m a "   x m l n s : x s i = " h t t p : / / w w w . w 3 . o r g / 2 0 0 1 / X M L S c h e m a - i n s t a n c e " >  
     < P r e s e n t a t i o n O b j e c t T a g   T a g N a m e = " M M C 0 9 _ S L I D E T Y P E " > A g e n d a < / P r e s e n t a t i o n O b j e c t T a g >  
     < P r e s e n t a t i o n O b j e c t T a g   T a g N a m e = " M M C 0 9 _ D I S P L Y M A S T E R S H A P E S " > N < / P r e s e n t a t i o n O b j e c t T a g >  
     < P r e s e n t a t i o n O b j e c t T a g   T a g N a m e = " M M C 0 9 _ F O L L O W M A S T E R B A C K G R O U N D " > N < / P r e s e n t a t i o n O b j e c t T a g >  
     < P r e s e n t a t i o n O b j e c t T a g   T a g N a m e = " M M C 0 9 _ B A C K G R O U N D S T Y L E " > A g e n d a < / P r e s e n t a t i o n O b j e c t T a g >  
     < P r e s e n t a t i o n O b j e c t T a g   T a g N a m e = " M M C 0 9 _ L A Y O U T " > A g e n d a < / P r e s e n t a t i o n O b j e c t T a g >  
     < P r e s e n t a t i o n O b j e c t T a g   T a g N a m e = " M M C O A _ B A C K G R O U N D _ D I G E S T " > g r a d ; s i m p l e - d a r k - t u r q u o i s e < / P r e s e n t a t i o n O b j e c t T a g >  
     < P r e s e n t a t i o n O b j e c t T a g   T a g N a m e = " M M C O A _ B A C K G R O U N D _ L O G O _ O P T I O N " > W H I T E < / P r e s e n t a t i o n O b j e c t T a g >  
 < / M M C O A _ O b j e c t T a g s > 
</file>

<file path=customXml/item23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24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T i t l e ] < / P r e s e n t a t i o n O b j e c t T a g >  
 < / M M C O A _ O b j e c t T a g s > 
</file>

<file path=customXml/item25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T i t l e ] < / P r e s e n t a t i o n O b j e c t T a g >  
 < / M M C O A _ O b j e c t T a g s > 
</file>

<file path=customXml/item26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S u b t i t l e < / P r e s e n t a t i o n O b j e c t T a g >  
     < P r e s e n t a t i o n O b j e c t T a g   T a g N a m e = " M M C 0 9 _ P L A C E H O L D E R T E X T " > [ M M C 2 0 2 1 P P T e m p l a t e . P l a c e h o l d e r S l i d e S u b T i t l e ] < / P r e s e n t a t i o n O b j e c t T a g >  
 < / M M C O A _ O b j e c t T a g s > 
</file>

<file path=customXml/item27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T i t l e ] < / P r e s e n t a t i o n O b j e c t T a g >  
 < / M M C O A _ O b j e c t T a g s > 
</file>

<file path=customXml/item28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T i t l e } < / P r e s e n t a t i o n O b j e c t T a g >  
 < / M M C O A _ O b j e c t T a g s > 
</file>

<file path=customXml/item29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T e x t < / P r e s e n t a t i o n O b j e c t T a g >  
 < / M M C O A _ O b j e c t T a g s > 
</file>

<file path=customXml/item3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C l i e n t N a m e } < / P r e s e n t a t i o n O b j e c t T a g >  
     < P r e s e n t a t i o n O b j e c t T a g   T a g N a m e = " M M C 0 9 _ B R A N D F O N T S T Y L E " > C o v e r T e x t < / P r e s e n t a t i o n O b j e c t T a g >  
     < P r e s e n t a t i o n O b j e c t T a g   T a g N a m e = " M M C 0 9 _ S H O W H I D E C R I T E R I A " > C L I E N T _ N A M E < / P r e s e n t a t i o n O b j e c t T a g >  
 < / M M C O A _ O b j e c t T a g s > 
</file>

<file path=customXml/item30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P r e s e n t e r C o v e r T e x t B l o c k } < / P r e s e n t a t i o n O b j e c t T a g >  
 < / M M C O A _ O b j e c t T a g s > 
</file>

<file path=customXml/item31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H e a d i n g 1 < / P r e s e n t a t i o n O b j e c t T a g >  
     < P r e s e n t a t i o n O b j e c t T a g   T a g N a m e = " M M C 0 9 _ F O N T S I Z E _ L " > 1 2 0 < / P r e s e n t a t i o n O b j e c t T a g >  
     < P r e s e n t a t i o n O b j e c t T a g   T a g N a m e = " M M C 0 9 _ F O N T S I Z E _ M " > 6 0 < / P r e s e n t a t i o n O b j e c t T a g >  
     < P r e s e n t a t i o n O b j e c t T a g   T a g N a m e = " M M C 0 9 _ F O N T S I Z E _ S " > 4 8 < / P r e s e n t a t i o n O b j e c t T a g >  
     < P r e s e n t a t i o n O b j e c t T a g   T a g N a m e = " M M C 0 9 _ S H A P E X Y W H _ L " > 3 2 . 6 ; 1 5 0 . 4 8 ; 7 3 7 ; 1 3 5 < / P r e s e n t a t i o n O b j e c t T a g >  
     < P r e s e n t a t i o n O b j e c t T a g   T a g N a m e = " M M C 0 9 _ S H A P E X Y W H _ M " > 3 5 . 4 3 ; 1 5 0 . 2 3 ; 7 3 7 ; 1 2 6 . 1 4 < / P r e s e n t a t i o n O b j e c t T a g >  
     < P r e s e n t a t i o n O b j e c t T a g   T a g N a m e = " M M C 0 9 _ S H A P E X Y W H _ S " > 3 5 . 4 3 ; 1 5 0 . 2 3 ; 7 3 7 ; 1 2 6 . 1 4 < / P r e s e n t a t i o n O b j e c t T a g >  
     < P r e s e n t a t i o n O b j e c t T a g   T a g N a m e = " M M C 0 9 _ P L A C E H O L D E R T E X T " > [ M M C 2 0 2 1 P P T e m p l a t e . P l a c e h o l d e r H 1 ] < / P r e s e n t a t i o n O b j e c t T a g >  
 < / M M C O A _ O b j e c t T a g s > 
</file>

<file path=customXml/item32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[ M M C 2 0 2 1 P P T e m p l a t e . P l a c e h o l d e r C l i e n t ] < / P r e s e n t a t i o n O b j e c t T a g >  
     < P r e s e n t a t i o n O b j e c t T a g   T a g N a m e = " M M C 0 9 _ S H O W H I D E C R I T E R I A " > C L I E N T _ L O G O < / P r e s e n t a t i o n O b j e c t T a g >  
 < / M M C O A _ O b j e c t T a g s > 
</file>

<file path=customXml/item33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H e a d i n g 2 < / P r e s e n t a t i o n O b j e c t T a g >  
     < P r e s e n t a t i o n O b j e c t T a g   T a g N a m e = " M M C 0 9 _ F O N T S I Z E _ L " > 2 4 < / P r e s e n t a t i o n O b j e c t T a g >  
     < P r e s e n t a t i o n O b j e c t T a g   T a g N a m e = " M M C 0 9 _ F O N T S I Z E _ M " > 2 4 < / P r e s e n t a t i o n O b j e c t T a g >  
     < P r e s e n t a t i o n O b j e c t T a g   T a g N a m e = " M M C 0 9 _ F O N T S I Z E _ S " > 2 4 < / P r e s e n t a t i o n O b j e c t T a g >  
     < P r e s e n t a t i o n O b j e c t T a g   T a g N a m e = " M M C 0 9 _ S H A P E X Y W H _ L " > 3 6 . 8 5 ; 2 8 2 . 2 4 ; 7 3 2 . 7 5 ; 2 9 . 7 6 < / P r e s e n t a t i o n O b j e c t T a g >  
     < P r e s e n t a t i o n O b j e c t T a g   T a g N a m e = " M M C 0 9 _ S H A P E X Y W H _ M " > 3 6 . 8 5 ; 2 9 1 . 9 7 ; 7 3 4 . 1 7 ; 6 2 . 3 6 < / P r e s e n t a t i o n O b j e c t T a g >  
     < P r e s e n t a t i o n O b j e c t T a g   T a g N a m e = " M M C 0 9 _ S H A P E X Y W H _ S " > 3 6 . 8 5 ; 2 6 7 . 8 7 ; 7 3 5 . 5 9 ; 6 2 . 3 6 < / P r e s e n t a t i o n O b j e c t T a g >  
     < P r e s e n t a t i o n O b j e c t T a g   T a g N a m e = " M M C 0 9 _ P L A C E H O L D E R T E X T " > [ M M C 2 0 2 1 P P T e m p l a t e . P l a c e h o l d e r H 2 ] < / P r e s e n t a t i o n O b j e c t T a g >  
 < / M M C O A _ O b j e c t T a g s > 
</file>

<file path=customXml/item34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[ M M C 2 0 2 1 P P T e m p l a t e . F i r s t S l i d e W o r d i n g ] < / P r e s e n t a t i o n O b j e c t T a g >  
     < P r e s e n t a t i o n O b j e c t T a g   T a g N a m e = " M M C 0 9 _ S E T I N D E N T L E V E L S " > & g t ; < / P r e s e n t a t i o n O b j e c t T a g >  
 < / M M C O A _ O b j e c t T a g s > 
</file>

<file path=customXml/item35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O A _ F I L E R E F S T A T E " > H I D E < / P r e s e n t a t i o n O b j e c t T a g >  
 < / M M C O A _ O b j e c t T a g s > 
</file>

<file path=customXml/item36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S u b t i t l e < / P r e s e n t a t i o n O b j e c t T a g >  
     < P r e s e n t a t i o n O b j e c t T a g   T a g N a m e = " M M C 0 9 _ P L A C E H O L D E R T E X T " > [ M M C 2 0 2 1 P P T e m p l a t e . P l a c e h o l d e r S l i d e S u b T i t l e ] < / P r e s e n t a t i o n O b j e c t T a g >  
 < / M M C O A _ O b j e c t T a g s > 
</file>

<file path=customXml/item37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T e x t < / P r e s e n t a t i o n O b j e c t T a g >  
     < P r e s e n t a t i o n O b j e c t T a g   T a g N a m e = " M M C 0 9 _ P L A C E H O L D E R T E X T " > [ B r a n d _ M M C 2 0 2 1 . A g e n d a T o p i c P l a c e h o l d e r ] < / P r e s e n t a t i o n O b j e c t T a g >  
 < / M M C O A _ O b j e c t T a g s > 
</file>

<file path=customXml/item38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/ > 
</file>

<file path=customXml/item39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T e x t < / P r e s e n t a t i o n O b j e c t T a g >  
     < P r e s e n t a t i o n O b j e c t T a g   T a g N a m e = " M M C 0 9 _ P L A C E H O L D E R T E X T " > [ M M C 2 0 2 1 P P T e m p l a t e . P l a c e h o l d e r A g e n d a ] < / P r e s e n t a t i o n O b j e c t T a g >  
 < / M M C O A _ O b j e c t T a g s > 
</file>

<file path=customXml/item4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O A _ S A M P L E S L I D E _ I D " > 3 d e 0 7 f a b - e 3 1 7 - 4 a 0 a - a b 1 a - 6 2 1 d 5 e 6 1 3 3 7 6 < / P r e s e n t a t i o n O b j e c t T a g >  
 < / M M C O A _ O b j e c t T a g s > 
</file>

<file path=customXml/item40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[ M M C 2 0 2 1 P P T e m p l a t e . F i r s t S l i d e W o r d i n g ] < / P r e s e n t a t i o n O b j e c t T a g >  
     < P r e s e n t a t i o n O b j e c t T a g   T a g N a m e = " M M C 0 9 _ S E T I N D E N T L E V E L S " > & g t ; < / P r e s e n t a t i o n O b j e c t T a g >  
 < / M M C O A _ O b j e c t T a g s > 
</file>

<file path=customXml/item41.xml>��< ? x m l   v e r s i o n = " 1 . 0 "   e n c o d i n g = " u t f - 1 6 " ? > < M M C O A _ O b j e c t T a g s   x m l n s : x s d = " h t t p : / / w w w . w 3 . o r g / 2 0 0 1 / X M L S c h e m a "   x m l n s : x s i = " h t t p : / / w w w . w 3 . o r g / 2 0 0 1 / X M L S c h e m a - i n s t a n c e " >  
     < P r e s e n t a t i o n O b j e c t T a g   T a g N a m e = " M M C 0 9 _ S L I D E T Y P E " > D i v i d e r < / P r e s e n t a t i o n O b j e c t T a g >  
     < P r e s e n t a t i o n O b j e c t T a g   T a g N a m e = " M M C 0 9 _ I S D I V I D E R " > Y < / P r e s e n t a t i o n O b j e c t T a g >  
     < P r e s e n t a t i o n O b j e c t T a g   T a g N a m e = " M M C 0 9 _ D I S P L Y M A S T E R S H A P E S " > N < / P r e s e n t a t i o n O b j e c t T a g >  
     < P r e s e n t a t i o n O b j e c t T a g   T a g N a m e = " M M C 0 9 _ F O L L O W M A S T E R B A C K G R O U N D " > N < / P r e s e n t a t i o n O b j e c t T a g >  
     < P r e s e n t a t i o n O b j e c t T a g   T a g N a m e = " M M C 0 9 _ B A C K G R O U N D S T Y L E " > D i v i d e r < / P r e s e n t a t i o n O b j e c t T a g >  
     < P r e s e n t a t i o n O b j e c t T a g   T a g N a m e = " M M C 0 9 _ D I V I D E R N U M B E R S H A P E N A M E " > T e x t   P l a c e H o l d e r   2 < / P r e s e n t a t i o n O b j e c t T a g >  
     < P r e s e n t a t i o n O b j e c t T a g   T a g N a m e = " M M C 0 9 _ L A Y O U T " > D i v i d e r < / P r e s e n t a t i o n O b j e c t T a g >  
     < P r e s e n t a t i o n O b j e c t T a g   T a g N a m e = " M M C O A _ B A C K G R O U N D _ D I G E S T " > g r a d ; s i m p l e - d a r k - t u r q u o i s e < / P r e s e n t a t i o n O b j e c t T a g >  
     < P r e s e n t a t i o n O b j e c t T a g   T a g N a m e = " M M C O A _ B A C K G R O U N D _ L O G O _ O P T I O N " > W H I T E < / P r e s e n t a t i o n O b j e c t T a g >  
 < / M M C O A _ O b j e c t T a g s > 
</file>

<file path=customXml/item42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S H O W H I D E C R I T E R I A " > C L I E N T _ L O G O < / P r e s e n t a t i o n O b j e c t T a g >  
 < / M M C O A _ O b j e c t T a g s > 
</file>

<file path=customXml/item43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C l i e n t N a m e } { B R E A K } { P r e s e n t a t i o n D a t e } { B R E A K } { P r e s e n t e r C o v e r T e x t B l o c k } < / P r e s e n t a t i o n O b j e c t T a g >  
 < / M M C O A _ O b j e c t T a g s > 
</file>

<file path=customXml/item44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[ B r a n d _ M M C 2 0 2 1 . A g e n d a S l i d e T i t l e ] < / P r e s e n t a t i o n O b j e c t T a g >  
 < / M M C O A _ O b j e c t T a g s > 
</file>

<file path=customXml/item45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A C K G R O U N D S T Y L E " > M a s t e r < / P r e s e n t a t i o n O b j e c t T a g >  
     < P r e s e n t a t i o n O b j e c t T a g   T a g N a m e = " M M C 0 9 _ A D D L O G O S " > C o n t e n t L o g o , C o n t e n t L o g o , 3 8 . 2 7 , 5 1 3 . 0 7 < / P r e s e n t a t i o n O b j e c t T a g >  
 < / M M C O A _ O b j e c t T a g s > 
</file>

<file path=customXml/item46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S u b T i t l e } < / P r e s e n t a t i o n O b j e c t T a g >  
 < / M M C O A _ O b j e c t T a g s > 
</file>

<file path=customXml/item47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T e x t < / P r e s e n t a t i o n O b j e c t T a g >  
 < / M M C O A _ O b j e c t T a g s > 
</file>

<file path=customXml/item48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S u b t i t l e < / P r e s e n t a t i o n O b j e c t T a g >  
     < P r e s e n t a t i o n O b j e c t T a g   T a g N a m e = " M M C 0 9 _ P L A C E H O L D E R T E X T " > [ M M C 2 0 2 1 P P T e m p l a t e . P l a c e h o l d e r S l i d e S u b T i t l e ] < / P r e s e n t a t i o n O b j e c t T a g >  
 < / M M C O A _ O b j e c t T a g s > 
</file>

<file path=customXml/item49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S u b t i t l e < / P r e s e n t a t i o n O b j e c t T a g >  
     < P r e s e n t a t i o n O b j e c t T a g   T a g N a m e = " M M C 0 9 _ P L A C E H O L D E R T E X T " > [ M M C 2 0 2 1 P P T e m p l a t e . P l a c e h o l d e r S l i d e S u b T i t l e ] < / P r e s e n t a t i o n O b j e c t T a g >  
 < / M M C O A _ O b j e c t T a g s > 
</file>

<file path=customXml/item5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5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5923690B0B86843BB5CE2D0DA0F58F1" ma:contentTypeVersion="10" ma:contentTypeDescription="Create a new document." ma:contentTypeScope="" ma:versionID="66150efb7ecf8f8ec441d3088c5c8529">
  <xsd:schema xmlns:xsd="http://www.w3.org/2001/XMLSchema" xmlns:xs="http://www.w3.org/2001/XMLSchema" xmlns:p="http://schemas.microsoft.com/office/2006/metadata/properties" xmlns:ns2="8fc7def1-b983-4665-9c0e-5a19e5e2e64d" xmlns:ns3="ed9d208c-e120-48b2-bcd1-f0c0c8dbc8c9" targetNamespace="http://schemas.microsoft.com/office/2006/metadata/properties" ma:root="true" ma:fieldsID="062ac7b82cbb875a6c695cd40f4ac34c" ns2:_="" ns3:_="">
    <xsd:import namespace="8fc7def1-b983-4665-9c0e-5a19e5e2e64d"/>
    <xsd:import namespace="ed9d208c-e120-48b2-bcd1-f0c0c8dbc8c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c7def1-b983-4665-9c0e-5a19e5e2e64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9d208c-e120-48b2-bcd1-f0c0c8dbc8c9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1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/ > 
</file>

<file path=customXml/item52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O A _ S A M P L E S L I D E _ I D " > 4 3 9 d 0 0 d f - 4 c f 2 - 4 5 5 2 - a 6 0 2 - e 8 6 b 0 f 8 6 b 4 8 d < / P r e s e n t a t i o n O b j e c t T a g >  
 < / M M C O A _ O b j e c t T a g s > 
</file>

<file path=customXml/item53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54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T i t l e ] < / P r e s e n t a t i o n O b j e c t T a g >  
 < / M M C O A _ O b j e c t T a g s > 
</file>

<file path=customXml/item55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56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S u b t i t l e < / P r e s e n t a t i o n O b j e c t T a g >  
     < P r e s e n t a t i o n O b j e c t T a g   T a g N a m e = " M M C 0 9 _ P L A C E H O L D E R T E X T " > [ M M C 2 0 2 1 P P T e m p l a t e . P l a c e h o l d e r S l i d e S u b T i t l e ] < / P r e s e n t a t i o n O b j e c t T a g >  
 < / M M C O A _ O b j e c t T a g s > 
</file>

<file path=customXml/item57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T i t l e } < / P r e s e n t a t i o n O b j e c t T a g >  
 < / M M C O A _ O b j e c t T a g s > 
</file>

<file path=customXml/item58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F i l e R e f } < / P r e s e n t a t i o n O b j e c t T a g >  
     < P r e s e n t a t i o n O b j e c t T a g   T a g N a m e = " M M C 0 9 _ B R A N D F O N T S T Y L E " > C o v e r T e x t < / P r e s e n t a t i o n O b j e c t T a g >  
     < P r e s e n t a t i o n O b j e c t T a g   T a g N a m e = " M M C 0 9 _ S H O W H I D E C R I T E R I A " > F I L E R E F < / P r e s e n t a t i o n O b j e c t T a g >  
 < / M M C O A _ O b j e c t T a g s > 
</file>

<file path=customXml/item59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6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S e c t i o n N u m b e r } < / P r e s e n t a t i o n O b j e c t T a g >  
     < P r e s e n t a t i o n O b j e c t T a g   T a g N a m e = " M M C 0 9 _ S E C T I O N N U M B E R S H A P E " > Y < / P r e s e n t a t i o n O b j e c t T a g >  
     < P r e s e n t a t i o n O b j e c t T a g   T a g N a m e = " M M C 0 9 _ B R A N D F O N T S T Y L E " > D i v i d e r N u m b e r < / P r e s e n t a t i o n O b j e c t T a g >  
 < / M M C O A _ O b j e c t T a g s > 
</file>

<file path=customXml/item6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1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T e x t < / P r e s e n t a t i o n O b j e c t T a g >  
     < P r e s e n t a t i o n O b j e c t T a g   T a g N a m e = " M M C 0 9 _ P L A C E H O L D E R T E X T " > [ M M 2 0 2 1 P P T e m p l a t e . P l a c e h o l d e r L e g a l B a c k ] < / P r e s e n t a t i o n O b j e c t T a g >  
 < / M M C O A _ O b j e c t T a g s > 
</file>

<file path=customXml/item62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T e x t < / P r e s e n t a t i o n O b j e c t T a g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63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L e g a l B a c k } < / P r e s e n t a t i o n O b j e c t T a g >  
 < / M M C O A _ O b j e c t T a g s > 
</file>

<file path=customXml/item6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65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66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T i t l e ] < / P r e s e n t a t i o n O b j e c t T a g >  
 < / M M C O A _ O b j e c t T a g s > 
</file>

<file path=customXml/item67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T e x t < / P r e s e n t a t i o n O b j e c t T a g >  
     < P r e s e n t a t i o n O b j e c t T a g   T a g N a m e = " M M C 0 9 _ P O P U L A T E T E X T " > { B r a n d E x t r a W o r d i n g 2 } < / P r e s e n t a t i o n O b j e c t T a g >  
 < / M M C O A _ O b j e c t T a g s > 
</file>

<file path=customXml/item68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T i t l e ] < / P r e s e n t a t i o n O b j e c t T a g >  
 < / M M C O A _ O b j e c t T a g s > 
</file>

<file path=customXml/item69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7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T i t l e < / P r e s e n t a t i o n O b j e c t T a g >  
     < P r e s e n t a t i o n O b j e c t T a g   T a g N a m e = " M M C 0 9 _ P L A C E H O L D E R T E X T " > [ M M C 2 0 2 1 P P T e m p l a t e . P l a c e h o l d e r S l i d e T i t l e ] < / P r e s e n t a t i o n O b j e c t T a g >  
 < / M M C O A _ O b j e c t T a g s > 
</file>

<file path=customXml/item70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S u b t i t l e < / P r e s e n t a t i o n O b j e c t T a g >  
     < P r e s e n t a t i o n O b j e c t T a g   T a g N a m e = " M M C 0 9 _ P L A C E H O L D E R T E X T " > [ M M C 2 0 2 1 P P T e m p l a t e . P l a c e h o l d e r S l i d e S u b T i t l e ] < / P r e s e n t a t i o n O b j e c t T a g >  
 < / M M C O A _ O b j e c t T a g s > 
</file>

<file path=customXml/item8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O A _ S A M P L E S L I D E _ I D " > 9 0 7 c 1 7 4 0 - 7 1 f 5 - 4 2 5 1 - a 5 2 b - e 5 d 3 7 4 5 8 9 b 8 8 < / P r e s e n t a t i o n O b j e c t T a g >  
 < / M M C O A _ O b j e c t T a g s > 
</file>

<file path=customXml/item9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Props1.xml><?xml version="1.0" encoding="utf-8"?>
<ds:datastoreItem xmlns:ds="http://schemas.openxmlformats.org/officeDocument/2006/customXml" ds:itemID="{DBB30C88-CD65-462F-B924-FDEB7A0F09BD}">
  <ds:schemaRefs>
    <ds:schemaRef ds:uri="http://www.w3.org/2001/XMLSchema"/>
  </ds:schemaRefs>
</ds:datastoreItem>
</file>

<file path=customXml/itemProps10.xml><?xml version="1.0" encoding="utf-8"?>
<ds:datastoreItem xmlns:ds="http://schemas.openxmlformats.org/officeDocument/2006/customXml" ds:itemID="{A069E17C-908E-4D9A-BB30-A8F3C37DD0BB}">
  <ds:schemaRefs>
    <ds:schemaRef ds:uri="http://www.w3.org/2001/XMLSchema"/>
  </ds:schemaRefs>
</ds:datastoreItem>
</file>

<file path=customXml/itemProps11.xml><?xml version="1.0" encoding="utf-8"?>
<ds:datastoreItem xmlns:ds="http://schemas.openxmlformats.org/officeDocument/2006/customXml" ds:itemID="{029D9584-4B2C-4846-9954-9B6C8317D3C7}">
  <ds:schemaRefs>
    <ds:schemaRef ds:uri="http://www.w3.org/2001/XMLSchema"/>
  </ds:schemaRefs>
</ds:datastoreItem>
</file>

<file path=customXml/itemProps12.xml><?xml version="1.0" encoding="utf-8"?>
<ds:datastoreItem xmlns:ds="http://schemas.openxmlformats.org/officeDocument/2006/customXml" ds:itemID="{F7E19400-6557-45B9-A4BE-9C2FBC6813EC}">
  <ds:schemaRefs>
    <ds:schemaRef ds:uri="http://www.w3.org/2001/XMLSchema"/>
  </ds:schemaRefs>
</ds:datastoreItem>
</file>

<file path=customXml/itemProps13.xml><?xml version="1.0" encoding="utf-8"?>
<ds:datastoreItem xmlns:ds="http://schemas.openxmlformats.org/officeDocument/2006/customXml" ds:itemID="{0EE2E06E-576E-4D10-9641-7022F7088640}">
  <ds:schemaRefs>
    <ds:schemaRef ds:uri="http://www.w3.org/2001/XMLSchema"/>
  </ds:schemaRefs>
</ds:datastoreItem>
</file>

<file path=customXml/itemProps14.xml><?xml version="1.0" encoding="utf-8"?>
<ds:datastoreItem xmlns:ds="http://schemas.openxmlformats.org/officeDocument/2006/customXml" ds:itemID="{49BC0D76-EA8A-4D84-8BDC-79F24EC5F6D5}">
  <ds:schemaRefs>
    <ds:schemaRef ds:uri="http://www.w3.org/2001/XMLSchema"/>
  </ds:schemaRefs>
</ds:datastoreItem>
</file>

<file path=customXml/itemProps15.xml><?xml version="1.0" encoding="utf-8"?>
<ds:datastoreItem xmlns:ds="http://schemas.openxmlformats.org/officeDocument/2006/customXml" ds:itemID="{F4497770-156D-4938-BA98-5B2E06CE31CC}">
  <ds:schemaRefs>
    <ds:schemaRef ds:uri="http://www.w3.org/2001/XMLSchema"/>
  </ds:schemaRefs>
</ds:datastoreItem>
</file>

<file path=customXml/itemProps16.xml><?xml version="1.0" encoding="utf-8"?>
<ds:datastoreItem xmlns:ds="http://schemas.openxmlformats.org/officeDocument/2006/customXml" ds:itemID="{D9348C07-1E6B-4014-98CC-8BB85256C2E9}">
  <ds:schemaRefs>
    <ds:schemaRef ds:uri="http://www.w3.org/2001/XMLSchema"/>
  </ds:schemaRefs>
</ds:datastoreItem>
</file>

<file path=customXml/itemProps17.xml><?xml version="1.0" encoding="utf-8"?>
<ds:datastoreItem xmlns:ds="http://schemas.openxmlformats.org/officeDocument/2006/customXml" ds:itemID="{4E18DFB7-AF42-4887-A653-6AE4E129405F}">
  <ds:schemaRefs>
    <ds:schemaRef ds:uri="http://www.w3.org/2001/XMLSchema"/>
  </ds:schemaRefs>
</ds:datastoreItem>
</file>

<file path=customXml/itemProps18.xml><?xml version="1.0" encoding="utf-8"?>
<ds:datastoreItem xmlns:ds="http://schemas.openxmlformats.org/officeDocument/2006/customXml" ds:itemID="{63035760-20EA-4532-8377-45C638F3BF21}">
  <ds:schemaRefs>
    <ds:schemaRef ds:uri="http://www.w3.org/2001/XMLSchema"/>
  </ds:schemaRefs>
</ds:datastoreItem>
</file>

<file path=customXml/itemProps19.xml><?xml version="1.0" encoding="utf-8"?>
<ds:datastoreItem xmlns:ds="http://schemas.openxmlformats.org/officeDocument/2006/customXml" ds:itemID="{FDDA039F-625F-47F3-A1A8-1B62E4AA5C8F}">
  <ds:schemaRefs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9E2987B6-D35A-4C35-96F2-34D5DD47F9BB}">
  <ds:schemaRefs>
    <ds:schemaRef ds:uri="http://www.w3.org/2001/XMLSchema"/>
  </ds:schemaRefs>
</ds:datastoreItem>
</file>

<file path=customXml/itemProps20.xml><?xml version="1.0" encoding="utf-8"?>
<ds:datastoreItem xmlns:ds="http://schemas.openxmlformats.org/officeDocument/2006/customXml" ds:itemID="{7F82062E-9818-4653-A31B-81D65328C525}">
  <ds:schemaRefs>
    <ds:schemaRef ds:uri="http://www.w3.org/2001/XMLSchema"/>
  </ds:schemaRefs>
</ds:datastoreItem>
</file>

<file path=customXml/itemProps21.xml><?xml version="1.0" encoding="utf-8"?>
<ds:datastoreItem xmlns:ds="http://schemas.openxmlformats.org/officeDocument/2006/customXml" ds:itemID="{C41181A3-BF44-4324-AECB-875CE9EE15F3}">
  <ds:schemaRefs>
    <ds:schemaRef ds:uri="http://www.w3.org/2001/XMLSchema"/>
  </ds:schemaRefs>
</ds:datastoreItem>
</file>

<file path=customXml/itemProps22.xml><?xml version="1.0" encoding="utf-8"?>
<ds:datastoreItem xmlns:ds="http://schemas.openxmlformats.org/officeDocument/2006/customXml" ds:itemID="{785CACC9-5F9E-452C-8D11-FADB0FC87789}">
  <ds:schemaRefs>
    <ds:schemaRef ds:uri="http://www.w3.org/2001/XMLSchema"/>
  </ds:schemaRefs>
</ds:datastoreItem>
</file>

<file path=customXml/itemProps23.xml><?xml version="1.0" encoding="utf-8"?>
<ds:datastoreItem xmlns:ds="http://schemas.openxmlformats.org/officeDocument/2006/customXml" ds:itemID="{E39B11E5-077D-4BBF-AF63-E8B8A6D036DB}">
  <ds:schemaRefs>
    <ds:schemaRef ds:uri="http://www.w3.org/2001/XMLSchema"/>
  </ds:schemaRefs>
</ds:datastoreItem>
</file>

<file path=customXml/itemProps24.xml><?xml version="1.0" encoding="utf-8"?>
<ds:datastoreItem xmlns:ds="http://schemas.openxmlformats.org/officeDocument/2006/customXml" ds:itemID="{9D125730-63B3-4611-99E5-A47E22D5544D}">
  <ds:schemaRefs>
    <ds:schemaRef ds:uri="http://www.w3.org/2001/XMLSchema"/>
  </ds:schemaRefs>
</ds:datastoreItem>
</file>

<file path=customXml/itemProps25.xml><?xml version="1.0" encoding="utf-8"?>
<ds:datastoreItem xmlns:ds="http://schemas.openxmlformats.org/officeDocument/2006/customXml" ds:itemID="{152C4616-E904-4841-9523-90E33BB5990C}">
  <ds:schemaRefs>
    <ds:schemaRef ds:uri="http://www.w3.org/2001/XMLSchema"/>
  </ds:schemaRefs>
</ds:datastoreItem>
</file>

<file path=customXml/itemProps26.xml><?xml version="1.0" encoding="utf-8"?>
<ds:datastoreItem xmlns:ds="http://schemas.openxmlformats.org/officeDocument/2006/customXml" ds:itemID="{281140D0-CFF4-4662-9C45-8943C23FC066}">
  <ds:schemaRefs>
    <ds:schemaRef ds:uri="http://www.w3.org/2001/XMLSchema"/>
  </ds:schemaRefs>
</ds:datastoreItem>
</file>

<file path=customXml/itemProps27.xml><?xml version="1.0" encoding="utf-8"?>
<ds:datastoreItem xmlns:ds="http://schemas.openxmlformats.org/officeDocument/2006/customXml" ds:itemID="{02EDAAD7-30B6-4ACD-BA32-F10318B4E3BB}">
  <ds:schemaRefs>
    <ds:schemaRef ds:uri="http://www.w3.org/2001/XMLSchema"/>
  </ds:schemaRefs>
</ds:datastoreItem>
</file>

<file path=customXml/itemProps28.xml><?xml version="1.0" encoding="utf-8"?>
<ds:datastoreItem xmlns:ds="http://schemas.openxmlformats.org/officeDocument/2006/customXml" ds:itemID="{1AA08E88-52D3-4EBA-AA02-8CA9BBF557F6}">
  <ds:schemaRefs>
    <ds:schemaRef ds:uri="http://www.w3.org/2001/XMLSchema"/>
  </ds:schemaRefs>
</ds:datastoreItem>
</file>

<file path=customXml/itemProps29.xml><?xml version="1.0" encoding="utf-8"?>
<ds:datastoreItem xmlns:ds="http://schemas.openxmlformats.org/officeDocument/2006/customXml" ds:itemID="{EA56DF1C-E699-4B8D-81DA-12283D7DDD50}">
  <ds:schemaRefs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F14CBA09-FEAF-404B-987F-1AB49AD0F098}">
  <ds:schemaRefs>
    <ds:schemaRef ds:uri="http://www.w3.org/2001/XMLSchema"/>
  </ds:schemaRefs>
</ds:datastoreItem>
</file>

<file path=customXml/itemProps30.xml><?xml version="1.0" encoding="utf-8"?>
<ds:datastoreItem xmlns:ds="http://schemas.openxmlformats.org/officeDocument/2006/customXml" ds:itemID="{36521F22-0186-4262-8998-4B3239F3A520}">
  <ds:schemaRefs>
    <ds:schemaRef ds:uri="http://www.w3.org/2001/XMLSchema"/>
  </ds:schemaRefs>
</ds:datastoreItem>
</file>

<file path=customXml/itemProps31.xml><?xml version="1.0" encoding="utf-8"?>
<ds:datastoreItem xmlns:ds="http://schemas.openxmlformats.org/officeDocument/2006/customXml" ds:itemID="{535DD0E2-5F87-46D2-ADCB-BF3B14328B93}">
  <ds:schemaRefs>
    <ds:schemaRef ds:uri="http://www.w3.org/2001/XMLSchema"/>
  </ds:schemaRefs>
</ds:datastoreItem>
</file>

<file path=customXml/itemProps32.xml><?xml version="1.0" encoding="utf-8"?>
<ds:datastoreItem xmlns:ds="http://schemas.openxmlformats.org/officeDocument/2006/customXml" ds:itemID="{7514C59C-37A2-4548-8176-DEE012C681C8}">
  <ds:schemaRefs>
    <ds:schemaRef ds:uri="http://www.w3.org/2001/XMLSchema"/>
  </ds:schemaRefs>
</ds:datastoreItem>
</file>

<file path=customXml/itemProps33.xml><?xml version="1.0" encoding="utf-8"?>
<ds:datastoreItem xmlns:ds="http://schemas.openxmlformats.org/officeDocument/2006/customXml" ds:itemID="{E4CF58FF-8B25-476F-8B2F-439CAFE774DB}">
  <ds:schemaRefs>
    <ds:schemaRef ds:uri="http://www.w3.org/2001/XMLSchema"/>
  </ds:schemaRefs>
</ds:datastoreItem>
</file>

<file path=customXml/itemProps34.xml><?xml version="1.0" encoding="utf-8"?>
<ds:datastoreItem xmlns:ds="http://schemas.openxmlformats.org/officeDocument/2006/customXml" ds:itemID="{C2DE171A-B726-40E5-B1C5-493646B322AB}">
  <ds:schemaRefs>
    <ds:schemaRef ds:uri="http://www.w3.org/2001/XMLSchema"/>
  </ds:schemaRefs>
</ds:datastoreItem>
</file>

<file path=customXml/itemProps35.xml><?xml version="1.0" encoding="utf-8"?>
<ds:datastoreItem xmlns:ds="http://schemas.openxmlformats.org/officeDocument/2006/customXml" ds:itemID="{7C42B602-7515-473E-8F1E-5503EC3B9FB1}">
  <ds:schemaRefs>
    <ds:schemaRef ds:uri="http://www.w3.org/2001/XMLSchema"/>
  </ds:schemaRefs>
</ds:datastoreItem>
</file>

<file path=customXml/itemProps36.xml><?xml version="1.0" encoding="utf-8"?>
<ds:datastoreItem xmlns:ds="http://schemas.openxmlformats.org/officeDocument/2006/customXml" ds:itemID="{A266FA69-4537-4DA1-B2C5-5455015195BC}">
  <ds:schemaRefs>
    <ds:schemaRef ds:uri="http://www.w3.org/2001/XMLSchema"/>
  </ds:schemaRefs>
</ds:datastoreItem>
</file>

<file path=customXml/itemProps37.xml><?xml version="1.0" encoding="utf-8"?>
<ds:datastoreItem xmlns:ds="http://schemas.openxmlformats.org/officeDocument/2006/customXml" ds:itemID="{B5EE003F-AACE-4CCD-AE5E-C319AB398FB9}">
  <ds:schemaRefs>
    <ds:schemaRef ds:uri="http://www.w3.org/2001/XMLSchema"/>
  </ds:schemaRefs>
</ds:datastoreItem>
</file>

<file path=customXml/itemProps38.xml><?xml version="1.0" encoding="utf-8"?>
<ds:datastoreItem xmlns:ds="http://schemas.openxmlformats.org/officeDocument/2006/customXml" ds:itemID="{85A40AA7-CD26-416A-96AB-FB82D025CBBB}">
  <ds:schemaRefs>
    <ds:schemaRef ds:uri="http://www.w3.org/2001/XMLSchema"/>
  </ds:schemaRefs>
</ds:datastoreItem>
</file>

<file path=customXml/itemProps39.xml><?xml version="1.0" encoding="utf-8"?>
<ds:datastoreItem xmlns:ds="http://schemas.openxmlformats.org/officeDocument/2006/customXml" ds:itemID="{B06F0990-77F0-4EB7-81D9-057B8021F2E2}">
  <ds:schemaRefs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8EAB299D-D121-4CEC-A29C-138760C231CE}">
  <ds:schemaRefs>
    <ds:schemaRef ds:uri="http://www.w3.org/2001/XMLSchema"/>
  </ds:schemaRefs>
</ds:datastoreItem>
</file>

<file path=customXml/itemProps40.xml><?xml version="1.0" encoding="utf-8"?>
<ds:datastoreItem xmlns:ds="http://schemas.openxmlformats.org/officeDocument/2006/customXml" ds:itemID="{C0E00A02-28A1-4EE1-BE10-FB1AE54D3156}">
  <ds:schemaRefs>
    <ds:schemaRef ds:uri="http://www.w3.org/2001/XMLSchema"/>
  </ds:schemaRefs>
</ds:datastoreItem>
</file>

<file path=customXml/itemProps41.xml><?xml version="1.0" encoding="utf-8"?>
<ds:datastoreItem xmlns:ds="http://schemas.openxmlformats.org/officeDocument/2006/customXml" ds:itemID="{B36CBDA4-A697-46EE-A841-E76C3EADCF61}">
  <ds:schemaRefs>
    <ds:schemaRef ds:uri="http://www.w3.org/2001/XMLSchema"/>
  </ds:schemaRefs>
</ds:datastoreItem>
</file>

<file path=customXml/itemProps42.xml><?xml version="1.0" encoding="utf-8"?>
<ds:datastoreItem xmlns:ds="http://schemas.openxmlformats.org/officeDocument/2006/customXml" ds:itemID="{58D42C7F-C51A-4196-A564-FB7B576BC2EA}">
  <ds:schemaRefs>
    <ds:schemaRef ds:uri="http://www.w3.org/2001/XMLSchema"/>
  </ds:schemaRefs>
</ds:datastoreItem>
</file>

<file path=customXml/itemProps43.xml><?xml version="1.0" encoding="utf-8"?>
<ds:datastoreItem xmlns:ds="http://schemas.openxmlformats.org/officeDocument/2006/customXml" ds:itemID="{0D39DF63-D74D-4908-8C6C-545FE16F3FC8}">
  <ds:schemaRefs>
    <ds:schemaRef ds:uri="http://www.w3.org/2001/XMLSchema"/>
  </ds:schemaRefs>
</ds:datastoreItem>
</file>

<file path=customXml/itemProps44.xml><?xml version="1.0" encoding="utf-8"?>
<ds:datastoreItem xmlns:ds="http://schemas.openxmlformats.org/officeDocument/2006/customXml" ds:itemID="{19BCB8AB-C80F-48B0-97F9-FF07C27A1D7E}">
  <ds:schemaRefs>
    <ds:schemaRef ds:uri="http://www.w3.org/2001/XMLSchema"/>
  </ds:schemaRefs>
</ds:datastoreItem>
</file>

<file path=customXml/itemProps45.xml><?xml version="1.0" encoding="utf-8"?>
<ds:datastoreItem xmlns:ds="http://schemas.openxmlformats.org/officeDocument/2006/customXml" ds:itemID="{35BDC32E-13DF-4D9C-B8D4-DA872B448F48}">
  <ds:schemaRefs>
    <ds:schemaRef ds:uri="http://www.w3.org/2001/XMLSchema"/>
  </ds:schemaRefs>
</ds:datastoreItem>
</file>

<file path=customXml/itemProps46.xml><?xml version="1.0" encoding="utf-8"?>
<ds:datastoreItem xmlns:ds="http://schemas.openxmlformats.org/officeDocument/2006/customXml" ds:itemID="{86E9DB7A-C649-4675-B50A-1BE58C3421E5}">
  <ds:schemaRefs>
    <ds:schemaRef ds:uri="http://www.w3.org/2001/XMLSchema"/>
  </ds:schemaRefs>
</ds:datastoreItem>
</file>

<file path=customXml/itemProps47.xml><?xml version="1.0" encoding="utf-8"?>
<ds:datastoreItem xmlns:ds="http://schemas.openxmlformats.org/officeDocument/2006/customXml" ds:itemID="{F59C340D-4F57-43A3-B5CD-4712B5DB8E9D}">
  <ds:schemaRefs>
    <ds:schemaRef ds:uri="http://www.w3.org/2001/XMLSchema"/>
  </ds:schemaRefs>
</ds:datastoreItem>
</file>

<file path=customXml/itemProps48.xml><?xml version="1.0" encoding="utf-8"?>
<ds:datastoreItem xmlns:ds="http://schemas.openxmlformats.org/officeDocument/2006/customXml" ds:itemID="{E917FBD8-6C97-4CD7-97F4-1E1500CE9A9C}">
  <ds:schemaRefs>
    <ds:schemaRef ds:uri="http://www.w3.org/2001/XMLSchema"/>
  </ds:schemaRefs>
</ds:datastoreItem>
</file>

<file path=customXml/itemProps49.xml><?xml version="1.0" encoding="utf-8"?>
<ds:datastoreItem xmlns:ds="http://schemas.openxmlformats.org/officeDocument/2006/customXml" ds:itemID="{268400DD-65DB-470B-A06A-A85C4BBFF02F}">
  <ds:schemaRefs>
    <ds:schemaRef ds:uri="http://www.w3.org/2001/XMLSchema"/>
  </ds:schemaRefs>
</ds:datastoreItem>
</file>

<file path=customXml/itemProps5.xml><?xml version="1.0" encoding="utf-8"?>
<ds:datastoreItem xmlns:ds="http://schemas.openxmlformats.org/officeDocument/2006/customXml" ds:itemID="{141B2937-7875-4AC8-9EAF-310928ACDCAC}">
  <ds:schemaRefs>
    <ds:schemaRef ds:uri="http://www.w3.org/2001/XMLSchema"/>
  </ds:schemaRefs>
</ds:datastoreItem>
</file>

<file path=customXml/itemProps50.xml><?xml version="1.0" encoding="utf-8"?>
<ds:datastoreItem xmlns:ds="http://schemas.openxmlformats.org/officeDocument/2006/customXml" ds:itemID="{CB877B95-C2B4-487F-861B-0F99C3B874D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fc7def1-b983-4665-9c0e-5a19e5e2e64d"/>
    <ds:schemaRef ds:uri="ed9d208c-e120-48b2-bcd1-f0c0c8dbc8c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51.xml><?xml version="1.0" encoding="utf-8"?>
<ds:datastoreItem xmlns:ds="http://schemas.openxmlformats.org/officeDocument/2006/customXml" ds:itemID="{7BDD5E8B-B38F-4E19-81DE-9FCA163172C2}">
  <ds:schemaRefs>
    <ds:schemaRef ds:uri="http://www.w3.org/2001/XMLSchema"/>
  </ds:schemaRefs>
</ds:datastoreItem>
</file>

<file path=customXml/itemProps52.xml><?xml version="1.0" encoding="utf-8"?>
<ds:datastoreItem xmlns:ds="http://schemas.openxmlformats.org/officeDocument/2006/customXml" ds:itemID="{7FF6BAAC-9523-4A83-AF65-0BA1642F463D}">
  <ds:schemaRefs>
    <ds:schemaRef ds:uri="http://www.w3.org/2001/XMLSchema"/>
  </ds:schemaRefs>
</ds:datastoreItem>
</file>

<file path=customXml/itemProps53.xml><?xml version="1.0" encoding="utf-8"?>
<ds:datastoreItem xmlns:ds="http://schemas.openxmlformats.org/officeDocument/2006/customXml" ds:itemID="{CECC2B06-B96D-401F-910E-06ACE8ED91D9}">
  <ds:schemaRefs>
    <ds:schemaRef ds:uri="http://www.w3.org/2001/XMLSchema"/>
  </ds:schemaRefs>
</ds:datastoreItem>
</file>

<file path=customXml/itemProps54.xml><?xml version="1.0" encoding="utf-8"?>
<ds:datastoreItem xmlns:ds="http://schemas.openxmlformats.org/officeDocument/2006/customXml" ds:itemID="{99C4F212-A52D-4DB2-909A-49116BE31618}">
  <ds:schemaRefs>
    <ds:schemaRef ds:uri="http://www.w3.org/2001/XMLSchema"/>
  </ds:schemaRefs>
</ds:datastoreItem>
</file>

<file path=customXml/itemProps55.xml><?xml version="1.0" encoding="utf-8"?>
<ds:datastoreItem xmlns:ds="http://schemas.openxmlformats.org/officeDocument/2006/customXml" ds:itemID="{E571E618-B32B-4FB0-BD5B-D83EAD2F7B68}">
  <ds:schemaRefs>
    <ds:schemaRef ds:uri="http://www.w3.org/2001/XMLSchema"/>
  </ds:schemaRefs>
</ds:datastoreItem>
</file>

<file path=customXml/itemProps56.xml><?xml version="1.0" encoding="utf-8"?>
<ds:datastoreItem xmlns:ds="http://schemas.openxmlformats.org/officeDocument/2006/customXml" ds:itemID="{5FC8AD33-3A86-4DCF-AE6B-3071D443C944}">
  <ds:schemaRefs>
    <ds:schemaRef ds:uri="http://www.w3.org/2001/XMLSchema"/>
  </ds:schemaRefs>
</ds:datastoreItem>
</file>

<file path=customXml/itemProps57.xml><?xml version="1.0" encoding="utf-8"?>
<ds:datastoreItem xmlns:ds="http://schemas.openxmlformats.org/officeDocument/2006/customXml" ds:itemID="{D14872BF-36DF-44ED-AFBA-A9DEF6435A9D}">
  <ds:schemaRefs>
    <ds:schemaRef ds:uri="http://www.w3.org/2001/XMLSchema"/>
  </ds:schemaRefs>
</ds:datastoreItem>
</file>

<file path=customXml/itemProps58.xml><?xml version="1.0" encoding="utf-8"?>
<ds:datastoreItem xmlns:ds="http://schemas.openxmlformats.org/officeDocument/2006/customXml" ds:itemID="{4A8EF070-B7A1-4D20-AA54-61F173CA2706}">
  <ds:schemaRefs>
    <ds:schemaRef ds:uri="http://www.w3.org/2001/XMLSchema"/>
  </ds:schemaRefs>
</ds:datastoreItem>
</file>

<file path=customXml/itemProps59.xml><?xml version="1.0" encoding="utf-8"?>
<ds:datastoreItem xmlns:ds="http://schemas.openxmlformats.org/officeDocument/2006/customXml" ds:itemID="{15E14063-6D15-404C-AFB6-43ADF0C0DD41}">
  <ds:schemaRefs>
    <ds:schemaRef ds:uri="http://www.w3.org/2001/XMLSchema"/>
  </ds:schemaRefs>
</ds:datastoreItem>
</file>

<file path=customXml/itemProps6.xml><?xml version="1.0" encoding="utf-8"?>
<ds:datastoreItem xmlns:ds="http://schemas.openxmlformats.org/officeDocument/2006/customXml" ds:itemID="{A3CD4C50-97C5-4A13-A5A2-9AD0815BCA0D}">
  <ds:schemaRefs>
    <ds:schemaRef ds:uri="http://www.w3.org/2001/XMLSchema"/>
  </ds:schemaRefs>
</ds:datastoreItem>
</file>

<file path=customXml/itemProps60.xml><?xml version="1.0" encoding="utf-8"?>
<ds:datastoreItem xmlns:ds="http://schemas.openxmlformats.org/officeDocument/2006/customXml" ds:itemID="{307BA719-D102-4EC6-B145-BDFEC159FE79}">
  <ds:schemaRefs>
    <ds:schemaRef ds:uri="http://schemas.microsoft.com/sharepoint/v3/contenttype/forms"/>
  </ds:schemaRefs>
</ds:datastoreItem>
</file>

<file path=customXml/itemProps61.xml><?xml version="1.0" encoding="utf-8"?>
<ds:datastoreItem xmlns:ds="http://schemas.openxmlformats.org/officeDocument/2006/customXml" ds:itemID="{5071CEB3-5C80-4DBF-AE51-491CFD3DFA23}">
  <ds:schemaRefs>
    <ds:schemaRef ds:uri="http://www.w3.org/2001/XMLSchema"/>
  </ds:schemaRefs>
</ds:datastoreItem>
</file>

<file path=customXml/itemProps62.xml><?xml version="1.0" encoding="utf-8"?>
<ds:datastoreItem xmlns:ds="http://schemas.openxmlformats.org/officeDocument/2006/customXml" ds:itemID="{9B333AB5-3357-4D07-93E0-A8BB3B59721F}">
  <ds:schemaRefs>
    <ds:schemaRef ds:uri="http://www.w3.org/2001/XMLSchema"/>
  </ds:schemaRefs>
</ds:datastoreItem>
</file>

<file path=customXml/itemProps63.xml><?xml version="1.0" encoding="utf-8"?>
<ds:datastoreItem xmlns:ds="http://schemas.openxmlformats.org/officeDocument/2006/customXml" ds:itemID="{6E08A1E3-253A-4517-97D3-0BD56DB45B37}">
  <ds:schemaRefs>
    <ds:schemaRef ds:uri="http://www.w3.org/2001/XMLSchema"/>
  </ds:schemaRefs>
</ds:datastoreItem>
</file>

<file path=customXml/itemProps64.xml><?xml version="1.0" encoding="utf-8"?>
<ds:datastoreItem xmlns:ds="http://schemas.openxmlformats.org/officeDocument/2006/customXml" ds:itemID="{E46AC9F7-34D3-4A0D-8D03-01D4B97CAD51}">
  <ds:schemaRefs>
    <ds:schemaRef ds:uri="http://purl.org/dc/elements/1.1/"/>
    <ds:schemaRef ds:uri="http://schemas.microsoft.com/office/2006/metadata/properties"/>
    <ds:schemaRef ds:uri="ed9d208c-e120-48b2-bcd1-f0c0c8dbc8c9"/>
    <ds:schemaRef ds:uri="http://purl.org/dc/terms/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8fc7def1-b983-4665-9c0e-5a19e5e2e64d"/>
    <ds:schemaRef ds:uri="http://schemas.openxmlformats.org/package/2006/metadata/core-properties"/>
    <ds:schemaRef ds:uri="http://purl.org/dc/dcmitype/"/>
  </ds:schemaRefs>
</ds:datastoreItem>
</file>

<file path=customXml/itemProps65.xml><?xml version="1.0" encoding="utf-8"?>
<ds:datastoreItem xmlns:ds="http://schemas.openxmlformats.org/officeDocument/2006/customXml" ds:itemID="{5FDF1299-A818-4942-A99A-6ACC56029410}">
  <ds:schemaRefs>
    <ds:schemaRef ds:uri="http://www.w3.org/2001/XMLSchema"/>
  </ds:schemaRefs>
</ds:datastoreItem>
</file>

<file path=customXml/itemProps66.xml><?xml version="1.0" encoding="utf-8"?>
<ds:datastoreItem xmlns:ds="http://schemas.openxmlformats.org/officeDocument/2006/customXml" ds:itemID="{B3404B29-B12B-4AD6-9600-2326122AA242}">
  <ds:schemaRefs>
    <ds:schemaRef ds:uri="http://www.w3.org/2001/XMLSchema"/>
  </ds:schemaRefs>
</ds:datastoreItem>
</file>

<file path=customXml/itemProps67.xml><?xml version="1.0" encoding="utf-8"?>
<ds:datastoreItem xmlns:ds="http://schemas.openxmlformats.org/officeDocument/2006/customXml" ds:itemID="{43FD868C-286B-42F8-9784-A8204B274F36}">
  <ds:schemaRefs>
    <ds:schemaRef ds:uri="http://www.w3.org/2001/XMLSchema"/>
  </ds:schemaRefs>
</ds:datastoreItem>
</file>

<file path=customXml/itemProps68.xml><?xml version="1.0" encoding="utf-8"?>
<ds:datastoreItem xmlns:ds="http://schemas.openxmlformats.org/officeDocument/2006/customXml" ds:itemID="{A2F0BA82-2B00-4221-8BFF-F665C3F4FAC4}">
  <ds:schemaRefs>
    <ds:schemaRef ds:uri="http://www.w3.org/2001/XMLSchema"/>
  </ds:schemaRefs>
</ds:datastoreItem>
</file>

<file path=customXml/itemProps69.xml><?xml version="1.0" encoding="utf-8"?>
<ds:datastoreItem xmlns:ds="http://schemas.openxmlformats.org/officeDocument/2006/customXml" ds:itemID="{DDAF385B-9993-4645-8FFB-EB2E69426047}">
  <ds:schemaRefs>
    <ds:schemaRef ds:uri="http://www.w3.org/2001/XMLSchema"/>
  </ds:schemaRefs>
</ds:datastoreItem>
</file>

<file path=customXml/itemProps7.xml><?xml version="1.0" encoding="utf-8"?>
<ds:datastoreItem xmlns:ds="http://schemas.openxmlformats.org/officeDocument/2006/customXml" ds:itemID="{BD5FAD33-8996-4B98-8C02-4A1550C6E017}">
  <ds:schemaRefs>
    <ds:schemaRef ds:uri="http://www.w3.org/2001/XMLSchema"/>
  </ds:schemaRefs>
</ds:datastoreItem>
</file>

<file path=customXml/itemProps70.xml><?xml version="1.0" encoding="utf-8"?>
<ds:datastoreItem xmlns:ds="http://schemas.openxmlformats.org/officeDocument/2006/customXml" ds:itemID="{42F14513-E8D0-4605-B1C8-F457096D45FA}">
  <ds:schemaRefs>
    <ds:schemaRef ds:uri="http://www.w3.org/2001/XMLSchema"/>
  </ds:schemaRefs>
</ds:datastoreItem>
</file>

<file path=customXml/itemProps8.xml><?xml version="1.0" encoding="utf-8"?>
<ds:datastoreItem xmlns:ds="http://schemas.openxmlformats.org/officeDocument/2006/customXml" ds:itemID="{6453D6A7-0DEB-462D-9FEC-ADE9906E19BE}">
  <ds:schemaRefs>
    <ds:schemaRef ds:uri="http://www.w3.org/2001/XMLSchema"/>
  </ds:schemaRefs>
</ds:datastoreItem>
</file>

<file path=customXml/itemProps9.xml><?xml version="1.0" encoding="utf-8"?>
<ds:datastoreItem xmlns:ds="http://schemas.openxmlformats.org/officeDocument/2006/customXml" ds:itemID="{59FF60E1-E3A5-48EE-9FC1-39A09AF817D4}">
  <ds:schemaRefs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MC2021.Classic16x9</Template>
  <TotalTime>18052</TotalTime>
  <Words>1614</Words>
  <Application>Microsoft Office PowerPoint</Application>
  <PresentationFormat>Widescreen</PresentationFormat>
  <Paragraphs>221</Paragraphs>
  <Slides>2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6" baseType="lpstr">
      <vt:lpstr>MS PGothic</vt:lpstr>
      <vt:lpstr>Arial</vt:lpstr>
      <vt:lpstr>Arial Narrow</vt:lpstr>
      <vt:lpstr>Calibri</vt:lpstr>
      <vt:lpstr>Montserrat Light</vt:lpstr>
      <vt:lpstr>Nunito</vt:lpstr>
      <vt:lpstr>Open Sans</vt:lpstr>
      <vt:lpstr>Times New Roman</vt:lpstr>
      <vt:lpstr>Wingdings</vt:lpstr>
      <vt:lpstr>Marsh McLennan</vt:lpstr>
      <vt:lpstr>think-cell Slide</vt:lpstr>
      <vt:lpstr>PERSPECTIVAS DE LA INDUSTRIA DE SEGUROS Y ESTRATEGIAS PARA FORTALECER SU CRECIMIENTO EN UN MERCADO CAMBIANTE  </vt:lpstr>
      <vt:lpstr>PowerPoint Presentation</vt:lpstr>
      <vt:lpstr>Inflación </vt:lpstr>
      <vt:lpstr>Inflación</vt:lpstr>
      <vt:lpstr>Inflación</vt:lpstr>
      <vt:lpstr>Cambio Climático </vt:lpstr>
      <vt:lpstr>Cambio Climático</vt:lpstr>
      <vt:lpstr>Auge migratorio en México, Centroamérica y República Dominicana: Papel de las Cooperativas</vt:lpstr>
      <vt:lpstr>Auge migratorio en México, Centroamérica y República Dominicana  </vt:lpstr>
      <vt:lpstr>Auge migratorio en México, Centroamérica y República Dominicana  </vt:lpstr>
      <vt:lpstr>Auge migratorio en México, Centroamérica y República Dominicana  </vt:lpstr>
      <vt:lpstr>Aumento en Costo de Seguro y Reaseguro a consecuencia de Inflación y Cambio Climático</vt:lpstr>
      <vt:lpstr>PowerPoint Presentation</vt:lpstr>
      <vt:lpstr>PowerPoint Presentation</vt:lpstr>
      <vt:lpstr>PowerPoint Presentation</vt:lpstr>
      <vt:lpstr>Acceso a las Cooperativas de Ahorro y Crédito</vt:lpstr>
      <vt:lpstr>PowerPoint Presentation</vt:lpstr>
      <vt:lpstr>PowerPoint Presentation</vt:lpstr>
      <vt:lpstr>Acceso a las Cooperativas de Ahorro y Crédito </vt:lpstr>
      <vt:lpstr>Acceso a las Cooperativas de Ahorro y Crédito </vt:lpstr>
      <vt:lpstr>Seguro Agropecuario: Agrobusiness</vt:lpstr>
      <vt:lpstr>Seguro Agropecuario</vt:lpstr>
      <vt:lpstr>Seguro Agropecuario</vt:lpstr>
      <vt:lpstr>Seguro Agropecuario</vt:lpstr>
      <vt:lpstr>PowerPoint Presentation</vt:lpstr>
    </vt:vector>
  </TitlesOfParts>
  <Company>Guy Carpent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ssuria Group Introduction to Reinsurance</dc:title>
  <dc:creator>Scott Butler, Ella Passingham, Juan Pablo Peralta</dc:creator>
  <cp:lastModifiedBy>Izzo, Neiva</cp:lastModifiedBy>
  <cp:revision>242</cp:revision>
  <dcterms:created xsi:type="dcterms:W3CDTF">2022-06-14T11:26:26Z</dcterms:created>
  <dcterms:modified xsi:type="dcterms:W3CDTF">2022-08-31T15:40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">
    <vt:lpwstr>MMC2021.Classic16x9</vt:lpwstr>
  </property>
  <property fmtid="{D5CDD505-2E9C-101B-9397-08002B2CF9AE}" pid="3" name="TemplateVersion">
    <vt:lpwstr>9.0</vt:lpwstr>
  </property>
  <property fmtid="{D5CDD505-2E9C-101B-9397-08002B2CF9AE}" pid="4" name="MMCOA_Template">
    <vt:lpwstr>MMC2021.Classic16x9</vt:lpwstr>
  </property>
  <property fmtid="{D5CDD505-2E9C-101B-9397-08002B2CF9AE}" pid="5" name="MSIP_Label_38f1469a-2c2a-4aee-b92b-090d4c5468ff_Enabled">
    <vt:lpwstr>true</vt:lpwstr>
  </property>
  <property fmtid="{D5CDD505-2E9C-101B-9397-08002B2CF9AE}" pid="6" name="MSIP_Label_38f1469a-2c2a-4aee-b92b-090d4c5468ff_SetDate">
    <vt:lpwstr>2021-07-02T13:15:21Z</vt:lpwstr>
  </property>
  <property fmtid="{D5CDD505-2E9C-101B-9397-08002B2CF9AE}" pid="7" name="MSIP_Label_38f1469a-2c2a-4aee-b92b-090d4c5468ff_Method">
    <vt:lpwstr>Standard</vt:lpwstr>
  </property>
  <property fmtid="{D5CDD505-2E9C-101B-9397-08002B2CF9AE}" pid="8" name="MSIP_Label_38f1469a-2c2a-4aee-b92b-090d4c5468ff_Name">
    <vt:lpwstr>Confidential - Unmarked</vt:lpwstr>
  </property>
  <property fmtid="{D5CDD505-2E9C-101B-9397-08002B2CF9AE}" pid="9" name="MSIP_Label_38f1469a-2c2a-4aee-b92b-090d4c5468ff_SiteId">
    <vt:lpwstr>2a6e6092-73e4-4752-b1a5-477a17f5056d</vt:lpwstr>
  </property>
  <property fmtid="{D5CDD505-2E9C-101B-9397-08002B2CF9AE}" pid="10" name="MSIP_Label_38f1469a-2c2a-4aee-b92b-090d4c5468ff_ActionId">
    <vt:lpwstr>fee3d5ec-cbbc-4475-ab57-9cca88af6bf1</vt:lpwstr>
  </property>
  <property fmtid="{D5CDD505-2E9C-101B-9397-08002B2CF9AE}" pid="11" name="MSIP_Label_38f1469a-2c2a-4aee-b92b-090d4c5468ff_ContentBits">
    <vt:lpwstr>0</vt:lpwstr>
  </property>
  <property fmtid="{D5CDD505-2E9C-101B-9397-08002B2CF9AE}" pid="12" name="MMCOA_UI_Language">
    <vt:lpwstr>en-GB</vt:lpwstr>
  </property>
  <property fmtid="{D5CDD505-2E9C-101B-9397-08002B2CF9AE}" pid="13" name="MMCOA_BaseCo">
    <vt:lpwstr>GUY</vt:lpwstr>
  </property>
  <property fmtid="{D5CDD505-2E9C-101B-9397-08002B2CF9AE}" pid="14" name="MMCOA_Brand">
    <vt:lpwstr>MMC2021</vt:lpwstr>
  </property>
  <property fmtid="{D5CDD505-2E9C-101B-9397-08002B2CF9AE}" pid="15" name="MMCOA_FeatureSet">
    <vt:lpwstr>GUY_2021_v1</vt:lpwstr>
  </property>
  <property fmtid="{D5CDD505-2E9C-101B-9397-08002B2CF9AE}" pid="16" name="MMCOA_Language">
    <vt:lpwstr>en-GB</vt:lpwstr>
  </property>
  <property fmtid="{D5CDD505-2E9C-101B-9397-08002B2CF9AE}" pid="17" name="MMCOA_LanguageDateFormat">
    <vt:lpwstr>d MMMM, yyyy</vt:lpwstr>
  </property>
  <property fmtid="{D5CDD505-2E9C-101B-9397-08002B2CF9AE}" pid="18" name="MMCOA_LanguageLocaleId">
    <vt:lpwstr>2057</vt:lpwstr>
  </property>
  <property fmtid="{D5CDD505-2E9C-101B-9397-08002B2CF9AE}" pid="19" name="MMCOA_CoverDigest">
    <vt:lpwstr>MMC2021;fullimage;GUY_FullImageStyles_v1;DARK;COLOUR</vt:lpwstr>
  </property>
  <property fmtid="{D5CDD505-2E9C-101B-9397-08002B2CF9AE}" pid="20" name="MMCOA_FontSize">
    <vt:lpwstr>Medium</vt:lpwstr>
  </property>
  <property fmtid="{D5CDD505-2E9C-101B-9397-08002B2CF9AE}" pid="21" name="MMCOA_CoverImageID">
    <vt:lpwstr>f03de3f3-b34b-45e7-9bf6-308ea61472af</vt:lpwstr>
  </property>
  <property fmtid="{D5CDD505-2E9C-101B-9397-08002B2CF9AE}" pid="22" name="ContentTypeId">
    <vt:lpwstr>0x01010017DC018C10FDD84D8318C43B16E346CA</vt:lpwstr>
  </property>
</Properties>
</file>